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4440" r:id="rId2"/>
    <p:sldId id="4471" r:id="rId3"/>
    <p:sldId id="4472" r:id="rId4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14" autoAdjust="0"/>
    <p:restoredTop sz="94793" autoAdjust="0"/>
  </p:normalViewPr>
  <p:slideViewPr>
    <p:cSldViewPr snapToGrid="0">
      <p:cViewPr varScale="1">
        <p:scale>
          <a:sx n="90" d="100"/>
          <a:sy n="90" d="100"/>
        </p:scale>
        <p:origin x="80" y="2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4737436940502"/>
          <c:y val="9.6304980696106324E-2"/>
          <c:w val="0.86014917457848383"/>
          <c:h val="0.6430558042872552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AE6-9F4A-A000-5E72C3A2C59A}"/>
              </c:ext>
            </c:extLst>
          </c:dPt>
          <c:dPt>
            <c:idx val="3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AE6-9F4A-A000-5E72C3A2C59A}"/>
              </c:ext>
            </c:extLst>
          </c:dPt>
          <c:cat>
            <c:numRef>
              <c:f>Sheet1!$A$2:$A$8</c:f>
              <c:numCache>
                <c:formatCode>General</c:formatCode>
                <c:ptCount val="7"/>
                <c:pt idx="0" formatCode="0.00">
                  <c:v>23.1</c:v>
                </c:pt>
                <c:pt idx="1">
                  <c:v>23.11</c:v>
                </c:pt>
                <c:pt idx="2">
                  <c:v>23.12</c:v>
                </c:pt>
                <c:pt idx="3">
                  <c:v>24.01</c:v>
                </c:pt>
                <c:pt idx="4">
                  <c:v>24.02</c:v>
                </c:pt>
                <c:pt idx="5">
                  <c:v>24.03</c:v>
                </c:pt>
                <c:pt idx="6">
                  <c:v>24.04</c:v>
                </c:pt>
              </c:numCache>
            </c:numRef>
          </c:cat>
          <c:val>
            <c:numRef>
              <c:f>Sheet1!$B$2:$B$8</c:f>
              <c:numCache>
                <c:formatCode>0.0</c:formatCode>
                <c:ptCount val="7"/>
                <c:pt idx="0" formatCode="General">
                  <c:v>26.3</c:v>
                </c:pt>
                <c:pt idx="1">
                  <c:v>26</c:v>
                </c:pt>
                <c:pt idx="2" formatCode="General">
                  <c:v>25.7</c:v>
                </c:pt>
                <c:pt idx="3" formatCode="General">
                  <c:v>25.4</c:v>
                </c:pt>
                <c:pt idx="4" formatCode="General">
                  <c:v>25.1</c:v>
                </c:pt>
                <c:pt idx="5" formatCode="General">
                  <c:v>24.8</c:v>
                </c:pt>
                <c:pt idx="6" formatCode="General">
                  <c:v>24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AE6-9F4A-A000-5E72C3A2C5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2"/>
        <c:overlap val="37"/>
        <c:axId val="74092863"/>
        <c:axId val="2080601984"/>
      </c:barChart>
      <c:catAx>
        <c:axId val="7409286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rgbClr val="1D324E"/>
                    </a:solidFill>
                    <a:latin typeface="Alibaba PuHuiTi Medium" pitchFamily="18" charset="-122"/>
                    <a:ea typeface="Alibaba PuHuiTi Medium" pitchFamily="18" charset="-122"/>
                    <a:cs typeface="Alibaba PuHuiTi Medium" pitchFamily="18" charset="-122"/>
                  </a:defRPr>
                </a:pPr>
                <a:r>
                  <a:rPr lang="en-US" altLang="zh-CN" dirty="0"/>
                  <a:t>Tim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defRPr>
              </a:pPr>
              <a:endParaRPr lang="zh-CN"/>
            </a:p>
          </c:txPr>
        </c:title>
        <c:numFmt formatCode="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defRPr>
            </a:pPr>
            <a:endParaRPr lang="zh-CN"/>
          </a:p>
        </c:txPr>
        <c:crossAx val="2080601984"/>
        <c:crosses val="autoZero"/>
        <c:auto val="1"/>
        <c:lblAlgn val="ctr"/>
        <c:lblOffset val="100"/>
        <c:noMultiLvlLbl val="0"/>
      </c:catAx>
      <c:valAx>
        <c:axId val="2080601984"/>
        <c:scaling>
          <c:orientation val="minMax"/>
          <c:max val="28"/>
          <c:min val="16"/>
        </c:scaling>
        <c:delete val="0"/>
        <c:axPos val="l"/>
        <c:majorGridlines>
          <c:spPr>
            <a:ln w="9525" cap="rnd" cmpd="sng" algn="ctr">
              <a:solidFill>
                <a:srgbClr val="1D324E">
                  <a:alpha val="27000"/>
                </a:srgbClr>
              </a:solidFill>
              <a:round/>
              <a:tailEnd w="sm" len="lg"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rgbClr val="1D324E"/>
                    </a:solidFill>
                    <a:latin typeface="Alibaba PuHuiTi Medium" pitchFamily="18" charset="-122"/>
                    <a:ea typeface="Alibaba PuHuiTi Medium" pitchFamily="18" charset="-122"/>
                    <a:cs typeface="Alibaba PuHuiTi Medium" pitchFamily="18" charset="-122"/>
                  </a:defRPr>
                </a:pPr>
                <a:r>
                  <a:rPr lang="en-US" altLang="zh-CN" dirty="0"/>
                  <a:t>Counts (10K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defRPr>
            </a:pPr>
            <a:endParaRPr lang="zh-CN"/>
          </a:p>
        </c:txPr>
        <c:crossAx val="74092863"/>
        <c:crossesAt val="1"/>
        <c:crossBetween val="between"/>
        <c:majorUnit val="2"/>
        <c:min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0" i="0">
          <a:solidFill>
            <a:srgbClr val="1D324E"/>
          </a:solidFill>
          <a:latin typeface="Alibaba PuHuiTi Medium" pitchFamily="18" charset="-122"/>
          <a:ea typeface="Alibaba PuHuiTi Medium" pitchFamily="18" charset="-122"/>
          <a:cs typeface="Alibaba PuHuiTi Medium" pitchFamily="18" charset="-122"/>
        </a:defRPr>
      </a:pPr>
      <a:endParaRPr lang="zh-CN"/>
    </a:p>
  </c:txPr>
  <c:externalData r:id="rId3">
    <c:autoUpdate val="0"/>
  </c:externalData>
  <c:userShapes r:id="rId4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249266862170088E-2"/>
          <c:y val="0.14689265536723164"/>
          <c:w val="0.96950146627565981"/>
          <c:h val="0.7062146892655367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CC0102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AE-354E-83CC-A66176AE61A2}"/>
            </c:ext>
          </c:extLst>
        </c:ser>
        <c:ser>
          <c:idx val="1"/>
          <c:order val="1"/>
          <c:spPr>
            <a:solidFill>
              <a:schemeClr val="tx1">
                <a:lumMod val="65000"/>
                <a:lumOff val="35000"/>
              </a:schemeClr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3AE-354E-83CC-A66176AE61A2}"/>
            </c:ext>
          </c:extLst>
        </c:ser>
        <c:ser>
          <c:idx val="2"/>
          <c:order val="2"/>
          <c:spPr>
            <a:solidFill>
              <a:schemeClr val="bg2">
                <a:lumMod val="75000"/>
              </a:schemeClr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3AE-354E-83CC-A66176AE61A2}"/>
            </c:ext>
          </c:extLst>
        </c:ser>
        <c:ser>
          <c:idx val="3"/>
          <c:order val="3"/>
          <c:spPr>
            <a:solidFill>
              <a:schemeClr val="bg1"/>
            </a:solidFill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66-45FA-8679-EFCBFDFA20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71694399"/>
        <c:axId val="1"/>
      </c:barChart>
      <c:catAx>
        <c:axId val="187169439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87169439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3369453545947112E-2"/>
          <c:y val="0.29556116499121682"/>
          <c:w val="0.89433521810457117"/>
          <c:h val="0.348620521677516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chemeClr val="bg1">
                  <a:alpha val="93000"/>
                </a:schemeClr>
              </a:solidFill>
              <a:ln w="28575">
                <a:noFill/>
              </a:ln>
              <a:effectLst/>
            </c:spPr>
          </c:marker>
          <c:dPt>
            <c:idx val="1"/>
            <c:marker>
              <c:symbol val="circle"/>
              <c:size val="6"/>
              <c:spPr>
                <a:solidFill>
                  <a:schemeClr val="bg1">
                    <a:alpha val="93000"/>
                  </a:schemeClr>
                </a:solidFill>
                <a:ln w="28575">
                  <a:noFill/>
                </a:ln>
                <a:effectLst/>
              </c:spPr>
            </c:marker>
            <c:bubble3D val="0"/>
            <c:spPr>
              <a:ln w="28575" cap="rnd">
                <a:solidFill>
                  <a:srgbClr val="FF000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24-F34B-A6FE-9A8C181BBF1D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bg1">
                    <a:alpha val="93000"/>
                  </a:schemeClr>
                </a:solidFill>
                <a:ln w="28575">
                  <a:noFill/>
                </a:ln>
                <a:effectLst/>
              </c:spPr>
            </c:marker>
            <c:bubble3D val="0"/>
            <c:spPr>
              <a:ln w="28575" cap="rnd">
                <a:solidFill>
                  <a:srgbClr val="FF000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9C24-F34B-A6FE-9A8C181BBF1D}"/>
              </c:ext>
            </c:extLst>
          </c:dPt>
          <c:dLbls>
            <c:dLbl>
              <c:idx val="1"/>
              <c:layout>
                <c:manualLayout>
                  <c:x val="-5.4305834818323025E-2"/>
                  <c:y val="-0.2730561345881375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C24-F34B-A6FE-9A8C181BBF1D}"/>
                </c:ext>
              </c:extLst>
            </c:dLbl>
            <c:dLbl>
              <c:idx val="2"/>
              <c:layout>
                <c:manualLayout>
                  <c:x val="-5.2249613796798398E-2"/>
                  <c:y val="-0.2358408290384830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C24-F34B-A6FE-9A8C181BBF1D}"/>
                </c:ext>
              </c:extLst>
            </c:dLbl>
            <c:dLbl>
              <c:idx val="6"/>
              <c:layout>
                <c:manualLayout>
                  <c:x val="-4.3614120796102711E-2"/>
                  <c:y val="-0.2539951387314924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7A7-456D-8E25-C02CF4A0D351}"/>
                </c:ext>
              </c:extLst>
            </c:dLbl>
            <c:spPr>
              <a:solidFill>
                <a:srgbClr val="C00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Alibaba PuHuiTi Medium" pitchFamily="18" charset="-122"/>
                    <a:ea typeface="Alibaba PuHuiTi Medium" pitchFamily="18" charset="-122"/>
                    <a:cs typeface="Alibaba PuHuiTi Medium" pitchFamily="18" charset="-122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bg1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Sheet1!$A$2:$A$8</c:f>
              <c:numCache>
                <c:formatCode>General</c:formatCode>
                <c:ptCount val="7"/>
                <c:pt idx="0" formatCode="0.00">
                  <c:v>23.1</c:v>
                </c:pt>
                <c:pt idx="1">
                  <c:v>23.11</c:v>
                </c:pt>
                <c:pt idx="2">
                  <c:v>23.12</c:v>
                </c:pt>
                <c:pt idx="3">
                  <c:v>24.01</c:v>
                </c:pt>
                <c:pt idx="4">
                  <c:v>24.02</c:v>
                </c:pt>
                <c:pt idx="5">
                  <c:v>24.03</c:v>
                </c:pt>
                <c:pt idx="6">
                  <c:v>24.04</c:v>
                </c:pt>
              </c:numCache>
            </c:numRef>
          </c:cat>
          <c:val>
            <c:numRef>
              <c:f>Sheet1!$B$2:$B$8</c:f>
              <c:numCache>
                <c:formatCode>0.0</c:formatCode>
                <c:ptCount val="7"/>
                <c:pt idx="0" formatCode="General">
                  <c:v>17.7</c:v>
                </c:pt>
                <c:pt idx="1">
                  <c:v>17.5</c:v>
                </c:pt>
                <c:pt idx="2" formatCode="General">
                  <c:v>17.3</c:v>
                </c:pt>
                <c:pt idx="3" formatCode="General">
                  <c:v>17.2</c:v>
                </c:pt>
                <c:pt idx="4" formatCode="General">
                  <c:v>16.8</c:v>
                </c:pt>
                <c:pt idx="5" formatCode="General">
                  <c:v>16.7</c:v>
                </c:pt>
                <c:pt idx="6" formatCode="General">
                  <c:v>16.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5-9C24-F34B-A6FE-9A8C181BBF1D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74092863"/>
        <c:axId val="2080601984"/>
      </c:lineChart>
      <c:catAx>
        <c:axId val="74092863"/>
        <c:scaling>
          <c:orientation val="minMax"/>
        </c:scaling>
        <c:delete val="1"/>
        <c:axPos val="b"/>
        <c:numFmt formatCode="0.00" sourceLinked="1"/>
        <c:majorTickMark val="none"/>
        <c:minorTickMark val="none"/>
        <c:tickLblPos val="nextTo"/>
        <c:crossAx val="2080601984"/>
        <c:crosses val="autoZero"/>
        <c:auto val="1"/>
        <c:lblAlgn val="ctr"/>
        <c:lblOffset val="100"/>
        <c:noMultiLvlLbl val="0"/>
      </c:catAx>
      <c:valAx>
        <c:axId val="208060198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4092863"/>
        <c:crossesAt val="1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0" i="0">
          <a:solidFill>
            <a:srgbClr val="BB3023"/>
          </a:solidFill>
          <a:latin typeface="Alibaba PuHuiTi Medium" pitchFamily="18" charset="-122"/>
          <a:ea typeface="Alibaba PuHuiTi Medium" pitchFamily="18" charset="-122"/>
          <a:cs typeface="Alibaba PuHuiTi Medium" pitchFamily="18" charset="-122"/>
        </a:defRPr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4737436940502"/>
          <c:y val="9.6304980696106324E-2"/>
          <c:w val="0.86014917457848383"/>
          <c:h val="0.6430558042872552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nt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12C-4413-8D64-7596CDB251E8}"/>
              </c:ext>
            </c:extLst>
          </c:dPt>
          <c:dPt>
            <c:idx val="4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 w="222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12C-4413-8D64-7596CDB251E8}"/>
              </c:ext>
            </c:extLst>
          </c:dPt>
          <c:cat>
            <c:strRef>
              <c:f>Sheet1!$A$2:$A$11</c:f>
              <c:strCache>
                <c:ptCount val="10"/>
                <c:pt idx="0">
                  <c:v>0-10w</c:v>
                </c:pt>
                <c:pt idx="1">
                  <c:v>10-20w</c:v>
                </c:pt>
                <c:pt idx="2">
                  <c:v>20-30w</c:v>
                </c:pt>
                <c:pt idx="3">
                  <c:v>30-40w</c:v>
                </c:pt>
                <c:pt idx="4">
                  <c:v>40-50w</c:v>
                </c:pt>
                <c:pt idx="5">
                  <c:v>50-60w</c:v>
                </c:pt>
                <c:pt idx="6">
                  <c:v>60-70w</c:v>
                </c:pt>
                <c:pt idx="7">
                  <c:v>70-80w</c:v>
                </c:pt>
                <c:pt idx="8">
                  <c:v>80-90w</c:v>
                </c:pt>
                <c:pt idx="9">
                  <c:v>90w+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52.4</c:v>
                </c:pt>
                <c:pt idx="1">
                  <c:v>46.8</c:v>
                </c:pt>
                <c:pt idx="2">
                  <c:v>19.899999999999999</c:v>
                </c:pt>
                <c:pt idx="3">
                  <c:v>10.6</c:v>
                </c:pt>
                <c:pt idx="4">
                  <c:v>6.2</c:v>
                </c:pt>
                <c:pt idx="5">
                  <c:v>3.7</c:v>
                </c:pt>
                <c:pt idx="6">
                  <c:v>2.2000000000000002</c:v>
                </c:pt>
                <c:pt idx="7">
                  <c:v>1.6</c:v>
                </c:pt>
                <c:pt idx="8">
                  <c:v>1.3</c:v>
                </c:pt>
                <c:pt idx="9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12C-4413-8D64-7596CDB251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74092863"/>
        <c:axId val="2080601984"/>
      </c:barChart>
      <c:catAx>
        <c:axId val="7409286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rgbClr val="1D324E">
                  <a:alpha val="12000"/>
                </a:srgb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1E344D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Alibaba PuHuiTi Medium" pitchFamily="18" charset="-122"/>
              </a:defRPr>
            </a:pPr>
            <a:endParaRPr lang="zh-CN"/>
          </a:p>
        </c:txPr>
        <c:crossAx val="2080601984"/>
        <c:crosses val="autoZero"/>
        <c:auto val="1"/>
        <c:lblAlgn val="ctr"/>
        <c:lblOffset val="100"/>
        <c:noMultiLvlLbl val="0"/>
      </c:catAx>
      <c:valAx>
        <c:axId val="2080601984"/>
        <c:scaling>
          <c:orientation val="minMax"/>
          <c:max val="180"/>
          <c:min val="0"/>
        </c:scaling>
        <c:delete val="0"/>
        <c:axPos val="l"/>
        <c:majorGridlines>
          <c:spPr>
            <a:ln w="9525" cap="rnd" cmpd="sng" algn="ctr">
              <a:solidFill>
                <a:srgbClr val="1D324E">
                  <a:alpha val="21000"/>
                </a:srgbClr>
              </a:solidFill>
              <a:round/>
              <a:tailEnd w="sm" len="lg"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pPr>
            <a:endParaRPr lang="zh-CN"/>
          </a:p>
        </c:txPr>
        <c:crossAx val="74092863"/>
        <c:crossesAt val="1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00" b="0" i="0" u="none" strike="noStrike" kern="1200" baseline="0">
                <a:solidFill>
                  <a:srgbClr val="1D324E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0" i="0">
          <a:solidFill>
            <a:srgbClr val="1E344D"/>
          </a:solidFill>
          <a:latin typeface="Alibaba PuHuiTi Medium" pitchFamily="18" charset="-122"/>
          <a:ea typeface="Alibaba PuHuiTi Medium" pitchFamily="18" charset="-122"/>
          <a:cs typeface="Alibaba PuHuiTi Medium" pitchFamily="18" charset="-122"/>
        </a:defRPr>
      </a:pPr>
      <a:endParaRPr lang="zh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1671350879459098E-2"/>
          <c:y val="8.2865164625246009E-3"/>
          <c:w val="0.62582910223804067"/>
          <c:h val="0.7831355080713949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nt</c:v>
                </c:pt>
              </c:strCache>
            </c:strRef>
          </c:tx>
          <c:spPr>
            <a:ln w="28575">
              <a:solidFill>
                <a:srgbClr val="1D324E"/>
              </a:solidFill>
            </a:ln>
          </c:spPr>
          <c:dPt>
            <c:idx val="0"/>
            <c:bubble3D val="0"/>
            <c:spPr>
              <a:solidFill>
                <a:srgbClr val="C00000"/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2D6-45AA-B1E6-043188C78649}"/>
              </c:ext>
            </c:extLst>
          </c:dPt>
          <c:dPt>
            <c:idx val="1"/>
            <c:bubble3D val="0"/>
            <c:spPr>
              <a:solidFill>
                <a:schemeClr val="accent1">
                  <a:lumMod val="50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2D6-45AA-B1E6-043188C78649}"/>
              </c:ext>
            </c:extLst>
          </c:dPt>
          <c:dPt>
            <c:idx val="2"/>
            <c:bubble3D val="0"/>
            <c:spPr>
              <a:solidFill>
                <a:schemeClr val="accent5">
                  <a:lumMod val="75000"/>
                  <a:alpha val="63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2D6-45AA-B1E6-043188C78649}"/>
              </c:ext>
            </c:extLst>
          </c:dPt>
          <c:dPt>
            <c:idx val="3"/>
            <c:bubble3D val="0"/>
            <c:spPr>
              <a:solidFill>
                <a:schemeClr val="accent2">
                  <a:lumMod val="60000"/>
                  <a:lumOff val="40000"/>
                  <a:alpha val="61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2D6-45AA-B1E6-043188C78649}"/>
              </c:ext>
            </c:extLst>
          </c:dPt>
          <c:dPt>
            <c:idx val="4"/>
            <c:bubble3D val="0"/>
            <c:spPr>
              <a:solidFill>
                <a:schemeClr val="bg1">
                  <a:lumMod val="85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2D6-45AA-B1E6-043188C78649}"/>
              </c:ext>
            </c:extLst>
          </c:dPt>
          <c:dPt>
            <c:idx val="5"/>
            <c:bubble3D val="0"/>
            <c:spPr>
              <a:solidFill>
                <a:schemeClr val="accent2">
                  <a:lumMod val="75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52D6-45AA-B1E6-043188C78649}"/>
              </c:ext>
            </c:extLst>
          </c:dPt>
          <c:dLbls>
            <c:dLbl>
              <c:idx val="0"/>
              <c:layout>
                <c:manualLayout>
                  <c:x val="5.9639856386592659E-2"/>
                  <c:y val="0.1292086682257165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marL="0" algn="l" defTabSz="457200" rtl="0" eaLnBrk="1" latinLnBrk="0" hangingPunct="1">
                      <a:defRPr kumimoji="1" lang="en-US" altLang="zh-CN" sz="2400" b="0" i="0" u="none" strike="noStrike" kern="1200" baseline="0">
                        <a:solidFill>
                          <a:schemeClr val="bg1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1D704572-8839-49AE-837A-087A0364AE1E}" type="VALUE">
                      <a:rPr kumimoji="1" lang="en-US" altLang="zh-CN" sz="2400" b="1" kern="1200" baseline="0">
                        <a:solidFill>
                          <a:schemeClr val="bg1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rPr>
                      <a:pPr marL="0" algn="l" defTabSz="457200" rtl="0" eaLnBrk="1" latinLnBrk="0" hangingPunct="1">
                        <a:defRPr kumimoji="1" lang="en-US" altLang="zh-CN" sz="2400" kern="1200" baseline="0">
                          <a:solidFill>
                            <a:schemeClr val="bg1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marL="0" algn="l" defTabSz="457200" rtl="0" eaLnBrk="1" latinLnBrk="0" hangingPunct="1">
                    <a:defRPr kumimoji="1" lang="en-US" altLang="zh-CN" sz="2400" b="0" i="0" u="none" strike="noStrike" kern="1200" baseline="0">
                      <a:solidFill>
                        <a:schemeClr val="bg1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985001066700965"/>
                      <c:h val="0.2182643146282072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2D6-45AA-B1E6-043188C78649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kumimoji="1" lang="en-US" altLang="zh-CN" sz="1800" b="0" i="0" u="none" strike="noStrike" kern="1200" baseline="0">
                        <a:solidFill>
                          <a:schemeClr val="bg1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C27EF1DD-E2B6-4295-B0AE-9E86B3EEFA32}" type="VALUE">
                      <a:rPr kumimoji="1" lang="en-US" altLang="zh-CN" sz="1800" b="1" i="0" u="none" strike="noStrike" kern="1200" baseline="0">
                        <a:solidFill>
                          <a:prstClr val="white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rPr>
                      <a:pPr>
                        <a:defRPr kumimoji="1" lang="en-US" altLang="zh-CN" sz="1800" b="0" i="0" u="none" strike="noStrike" kern="1200" baseline="0">
                          <a:solidFill>
                            <a:schemeClr val="bg1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kumimoji="1" lang="en-US" altLang="zh-CN" sz="1800" b="0" i="0" u="none" strike="noStrike" kern="1200" baseline="0">
                      <a:solidFill>
                        <a:schemeClr val="bg1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2D6-45AA-B1E6-043188C78649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ctr">
                      <a:defRPr kumimoji="1" lang="en-US" altLang="zh-CN" sz="1100" b="0" i="0" u="none" strike="noStrike" kern="1200" baseline="0">
                        <a:solidFill>
                          <a:prstClr val="white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B34C964D-4074-406C-BC0A-A878A78655B8}" type="VALUE">
                      <a:rPr lang="en-US" altLang="zh-CN" sz="1100"/>
                      <a:pPr algn="ctr">
                        <a:defRPr kumimoji="1" lang="en-US" altLang="zh-CN" sz="1100" b="0" i="0" u="none" strike="noStrike" kern="1200" baseline="0">
                          <a:solidFill>
                            <a:prstClr val="white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ctr">
                    <a:defRPr kumimoji="1" lang="en-US" altLang="zh-CN" sz="1100" b="0" i="0" u="none" strike="noStrike" kern="1200" baseline="0">
                      <a:solidFill>
                        <a:prstClr val="white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759000744989786"/>
                      <c:h val="9.0833087568107415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52D6-45AA-B1E6-043188C78649}"/>
                </c:ext>
              </c:extLst>
            </c:dLbl>
            <c:dLbl>
              <c:idx val="3"/>
              <c:layout>
                <c:manualLayout>
                  <c:x val="1.0286334289017483E-2"/>
                  <c:y val="-5.063865109556257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2D6-45AA-B1E6-043188C78649}"/>
                </c:ext>
              </c:extLst>
            </c:dLbl>
            <c:dLbl>
              <c:idx val="4"/>
              <c:layout>
                <c:manualLayout>
                  <c:x val="2.4687202293641883E-2"/>
                  <c:y val="5.5242802993724941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kumimoji="1" lang="en-US" altLang="zh-CN" sz="1200" b="0" i="0" u="none" strike="noStrike" kern="1200" baseline="0">
                      <a:solidFill>
                        <a:prstClr val="white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2D6-45AA-B1E6-043188C78649}"/>
                </c:ext>
              </c:extLst>
            </c:dLbl>
            <c:dLbl>
              <c:idx val="5"/>
              <c:layout>
                <c:manualLayout>
                  <c:x val="2.0572668578034966E-2"/>
                  <c:y val="1.657284089811748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kumimoji="1" lang="en-US" altLang="zh-CN" sz="1400" b="0" i="0" u="none" strike="noStrike" kern="1200" baseline="0">
                        <a:solidFill>
                          <a:prstClr val="white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30243D47-EB4E-417C-9521-D6112CDD569A}" type="VALUE">
                      <a:rPr lang="en-US" altLang="zh-CN" sz="1200" b="1"/>
                      <a:pPr>
                        <a:defRPr kumimoji="1" lang="en-US" altLang="zh-CN" sz="1400" b="0" i="0" u="none" strike="noStrike" kern="1200" baseline="0">
                          <a:solidFill>
                            <a:prstClr val="white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kumimoji="1" lang="en-US" altLang="zh-CN" sz="1400" b="0" i="0" u="none" strike="noStrike" kern="1200" baseline="0">
                      <a:solidFill>
                        <a:prstClr val="white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52D6-45AA-B1E6-043188C786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汇丰生活信用卡</c:v>
                </c:pt>
                <c:pt idx="1">
                  <c:v>汇丰CP卡</c:v>
                </c:pt>
                <c:pt idx="2">
                  <c:v>汇丰东航联名卡</c:v>
                </c:pt>
                <c:pt idx="3">
                  <c:v>汇丰淘票票联名信用卡</c:v>
                </c:pt>
                <c:pt idx="4">
                  <c:v>汇丰京东联名信用卡</c:v>
                </c:pt>
                <c:pt idx="5">
                  <c:v>其他</c:v>
                </c:pt>
              </c:strCache>
            </c:strRef>
          </c:cat>
          <c:val>
            <c:numRef>
              <c:f>Sheet1!$B$2:$B$7</c:f>
              <c:numCache>
                <c:formatCode>_ * #,##0_ ;_ * \-#,##0_ ;_ * "-"??_ ;_ @_ </c:formatCode>
                <c:ptCount val="6"/>
                <c:pt idx="0">
                  <c:v>183374</c:v>
                </c:pt>
                <c:pt idx="1">
                  <c:v>30134</c:v>
                </c:pt>
                <c:pt idx="2">
                  <c:v>7969</c:v>
                </c:pt>
                <c:pt idx="3">
                  <c:v>7618</c:v>
                </c:pt>
                <c:pt idx="4">
                  <c:v>6815</c:v>
                </c:pt>
                <c:pt idx="5">
                  <c:v>103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2D6-45AA-B1E6-043188C786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22"/>
        <c:holeSize val="43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9568049149690814"/>
          <c:y val="2.0405131444880785E-2"/>
          <c:w val="0.30431950850309186"/>
          <c:h val="0.3574267917193573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4737436940502"/>
          <c:y val="9.6304980696106324E-2"/>
          <c:w val="0.86014917457848383"/>
          <c:h val="0.6430558042872552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nt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B3C-43C1-83A9-F5512D128DAC}"/>
              </c:ext>
            </c:extLst>
          </c:dPt>
          <c:dPt>
            <c:idx val="4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 w="222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B3C-43C1-83A9-F5512D128DAC}"/>
              </c:ext>
            </c:extLst>
          </c:dPt>
          <c:cat>
            <c:strRef>
              <c:f>Sheet1!$A$2:$A$11</c:f>
              <c:strCache>
                <c:ptCount val="10"/>
                <c:pt idx="0">
                  <c:v>0-10w</c:v>
                </c:pt>
                <c:pt idx="1">
                  <c:v>10-20w</c:v>
                </c:pt>
                <c:pt idx="2">
                  <c:v>20-30w</c:v>
                </c:pt>
                <c:pt idx="3">
                  <c:v>30-40w</c:v>
                </c:pt>
                <c:pt idx="4">
                  <c:v>40-50w</c:v>
                </c:pt>
                <c:pt idx="5">
                  <c:v>50-60w</c:v>
                </c:pt>
                <c:pt idx="6">
                  <c:v>60-70w</c:v>
                </c:pt>
                <c:pt idx="7">
                  <c:v>70-80w</c:v>
                </c:pt>
                <c:pt idx="8">
                  <c:v>80-90w</c:v>
                </c:pt>
                <c:pt idx="9">
                  <c:v>90w+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03</c:v>
                </c:pt>
                <c:pt idx="1">
                  <c:v>46</c:v>
                </c:pt>
                <c:pt idx="2">
                  <c:v>13</c:v>
                </c:pt>
                <c:pt idx="3">
                  <c:v>19</c:v>
                </c:pt>
                <c:pt idx="4">
                  <c:v>8</c:v>
                </c:pt>
                <c:pt idx="5">
                  <c:v>9</c:v>
                </c:pt>
                <c:pt idx="6">
                  <c:v>6</c:v>
                </c:pt>
                <c:pt idx="7">
                  <c:v>10</c:v>
                </c:pt>
                <c:pt idx="8">
                  <c:v>2</c:v>
                </c:pt>
                <c:pt idx="9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B3C-43C1-83A9-F5512D128D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74092863"/>
        <c:axId val="2080601984"/>
      </c:barChart>
      <c:catAx>
        <c:axId val="7409286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rgbClr val="1D324E">
                  <a:alpha val="12000"/>
                </a:srgb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1E344D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Alibaba PuHuiTi Medium" pitchFamily="18" charset="-122"/>
              </a:defRPr>
            </a:pPr>
            <a:endParaRPr lang="zh-CN"/>
          </a:p>
        </c:txPr>
        <c:crossAx val="2080601984"/>
        <c:crosses val="autoZero"/>
        <c:auto val="1"/>
        <c:lblAlgn val="ctr"/>
        <c:lblOffset val="100"/>
        <c:noMultiLvlLbl val="0"/>
      </c:catAx>
      <c:valAx>
        <c:axId val="2080601984"/>
        <c:scaling>
          <c:orientation val="minMax"/>
          <c:max val="160"/>
          <c:min val="0"/>
        </c:scaling>
        <c:delete val="0"/>
        <c:axPos val="l"/>
        <c:majorGridlines>
          <c:spPr>
            <a:ln w="9525" cap="rnd" cmpd="sng" algn="ctr">
              <a:solidFill>
                <a:srgbClr val="1D324E">
                  <a:alpha val="21000"/>
                </a:srgbClr>
              </a:solidFill>
              <a:round/>
              <a:tailEnd w="sm" len="lg"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pPr>
            <a:endParaRPr lang="zh-CN"/>
          </a:p>
        </c:txPr>
        <c:crossAx val="74092863"/>
        <c:crossesAt val="1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00" b="0" i="0" u="none" strike="noStrike" kern="1200" baseline="0">
                <a:solidFill>
                  <a:srgbClr val="1D324E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0" i="0">
          <a:solidFill>
            <a:srgbClr val="1E344D"/>
          </a:solidFill>
          <a:latin typeface="Alibaba PuHuiTi Medium" pitchFamily="18" charset="-122"/>
          <a:ea typeface="Alibaba PuHuiTi Medium" pitchFamily="18" charset="-122"/>
          <a:cs typeface="Alibaba PuHuiTi Medium" pitchFamily="18" charset="-122"/>
        </a:defRPr>
      </a:pPr>
      <a:endParaRPr lang="zh-CN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1671350879459098E-2"/>
          <c:y val="8.2865164625246009E-3"/>
          <c:w val="0.64182755636928368"/>
          <c:h val="0.9383361307072433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nt</c:v>
                </c:pt>
              </c:strCache>
            </c:strRef>
          </c:tx>
          <c:spPr>
            <a:ln w="28575">
              <a:solidFill>
                <a:srgbClr val="1D324E"/>
              </a:solidFill>
            </a:ln>
          </c:spPr>
          <c:dPt>
            <c:idx val="0"/>
            <c:bubble3D val="0"/>
            <c:spPr>
              <a:solidFill>
                <a:srgbClr val="C00000"/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7BD-4A05-9915-E4F1EAC35B86}"/>
              </c:ext>
            </c:extLst>
          </c:dPt>
          <c:dPt>
            <c:idx val="1"/>
            <c:bubble3D val="0"/>
            <c:spPr>
              <a:solidFill>
                <a:schemeClr val="accent1">
                  <a:lumMod val="50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7BD-4A05-9915-E4F1EAC35B86}"/>
              </c:ext>
            </c:extLst>
          </c:dPt>
          <c:dPt>
            <c:idx val="2"/>
            <c:bubble3D val="0"/>
            <c:spPr>
              <a:solidFill>
                <a:schemeClr val="accent5">
                  <a:lumMod val="75000"/>
                  <a:alpha val="63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7BD-4A05-9915-E4F1EAC35B86}"/>
              </c:ext>
            </c:extLst>
          </c:dPt>
          <c:dPt>
            <c:idx val="3"/>
            <c:bubble3D val="0"/>
            <c:spPr>
              <a:solidFill>
                <a:schemeClr val="accent2">
                  <a:lumMod val="60000"/>
                  <a:lumOff val="40000"/>
                  <a:alpha val="61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7BD-4A05-9915-E4F1EAC35B86}"/>
              </c:ext>
            </c:extLst>
          </c:dPt>
          <c:dLbls>
            <c:dLbl>
              <c:idx val="0"/>
              <c:layout>
                <c:manualLayout>
                  <c:x val="8.5653496543603505E-2"/>
                  <c:y val="0.2951127637365948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marL="0" algn="l" defTabSz="457200" rtl="0" eaLnBrk="1" latinLnBrk="0" hangingPunct="1">
                      <a:defRPr kumimoji="1" lang="en-US" altLang="zh-CN" sz="1800" b="0" i="0" u="none" strike="noStrike" kern="1200" baseline="0">
                        <a:solidFill>
                          <a:schemeClr val="bg1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1D704572-8839-49AE-837A-087A0364AE1E}" type="VALUE">
                      <a:rPr kumimoji="1" lang="en-US" altLang="zh-CN" sz="1800" b="1" kern="1200" baseline="0">
                        <a:solidFill>
                          <a:schemeClr val="bg1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rPr>
                      <a:pPr marL="0" algn="l" defTabSz="457200" rtl="0" eaLnBrk="1" latinLnBrk="0" hangingPunct="1">
                        <a:defRPr kumimoji="1" lang="en-US" altLang="zh-CN" sz="1800">
                          <a:solidFill>
                            <a:schemeClr val="bg1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marL="0" algn="l" defTabSz="457200" rtl="0" eaLnBrk="1" latinLnBrk="0" hangingPunct="1">
                    <a:defRPr kumimoji="1" lang="en-US" altLang="zh-CN" sz="1800" b="0" i="0" u="none" strike="noStrike" kern="1200" baseline="0">
                      <a:solidFill>
                        <a:schemeClr val="bg1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039004726355929"/>
                      <c:h val="0.2182642740867378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7BD-4A05-9915-E4F1EAC35B86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kumimoji="1" lang="en-US" altLang="zh-CN" sz="1400" b="0" i="0" u="none" strike="noStrike" kern="1200" baseline="0">
                        <a:solidFill>
                          <a:schemeClr val="bg1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C27EF1DD-E2B6-4295-B0AE-9E86B3EEFA32}" type="VALUE">
                      <a:rPr kumimoji="1" lang="en-US" altLang="zh-CN" sz="1400" b="1" i="0" u="none" strike="noStrike" kern="1200" baseline="0">
                        <a:solidFill>
                          <a:prstClr val="white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rPr>
                      <a:pPr>
                        <a:defRPr kumimoji="1" lang="en-US" altLang="zh-CN" sz="1400">
                          <a:solidFill>
                            <a:schemeClr val="bg1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kumimoji="1" lang="en-US" altLang="zh-CN" sz="1400" b="0" i="0" u="none" strike="noStrike" kern="1200" baseline="0">
                      <a:solidFill>
                        <a:schemeClr val="bg1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D7BD-4A05-9915-E4F1EAC35B86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ctr">
                      <a:defRPr kumimoji="1" lang="en-US" altLang="zh-CN" sz="1400" b="0" i="0" u="none" strike="noStrike" kern="1200" baseline="0">
                        <a:solidFill>
                          <a:prstClr val="white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B34C964D-4074-406C-BC0A-A878A78655B8}" type="VALUE">
                      <a:rPr lang="en-US" altLang="zh-CN" sz="1400"/>
                      <a:pPr algn="ctr">
                        <a:defRPr kumimoji="1" lang="en-US" altLang="zh-CN" sz="1400">
                          <a:solidFill>
                            <a:prstClr val="white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ctr">
                    <a:defRPr kumimoji="1" lang="en-US" altLang="zh-CN" sz="1400" b="0" i="0" u="none" strike="noStrike" kern="1200" baseline="0">
                      <a:solidFill>
                        <a:prstClr val="white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759000744989786"/>
                      <c:h val="9.0833087568107415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D7BD-4A05-9915-E4F1EAC35B86}"/>
                </c:ext>
              </c:extLst>
            </c:dLbl>
            <c:dLbl>
              <c:idx val="3"/>
              <c:layout>
                <c:manualLayout>
                  <c:x val="1.0286334289017483E-2"/>
                  <c:y val="-5.063865109556257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7BD-4A05-9915-E4F1EAC35B8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汇丰中国信用卡</c:v>
                </c:pt>
                <c:pt idx="1">
                  <c:v>汇丰卓越理财信用卡</c:v>
                </c:pt>
                <c:pt idx="2">
                  <c:v>汇丰生活信用卡</c:v>
                </c:pt>
                <c:pt idx="3">
                  <c:v>汇丰东航联名卡</c:v>
                </c:pt>
              </c:strCache>
            </c:strRef>
          </c:cat>
          <c:val>
            <c:numRef>
              <c:f>Sheet1!$B$2:$B$5</c:f>
              <c:numCache>
                <c:formatCode>_ * #,##0_ ;_ * \-#,##0_ ;_ * "-"??_ ;_ @_ </c:formatCode>
                <c:ptCount val="4"/>
                <c:pt idx="0">
                  <c:v>220</c:v>
                </c:pt>
                <c:pt idx="1">
                  <c:v>15</c:v>
                </c:pt>
                <c:pt idx="2">
                  <c:v>5</c:v>
                </c:pt>
                <c:pt idx="3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7BD-4A05-9915-E4F1EAC35B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22"/>
        <c:holeSize val="43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84809822112042"/>
          <c:y val="0.21306802738574979"/>
          <c:w val="0.30431950850309186"/>
          <c:h val="0.6143104743708437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249266862170088E-2"/>
          <c:y val="0.15160349854227406"/>
          <c:w val="0.96950146627565981"/>
          <c:h val="0.6967930029154518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ED5-430B-A87C-58226627F64D}"/>
              </c:ext>
            </c:extLst>
          </c:dPt>
          <c:val>
            <c:numRef>
              <c:f>Sheet1!$A$1</c:f>
              <c:numCache>
                <c:formatCode>General</c:formatCode>
                <c:ptCount val="1"/>
                <c:pt idx="0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5DB-A34F-BD2F-2862A07ABB66}"/>
            </c:ext>
          </c:extLst>
        </c:ser>
        <c:ser>
          <c:idx val="1"/>
          <c:order val="1"/>
          <c:spPr>
            <a:solidFill>
              <a:schemeClr val="tx1">
                <a:lumMod val="65000"/>
                <a:lumOff val="35000"/>
              </a:schemeClr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5DB-A34F-BD2F-2862A07ABB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36152927"/>
        <c:axId val="1"/>
      </c:barChart>
      <c:catAx>
        <c:axId val="1536152927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53615292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249266862170088E-2"/>
          <c:y val="0.14525139664804471"/>
          <c:w val="0.96950146627565981"/>
          <c:h val="0.7094972067039105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FFFFFF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A9-274E-88FA-2944B56248AB}"/>
            </c:ext>
          </c:extLst>
        </c:ser>
        <c:ser>
          <c:idx val="1"/>
          <c:order val="1"/>
          <c:spPr>
            <a:solidFill>
              <a:schemeClr val="bg2">
                <a:lumMod val="75000"/>
              </a:schemeClr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6A9-274E-88FA-2944B56248AB}"/>
            </c:ext>
          </c:extLst>
        </c:ser>
        <c:ser>
          <c:idx val="2"/>
          <c:order val="2"/>
          <c:spPr>
            <a:solidFill>
              <a:schemeClr val="bg2">
                <a:lumMod val="50000"/>
              </a:schemeClr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6A9-274E-88FA-2944B56248AB}"/>
            </c:ext>
          </c:extLst>
        </c:ser>
        <c:ser>
          <c:idx val="3"/>
          <c:order val="3"/>
          <c:spPr>
            <a:solidFill>
              <a:srgbClr val="C00000"/>
            </a:solidFill>
            <a:ln>
              <a:noFill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6A9-274E-88FA-2944B56248AB}"/>
            </c:ext>
          </c:extLst>
        </c:ser>
        <c:ser>
          <c:idx val="4"/>
          <c:order val="4"/>
          <c:spPr>
            <a:solidFill>
              <a:srgbClr val="808080"/>
            </a:solidFill>
            <a:ln>
              <a:noFill/>
            </a:ln>
          </c:spPr>
          <c:invertIfNegative val="0"/>
          <c:val>
            <c:numRef>
              <c:f>Sheet1!$A$5</c:f>
              <c:numCache>
                <c:formatCode>General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4-96A9-274E-88FA-2944B56248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38780959"/>
        <c:axId val="1"/>
      </c:barChart>
      <c:catAx>
        <c:axId val="163878095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63878095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249266862170088E-2"/>
          <c:y val="0.15204678362573099"/>
          <c:w val="0.96950146627565981"/>
          <c:h val="0.6959064327485380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bg2">
                <a:lumMod val="50000"/>
              </a:schemeClr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B5-CF48-9688-A6C9E5D9E759}"/>
            </c:ext>
          </c:extLst>
        </c:ser>
        <c:ser>
          <c:idx val="1"/>
          <c:order val="1"/>
          <c:spPr>
            <a:solidFill>
              <a:schemeClr val="bg2">
                <a:lumMod val="90000"/>
              </a:schemeClr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B5-CF48-9688-A6C9E5D9E759}"/>
            </c:ext>
          </c:extLst>
        </c:ser>
        <c:ser>
          <c:idx val="2"/>
          <c:order val="2"/>
          <c:spPr>
            <a:solidFill>
              <a:schemeClr val="bg1">
                <a:lumMod val="65000"/>
              </a:schemeClr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BB5-CF48-9688-A6C9E5D9E759}"/>
            </c:ext>
          </c:extLst>
        </c:ser>
        <c:ser>
          <c:idx val="3"/>
          <c:order val="3"/>
          <c:spPr>
            <a:solidFill>
              <a:srgbClr val="80808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F14-41CF-BECC-7EF36C8CEF38}"/>
              </c:ext>
            </c:extLst>
          </c:dPt>
          <c:val>
            <c:numRef>
              <c:f>Sheet1!$A$4</c:f>
              <c:numCache>
                <c:formatCode>General</c:formatCode>
                <c:ptCount val="1"/>
                <c:pt idx="0">
                  <c:v>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BB5-CF48-9688-A6C9E5D9E7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35686175"/>
        <c:axId val="1"/>
      </c:barChart>
      <c:catAx>
        <c:axId val="153568617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53568617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0121</cdr:x>
      <cdr:y>0</cdr:y>
    </cdr:from>
    <cdr:to>
      <cdr:x>0.99879</cdr:x>
      <cdr:y>1</cdr:y>
    </cdr:to>
    <cdr:sp macro="" textlink="">
      <cdr:nvSpPr>
        <cdr:cNvPr id="3" name="圆角矩形 24">
          <a:extLst xmlns:a="http://schemas.openxmlformats.org/drawingml/2006/main">
            <a:ext uri="{FF2B5EF4-FFF2-40B4-BE49-F238E27FC236}">
              <a16:creationId xmlns:a16="http://schemas.microsoft.com/office/drawing/2014/main" id="{8C9346F1-4470-BEE2-DB1B-3943EC2FD03C}"/>
            </a:ext>
          </a:extLst>
        </cdr:cNvPr>
        <cdr:cNvSpPr/>
      </cdr:nvSpPr>
      <cdr:spPr>
        <a:xfrm xmlns:a="http://schemas.openxmlformats.org/drawingml/2006/main">
          <a:off x="5904" y="-1283661"/>
          <a:ext cx="4852939" cy="2589514"/>
        </a:xfrm>
        <a:prstGeom xmlns:a="http://schemas.openxmlformats.org/drawingml/2006/main" prst="roundRect">
          <a:avLst>
            <a:gd name="adj" fmla="val 8082"/>
          </a:avLst>
        </a:prstGeom>
        <a:solidFill xmlns:a="http://schemas.openxmlformats.org/drawingml/2006/main">
          <a:srgbClr val="1D324E">
            <a:alpha val="8000"/>
          </a:srgb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zh-CN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kumimoji="1" lang="zh-CN" altLang="en-US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C50B24-573F-4C29-9C01-0FD1CB2C42D7}" type="datetimeFigureOut">
              <a:rPr lang="zh-CN" altLang="en-US" smtClean="0"/>
              <a:t>2024/5/21</a:t>
            </a:fld>
            <a:endParaRPr lang="zh-CN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8ED457-9A6A-4519-89CF-A7B48CE877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814399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69FF98-0AE0-FA58-8E22-2A9A7C2B27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F8F1CBC6-1131-E9BE-0F9D-E7010C841F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FA821D89-5C77-239F-9C61-C59224D0B6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D8280F3-3488-D71A-B466-5D9202E981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722F5D-0AF2-F64D-B899-A4CBC6D70CFE}" type="slidenum">
              <a:rPr kumimoji="1" lang="zh-CN" altLang="en-US" smtClean="0"/>
              <a:t>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33244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E318E3-91E4-1194-9426-AD0D8E52E5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0EB16CC-9411-2D21-D9D9-16D64EA542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/>
              <a:t>Click to edit Master subtitle style</a:t>
            </a:r>
            <a:endParaRPr lang="zh-C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B48B30-3E2C-D8E1-5CF7-DE1FBC8902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1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B8214-CCF5-54AA-E8EE-7564278EDB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9B4180-BCFC-67F1-10C1-B5816AC7FF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647648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27DB26-9355-1A37-00BA-7D09BEDC97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B62FDF6-2EEC-E345-BF48-83E31F22F00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419050-9224-518C-120F-0BC5087443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1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4D7D46-1AF9-0DED-F3CB-59C0400BE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A5F7A8-B212-2D6D-9A95-9F1D73995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32559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DE85A6-2AF4-E650-4B82-0D9AA143761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C476945-916C-1394-8880-2C20769693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92D0F3-9A1A-D856-1190-1FEE1F693F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1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A35B28-C653-C07E-21E2-DF16ABEE0D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5E7366-4914-D900-95DB-11DD8077B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440349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7175E7-3E59-9624-6383-421BD8B2C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49A93F-8D93-E9E6-69E2-C623C32BE1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9CE41F-CE07-CCD3-ABA4-B22626616C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1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A91AAF-F688-F9DE-15C3-696DDF22E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663BD6-11CB-9C2D-3ECE-B75AC73A44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117093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3507E7-58F5-75FE-E794-45BEEC78C0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18F53A-5303-D244-3179-8DE8136865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03BC48-FC85-A472-D9A1-DC54ACFC59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1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0B22B1-D044-8B11-5202-C1C89E4E7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9A8B06-4D69-6999-4A07-650D30A385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511144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FA21B-70CE-E2F1-A272-03B779E89F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45ED87-8F1C-4A01-8372-178C4521964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268D53-B6CD-A692-8997-131C6DF3487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3B9FE6-727E-D430-5C10-8D4509966F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1</a:t>
            </a:fld>
            <a:endParaRPr lang="zh-CN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9DA6DA-33D4-1706-15DA-8C4C73B832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586CFC-FA01-828D-31F8-50CC30314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40213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497699-1229-B510-0F02-7D1236CD63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0ECFA4-96CE-6444-83BB-B5AACF1190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FE8A9ED-AB13-2527-0002-A39A08B3E8E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116E92-D513-5103-C1DC-501B3A85824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A8728C8-4EB9-66A2-AA7A-2B8D9775C84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4EA753A-2D23-0AB7-CBF3-A22BB40E80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1</a:t>
            </a:fld>
            <a:endParaRPr lang="zh-CN" alt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1212C93-3ADF-5300-74A9-3A73BFCC7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2D2682-774E-33A3-FE67-244DEF431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354544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1AC4CF-3154-B373-C441-1DAC55605E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3F2AC19-5DA8-6FFA-3471-4B6ED58F64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1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4C517F-0A4B-E260-1C26-09FB234EB3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6E11EF-6038-4502-A891-94C1AA6316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066570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1058E24-75AC-3CD5-F429-8BF9151198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1</a:t>
            </a:fld>
            <a:endParaRPr lang="zh-CN" alt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36794DC-D538-F645-CC06-4332FAC85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C16221-2F3C-9934-7584-3031164262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148895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D96C80-71B9-E6DE-FA1B-3A1A9713D9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206FD1-D606-1619-789C-74840B7B4D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F0DA8B-662F-3CED-8559-6818CC52840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57326A-D61D-36AC-56A1-202EF6FB21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1</a:t>
            </a:fld>
            <a:endParaRPr lang="zh-CN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2ECEE9-C316-2E88-8BE4-23F32D8C06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45684F5-6B79-59B2-68F5-4F6778707F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04944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5E580C-0531-E6F3-F325-9B16ED97B8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612BB7E-2951-7016-3159-EA8D747DD41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C2EB20-1F91-6814-D8F7-3B56FD46B0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3472BB-426C-116E-C421-48241EF8EF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1</a:t>
            </a:fld>
            <a:endParaRPr lang="zh-CN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4E22FB-1399-183F-0AD5-E08D92DFA6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259E895-3C1D-559B-7B6F-50E7A42BC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011308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D0D5074-657E-7B74-4C3A-B09DFF194D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5F0EBF-8295-CC56-947F-1CD23BB9C0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5D1153-F6BB-3743-D3FD-389DE1BD20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527C05-89CD-41CC-8FB8-A8A9E7D67A80}" type="datetimeFigureOut">
              <a:rPr lang="zh-CN" altLang="en-US" smtClean="0"/>
              <a:t>2024/5/21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A2C871-ED38-21A3-3C9C-F84184E990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C05CE4-BB3E-83F8-E6F8-7F29291605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5986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4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image" Target="../media/image4.png"/><Relationship Id="rId18" Type="http://schemas.openxmlformats.org/officeDocument/2006/relationships/image" Target="../media/image9.png"/><Relationship Id="rId3" Type="http://schemas.openxmlformats.org/officeDocument/2006/relationships/tags" Target="../tags/tag4.xml"/><Relationship Id="rId21" Type="http://schemas.openxmlformats.org/officeDocument/2006/relationships/image" Target="../media/image12.png"/><Relationship Id="rId7" Type="http://schemas.openxmlformats.org/officeDocument/2006/relationships/tags" Target="../tags/tag8.xml"/><Relationship Id="rId12" Type="http://schemas.openxmlformats.org/officeDocument/2006/relationships/image" Target="../media/image3.emf"/><Relationship Id="rId17" Type="http://schemas.openxmlformats.org/officeDocument/2006/relationships/image" Target="../media/image8.png"/><Relationship Id="rId25" Type="http://schemas.openxmlformats.org/officeDocument/2006/relationships/chart" Target="../charts/chart10.xml"/><Relationship Id="rId2" Type="http://schemas.openxmlformats.org/officeDocument/2006/relationships/tags" Target="../tags/tag3.xml"/><Relationship Id="rId16" Type="http://schemas.openxmlformats.org/officeDocument/2006/relationships/image" Target="../media/image7.png"/><Relationship Id="rId20" Type="http://schemas.openxmlformats.org/officeDocument/2006/relationships/image" Target="../media/image11.pn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oleObject" Target="../embeddings/oleObject2.bin"/><Relationship Id="rId24" Type="http://schemas.openxmlformats.org/officeDocument/2006/relationships/chart" Target="../charts/chart9.xml"/><Relationship Id="rId5" Type="http://schemas.openxmlformats.org/officeDocument/2006/relationships/tags" Target="../tags/tag6.xml"/><Relationship Id="rId15" Type="http://schemas.openxmlformats.org/officeDocument/2006/relationships/image" Target="../media/image6.png"/><Relationship Id="rId23" Type="http://schemas.openxmlformats.org/officeDocument/2006/relationships/chart" Target="../charts/chart8.xml"/><Relationship Id="rId10" Type="http://schemas.openxmlformats.org/officeDocument/2006/relationships/slideLayout" Target="../slideLayouts/slideLayout2.xml"/><Relationship Id="rId19" Type="http://schemas.openxmlformats.org/officeDocument/2006/relationships/image" Target="../media/image10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5.png"/><Relationship Id="rId22" Type="http://schemas.openxmlformats.org/officeDocument/2006/relationships/chart" Target="../charts/char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EC6D9D-4ACC-A1BB-EA56-E6DC3F82C5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4" name="文本框 453">
            <a:extLst>
              <a:ext uri="{FF2B5EF4-FFF2-40B4-BE49-F238E27FC236}">
                <a16:creationId xmlns:a16="http://schemas.microsoft.com/office/drawing/2014/main" id="{74473602-CE74-DABF-02C7-89825A0468C8}"/>
              </a:ext>
            </a:extLst>
          </p:cNvPr>
          <p:cNvSpPr txBox="1"/>
          <p:nvPr/>
        </p:nvSpPr>
        <p:spPr>
          <a:xfrm>
            <a:off x="285312" y="200526"/>
            <a:ext cx="53788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" altLang="zh-CN" sz="2800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ard Only Customer Overview</a:t>
            </a:r>
            <a:endParaRPr kumimoji="1" lang="zh-CN" altLang="en-US" sz="2800" dirty="0">
              <a:solidFill>
                <a:srgbClr val="1D324E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cxnSp>
        <p:nvCxnSpPr>
          <p:cNvPr id="7" name="直线连接符 6">
            <a:extLst>
              <a:ext uri="{FF2B5EF4-FFF2-40B4-BE49-F238E27FC236}">
                <a16:creationId xmlns:a16="http://schemas.microsoft.com/office/drawing/2014/main" id="{DBE2EA70-E224-C6BA-45DF-AA23BB184443}"/>
              </a:ext>
            </a:extLst>
          </p:cNvPr>
          <p:cNvCxnSpPr>
            <a:cxnSpLocks/>
          </p:cNvCxnSpPr>
          <p:nvPr/>
        </p:nvCxnSpPr>
        <p:spPr>
          <a:xfrm>
            <a:off x="298784" y="742109"/>
            <a:ext cx="11511279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52" name="图表 551">
            <a:extLst>
              <a:ext uri="{FF2B5EF4-FFF2-40B4-BE49-F238E27FC236}">
                <a16:creationId xmlns:a16="http://schemas.microsoft.com/office/drawing/2014/main" id="{7F6FD5BD-BD0A-3A40-8AA2-E6A10BB5604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0461475"/>
              </p:ext>
            </p:extLst>
          </p:nvPr>
        </p:nvGraphicFramePr>
        <p:xfrm>
          <a:off x="335592" y="1169605"/>
          <a:ext cx="4864748" cy="2589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554" name="直线连接符 553">
            <a:extLst>
              <a:ext uri="{FF2B5EF4-FFF2-40B4-BE49-F238E27FC236}">
                <a16:creationId xmlns:a16="http://schemas.microsoft.com/office/drawing/2014/main" id="{5FF9A70D-4F40-6852-5902-490C1B84BE6C}"/>
              </a:ext>
            </a:extLst>
          </p:cNvPr>
          <p:cNvCxnSpPr>
            <a:cxnSpLocks/>
          </p:cNvCxnSpPr>
          <p:nvPr/>
        </p:nvCxnSpPr>
        <p:spPr>
          <a:xfrm>
            <a:off x="862442" y="1257364"/>
            <a:ext cx="528286" cy="0"/>
          </a:xfrm>
          <a:prstGeom prst="line">
            <a:avLst/>
          </a:prstGeom>
          <a:ln w="34925" cap="rnd">
            <a:solidFill>
              <a:srgbClr val="BB302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5" name="椭圆 554">
            <a:extLst>
              <a:ext uri="{FF2B5EF4-FFF2-40B4-BE49-F238E27FC236}">
                <a16:creationId xmlns:a16="http://schemas.microsoft.com/office/drawing/2014/main" id="{41BD0D8F-A3BB-CBC5-AC57-C47F92A9F8C9}"/>
              </a:ext>
            </a:extLst>
          </p:cNvPr>
          <p:cNvSpPr/>
          <p:nvPr/>
        </p:nvSpPr>
        <p:spPr>
          <a:xfrm>
            <a:off x="1019902" y="1190308"/>
            <a:ext cx="134112" cy="134112"/>
          </a:xfrm>
          <a:prstGeom prst="ellipse">
            <a:avLst/>
          </a:prstGeom>
          <a:solidFill>
            <a:srgbClr val="BB302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556" name="文本框 555">
            <a:extLst>
              <a:ext uri="{FF2B5EF4-FFF2-40B4-BE49-F238E27FC236}">
                <a16:creationId xmlns:a16="http://schemas.microsoft.com/office/drawing/2014/main" id="{F67760CD-9878-D384-1503-677ECC5E0B15}"/>
              </a:ext>
            </a:extLst>
          </p:cNvPr>
          <p:cNvSpPr txBox="1"/>
          <p:nvPr/>
        </p:nvSpPr>
        <p:spPr>
          <a:xfrm>
            <a:off x="1374854" y="1124783"/>
            <a:ext cx="16520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 dirty="0">
                <a:solidFill>
                  <a:srgbClr val="1D324E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L3M Active Account</a:t>
            </a:r>
            <a:endParaRPr kumimoji="1" lang="zh-CN" altLang="en-US" sz="1200" dirty="0">
              <a:solidFill>
                <a:srgbClr val="1D324E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sp>
        <p:nvSpPr>
          <p:cNvPr id="557" name="文本框 556">
            <a:extLst>
              <a:ext uri="{FF2B5EF4-FFF2-40B4-BE49-F238E27FC236}">
                <a16:creationId xmlns:a16="http://schemas.microsoft.com/office/drawing/2014/main" id="{FA95899F-CBBF-46D5-1120-7B2F3235E7B1}"/>
              </a:ext>
            </a:extLst>
          </p:cNvPr>
          <p:cNvSpPr txBox="1"/>
          <p:nvPr/>
        </p:nvSpPr>
        <p:spPr>
          <a:xfrm>
            <a:off x="3334331" y="1124783"/>
            <a:ext cx="18660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200" dirty="0">
                <a:solidFill>
                  <a:srgbClr val="1D324E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Account in Force</a:t>
            </a:r>
            <a:endParaRPr kumimoji="1" lang="zh-CN" altLang="en-US" sz="1200" dirty="0">
              <a:solidFill>
                <a:srgbClr val="1D324E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sp>
        <p:nvSpPr>
          <p:cNvPr id="558" name="矩形 557">
            <a:extLst>
              <a:ext uri="{FF2B5EF4-FFF2-40B4-BE49-F238E27FC236}">
                <a16:creationId xmlns:a16="http://schemas.microsoft.com/office/drawing/2014/main" id="{CC082604-B4BF-9CBB-FD51-706BFB8CB9C7}"/>
              </a:ext>
            </a:extLst>
          </p:cNvPr>
          <p:cNvSpPr/>
          <p:nvPr/>
        </p:nvSpPr>
        <p:spPr>
          <a:xfrm>
            <a:off x="3159414" y="1124783"/>
            <a:ext cx="225778" cy="225778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graphicFrame>
        <p:nvGraphicFramePr>
          <p:cNvPr id="553" name="图表 552">
            <a:extLst>
              <a:ext uri="{FF2B5EF4-FFF2-40B4-BE49-F238E27FC236}">
                <a16:creationId xmlns:a16="http://schemas.microsoft.com/office/drawing/2014/main" id="{5B7608EB-9521-3DED-9D8E-E9FADECD11D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46441634"/>
              </p:ext>
            </p:extLst>
          </p:nvPr>
        </p:nvGraphicFramePr>
        <p:xfrm>
          <a:off x="423317" y="2402963"/>
          <a:ext cx="4722255" cy="1016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object 11">
            <a:extLst>
              <a:ext uri="{FF2B5EF4-FFF2-40B4-BE49-F238E27FC236}">
                <a16:creationId xmlns:a16="http://schemas.microsoft.com/office/drawing/2014/main" id="{CC95C3F0-1500-CCED-7058-3BC5B2C5EB4A}"/>
              </a:ext>
            </a:extLst>
          </p:cNvPr>
          <p:cNvSpPr txBox="1"/>
          <p:nvPr/>
        </p:nvSpPr>
        <p:spPr>
          <a:xfrm>
            <a:off x="479650" y="798928"/>
            <a:ext cx="10895965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tabLst>
                <a:tab pos="6323965" algn="l"/>
              </a:tabLst>
            </a:pPr>
            <a:r>
              <a:rPr lang="en-US" sz="1600" b="1" spc="-5" dirty="0">
                <a:latin typeface="Arial"/>
                <a:cs typeface="Arial"/>
              </a:rPr>
              <a:t>          Card Only Customer Base Over Time</a:t>
            </a:r>
            <a:r>
              <a:rPr sz="1600" b="1" spc="-5" dirty="0">
                <a:latin typeface="Arial"/>
                <a:cs typeface="Arial"/>
              </a:rPr>
              <a:t>	</a:t>
            </a:r>
            <a:r>
              <a:rPr lang="en-US" sz="1600" b="1" spc="-5" dirty="0">
                <a:latin typeface="Arial"/>
                <a:cs typeface="Arial"/>
              </a:rPr>
              <a:t>       Card Only Customer Card Type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5" name="object 13">
            <a:extLst>
              <a:ext uri="{FF2B5EF4-FFF2-40B4-BE49-F238E27FC236}">
                <a16:creationId xmlns:a16="http://schemas.microsoft.com/office/drawing/2014/main" id="{A9984DE2-8A65-30EE-DCA0-2D05B595D3AF}"/>
              </a:ext>
            </a:extLst>
          </p:cNvPr>
          <p:cNvSpPr/>
          <p:nvPr/>
        </p:nvSpPr>
        <p:spPr>
          <a:xfrm>
            <a:off x="5462754" y="1218244"/>
            <a:ext cx="189895" cy="5539952"/>
          </a:xfrm>
          <a:custGeom>
            <a:avLst/>
            <a:gdLst/>
            <a:ahLst/>
            <a:cxnLst/>
            <a:rect l="l" t="t" r="r" b="b"/>
            <a:pathLst>
              <a:path h="4999990">
                <a:moveTo>
                  <a:pt x="0" y="0"/>
                </a:moveTo>
                <a:lnTo>
                  <a:pt x="0" y="4999367"/>
                </a:lnTo>
              </a:path>
            </a:pathLst>
          </a:custGeom>
          <a:ln w="9144">
            <a:solidFill>
              <a:srgbClr val="5C5C5C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10">
            <a:extLst>
              <a:ext uri="{FF2B5EF4-FFF2-40B4-BE49-F238E27FC236}">
                <a16:creationId xmlns:a16="http://schemas.microsoft.com/office/drawing/2014/main" id="{96940903-7DBD-29BC-8237-3A15D75F7C14}"/>
              </a:ext>
            </a:extLst>
          </p:cNvPr>
          <p:cNvSpPr/>
          <p:nvPr/>
        </p:nvSpPr>
        <p:spPr>
          <a:xfrm flipV="1">
            <a:off x="298784" y="1039670"/>
            <a:ext cx="5123116" cy="45719"/>
          </a:xfrm>
          <a:custGeom>
            <a:avLst/>
            <a:gdLst/>
            <a:ahLst/>
            <a:cxnLst/>
            <a:rect l="l" t="t" r="r" b="b"/>
            <a:pathLst>
              <a:path w="6137910">
                <a:moveTo>
                  <a:pt x="0" y="0"/>
                </a:moveTo>
                <a:lnTo>
                  <a:pt x="6137402" y="0"/>
                </a:lnTo>
              </a:path>
            </a:pathLst>
          </a:custGeom>
          <a:ln w="19812">
            <a:solidFill>
              <a:srgbClr val="CC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圆角矩形 24">
            <a:extLst>
              <a:ext uri="{FF2B5EF4-FFF2-40B4-BE49-F238E27FC236}">
                <a16:creationId xmlns:a16="http://schemas.microsoft.com/office/drawing/2014/main" id="{8C9346F1-4470-BEE2-DB1B-3943EC2FD03C}"/>
              </a:ext>
            </a:extLst>
          </p:cNvPr>
          <p:cNvSpPr/>
          <p:nvPr/>
        </p:nvSpPr>
        <p:spPr>
          <a:xfrm>
            <a:off x="335592" y="4218095"/>
            <a:ext cx="4864748" cy="2568811"/>
          </a:xfrm>
          <a:prstGeom prst="roundRect">
            <a:avLst>
              <a:gd name="adj" fmla="val 8082"/>
            </a:avLst>
          </a:prstGeom>
          <a:solidFill>
            <a:srgbClr val="1D324E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graphicFrame>
        <p:nvGraphicFramePr>
          <p:cNvPr id="16" name="图表 482">
            <a:extLst>
              <a:ext uri="{FF2B5EF4-FFF2-40B4-BE49-F238E27FC236}">
                <a16:creationId xmlns:a16="http://schemas.microsoft.com/office/drawing/2014/main" id="{2FC0C21E-586D-4D5D-8434-2753A06594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08806247"/>
              </p:ext>
            </p:extLst>
          </p:nvPr>
        </p:nvGraphicFramePr>
        <p:xfrm>
          <a:off x="547161" y="4295639"/>
          <a:ext cx="4265257" cy="21547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7" name="文本框 480">
            <a:extLst>
              <a:ext uri="{FF2B5EF4-FFF2-40B4-BE49-F238E27FC236}">
                <a16:creationId xmlns:a16="http://schemas.microsoft.com/office/drawing/2014/main" id="{4978CE62-7F08-2DE2-65D8-F3F904E99E38}"/>
              </a:ext>
            </a:extLst>
          </p:cNvPr>
          <p:cNvSpPr txBox="1"/>
          <p:nvPr/>
        </p:nvSpPr>
        <p:spPr>
          <a:xfrm>
            <a:off x="2084665" y="6450419"/>
            <a:ext cx="21494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Account Points</a:t>
            </a:r>
            <a:endParaRPr kumimoji="1" lang="zh-CN" altLang="en-US" sz="1600" dirty="0"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18" name="文本框 480">
            <a:extLst>
              <a:ext uri="{FF2B5EF4-FFF2-40B4-BE49-F238E27FC236}">
                <a16:creationId xmlns:a16="http://schemas.microsoft.com/office/drawing/2014/main" id="{32E97661-5147-2C9D-4577-915A7AFA01FC}"/>
              </a:ext>
            </a:extLst>
          </p:cNvPr>
          <p:cNvSpPr txBox="1"/>
          <p:nvPr/>
        </p:nvSpPr>
        <p:spPr>
          <a:xfrm rot="-5400000">
            <a:off x="-180396" y="4950544"/>
            <a:ext cx="1370531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kumimoji="1" lang="en-US" altLang="zh-CN" sz="14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ounts (1K</a:t>
            </a:r>
            <a:r>
              <a:rPr kumimoji="1" lang="en-US" altLang="zh-CN" sz="16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)</a:t>
            </a:r>
            <a:endParaRPr kumimoji="1" lang="zh-CN" altLang="en-US" sz="1600" dirty="0"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B7EF846-BD12-376A-FCE3-7A2674762CD4}"/>
              </a:ext>
            </a:extLst>
          </p:cNvPr>
          <p:cNvSpPr txBox="1"/>
          <p:nvPr/>
        </p:nvSpPr>
        <p:spPr>
          <a:xfrm>
            <a:off x="443091" y="3803941"/>
            <a:ext cx="46827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800" b="1" spc="-5" dirty="0">
                <a:latin typeface="Arial"/>
                <a:cs typeface="Arial"/>
              </a:rPr>
              <a:t>Card Only Customer Points Distribution</a:t>
            </a:r>
            <a:endParaRPr lang="zh-CN" altLang="en-US" dirty="0"/>
          </a:p>
        </p:txBody>
      </p:sp>
      <p:sp>
        <p:nvSpPr>
          <p:cNvPr id="25" name="object 10">
            <a:extLst>
              <a:ext uri="{FF2B5EF4-FFF2-40B4-BE49-F238E27FC236}">
                <a16:creationId xmlns:a16="http://schemas.microsoft.com/office/drawing/2014/main" id="{BF564C77-C188-1659-B1A3-20D80C178B48}"/>
              </a:ext>
            </a:extLst>
          </p:cNvPr>
          <p:cNvSpPr/>
          <p:nvPr/>
        </p:nvSpPr>
        <p:spPr>
          <a:xfrm flipV="1">
            <a:off x="5563882" y="1044773"/>
            <a:ext cx="6246181" cy="45720"/>
          </a:xfrm>
          <a:custGeom>
            <a:avLst/>
            <a:gdLst/>
            <a:ahLst/>
            <a:cxnLst/>
            <a:rect l="l" t="t" r="r" b="b"/>
            <a:pathLst>
              <a:path w="6137910">
                <a:moveTo>
                  <a:pt x="0" y="0"/>
                </a:moveTo>
                <a:lnTo>
                  <a:pt x="6137402" y="0"/>
                </a:lnTo>
              </a:path>
            </a:pathLst>
          </a:custGeom>
          <a:ln w="19812">
            <a:solidFill>
              <a:srgbClr val="CC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26" name="图表 7">
            <a:extLst>
              <a:ext uri="{FF2B5EF4-FFF2-40B4-BE49-F238E27FC236}">
                <a16:creationId xmlns:a16="http://schemas.microsoft.com/office/drawing/2014/main" id="{42F0F43E-831D-32A2-F4CF-1F537E703D9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60681930"/>
              </p:ext>
            </p:extLst>
          </p:nvPr>
        </p:nvGraphicFramePr>
        <p:xfrm>
          <a:off x="5411909" y="1102700"/>
          <a:ext cx="5837338" cy="46648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27" name="图片 6">
            <a:extLst>
              <a:ext uri="{FF2B5EF4-FFF2-40B4-BE49-F238E27FC236}">
                <a16:creationId xmlns:a16="http://schemas.microsoft.com/office/drawing/2014/main" id="{70A71B8A-8296-6F42-8101-0776FB62179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225863" y="2704520"/>
            <a:ext cx="1523046" cy="1799756"/>
          </a:xfrm>
          <a:prstGeom prst="rect">
            <a:avLst/>
          </a:prstGeom>
        </p:spPr>
      </p:pic>
      <p:grpSp>
        <p:nvGrpSpPr>
          <p:cNvPr id="28" name="组合 22">
            <a:extLst>
              <a:ext uri="{FF2B5EF4-FFF2-40B4-BE49-F238E27FC236}">
                <a16:creationId xmlns:a16="http://schemas.microsoft.com/office/drawing/2014/main" id="{121E13B2-FD56-8F7F-2CB6-5A909394ED90}"/>
              </a:ext>
            </a:extLst>
          </p:cNvPr>
          <p:cNvGrpSpPr/>
          <p:nvPr/>
        </p:nvGrpSpPr>
        <p:grpSpPr>
          <a:xfrm>
            <a:off x="5763107" y="3165667"/>
            <a:ext cx="807721" cy="425302"/>
            <a:chOff x="7844690" y="4196923"/>
            <a:chExt cx="687268" cy="384903"/>
          </a:xfrm>
        </p:grpSpPr>
        <p:sp>
          <p:nvSpPr>
            <p:cNvPr id="29" name="任意形状 19">
              <a:extLst>
                <a:ext uri="{FF2B5EF4-FFF2-40B4-BE49-F238E27FC236}">
                  <a16:creationId xmlns:a16="http://schemas.microsoft.com/office/drawing/2014/main" id="{A5F0B218-D00F-5F76-70D1-71ECDA7FD9F5}"/>
                </a:ext>
              </a:extLst>
            </p:cNvPr>
            <p:cNvSpPr/>
            <p:nvPr/>
          </p:nvSpPr>
          <p:spPr>
            <a:xfrm rot="10800000">
              <a:off x="7844690" y="4217760"/>
              <a:ext cx="687268" cy="364066"/>
            </a:xfrm>
            <a:custGeom>
              <a:avLst/>
              <a:gdLst>
                <a:gd name="connsiteX0" fmla="*/ 868401 w 868401"/>
                <a:gd name="connsiteY0" fmla="*/ 287174 h 460017"/>
                <a:gd name="connsiteX1" fmla="*/ 868401 w 868401"/>
                <a:gd name="connsiteY1" fmla="*/ 287174 h 460017"/>
                <a:gd name="connsiteX2" fmla="*/ 868401 w 868401"/>
                <a:gd name="connsiteY2" fmla="*/ 287173 h 460017"/>
                <a:gd name="connsiteX3" fmla="*/ 695557 w 868401"/>
                <a:gd name="connsiteY3" fmla="*/ 460017 h 460017"/>
                <a:gd name="connsiteX4" fmla="*/ 172844 w 868401"/>
                <a:gd name="connsiteY4" fmla="*/ 460017 h 460017"/>
                <a:gd name="connsiteX5" fmla="*/ 0 w 868401"/>
                <a:gd name="connsiteY5" fmla="*/ 287173 h 460017"/>
                <a:gd name="connsiteX6" fmla="*/ 1 w 868401"/>
                <a:gd name="connsiteY6" fmla="*/ 287173 h 460017"/>
                <a:gd name="connsiteX7" fmla="*/ 172845 w 868401"/>
                <a:gd name="connsiteY7" fmla="*/ 114329 h 460017"/>
                <a:gd name="connsiteX8" fmla="*/ 380450 w 868401"/>
                <a:gd name="connsiteY8" fmla="*/ 114330 h 460017"/>
                <a:gd name="connsiteX9" fmla="*/ 436696 w 868401"/>
                <a:gd name="connsiteY9" fmla="*/ 0 h 460017"/>
                <a:gd name="connsiteX10" fmla="*/ 500158 w 868401"/>
                <a:gd name="connsiteY10" fmla="*/ 114330 h 460017"/>
                <a:gd name="connsiteX11" fmla="*/ 695557 w 868401"/>
                <a:gd name="connsiteY11" fmla="*/ 114330 h 460017"/>
                <a:gd name="connsiteX12" fmla="*/ 854818 w 868401"/>
                <a:gd name="connsiteY12" fmla="*/ 219896 h 460017"/>
                <a:gd name="connsiteX13" fmla="*/ 868401 w 868401"/>
                <a:gd name="connsiteY13" fmla="*/ 287174 h 460017"/>
                <a:gd name="connsiteX14" fmla="*/ 854818 w 868401"/>
                <a:gd name="connsiteY14" fmla="*/ 354452 h 460017"/>
                <a:gd name="connsiteX15" fmla="*/ 695557 w 868401"/>
                <a:gd name="connsiteY15" fmla="*/ 460017 h 46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8401" h="460017">
                  <a:moveTo>
                    <a:pt x="868401" y="287174"/>
                  </a:moveTo>
                  <a:lnTo>
                    <a:pt x="868401" y="287174"/>
                  </a:lnTo>
                  <a:lnTo>
                    <a:pt x="868401" y="287173"/>
                  </a:lnTo>
                  <a:close/>
                  <a:moveTo>
                    <a:pt x="695557" y="460017"/>
                  </a:moveTo>
                  <a:lnTo>
                    <a:pt x="172844" y="460017"/>
                  </a:lnTo>
                  <a:cubicBezTo>
                    <a:pt x="77385" y="460017"/>
                    <a:pt x="0" y="382632"/>
                    <a:pt x="0" y="287173"/>
                  </a:cubicBezTo>
                  <a:lnTo>
                    <a:pt x="1" y="287173"/>
                  </a:lnTo>
                  <a:cubicBezTo>
                    <a:pt x="1" y="191714"/>
                    <a:pt x="77386" y="114329"/>
                    <a:pt x="172845" y="114329"/>
                  </a:cubicBezTo>
                  <a:lnTo>
                    <a:pt x="380450" y="114330"/>
                  </a:lnTo>
                  <a:lnTo>
                    <a:pt x="436696" y="0"/>
                  </a:lnTo>
                  <a:lnTo>
                    <a:pt x="500158" y="114330"/>
                  </a:lnTo>
                  <a:lnTo>
                    <a:pt x="695557" y="114330"/>
                  </a:lnTo>
                  <a:cubicBezTo>
                    <a:pt x="767151" y="114330"/>
                    <a:pt x="828579" y="157859"/>
                    <a:pt x="854818" y="219896"/>
                  </a:cubicBezTo>
                  <a:lnTo>
                    <a:pt x="868401" y="287174"/>
                  </a:lnTo>
                  <a:lnTo>
                    <a:pt x="854818" y="354452"/>
                  </a:lnTo>
                  <a:cubicBezTo>
                    <a:pt x="828579" y="416488"/>
                    <a:pt x="767151" y="460017"/>
                    <a:pt x="695557" y="460017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rgbClr val="1D324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kumimoji="1" lang="zh-CN" altLang="en-US"/>
            </a:p>
          </p:txBody>
        </p:sp>
        <p:sp>
          <p:nvSpPr>
            <p:cNvPr id="30" name="文本框 20">
              <a:extLst>
                <a:ext uri="{FF2B5EF4-FFF2-40B4-BE49-F238E27FC236}">
                  <a16:creationId xmlns:a16="http://schemas.microsoft.com/office/drawing/2014/main" id="{57295209-97CF-E83B-09C9-F9D01A4DA22C}"/>
                </a:ext>
              </a:extLst>
            </p:cNvPr>
            <p:cNvSpPr txBox="1"/>
            <p:nvPr/>
          </p:nvSpPr>
          <p:spPr>
            <a:xfrm>
              <a:off x="7921755" y="4196923"/>
              <a:ext cx="60785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en-US" altLang="zh-CN" sz="1600" dirty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rPr>
                <a:t>74%</a:t>
              </a:r>
              <a:endParaRPr kumimoji="1" lang="zh-CN" altLang="en-US" sz="1600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endParaRPr>
            </a:p>
          </p:txBody>
        </p:sp>
      </p:grpSp>
      <p:grpSp>
        <p:nvGrpSpPr>
          <p:cNvPr id="31" name="组合 737">
            <a:extLst>
              <a:ext uri="{FF2B5EF4-FFF2-40B4-BE49-F238E27FC236}">
                <a16:creationId xmlns:a16="http://schemas.microsoft.com/office/drawing/2014/main" id="{48C3157D-80D6-9577-6C57-200EBFA524EA}"/>
              </a:ext>
            </a:extLst>
          </p:cNvPr>
          <p:cNvGrpSpPr/>
          <p:nvPr/>
        </p:nvGrpSpPr>
        <p:grpSpPr>
          <a:xfrm>
            <a:off x="8343338" y="1670973"/>
            <a:ext cx="687268" cy="384903"/>
            <a:chOff x="7844690" y="4196923"/>
            <a:chExt cx="687268" cy="384903"/>
          </a:xfrm>
        </p:grpSpPr>
        <p:sp>
          <p:nvSpPr>
            <p:cNvPr id="32" name="任意形状 738">
              <a:extLst>
                <a:ext uri="{FF2B5EF4-FFF2-40B4-BE49-F238E27FC236}">
                  <a16:creationId xmlns:a16="http://schemas.microsoft.com/office/drawing/2014/main" id="{32A23D39-0767-94B1-14C0-387484778113}"/>
                </a:ext>
              </a:extLst>
            </p:cNvPr>
            <p:cNvSpPr/>
            <p:nvPr/>
          </p:nvSpPr>
          <p:spPr>
            <a:xfrm rot="10800000">
              <a:off x="7844690" y="4217760"/>
              <a:ext cx="687268" cy="364066"/>
            </a:xfrm>
            <a:custGeom>
              <a:avLst/>
              <a:gdLst>
                <a:gd name="connsiteX0" fmla="*/ 868401 w 868401"/>
                <a:gd name="connsiteY0" fmla="*/ 287174 h 460017"/>
                <a:gd name="connsiteX1" fmla="*/ 868401 w 868401"/>
                <a:gd name="connsiteY1" fmla="*/ 287174 h 460017"/>
                <a:gd name="connsiteX2" fmla="*/ 868401 w 868401"/>
                <a:gd name="connsiteY2" fmla="*/ 287173 h 460017"/>
                <a:gd name="connsiteX3" fmla="*/ 695557 w 868401"/>
                <a:gd name="connsiteY3" fmla="*/ 460017 h 460017"/>
                <a:gd name="connsiteX4" fmla="*/ 172844 w 868401"/>
                <a:gd name="connsiteY4" fmla="*/ 460017 h 460017"/>
                <a:gd name="connsiteX5" fmla="*/ 0 w 868401"/>
                <a:gd name="connsiteY5" fmla="*/ 287173 h 460017"/>
                <a:gd name="connsiteX6" fmla="*/ 1 w 868401"/>
                <a:gd name="connsiteY6" fmla="*/ 287173 h 460017"/>
                <a:gd name="connsiteX7" fmla="*/ 172845 w 868401"/>
                <a:gd name="connsiteY7" fmla="*/ 114329 h 460017"/>
                <a:gd name="connsiteX8" fmla="*/ 380450 w 868401"/>
                <a:gd name="connsiteY8" fmla="*/ 114330 h 460017"/>
                <a:gd name="connsiteX9" fmla="*/ 436696 w 868401"/>
                <a:gd name="connsiteY9" fmla="*/ 0 h 460017"/>
                <a:gd name="connsiteX10" fmla="*/ 500158 w 868401"/>
                <a:gd name="connsiteY10" fmla="*/ 114330 h 460017"/>
                <a:gd name="connsiteX11" fmla="*/ 695557 w 868401"/>
                <a:gd name="connsiteY11" fmla="*/ 114330 h 460017"/>
                <a:gd name="connsiteX12" fmla="*/ 854818 w 868401"/>
                <a:gd name="connsiteY12" fmla="*/ 219896 h 460017"/>
                <a:gd name="connsiteX13" fmla="*/ 868401 w 868401"/>
                <a:gd name="connsiteY13" fmla="*/ 287174 h 460017"/>
                <a:gd name="connsiteX14" fmla="*/ 854818 w 868401"/>
                <a:gd name="connsiteY14" fmla="*/ 354452 h 460017"/>
                <a:gd name="connsiteX15" fmla="*/ 695557 w 868401"/>
                <a:gd name="connsiteY15" fmla="*/ 460017 h 46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8401" h="460017">
                  <a:moveTo>
                    <a:pt x="868401" y="287174"/>
                  </a:moveTo>
                  <a:lnTo>
                    <a:pt x="868401" y="287174"/>
                  </a:lnTo>
                  <a:lnTo>
                    <a:pt x="868401" y="287173"/>
                  </a:lnTo>
                  <a:close/>
                  <a:moveTo>
                    <a:pt x="695557" y="460017"/>
                  </a:moveTo>
                  <a:lnTo>
                    <a:pt x="172844" y="460017"/>
                  </a:lnTo>
                  <a:cubicBezTo>
                    <a:pt x="77385" y="460017"/>
                    <a:pt x="0" y="382632"/>
                    <a:pt x="0" y="287173"/>
                  </a:cubicBezTo>
                  <a:lnTo>
                    <a:pt x="1" y="287173"/>
                  </a:lnTo>
                  <a:cubicBezTo>
                    <a:pt x="1" y="191714"/>
                    <a:pt x="77386" y="114329"/>
                    <a:pt x="172845" y="114329"/>
                  </a:cubicBezTo>
                  <a:lnTo>
                    <a:pt x="380450" y="114330"/>
                  </a:lnTo>
                  <a:lnTo>
                    <a:pt x="436696" y="0"/>
                  </a:lnTo>
                  <a:lnTo>
                    <a:pt x="500158" y="114330"/>
                  </a:lnTo>
                  <a:lnTo>
                    <a:pt x="695557" y="114330"/>
                  </a:lnTo>
                  <a:cubicBezTo>
                    <a:pt x="767151" y="114330"/>
                    <a:pt x="828579" y="157859"/>
                    <a:pt x="854818" y="219896"/>
                  </a:cubicBezTo>
                  <a:lnTo>
                    <a:pt x="868401" y="287174"/>
                  </a:lnTo>
                  <a:lnTo>
                    <a:pt x="854818" y="354452"/>
                  </a:lnTo>
                  <a:cubicBezTo>
                    <a:pt x="828579" y="416488"/>
                    <a:pt x="767151" y="460017"/>
                    <a:pt x="695557" y="460017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rgbClr val="1D324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kumimoji="1" lang="zh-CN" altLang="en-US"/>
            </a:p>
          </p:txBody>
        </p:sp>
        <p:sp>
          <p:nvSpPr>
            <p:cNvPr id="33" name="文本框 739">
              <a:extLst>
                <a:ext uri="{FF2B5EF4-FFF2-40B4-BE49-F238E27FC236}">
                  <a16:creationId xmlns:a16="http://schemas.microsoft.com/office/drawing/2014/main" id="{034D596A-1C31-98BA-EEF3-6FCBF207837B}"/>
                </a:ext>
              </a:extLst>
            </p:cNvPr>
            <p:cNvSpPr txBox="1"/>
            <p:nvPr/>
          </p:nvSpPr>
          <p:spPr>
            <a:xfrm>
              <a:off x="7921755" y="4196923"/>
              <a:ext cx="60785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en-US" altLang="zh-CN" sz="1600" dirty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rPr>
                <a:t>12%</a:t>
              </a:r>
              <a:endParaRPr kumimoji="1" lang="zh-CN" altLang="en-US" sz="1600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endParaRPr>
            </a:p>
          </p:txBody>
        </p:sp>
      </p:grpSp>
      <p:grpSp>
        <p:nvGrpSpPr>
          <p:cNvPr id="34" name="组合 33">
            <a:extLst>
              <a:ext uri="{FF2B5EF4-FFF2-40B4-BE49-F238E27FC236}">
                <a16:creationId xmlns:a16="http://schemas.microsoft.com/office/drawing/2014/main" id="{A8736C8B-5A4D-9EDD-E36B-EA5BDD454C87}"/>
              </a:ext>
            </a:extLst>
          </p:cNvPr>
          <p:cNvGrpSpPr/>
          <p:nvPr/>
        </p:nvGrpSpPr>
        <p:grpSpPr>
          <a:xfrm>
            <a:off x="8098227" y="3198849"/>
            <a:ext cx="493412" cy="307724"/>
            <a:chOff x="7844690" y="4153201"/>
            <a:chExt cx="687268" cy="428625"/>
          </a:xfrm>
        </p:grpSpPr>
        <p:sp>
          <p:nvSpPr>
            <p:cNvPr id="35" name="任意形状 34">
              <a:extLst>
                <a:ext uri="{FF2B5EF4-FFF2-40B4-BE49-F238E27FC236}">
                  <a16:creationId xmlns:a16="http://schemas.microsoft.com/office/drawing/2014/main" id="{4237FDEA-B14F-6346-CBCD-0BBBF3BC0D04}"/>
                </a:ext>
              </a:extLst>
            </p:cNvPr>
            <p:cNvSpPr/>
            <p:nvPr/>
          </p:nvSpPr>
          <p:spPr>
            <a:xfrm rot="10800000">
              <a:off x="7844690" y="4217760"/>
              <a:ext cx="687268" cy="364066"/>
            </a:xfrm>
            <a:custGeom>
              <a:avLst/>
              <a:gdLst>
                <a:gd name="connsiteX0" fmla="*/ 868401 w 868401"/>
                <a:gd name="connsiteY0" fmla="*/ 287174 h 460017"/>
                <a:gd name="connsiteX1" fmla="*/ 868401 w 868401"/>
                <a:gd name="connsiteY1" fmla="*/ 287174 h 460017"/>
                <a:gd name="connsiteX2" fmla="*/ 868401 w 868401"/>
                <a:gd name="connsiteY2" fmla="*/ 287173 h 460017"/>
                <a:gd name="connsiteX3" fmla="*/ 695557 w 868401"/>
                <a:gd name="connsiteY3" fmla="*/ 460017 h 460017"/>
                <a:gd name="connsiteX4" fmla="*/ 172844 w 868401"/>
                <a:gd name="connsiteY4" fmla="*/ 460017 h 460017"/>
                <a:gd name="connsiteX5" fmla="*/ 0 w 868401"/>
                <a:gd name="connsiteY5" fmla="*/ 287173 h 460017"/>
                <a:gd name="connsiteX6" fmla="*/ 1 w 868401"/>
                <a:gd name="connsiteY6" fmla="*/ 287173 h 460017"/>
                <a:gd name="connsiteX7" fmla="*/ 172845 w 868401"/>
                <a:gd name="connsiteY7" fmla="*/ 114329 h 460017"/>
                <a:gd name="connsiteX8" fmla="*/ 380450 w 868401"/>
                <a:gd name="connsiteY8" fmla="*/ 114330 h 460017"/>
                <a:gd name="connsiteX9" fmla="*/ 436696 w 868401"/>
                <a:gd name="connsiteY9" fmla="*/ 0 h 460017"/>
                <a:gd name="connsiteX10" fmla="*/ 500158 w 868401"/>
                <a:gd name="connsiteY10" fmla="*/ 114330 h 460017"/>
                <a:gd name="connsiteX11" fmla="*/ 695557 w 868401"/>
                <a:gd name="connsiteY11" fmla="*/ 114330 h 460017"/>
                <a:gd name="connsiteX12" fmla="*/ 854818 w 868401"/>
                <a:gd name="connsiteY12" fmla="*/ 219896 h 460017"/>
                <a:gd name="connsiteX13" fmla="*/ 868401 w 868401"/>
                <a:gd name="connsiteY13" fmla="*/ 287174 h 460017"/>
                <a:gd name="connsiteX14" fmla="*/ 854818 w 868401"/>
                <a:gd name="connsiteY14" fmla="*/ 354452 h 460017"/>
                <a:gd name="connsiteX15" fmla="*/ 695557 w 868401"/>
                <a:gd name="connsiteY15" fmla="*/ 460017 h 46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8401" h="460017">
                  <a:moveTo>
                    <a:pt x="868401" y="287174"/>
                  </a:moveTo>
                  <a:lnTo>
                    <a:pt x="868401" y="287174"/>
                  </a:lnTo>
                  <a:lnTo>
                    <a:pt x="868401" y="287173"/>
                  </a:lnTo>
                  <a:close/>
                  <a:moveTo>
                    <a:pt x="695557" y="460017"/>
                  </a:moveTo>
                  <a:lnTo>
                    <a:pt x="172844" y="460017"/>
                  </a:lnTo>
                  <a:cubicBezTo>
                    <a:pt x="77385" y="460017"/>
                    <a:pt x="0" y="382632"/>
                    <a:pt x="0" y="287173"/>
                  </a:cubicBezTo>
                  <a:lnTo>
                    <a:pt x="1" y="287173"/>
                  </a:lnTo>
                  <a:cubicBezTo>
                    <a:pt x="1" y="191714"/>
                    <a:pt x="77386" y="114329"/>
                    <a:pt x="172845" y="114329"/>
                  </a:cubicBezTo>
                  <a:lnTo>
                    <a:pt x="380450" y="114330"/>
                  </a:lnTo>
                  <a:lnTo>
                    <a:pt x="436696" y="0"/>
                  </a:lnTo>
                  <a:lnTo>
                    <a:pt x="500158" y="114330"/>
                  </a:lnTo>
                  <a:lnTo>
                    <a:pt x="695557" y="114330"/>
                  </a:lnTo>
                  <a:cubicBezTo>
                    <a:pt x="767151" y="114330"/>
                    <a:pt x="828579" y="157859"/>
                    <a:pt x="854818" y="219896"/>
                  </a:cubicBezTo>
                  <a:lnTo>
                    <a:pt x="868401" y="287174"/>
                  </a:lnTo>
                  <a:lnTo>
                    <a:pt x="854818" y="354452"/>
                  </a:lnTo>
                  <a:cubicBezTo>
                    <a:pt x="828579" y="416488"/>
                    <a:pt x="767151" y="460017"/>
                    <a:pt x="695557" y="460017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rgbClr val="1D324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kumimoji="1" lang="zh-CN" altLang="en-US" sz="1400"/>
            </a:p>
          </p:txBody>
        </p:sp>
        <p:sp>
          <p:nvSpPr>
            <p:cNvPr id="36" name="文本框 35">
              <a:extLst>
                <a:ext uri="{FF2B5EF4-FFF2-40B4-BE49-F238E27FC236}">
                  <a16:creationId xmlns:a16="http://schemas.microsoft.com/office/drawing/2014/main" id="{30A7447D-D00B-3A07-DD90-BF27021681C9}"/>
                </a:ext>
              </a:extLst>
            </p:cNvPr>
            <p:cNvSpPr txBox="1"/>
            <p:nvPr/>
          </p:nvSpPr>
          <p:spPr>
            <a:xfrm>
              <a:off x="7902301" y="4153201"/>
              <a:ext cx="572045" cy="38582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en-US" altLang="zh-CN" sz="1200" dirty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rPr>
                <a:t>4%</a:t>
              </a:r>
              <a:endParaRPr kumimoji="1" lang="zh-CN" altLang="en-US" sz="1200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endParaRPr>
            </a:p>
          </p:txBody>
        </p:sp>
      </p:grpSp>
      <p:sp>
        <p:nvSpPr>
          <p:cNvPr id="38" name="文本框 743">
            <a:extLst>
              <a:ext uri="{FF2B5EF4-FFF2-40B4-BE49-F238E27FC236}">
                <a16:creationId xmlns:a16="http://schemas.microsoft.com/office/drawing/2014/main" id="{8CDABF4E-7448-A9EA-FEF5-0153603E9B43}"/>
              </a:ext>
            </a:extLst>
          </p:cNvPr>
          <p:cNvSpPr txBox="1"/>
          <p:nvPr/>
        </p:nvSpPr>
        <p:spPr>
          <a:xfrm>
            <a:off x="6786491" y="4819450"/>
            <a:ext cx="43493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spc="-5" dirty="0">
                <a:latin typeface="Arial"/>
                <a:cs typeface="Arial"/>
              </a:rPr>
              <a:t>Average Credit Limit By Card Type (RMB)</a:t>
            </a:r>
            <a:endParaRPr lang="zh-CN" altLang="en-US" sz="1600" b="1" spc="-5" dirty="0">
              <a:latin typeface="Arial"/>
              <a:cs typeface="Arial"/>
            </a:endParaRPr>
          </a:p>
        </p:txBody>
      </p:sp>
      <p:sp>
        <p:nvSpPr>
          <p:cNvPr id="40" name="椭圆 58">
            <a:extLst>
              <a:ext uri="{FF2B5EF4-FFF2-40B4-BE49-F238E27FC236}">
                <a16:creationId xmlns:a16="http://schemas.microsoft.com/office/drawing/2014/main" id="{88C7BABE-99D5-2D3B-BDCB-16625E10659E}"/>
              </a:ext>
            </a:extLst>
          </p:cNvPr>
          <p:cNvSpPr/>
          <p:nvPr/>
        </p:nvSpPr>
        <p:spPr>
          <a:xfrm>
            <a:off x="6881552" y="5103628"/>
            <a:ext cx="1740608" cy="1654568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15875">
            <a:solidFill>
              <a:srgbClr val="1D32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1" name="文本框 747">
            <a:extLst>
              <a:ext uri="{FF2B5EF4-FFF2-40B4-BE49-F238E27FC236}">
                <a16:creationId xmlns:a16="http://schemas.microsoft.com/office/drawing/2014/main" id="{BFD4709C-B6D8-B66D-1A6A-FD1C065FB697}"/>
              </a:ext>
            </a:extLst>
          </p:cNvPr>
          <p:cNvSpPr txBox="1"/>
          <p:nvPr/>
        </p:nvSpPr>
        <p:spPr>
          <a:xfrm>
            <a:off x="6961639" y="5638524"/>
            <a:ext cx="19105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>
                <a:solidFill>
                  <a:srgbClr val="02205A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lvl1pPr>
          </a:lstStyle>
          <a:p>
            <a:r>
              <a:rPr lang="zh-CN" altLang="en-US" sz="1600" dirty="0">
                <a:solidFill>
                  <a:schemeClr val="bg1"/>
                </a:solidFill>
              </a:rPr>
              <a:t>汇丰东航联名卡</a:t>
            </a:r>
            <a:endParaRPr lang="en-US" altLang="zh-CN" sz="1600" dirty="0">
              <a:solidFill>
                <a:schemeClr val="bg1"/>
              </a:solidFill>
            </a:endParaRPr>
          </a:p>
          <a:p>
            <a:r>
              <a:rPr lang="en-US" altLang="zh-CN" sz="1600" dirty="0">
                <a:solidFill>
                  <a:schemeClr val="bg1"/>
                </a:solidFill>
              </a:rPr>
              <a:t>       47,679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37" name="椭圆 57">
            <a:extLst>
              <a:ext uri="{FF2B5EF4-FFF2-40B4-BE49-F238E27FC236}">
                <a16:creationId xmlns:a16="http://schemas.microsoft.com/office/drawing/2014/main" id="{928D24A1-B691-F00E-E183-C0D3D774431B}"/>
              </a:ext>
            </a:extLst>
          </p:cNvPr>
          <p:cNvSpPr/>
          <p:nvPr/>
        </p:nvSpPr>
        <p:spPr>
          <a:xfrm>
            <a:off x="8492682" y="5213456"/>
            <a:ext cx="1507219" cy="1470607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15875">
            <a:solidFill>
              <a:srgbClr val="1D32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39" name="文本框 747">
            <a:extLst>
              <a:ext uri="{FF2B5EF4-FFF2-40B4-BE49-F238E27FC236}">
                <a16:creationId xmlns:a16="http://schemas.microsoft.com/office/drawing/2014/main" id="{070F2693-5B7C-A76D-B590-5945739C5C51}"/>
              </a:ext>
            </a:extLst>
          </p:cNvPr>
          <p:cNvSpPr txBox="1"/>
          <p:nvPr/>
        </p:nvSpPr>
        <p:spPr>
          <a:xfrm>
            <a:off x="8724332" y="5631534"/>
            <a:ext cx="13962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>
                <a:solidFill>
                  <a:srgbClr val="02205A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lvl1pPr>
          </a:lstStyle>
          <a:p>
            <a:r>
              <a:rPr lang="zh-CN" altLang="en-US" sz="1600" dirty="0">
                <a:solidFill>
                  <a:schemeClr val="bg1"/>
                </a:solidFill>
              </a:rPr>
              <a:t>汇丰</a:t>
            </a:r>
            <a:r>
              <a:rPr lang="en-US" altLang="zh-CN" sz="1600" dirty="0">
                <a:solidFill>
                  <a:schemeClr val="bg1"/>
                </a:solidFill>
              </a:rPr>
              <a:t>CP</a:t>
            </a:r>
            <a:r>
              <a:rPr lang="zh-CN" altLang="en-US" sz="1600" dirty="0">
                <a:solidFill>
                  <a:schemeClr val="bg1"/>
                </a:solidFill>
              </a:rPr>
              <a:t>卡</a:t>
            </a:r>
            <a:endParaRPr lang="en-US" altLang="zh-CN" sz="1600" dirty="0">
              <a:solidFill>
                <a:schemeClr val="bg1"/>
              </a:solidFill>
            </a:endParaRPr>
          </a:p>
          <a:p>
            <a:r>
              <a:rPr lang="en-US" altLang="zh-CN" sz="1600" dirty="0">
                <a:solidFill>
                  <a:schemeClr val="bg1"/>
                </a:solidFill>
              </a:rPr>
              <a:t>  33,430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42" name="椭圆 62">
            <a:extLst>
              <a:ext uri="{FF2B5EF4-FFF2-40B4-BE49-F238E27FC236}">
                <a16:creationId xmlns:a16="http://schemas.microsoft.com/office/drawing/2014/main" id="{63A7C7CD-AB39-C124-E16C-B386546593D7}"/>
              </a:ext>
            </a:extLst>
          </p:cNvPr>
          <p:cNvSpPr/>
          <p:nvPr/>
        </p:nvSpPr>
        <p:spPr>
          <a:xfrm>
            <a:off x="9851063" y="5456615"/>
            <a:ext cx="1054855" cy="1054855"/>
          </a:xfrm>
          <a:prstGeom prst="ellipse">
            <a:avLst/>
          </a:prstGeom>
          <a:solidFill>
            <a:srgbClr val="C00000"/>
          </a:solidFill>
          <a:ln w="1587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3" name="文本框 747">
            <a:extLst>
              <a:ext uri="{FF2B5EF4-FFF2-40B4-BE49-F238E27FC236}">
                <a16:creationId xmlns:a16="http://schemas.microsoft.com/office/drawing/2014/main" id="{D70974B9-6A96-2194-BB12-BF59A2A0744D}"/>
              </a:ext>
            </a:extLst>
          </p:cNvPr>
          <p:cNvSpPr txBox="1"/>
          <p:nvPr/>
        </p:nvSpPr>
        <p:spPr>
          <a:xfrm>
            <a:off x="9804844" y="5786087"/>
            <a:ext cx="13309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>
                <a:solidFill>
                  <a:srgbClr val="02205A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lvl1pPr>
          </a:lstStyle>
          <a:p>
            <a:r>
              <a:rPr lang="zh-CN" altLang="en-US" sz="1200" dirty="0">
                <a:solidFill>
                  <a:schemeClr val="bg1"/>
                </a:solidFill>
              </a:rPr>
              <a:t>汇丰生活信用卡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     28,416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C9A1AD3A-6E64-137F-10D3-D4B9106702AD}"/>
              </a:ext>
            </a:extLst>
          </p:cNvPr>
          <p:cNvCxnSpPr/>
          <p:nvPr/>
        </p:nvCxnSpPr>
        <p:spPr>
          <a:xfrm>
            <a:off x="1374854" y="1519614"/>
            <a:ext cx="3295822" cy="269715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04157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3CD88D-84B3-D221-2919-092F3645E7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3CD88D-84B3-D221-2919-092F3645E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直线连接符 10">
            <a:extLst>
              <a:ext uri="{FF2B5EF4-FFF2-40B4-BE49-F238E27FC236}">
                <a16:creationId xmlns:a16="http://schemas.microsoft.com/office/drawing/2014/main" id="{0DCF6269-9D45-807C-239E-E7BD07786BF8}"/>
              </a:ext>
            </a:extLst>
          </p:cNvPr>
          <p:cNvCxnSpPr>
            <a:cxnSpLocks/>
          </p:cNvCxnSpPr>
          <p:nvPr/>
        </p:nvCxnSpPr>
        <p:spPr>
          <a:xfrm>
            <a:off x="244840" y="764397"/>
            <a:ext cx="11683999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8" name="文本框 497">
            <a:extLst>
              <a:ext uri="{FF2B5EF4-FFF2-40B4-BE49-F238E27FC236}">
                <a16:creationId xmlns:a16="http://schemas.microsoft.com/office/drawing/2014/main" id="{B131CF32-6B2B-F422-2F88-368FA8B59706}"/>
              </a:ext>
            </a:extLst>
          </p:cNvPr>
          <p:cNvSpPr txBox="1"/>
          <p:nvPr/>
        </p:nvSpPr>
        <p:spPr>
          <a:xfrm>
            <a:off x="260027" y="926848"/>
            <a:ext cx="35508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" altLang="zh-CN" sz="1600" b="1" dirty="0">
                <a:solidFill>
                  <a:srgbClr val="1E344D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Alibaba PuHuiTi Medium" pitchFamily="18" charset="-122"/>
              </a:rPr>
              <a:t>GPB Overview </a:t>
            </a:r>
            <a:endParaRPr kumimoji="1" lang="zh-CN" altLang="en-US" sz="1600" b="1" dirty="0">
              <a:solidFill>
                <a:srgbClr val="1E344D"/>
              </a:solidFill>
              <a:latin typeface="DengXian" panose="02010600030101010101" pitchFamily="2" charset="-122"/>
              <a:ea typeface="DengXian" panose="02010600030101010101" pitchFamily="2" charset="-122"/>
              <a:cs typeface="Alibaba PuHuiTi Medium" pitchFamily="18" charset="-122"/>
            </a:endParaRPr>
          </a:p>
        </p:txBody>
      </p:sp>
      <p:cxnSp>
        <p:nvCxnSpPr>
          <p:cNvPr id="499" name="直线连接符 498">
            <a:extLst>
              <a:ext uri="{FF2B5EF4-FFF2-40B4-BE49-F238E27FC236}">
                <a16:creationId xmlns:a16="http://schemas.microsoft.com/office/drawing/2014/main" id="{48FCEB1C-CA2C-5D6E-B0D6-0F249D39C17A}"/>
              </a:ext>
            </a:extLst>
          </p:cNvPr>
          <p:cNvCxnSpPr>
            <a:cxnSpLocks/>
          </p:cNvCxnSpPr>
          <p:nvPr/>
        </p:nvCxnSpPr>
        <p:spPr>
          <a:xfrm>
            <a:off x="285312" y="1296399"/>
            <a:ext cx="3648280" cy="0"/>
          </a:xfrm>
          <a:prstGeom prst="line">
            <a:avLst/>
          </a:prstGeom>
          <a:ln w="28575">
            <a:solidFill>
              <a:srgbClr val="BB302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0" name="文本框 499">
            <a:extLst>
              <a:ext uri="{FF2B5EF4-FFF2-40B4-BE49-F238E27FC236}">
                <a16:creationId xmlns:a16="http://schemas.microsoft.com/office/drawing/2014/main" id="{E2982EE5-101C-5F19-3686-6504FEC5CDBA}"/>
              </a:ext>
            </a:extLst>
          </p:cNvPr>
          <p:cNvSpPr txBox="1"/>
          <p:nvPr/>
        </p:nvSpPr>
        <p:spPr>
          <a:xfrm>
            <a:off x="467530" y="1369424"/>
            <a:ext cx="21363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" altLang="zh-CN" sz="1600" b="1" i="1" dirty="0">
                <a:solidFill>
                  <a:srgbClr val="1E344D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Alibaba PuHuiTi Medium" pitchFamily="18" charset="-122"/>
              </a:rPr>
              <a:t>Customer Base</a:t>
            </a:r>
            <a:endParaRPr kumimoji="1" lang="zh-CN" altLang="en-US" sz="1600" b="1" i="1" dirty="0">
              <a:solidFill>
                <a:srgbClr val="1E344D"/>
              </a:solidFill>
              <a:latin typeface="DengXian" panose="02010600030101010101" pitchFamily="2" charset="-122"/>
              <a:ea typeface="DengXian" panose="02010600030101010101" pitchFamily="2" charset="-122"/>
              <a:cs typeface="Alibaba PuHuiTi Medium" pitchFamily="18" charset="-122"/>
            </a:endParaRPr>
          </a:p>
        </p:txBody>
      </p:sp>
      <p:sp>
        <p:nvSpPr>
          <p:cNvPr id="505" name="三角形 504">
            <a:extLst>
              <a:ext uri="{FF2B5EF4-FFF2-40B4-BE49-F238E27FC236}">
                <a16:creationId xmlns:a16="http://schemas.microsoft.com/office/drawing/2014/main" id="{9E04E3F9-A479-9C72-C060-845AFB9573F7}"/>
              </a:ext>
            </a:extLst>
          </p:cNvPr>
          <p:cNvSpPr/>
          <p:nvPr/>
        </p:nvSpPr>
        <p:spPr>
          <a:xfrm rot="5400000">
            <a:off x="346639" y="1444460"/>
            <a:ext cx="204229" cy="164020"/>
          </a:xfrm>
          <a:prstGeom prst="triangle">
            <a:avLst/>
          </a:prstGeom>
          <a:solidFill>
            <a:srgbClr val="BB302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BB3023"/>
              </a:solidFill>
            </a:endParaRPr>
          </a:p>
        </p:txBody>
      </p:sp>
      <p:sp>
        <p:nvSpPr>
          <p:cNvPr id="38" name="文本框 453">
            <a:extLst>
              <a:ext uri="{FF2B5EF4-FFF2-40B4-BE49-F238E27FC236}">
                <a16:creationId xmlns:a16="http://schemas.microsoft.com/office/drawing/2014/main" id="{D5619F60-363A-A8F0-A521-72F9ACE9317F}"/>
              </a:ext>
            </a:extLst>
          </p:cNvPr>
          <p:cNvSpPr txBox="1"/>
          <p:nvPr/>
        </p:nvSpPr>
        <p:spPr>
          <a:xfrm>
            <a:off x="285312" y="200526"/>
            <a:ext cx="62856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" altLang="zh-CN" sz="2800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ard Only </a:t>
            </a:r>
            <a:r>
              <a:rPr kumimoji="1" lang="en-US" altLang="zh-CN" sz="2800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vs. GPB Customer</a:t>
            </a:r>
            <a:endParaRPr kumimoji="1" lang="zh-CN" altLang="en-US" sz="2800" dirty="0">
              <a:solidFill>
                <a:srgbClr val="1D324E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grpSp>
        <p:nvGrpSpPr>
          <p:cNvPr id="39" name="组合 618">
            <a:extLst>
              <a:ext uri="{FF2B5EF4-FFF2-40B4-BE49-F238E27FC236}">
                <a16:creationId xmlns:a16="http://schemas.microsoft.com/office/drawing/2014/main" id="{CEBCB65E-F9FC-960D-2087-72E3411EA26D}"/>
              </a:ext>
            </a:extLst>
          </p:cNvPr>
          <p:cNvGrpSpPr/>
          <p:nvPr/>
        </p:nvGrpSpPr>
        <p:grpSpPr>
          <a:xfrm>
            <a:off x="492531" y="1797403"/>
            <a:ext cx="2969179" cy="4361824"/>
            <a:chOff x="847302" y="1193772"/>
            <a:chExt cx="2850206" cy="4273189"/>
          </a:xfrm>
        </p:grpSpPr>
        <p:sp>
          <p:nvSpPr>
            <p:cNvPr id="40" name="任意形状 25">
              <a:extLst>
                <a:ext uri="{FF2B5EF4-FFF2-40B4-BE49-F238E27FC236}">
                  <a16:creationId xmlns:a16="http://schemas.microsoft.com/office/drawing/2014/main" id="{44E6113B-17BB-D28F-3006-5D9D0E738163}"/>
                </a:ext>
              </a:extLst>
            </p:cNvPr>
            <p:cNvSpPr/>
            <p:nvPr/>
          </p:nvSpPr>
          <p:spPr>
            <a:xfrm>
              <a:off x="1218809" y="3339144"/>
              <a:ext cx="2119746" cy="1816925"/>
            </a:xfrm>
            <a:custGeom>
              <a:avLst/>
              <a:gdLst>
                <a:gd name="connsiteX0" fmla="*/ 0 w 2119746"/>
                <a:gd name="connsiteY0" fmla="*/ 0 h 1816925"/>
                <a:gd name="connsiteX1" fmla="*/ 2119746 w 2119746"/>
                <a:gd name="connsiteY1" fmla="*/ 17813 h 1816925"/>
                <a:gd name="connsiteX2" fmla="*/ 1745673 w 2119746"/>
                <a:gd name="connsiteY2" fmla="*/ 1816925 h 1816925"/>
                <a:gd name="connsiteX3" fmla="*/ 914400 w 2119746"/>
                <a:gd name="connsiteY3" fmla="*/ 1751610 h 1816925"/>
                <a:gd name="connsiteX4" fmla="*/ 374073 w 2119746"/>
                <a:gd name="connsiteY4" fmla="*/ 1810987 h 1816925"/>
                <a:gd name="connsiteX5" fmla="*/ 0 w 2119746"/>
                <a:gd name="connsiteY5" fmla="*/ 0 h 1816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19746" h="1816925">
                  <a:moveTo>
                    <a:pt x="0" y="0"/>
                  </a:moveTo>
                  <a:lnTo>
                    <a:pt x="2119746" y="17813"/>
                  </a:lnTo>
                  <a:lnTo>
                    <a:pt x="1745673" y="1816925"/>
                  </a:lnTo>
                  <a:lnTo>
                    <a:pt x="914400" y="1751610"/>
                  </a:lnTo>
                  <a:lnTo>
                    <a:pt x="374073" y="18109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B3023">
                <a:alpha val="24326"/>
              </a:srgbClr>
            </a:solidFill>
            <a:ln w="254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1" name="任意形状 24">
              <a:extLst>
                <a:ext uri="{FF2B5EF4-FFF2-40B4-BE49-F238E27FC236}">
                  <a16:creationId xmlns:a16="http://schemas.microsoft.com/office/drawing/2014/main" id="{6CE65283-6248-F2A1-ECAF-B1A01E01BFC2}"/>
                </a:ext>
              </a:extLst>
            </p:cNvPr>
            <p:cNvSpPr/>
            <p:nvPr/>
          </p:nvSpPr>
          <p:spPr>
            <a:xfrm>
              <a:off x="863473" y="1547126"/>
              <a:ext cx="2826327" cy="1828800"/>
            </a:xfrm>
            <a:custGeom>
              <a:avLst/>
              <a:gdLst>
                <a:gd name="connsiteX0" fmla="*/ 2755075 w 2826327"/>
                <a:gd name="connsiteY0" fmla="*/ 0 h 1828800"/>
                <a:gd name="connsiteX1" fmla="*/ 29688 w 2826327"/>
                <a:gd name="connsiteY1" fmla="*/ 5938 h 1828800"/>
                <a:gd name="connsiteX2" fmla="*/ 0 w 2826327"/>
                <a:gd name="connsiteY2" fmla="*/ 65314 h 1828800"/>
                <a:gd name="connsiteX3" fmla="*/ 362197 w 2826327"/>
                <a:gd name="connsiteY3" fmla="*/ 1810987 h 1828800"/>
                <a:gd name="connsiteX4" fmla="*/ 1175657 w 2826327"/>
                <a:gd name="connsiteY4" fmla="*/ 1751610 h 1828800"/>
                <a:gd name="connsiteX5" fmla="*/ 2458192 w 2826327"/>
                <a:gd name="connsiteY5" fmla="*/ 1828800 h 1828800"/>
                <a:gd name="connsiteX6" fmla="*/ 2826327 w 2826327"/>
                <a:gd name="connsiteY6" fmla="*/ 29688 h 1828800"/>
                <a:gd name="connsiteX7" fmla="*/ 2755075 w 2826327"/>
                <a:gd name="connsiteY7" fmla="*/ 0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26327" h="1828800">
                  <a:moveTo>
                    <a:pt x="2755075" y="0"/>
                  </a:moveTo>
                  <a:lnTo>
                    <a:pt x="29688" y="5938"/>
                  </a:lnTo>
                  <a:lnTo>
                    <a:pt x="0" y="65314"/>
                  </a:lnTo>
                  <a:lnTo>
                    <a:pt x="362197" y="1810987"/>
                  </a:lnTo>
                  <a:lnTo>
                    <a:pt x="1175657" y="1751610"/>
                  </a:lnTo>
                  <a:lnTo>
                    <a:pt x="2458192" y="1828800"/>
                  </a:lnTo>
                  <a:lnTo>
                    <a:pt x="2826327" y="29688"/>
                  </a:lnTo>
                  <a:lnTo>
                    <a:pt x="2755075" y="0"/>
                  </a:lnTo>
                  <a:close/>
                </a:path>
              </a:pathLst>
            </a:custGeom>
            <a:solidFill>
              <a:srgbClr val="1D324E">
                <a:alpha val="23653"/>
              </a:srgbClr>
            </a:solidFill>
            <a:ln w="254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48" name="椭圆 5">
              <a:extLst>
                <a:ext uri="{FF2B5EF4-FFF2-40B4-BE49-F238E27FC236}">
                  <a16:creationId xmlns:a16="http://schemas.microsoft.com/office/drawing/2014/main" id="{ACD52AFA-568C-08D2-C737-5A645872318D}"/>
                </a:ext>
              </a:extLst>
            </p:cNvPr>
            <p:cNvSpPr/>
            <p:nvPr/>
          </p:nvSpPr>
          <p:spPr>
            <a:xfrm>
              <a:off x="847303" y="1193772"/>
              <a:ext cx="2850205" cy="700391"/>
            </a:xfrm>
            <a:prstGeom prst="ellipse">
              <a:avLst/>
            </a:prstGeom>
            <a:solidFill>
              <a:srgbClr val="1D324E"/>
            </a:solidFill>
            <a:ln w="25400">
              <a:solidFill>
                <a:srgbClr val="1D324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49" name="椭圆 9">
              <a:extLst>
                <a:ext uri="{FF2B5EF4-FFF2-40B4-BE49-F238E27FC236}">
                  <a16:creationId xmlns:a16="http://schemas.microsoft.com/office/drawing/2014/main" id="{ED82C189-FE4A-BC0E-6FF7-DF46803AB55D}"/>
                </a:ext>
              </a:extLst>
            </p:cNvPr>
            <p:cNvSpPr/>
            <p:nvPr/>
          </p:nvSpPr>
          <p:spPr>
            <a:xfrm>
              <a:off x="1215121" y="3068006"/>
              <a:ext cx="2097741" cy="602429"/>
            </a:xfrm>
            <a:prstGeom prst="ellipse">
              <a:avLst/>
            </a:prstGeom>
            <a:solidFill>
              <a:srgbClr val="BB3023"/>
            </a:solidFill>
            <a:ln w="25400">
              <a:solidFill>
                <a:srgbClr val="1D324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50" name="椭圆 11">
              <a:extLst>
                <a:ext uri="{FF2B5EF4-FFF2-40B4-BE49-F238E27FC236}">
                  <a16:creationId xmlns:a16="http://schemas.microsoft.com/office/drawing/2014/main" id="{0AC3C0C4-CFBF-93A5-02B4-BE870EDB34A5}"/>
                </a:ext>
              </a:extLst>
            </p:cNvPr>
            <p:cNvSpPr/>
            <p:nvPr/>
          </p:nvSpPr>
          <p:spPr>
            <a:xfrm>
              <a:off x="1580882" y="4948282"/>
              <a:ext cx="1366222" cy="518679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1D324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cxnSp>
          <p:nvCxnSpPr>
            <p:cNvPr id="451" name="直线连接符 15">
              <a:extLst>
                <a:ext uri="{FF2B5EF4-FFF2-40B4-BE49-F238E27FC236}">
                  <a16:creationId xmlns:a16="http://schemas.microsoft.com/office/drawing/2014/main" id="{DBE1E5C1-F00C-95AA-67BC-A81C7921D81A}"/>
                </a:ext>
              </a:extLst>
            </p:cNvPr>
            <p:cNvCxnSpPr>
              <a:cxnSpLocks/>
              <a:stCxn id="448" idx="6"/>
              <a:endCxn id="450" idx="6"/>
            </p:cNvCxnSpPr>
            <p:nvPr/>
          </p:nvCxnSpPr>
          <p:spPr>
            <a:xfrm flipH="1">
              <a:off x="2947104" y="1543968"/>
              <a:ext cx="750403" cy="3663654"/>
            </a:xfrm>
            <a:prstGeom prst="line">
              <a:avLst/>
            </a:prstGeom>
            <a:ln w="25400">
              <a:solidFill>
                <a:srgbClr val="1D324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2" name="直线连接符 17">
              <a:extLst>
                <a:ext uri="{FF2B5EF4-FFF2-40B4-BE49-F238E27FC236}">
                  <a16:creationId xmlns:a16="http://schemas.microsoft.com/office/drawing/2014/main" id="{704AF617-82BC-7399-CD50-2FBCBE22AD9A}"/>
                </a:ext>
              </a:extLst>
            </p:cNvPr>
            <p:cNvCxnSpPr>
              <a:cxnSpLocks/>
              <a:stCxn id="448" idx="2"/>
              <a:endCxn id="450" idx="2"/>
            </p:cNvCxnSpPr>
            <p:nvPr/>
          </p:nvCxnSpPr>
          <p:spPr>
            <a:xfrm>
              <a:off x="847302" y="1543968"/>
              <a:ext cx="733580" cy="3663654"/>
            </a:xfrm>
            <a:prstGeom prst="line">
              <a:avLst/>
            </a:prstGeom>
            <a:ln w="25400">
              <a:solidFill>
                <a:srgbClr val="1D324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5" name="文本框 37">
              <a:extLst>
                <a:ext uri="{FF2B5EF4-FFF2-40B4-BE49-F238E27FC236}">
                  <a16:creationId xmlns:a16="http://schemas.microsoft.com/office/drawing/2014/main" id="{EA6CFD3E-1E4B-0DF8-3C15-8450F72A5861}"/>
                </a:ext>
              </a:extLst>
            </p:cNvPr>
            <p:cNvSpPr txBox="1"/>
            <p:nvPr/>
          </p:nvSpPr>
          <p:spPr>
            <a:xfrm>
              <a:off x="1912147" y="1510949"/>
              <a:ext cx="686600" cy="3316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en-US" altLang="zh-CN" sz="1600" dirty="0">
                  <a:solidFill>
                    <a:schemeClr val="bg1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rPr>
                <a:t>1,668</a:t>
              </a:r>
              <a:endParaRPr kumimoji="1" lang="zh-CN" altLang="en-US" sz="1600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endParaRPr>
            </a:p>
          </p:txBody>
        </p:sp>
        <p:sp>
          <p:nvSpPr>
            <p:cNvPr id="456" name="文本框 38">
              <a:extLst>
                <a:ext uri="{FF2B5EF4-FFF2-40B4-BE49-F238E27FC236}">
                  <a16:creationId xmlns:a16="http://schemas.microsoft.com/office/drawing/2014/main" id="{C6CDFCF5-4581-4021-C58E-4AF006F54A98}"/>
                </a:ext>
              </a:extLst>
            </p:cNvPr>
            <p:cNvSpPr txBox="1"/>
            <p:nvPr/>
          </p:nvSpPr>
          <p:spPr>
            <a:xfrm>
              <a:off x="2024102" y="3428021"/>
              <a:ext cx="481944" cy="3015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en-US" altLang="zh-CN" sz="1400" dirty="0">
                  <a:solidFill>
                    <a:schemeClr val="bg1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rPr>
                <a:t>247</a:t>
              </a:r>
              <a:endParaRPr kumimoji="1" lang="zh-CN" altLang="en-US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endParaRPr>
            </a:p>
          </p:txBody>
        </p:sp>
        <p:sp>
          <p:nvSpPr>
            <p:cNvPr id="457" name="文本框 39">
              <a:extLst>
                <a:ext uri="{FF2B5EF4-FFF2-40B4-BE49-F238E27FC236}">
                  <a16:creationId xmlns:a16="http://schemas.microsoft.com/office/drawing/2014/main" id="{4190C7B6-8EFF-3B0B-CA10-DEE6C158437C}"/>
                </a:ext>
              </a:extLst>
            </p:cNvPr>
            <p:cNvSpPr txBox="1"/>
            <p:nvPr/>
          </p:nvSpPr>
          <p:spPr>
            <a:xfrm>
              <a:off x="2007188" y="5122910"/>
              <a:ext cx="481944" cy="3015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en-US" altLang="zh-CN" sz="1400" dirty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rPr>
                <a:t>224</a:t>
              </a:r>
              <a:endParaRPr kumimoji="1" lang="zh-CN" altLang="en-US" sz="1400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endParaRPr>
            </a:p>
          </p:txBody>
        </p:sp>
        <p:sp>
          <p:nvSpPr>
            <p:cNvPr id="458" name="文本框 40">
              <a:extLst>
                <a:ext uri="{FF2B5EF4-FFF2-40B4-BE49-F238E27FC236}">
                  <a16:creationId xmlns:a16="http://schemas.microsoft.com/office/drawing/2014/main" id="{82AC2FEF-703D-59C3-B940-FA91D6B4CB46}"/>
                </a:ext>
              </a:extLst>
            </p:cNvPr>
            <p:cNvSpPr txBox="1"/>
            <p:nvPr/>
          </p:nvSpPr>
          <p:spPr>
            <a:xfrm>
              <a:off x="1636030" y="1244105"/>
              <a:ext cx="1238835" cy="2713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en-US" altLang="zh-CN" sz="1200" dirty="0">
                  <a:solidFill>
                    <a:schemeClr val="bg1"/>
                  </a:solidFill>
                  <a:latin typeface="Alibaba PuHuiTi" pitchFamily="18" charset="-122"/>
                  <a:ea typeface="Alibaba PuHuiTi" pitchFamily="18" charset="-122"/>
                  <a:cs typeface="Alibaba PuHuiTi" pitchFamily="18" charset="-122"/>
                </a:rPr>
                <a:t>Total Valid GPB</a:t>
              </a:r>
              <a:endParaRPr kumimoji="1" lang="zh-CN" altLang="en-US" sz="120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endParaRPr>
            </a:p>
          </p:txBody>
        </p:sp>
        <p:sp>
          <p:nvSpPr>
            <p:cNvPr id="459" name="文本框 41">
              <a:extLst>
                <a:ext uri="{FF2B5EF4-FFF2-40B4-BE49-F238E27FC236}">
                  <a16:creationId xmlns:a16="http://schemas.microsoft.com/office/drawing/2014/main" id="{90AD0197-6787-20C8-3003-B5632798AE9B}"/>
                </a:ext>
              </a:extLst>
            </p:cNvPr>
            <p:cNvSpPr txBox="1"/>
            <p:nvPr/>
          </p:nvSpPr>
          <p:spPr>
            <a:xfrm>
              <a:off x="1692863" y="3049900"/>
              <a:ext cx="1366222" cy="5125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kumimoji="1" lang="en-US" altLang="zh-CN" sz="1400" dirty="0">
                  <a:solidFill>
                    <a:schemeClr val="bg1"/>
                  </a:solidFill>
                  <a:latin typeface="Alibaba PuHuiTi" pitchFamily="18" charset="-122"/>
                  <a:ea typeface="Alibaba PuHuiTi" pitchFamily="18" charset="-122"/>
                  <a:cs typeface="Alibaba PuHuiTi" pitchFamily="18" charset="-122"/>
                </a:rPr>
                <a:t>GPB with </a:t>
              </a:r>
              <a:r>
                <a:rPr kumimoji="1" lang="en-US" altLang="zh-CN" sz="1400" dirty="0" err="1">
                  <a:solidFill>
                    <a:schemeClr val="bg1"/>
                  </a:solidFill>
                  <a:latin typeface="Alibaba PuHuiTi" pitchFamily="18" charset="-122"/>
                  <a:ea typeface="Alibaba PuHuiTi" pitchFamily="18" charset="-122"/>
                  <a:cs typeface="Alibaba PuHuiTi" pitchFamily="18" charset="-122"/>
                </a:rPr>
                <a:t>aif</a:t>
              </a:r>
              <a:r>
                <a:rPr kumimoji="1" lang="en-US" altLang="zh-CN" sz="1400" dirty="0">
                  <a:solidFill>
                    <a:schemeClr val="bg1"/>
                  </a:solidFill>
                  <a:latin typeface="Alibaba PuHuiTi" pitchFamily="18" charset="-122"/>
                  <a:ea typeface="Alibaba PuHuiTi" pitchFamily="18" charset="-122"/>
                  <a:cs typeface="Alibaba PuHuiTi" pitchFamily="18" charset="-122"/>
                </a:rPr>
                <a:t> card account</a:t>
              </a:r>
              <a:endParaRPr kumimoji="1" lang="zh-CN" altLang="en-US" sz="140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endParaRPr>
            </a:p>
          </p:txBody>
        </p:sp>
        <p:sp>
          <p:nvSpPr>
            <p:cNvPr id="460" name="文本框 42">
              <a:extLst>
                <a:ext uri="{FF2B5EF4-FFF2-40B4-BE49-F238E27FC236}">
                  <a16:creationId xmlns:a16="http://schemas.microsoft.com/office/drawing/2014/main" id="{A7218346-5512-59B0-7BB3-108FC4DD71E4}"/>
                </a:ext>
              </a:extLst>
            </p:cNvPr>
            <p:cNvSpPr txBox="1"/>
            <p:nvPr/>
          </p:nvSpPr>
          <p:spPr>
            <a:xfrm>
              <a:off x="1779998" y="4960866"/>
              <a:ext cx="1194910" cy="2713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kumimoji="1" lang="en-US" altLang="zh-CN" sz="1200" dirty="0">
                  <a:solidFill>
                    <a:srgbClr val="1D324E"/>
                  </a:solidFill>
                  <a:latin typeface="Alibaba PuHuiTi" pitchFamily="18" charset="-122"/>
                  <a:ea typeface="Alibaba PuHuiTi" pitchFamily="18" charset="-122"/>
                  <a:cs typeface="Alibaba PuHuiTi" pitchFamily="18" charset="-122"/>
                </a:rPr>
                <a:t>Active card</a:t>
              </a:r>
              <a:endParaRPr kumimoji="1" lang="zh-CN" altLang="en-US" sz="1200" dirty="0">
                <a:solidFill>
                  <a:srgbClr val="1D324E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endParaRPr>
            </a:p>
          </p:txBody>
        </p:sp>
      </p:grpSp>
      <p:sp>
        <p:nvSpPr>
          <p:cNvPr id="71" name="文本框 497">
            <a:extLst>
              <a:ext uri="{FF2B5EF4-FFF2-40B4-BE49-F238E27FC236}">
                <a16:creationId xmlns:a16="http://schemas.microsoft.com/office/drawing/2014/main" id="{0073C313-E98C-80F1-A889-CBD348147E5B}"/>
              </a:ext>
            </a:extLst>
          </p:cNvPr>
          <p:cNvSpPr txBox="1"/>
          <p:nvPr/>
        </p:nvSpPr>
        <p:spPr>
          <a:xfrm>
            <a:off x="73848" y="6503585"/>
            <a:ext cx="35508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" altLang="zh-CN" sz="1400" dirty="0">
                <a:solidFill>
                  <a:srgbClr val="1E344D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Alibaba PuHuiTi Medium" pitchFamily="18" charset="-122"/>
              </a:rPr>
              <a:t>Data as of 2024.04.30</a:t>
            </a:r>
            <a:endParaRPr kumimoji="1" lang="zh-CN" altLang="en-US" sz="1400" dirty="0">
              <a:solidFill>
                <a:srgbClr val="1E344D"/>
              </a:solidFill>
              <a:latin typeface="DengXian" panose="02010600030101010101" pitchFamily="2" charset="-122"/>
              <a:ea typeface="DengXian" panose="02010600030101010101" pitchFamily="2" charset="-122"/>
              <a:cs typeface="Alibaba PuHuiTi Medium" pitchFamily="18" charset="-122"/>
            </a:endParaRPr>
          </a:p>
        </p:txBody>
      </p:sp>
      <p:sp>
        <p:nvSpPr>
          <p:cNvPr id="72" name="Arrow: Down 71">
            <a:extLst>
              <a:ext uri="{FF2B5EF4-FFF2-40B4-BE49-F238E27FC236}">
                <a16:creationId xmlns:a16="http://schemas.microsoft.com/office/drawing/2014/main" id="{F80144EB-C94E-DE4F-EAE0-57374F27BB8E}"/>
              </a:ext>
            </a:extLst>
          </p:cNvPr>
          <p:cNvSpPr/>
          <p:nvPr/>
        </p:nvSpPr>
        <p:spPr>
          <a:xfrm>
            <a:off x="1675533" y="2752033"/>
            <a:ext cx="589950" cy="738729"/>
          </a:xfrm>
          <a:prstGeom prst="down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3" name="Arrow: Down 72">
            <a:extLst>
              <a:ext uri="{FF2B5EF4-FFF2-40B4-BE49-F238E27FC236}">
                <a16:creationId xmlns:a16="http://schemas.microsoft.com/office/drawing/2014/main" id="{9A24D2F9-B152-515B-0336-3B5B66152B12}"/>
              </a:ext>
            </a:extLst>
          </p:cNvPr>
          <p:cNvSpPr/>
          <p:nvPr/>
        </p:nvSpPr>
        <p:spPr>
          <a:xfrm>
            <a:off x="1697869" y="4628236"/>
            <a:ext cx="589950" cy="738729"/>
          </a:xfrm>
          <a:prstGeom prst="down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4" name="文本框 37">
            <a:extLst>
              <a:ext uri="{FF2B5EF4-FFF2-40B4-BE49-F238E27FC236}">
                <a16:creationId xmlns:a16="http://schemas.microsoft.com/office/drawing/2014/main" id="{162B17E3-E21C-111A-26D5-8814801E82A6}"/>
              </a:ext>
            </a:extLst>
          </p:cNvPr>
          <p:cNvSpPr txBox="1"/>
          <p:nvPr/>
        </p:nvSpPr>
        <p:spPr>
          <a:xfrm>
            <a:off x="2122268" y="2884788"/>
            <a:ext cx="81464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-US" altLang="zh-CN" sz="1600" b="1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14.8%</a:t>
            </a:r>
            <a:endParaRPr kumimoji="1" lang="zh-CN" altLang="en-US" sz="1600" b="1" dirty="0">
              <a:solidFill>
                <a:schemeClr val="bg1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75" name="文本框 37">
            <a:extLst>
              <a:ext uri="{FF2B5EF4-FFF2-40B4-BE49-F238E27FC236}">
                <a16:creationId xmlns:a16="http://schemas.microsoft.com/office/drawing/2014/main" id="{B4F382F2-E2E2-225C-1C07-4A6CF8CF9F82}"/>
              </a:ext>
            </a:extLst>
          </p:cNvPr>
          <p:cNvSpPr txBox="1"/>
          <p:nvPr/>
        </p:nvSpPr>
        <p:spPr>
          <a:xfrm>
            <a:off x="2122269" y="4742464"/>
            <a:ext cx="81464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-US" altLang="zh-CN" sz="1600" b="1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90.6%</a:t>
            </a:r>
            <a:endParaRPr kumimoji="1" lang="zh-CN" altLang="en-US" sz="1600" b="1" dirty="0">
              <a:solidFill>
                <a:schemeClr val="bg1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613" name="椭圆 12">
            <a:extLst>
              <a:ext uri="{FF2B5EF4-FFF2-40B4-BE49-F238E27FC236}">
                <a16:creationId xmlns:a16="http://schemas.microsoft.com/office/drawing/2014/main" id="{994A3198-09F2-749D-87E6-ED0889D792F0}"/>
              </a:ext>
            </a:extLst>
          </p:cNvPr>
          <p:cNvSpPr/>
          <p:nvPr/>
        </p:nvSpPr>
        <p:spPr>
          <a:xfrm>
            <a:off x="4020847" y="2001375"/>
            <a:ext cx="315686" cy="31568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1</a:t>
            </a:r>
            <a:endParaRPr kumimoji="1" lang="zh-CN" altLang="en-US" dirty="0"/>
          </a:p>
        </p:txBody>
      </p:sp>
      <p:sp>
        <p:nvSpPr>
          <p:cNvPr id="615" name="椭圆 14">
            <a:extLst>
              <a:ext uri="{FF2B5EF4-FFF2-40B4-BE49-F238E27FC236}">
                <a16:creationId xmlns:a16="http://schemas.microsoft.com/office/drawing/2014/main" id="{4046C88A-366E-A66B-F15B-DD60B58EB4D8}"/>
              </a:ext>
            </a:extLst>
          </p:cNvPr>
          <p:cNvSpPr/>
          <p:nvPr/>
        </p:nvSpPr>
        <p:spPr>
          <a:xfrm>
            <a:off x="5872895" y="875758"/>
            <a:ext cx="315686" cy="31568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2</a:t>
            </a:r>
            <a:endParaRPr kumimoji="1" lang="zh-CN" altLang="en-US" dirty="0"/>
          </a:p>
        </p:txBody>
      </p:sp>
      <p:grpSp>
        <p:nvGrpSpPr>
          <p:cNvPr id="616" name="Group 3">
            <a:extLst>
              <a:ext uri="{FF2B5EF4-FFF2-40B4-BE49-F238E27FC236}">
                <a16:creationId xmlns:a16="http://schemas.microsoft.com/office/drawing/2014/main" id="{AC71942B-4AB0-2401-2DD2-94E16D57153F}"/>
              </a:ext>
            </a:extLst>
          </p:cNvPr>
          <p:cNvGrpSpPr/>
          <p:nvPr/>
        </p:nvGrpSpPr>
        <p:grpSpPr>
          <a:xfrm>
            <a:off x="5680958" y="1176284"/>
            <a:ext cx="3996656" cy="3149154"/>
            <a:chOff x="6097266" y="1718655"/>
            <a:chExt cx="2666145" cy="2100783"/>
          </a:xfrm>
          <a:solidFill>
            <a:schemeClr val="bg1">
              <a:lumMod val="50000"/>
              <a:alpha val="40517"/>
            </a:schemeClr>
          </a:solidFill>
        </p:grpSpPr>
        <p:grpSp>
          <p:nvGrpSpPr>
            <p:cNvPr id="617" name="Graphic 11">
              <a:extLst>
                <a:ext uri="{FF2B5EF4-FFF2-40B4-BE49-F238E27FC236}">
                  <a16:creationId xmlns:a16="http://schemas.microsoft.com/office/drawing/2014/main" id="{D88B9ED4-65C9-F28D-3B46-59D4F5E50F53}"/>
                </a:ext>
              </a:extLst>
            </p:cNvPr>
            <p:cNvGrpSpPr/>
            <p:nvPr/>
          </p:nvGrpSpPr>
          <p:grpSpPr>
            <a:xfrm>
              <a:off x="8300669" y="2982486"/>
              <a:ext cx="51396" cy="65250"/>
              <a:chOff x="6244733" y="2534073"/>
              <a:chExt cx="98675" cy="125273"/>
            </a:xfrm>
            <a:grpFill/>
          </p:grpSpPr>
          <p:sp>
            <p:nvSpPr>
              <p:cNvPr id="699" name="Freeform 965">
                <a:extLst>
                  <a:ext uri="{FF2B5EF4-FFF2-40B4-BE49-F238E27FC236}">
                    <a16:creationId xmlns:a16="http://schemas.microsoft.com/office/drawing/2014/main" id="{61FF5168-50F5-757E-66DC-0D09723CEADB}"/>
                  </a:ext>
                </a:extLst>
              </p:cNvPr>
              <p:cNvSpPr/>
              <p:nvPr/>
            </p:nvSpPr>
            <p:spPr>
              <a:xfrm>
                <a:off x="6258700" y="2534073"/>
                <a:ext cx="72525" cy="34749"/>
              </a:xfrm>
              <a:custGeom>
                <a:avLst/>
                <a:gdLst>
                  <a:gd name="connsiteX0" fmla="*/ 54857 w 72525"/>
                  <a:gd name="connsiteY0" fmla="*/ 34178 h 34749"/>
                  <a:gd name="connsiteX1" fmla="*/ 58626 w 72525"/>
                  <a:gd name="connsiteY1" fmla="*/ 34750 h 34749"/>
                  <a:gd name="connsiteX2" fmla="*/ 68184 w 72525"/>
                  <a:gd name="connsiteY2" fmla="*/ 34750 h 34749"/>
                  <a:gd name="connsiteX3" fmla="*/ 72525 w 72525"/>
                  <a:gd name="connsiteY3" fmla="*/ 31857 h 34749"/>
                  <a:gd name="connsiteX4" fmla="*/ 72525 w 72525"/>
                  <a:gd name="connsiteY4" fmla="*/ 30410 h 34749"/>
                  <a:gd name="connsiteX5" fmla="*/ 68756 w 72525"/>
                  <a:gd name="connsiteY5" fmla="*/ 26071 h 34749"/>
                  <a:gd name="connsiteX6" fmla="*/ 63371 w 72525"/>
                  <a:gd name="connsiteY6" fmla="*/ 24322 h 34749"/>
                  <a:gd name="connsiteX7" fmla="*/ 59467 w 72525"/>
                  <a:gd name="connsiteY7" fmla="*/ 24322 h 34749"/>
                  <a:gd name="connsiteX8" fmla="*/ 54554 w 72525"/>
                  <a:gd name="connsiteY8" fmla="*/ 22303 h 34749"/>
                  <a:gd name="connsiteX9" fmla="*/ 46140 w 72525"/>
                  <a:gd name="connsiteY9" fmla="*/ 17089 h 34749"/>
                  <a:gd name="connsiteX10" fmla="*/ 35135 w 72525"/>
                  <a:gd name="connsiteY10" fmla="*/ 11875 h 34749"/>
                  <a:gd name="connsiteX11" fmla="*/ 29044 w 72525"/>
                  <a:gd name="connsiteY11" fmla="*/ 5786 h 34749"/>
                  <a:gd name="connsiteX12" fmla="*/ 17736 w 72525"/>
                  <a:gd name="connsiteY12" fmla="*/ 0 h 34749"/>
                  <a:gd name="connsiteX13" fmla="*/ 10769 w 72525"/>
                  <a:gd name="connsiteY13" fmla="*/ 0 h 34749"/>
                  <a:gd name="connsiteX14" fmla="*/ 2928 w 72525"/>
                  <a:gd name="connsiteY14" fmla="*/ 4070 h 34749"/>
                  <a:gd name="connsiteX15" fmla="*/ 1178 w 72525"/>
                  <a:gd name="connsiteY15" fmla="*/ 9285 h 34749"/>
                  <a:gd name="connsiteX16" fmla="*/ 0 w 72525"/>
                  <a:gd name="connsiteY16" fmla="*/ 15373 h 34749"/>
                  <a:gd name="connsiteX17" fmla="*/ 4913 w 72525"/>
                  <a:gd name="connsiteY17" fmla="*/ 19444 h 34749"/>
                  <a:gd name="connsiteX18" fmla="*/ 10130 w 72525"/>
                  <a:gd name="connsiteY18" fmla="*/ 21462 h 34749"/>
                  <a:gd name="connsiteX19" fmla="*/ 14774 w 72525"/>
                  <a:gd name="connsiteY19" fmla="*/ 23783 h 34749"/>
                  <a:gd name="connsiteX20" fmla="*/ 24332 w 72525"/>
                  <a:gd name="connsiteY20" fmla="*/ 24961 h 34749"/>
                  <a:gd name="connsiteX21" fmla="*/ 30693 w 72525"/>
                  <a:gd name="connsiteY21" fmla="*/ 26710 h 34749"/>
                  <a:gd name="connsiteX22" fmla="*/ 33587 w 72525"/>
                  <a:gd name="connsiteY22" fmla="*/ 29031 h 34749"/>
                  <a:gd name="connsiteX23" fmla="*/ 39073 w 72525"/>
                  <a:gd name="connsiteY23" fmla="*/ 29334 h 34749"/>
                  <a:gd name="connsiteX24" fmla="*/ 41395 w 72525"/>
                  <a:gd name="connsiteY24" fmla="*/ 30478 h 34749"/>
                  <a:gd name="connsiteX25" fmla="*/ 46914 w 72525"/>
                  <a:gd name="connsiteY25" fmla="*/ 33101 h 34749"/>
                  <a:gd name="connsiteX26" fmla="*/ 54857 w 72525"/>
                  <a:gd name="connsiteY26" fmla="*/ 34178 h 34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2525" h="34749">
                    <a:moveTo>
                      <a:pt x="54857" y="34178"/>
                    </a:moveTo>
                    <a:lnTo>
                      <a:pt x="58626" y="34750"/>
                    </a:lnTo>
                    <a:lnTo>
                      <a:pt x="68184" y="34750"/>
                    </a:lnTo>
                    <a:lnTo>
                      <a:pt x="72525" y="31857"/>
                    </a:lnTo>
                    <a:lnTo>
                      <a:pt x="72525" y="30410"/>
                    </a:lnTo>
                    <a:lnTo>
                      <a:pt x="68756" y="26071"/>
                    </a:lnTo>
                    <a:lnTo>
                      <a:pt x="63371" y="24322"/>
                    </a:lnTo>
                    <a:lnTo>
                      <a:pt x="59467" y="24322"/>
                    </a:lnTo>
                    <a:lnTo>
                      <a:pt x="54554" y="22303"/>
                    </a:lnTo>
                    <a:lnTo>
                      <a:pt x="46140" y="17089"/>
                    </a:lnTo>
                    <a:lnTo>
                      <a:pt x="35135" y="11875"/>
                    </a:lnTo>
                    <a:cubicBezTo>
                      <a:pt x="35135" y="11875"/>
                      <a:pt x="30222" y="6661"/>
                      <a:pt x="29044" y="5786"/>
                    </a:cubicBezTo>
                    <a:cubicBezTo>
                      <a:pt x="27899" y="4911"/>
                      <a:pt x="17736" y="0"/>
                      <a:pt x="17736" y="0"/>
                    </a:cubicBezTo>
                    <a:lnTo>
                      <a:pt x="10769" y="0"/>
                    </a:lnTo>
                    <a:lnTo>
                      <a:pt x="2928" y="4070"/>
                    </a:lnTo>
                    <a:lnTo>
                      <a:pt x="1178" y="9285"/>
                    </a:lnTo>
                    <a:lnTo>
                      <a:pt x="0" y="15373"/>
                    </a:lnTo>
                    <a:lnTo>
                      <a:pt x="4913" y="19444"/>
                    </a:lnTo>
                    <a:lnTo>
                      <a:pt x="10130" y="21462"/>
                    </a:lnTo>
                    <a:lnTo>
                      <a:pt x="14774" y="23783"/>
                    </a:lnTo>
                    <a:lnTo>
                      <a:pt x="24332" y="24961"/>
                    </a:lnTo>
                    <a:lnTo>
                      <a:pt x="30693" y="26710"/>
                    </a:lnTo>
                    <a:lnTo>
                      <a:pt x="33587" y="29031"/>
                    </a:lnTo>
                    <a:lnTo>
                      <a:pt x="39073" y="29334"/>
                    </a:lnTo>
                    <a:lnTo>
                      <a:pt x="41395" y="30478"/>
                    </a:lnTo>
                    <a:lnTo>
                      <a:pt x="46914" y="33101"/>
                    </a:lnTo>
                    <a:lnTo>
                      <a:pt x="54857" y="3417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700" name="Freeform 966">
                <a:extLst>
                  <a:ext uri="{FF2B5EF4-FFF2-40B4-BE49-F238E27FC236}">
                    <a16:creationId xmlns:a16="http://schemas.microsoft.com/office/drawing/2014/main" id="{F0DB0B5D-2A7B-D0C0-68CA-AE3FA6345B60}"/>
                  </a:ext>
                </a:extLst>
              </p:cNvPr>
              <p:cNvSpPr/>
              <p:nvPr/>
            </p:nvSpPr>
            <p:spPr>
              <a:xfrm>
                <a:off x="6295013" y="2571278"/>
                <a:ext cx="18846" cy="13186"/>
              </a:xfrm>
              <a:custGeom>
                <a:avLst/>
                <a:gdLst>
                  <a:gd name="connsiteX0" fmla="*/ 3399 w 18846"/>
                  <a:gd name="connsiteY0" fmla="*/ 8275 h 13186"/>
                  <a:gd name="connsiteX1" fmla="*/ 8077 w 18846"/>
                  <a:gd name="connsiteY1" fmla="*/ 9419 h 13186"/>
                  <a:gd name="connsiteX2" fmla="*/ 11443 w 18846"/>
                  <a:gd name="connsiteY2" fmla="*/ 10563 h 13186"/>
                  <a:gd name="connsiteX3" fmla="*/ 16154 w 18846"/>
                  <a:gd name="connsiteY3" fmla="*/ 13187 h 13186"/>
                  <a:gd name="connsiteX4" fmla="*/ 18846 w 18846"/>
                  <a:gd name="connsiteY4" fmla="*/ 12312 h 13186"/>
                  <a:gd name="connsiteX5" fmla="*/ 18846 w 18846"/>
                  <a:gd name="connsiteY5" fmla="*/ 10563 h 13186"/>
                  <a:gd name="connsiteX6" fmla="*/ 18846 w 18846"/>
                  <a:gd name="connsiteY6" fmla="*/ 7098 h 13186"/>
                  <a:gd name="connsiteX7" fmla="*/ 17097 w 18846"/>
                  <a:gd name="connsiteY7" fmla="*/ 4945 h 13186"/>
                  <a:gd name="connsiteX8" fmla="*/ 12183 w 18846"/>
                  <a:gd name="connsiteY8" fmla="*/ 2321 h 13186"/>
                  <a:gd name="connsiteX9" fmla="*/ 7101 w 18846"/>
                  <a:gd name="connsiteY9" fmla="*/ 0 h 13186"/>
                  <a:gd name="connsiteX10" fmla="*/ 2457 w 18846"/>
                  <a:gd name="connsiteY10" fmla="*/ 1009 h 13186"/>
                  <a:gd name="connsiteX11" fmla="*/ 0 w 18846"/>
                  <a:gd name="connsiteY11" fmla="*/ 4777 h 13186"/>
                  <a:gd name="connsiteX12" fmla="*/ 1750 w 18846"/>
                  <a:gd name="connsiteY12" fmla="*/ 6593 h 13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846" h="13186">
                    <a:moveTo>
                      <a:pt x="3399" y="8275"/>
                    </a:moveTo>
                    <a:lnTo>
                      <a:pt x="8077" y="9419"/>
                    </a:lnTo>
                    <a:lnTo>
                      <a:pt x="11443" y="10563"/>
                    </a:lnTo>
                    <a:lnTo>
                      <a:pt x="16154" y="13187"/>
                    </a:lnTo>
                    <a:lnTo>
                      <a:pt x="18846" y="12312"/>
                    </a:lnTo>
                    <a:lnTo>
                      <a:pt x="18846" y="10563"/>
                    </a:lnTo>
                    <a:lnTo>
                      <a:pt x="18846" y="7098"/>
                    </a:lnTo>
                    <a:lnTo>
                      <a:pt x="17097" y="4945"/>
                    </a:lnTo>
                    <a:lnTo>
                      <a:pt x="12183" y="2321"/>
                    </a:lnTo>
                    <a:lnTo>
                      <a:pt x="7101" y="0"/>
                    </a:lnTo>
                    <a:lnTo>
                      <a:pt x="2457" y="1009"/>
                    </a:lnTo>
                    <a:lnTo>
                      <a:pt x="0" y="4777"/>
                    </a:lnTo>
                    <a:lnTo>
                      <a:pt x="1750" y="6593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701" name="Freeform 967">
                <a:extLst>
                  <a:ext uri="{FF2B5EF4-FFF2-40B4-BE49-F238E27FC236}">
                    <a16:creationId xmlns:a16="http://schemas.microsoft.com/office/drawing/2014/main" id="{4A596915-A6DA-548C-51B5-A17EF34CF144}"/>
                  </a:ext>
                </a:extLst>
              </p:cNvPr>
              <p:cNvSpPr/>
              <p:nvPr/>
            </p:nvSpPr>
            <p:spPr>
              <a:xfrm>
                <a:off x="6316687" y="2576964"/>
                <a:ext cx="5855" cy="9587"/>
              </a:xfrm>
              <a:custGeom>
                <a:avLst/>
                <a:gdLst>
                  <a:gd name="connsiteX0" fmla="*/ 0 w 5855"/>
                  <a:gd name="connsiteY0" fmla="*/ 5584 h 9587"/>
                  <a:gd name="connsiteX1" fmla="*/ 3365 w 5855"/>
                  <a:gd name="connsiteY1" fmla="*/ 8645 h 9587"/>
                  <a:gd name="connsiteX2" fmla="*/ 5116 w 5855"/>
                  <a:gd name="connsiteY2" fmla="*/ 9587 h 9587"/>
                  <a:gd name="connsiteX3" fmla="*/ 5856 w 5855"/>
                  <a:gd name="connsiteY3" fmla="*/ 7502 h 9587"/>
                  <a:gd name="connsiteX4" fmla="*/ 5856 w 5855"/>
                  <a:gd name="connsiteY4" fmla="*/ 3162 h 9587"/>
                  <a:gd name="connsiteX5" fmla="*/ 5856 w 5855"/>
                  <a:gd name="connsiteY5" fmla="*/ 1413 h 9587"/>
                  <a:gd name="connsiteX6" fmla="*/ 4812 w 5855"/>
                  <a:gd name="connsiteY6" fmla="*/ 269 h 9587"/>
                  <a:gd name="connsiteX7" fmla="*/ 3399 w 5855"/>
                  <a:gd name="connsiteY7" fmla="*/ 0 h 9587"/>
                  <a:gd name="connsiteX8" fmla="*/ 2120 w 5855"/>
                  <a:gd name="connsiteY8" fmla="*/ 269 h 9587"/>
                  <a:gd name="connsiteX9" fmla="*/ 1110 w 5855"/>
                  <a:gd name="connsiteY9" fmla="*/ 1144 h 9587"/>
                  <a:gd name="connsiteX10" fmla="*/ 538 w 5855"/>
                  <a:gd name="connsiteY10" fmla="*/ 2220 h 9587"/>
                  <a:gd name="connsiteX11" fmla="*/ 404 w 5855"/>
                  <a:gd name="connsiteY11" fmla="*/ 3835 h 9587"/>
                  <a:gd name="connsiteX12" fmla="*/ 0 w 5855"/>
                  <a:gd name="connsiteY12" fmla="*/ 5584 h 9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855" h="9587">
                    <a:moveTo>
                      <a:pt x="0" y="5584"/>
                    </a:moveTo>
                    <a:lnTo>
                      <a:pt x="3365" y="8645"/>
                    </a:lnTo>
                    <a:lnTo>
                      <a:pt x="5116" y="9587"/>
                    </a:lnTo>
                    <a:lnTo>
                      <a:pt x="5856" y="7502"/>
                    </a:lnTo>
                    <a:lnTo>
                      <a:pt x="5856" y="3162"/>
                    </a:lnTo>
                    <a:lnTo>
                      <a:pt x="5856" y="1413"/>
                    </a:lnTo>
                    <a:lnTo>
                      <a:pt x="4812" y="269"/>
                    </a:lnTo>
                    <a:lnTo>
                      <a:pt x="3399" y="0"/>
                    </a:lnTo>
                    <a:lnTo>
                      <a:pt x="2120" y="269"/>
                    </a:lnTo>
                    <a:lnTo>
                      <a:pt x="1110" y="1144"/>
                    </a:lnTo>
                    <a:cubicBezTo>
                      <a:pt x="1110" y="1144"/>
                      <a:pt x="538" y="2086"/>
                      <a:pt x="538" y="2220"/>
                    </a:cubicBezTo>
                    <a:cubicBezTo>
                      <a:pt x="538" y="2355"/>
                      <a:pt x="404" y="3835"/>
                      <a:pt x="404" y="3835"/>
                    </a:cubicBezTo>
                    <a:lnTo>
                      <a:pt x="0" y="558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702" name="Freeform 968">
                <a:extLst>
                  <a:ext uri="{FF2B5EF4-FFF2-40B4-BE49-F238E27FC236}">
                    <a16:creationId xmlns:a16="http://schemas.microsoft.com/office/drawing/2014/main" id="{6DDED2F0-A37E-CFEE-9269-1CFB7A6A6F76}"/>
                  </a:ext>
                </a:extLst>
              </p:cNvPr>
              <p:cNvSpPr/>
              <p:nvPr/>
            </p:nvSpPr>
            <p:spPr>
              <a:xfrm>
                <a:off x="6244733" y="2575786"/>
                <a:ext cx="98675" cy="83560"/>
              </a:xfrm>
              <a:custGeom>
                <a:avLst/>
                <a:gdLst>
                  <a:gd name="connsiteX0" fmla="*/ 12587 w 98675"/>
                  <a:gd name="connsiteY0" fmla="*/ 69533 h 83560"/>
                  <a:gd name="connsiteX1" fmla="*/ 19553 w 98675"/>
                  <a:gd name="connsiteY1" fmla="*/ 69533 h 83560"/>
                  <a:gd name="connsiteX2" fmla="*/ 24635 w 98675"/>
                  <a:gd name="connsiteY2" fmla="*/ 71686 h 83560"/>
                  <a:gd name="connsiteX3" fmla="*/ 27092 w 98675"/>
                  <a:gd name="connsiteY3" fmla="*/ 74310 h 83560"/>
                  <a:gd name="connsiteX4" fmla="*/ 32881 w 98675"/>
                  <a:gd name="connsiteY4" fmla="*/ 73570 h 83560"/>
                  <a:gd name="connsiteX5" fmla="*/ 34765 w 98675"/>
                  <a:gd name="connsiteY5" fmla="*/ 71922 h 83560"/>
                  <a:gd name="connsiteX6" fmla="*/ 37828 w 98675"/>
                  <a:gd name="connsiteY6" fmla="*/ 76328 h 83560"/>
                  <a:gd name="connsiteX7" fmla="*/ 37828 w 98675"/>
                  <a:gd name="connsiteY7" fmla="*/ 79087 h 83560"/>
                  <a:gd name="connsiteX8" fmla="*/ 40991 w 98675"/>
                  <a:gd name="connsiteY8" fmla="*/ 80802 h 83560"/>
                  <a:gd name="connsiteX9" fmla="*/ 45804 w 98675"/>
                  <a:gd name="connsiteY9" fmla="*/ 83561 h 83560"/>
                  <a:gd name="connsiteX10" fmla="*/ 50280 w 98675"/>
                  <a:gd name="connsiteY10" fmla="*/ 79221 h 83560"/>
                  <a:gd name="connsiteX11" fmla="*/ 54049 w 98675"/>
                  <a:gd name="connsiteY11" fmla="*/ 77472 h 83560"/>
                  <a:gd name="connsiteX12" fmla="*/ 56809 w 98675"/>
                  <a:gd name="connsiteY12" fmla="*/ 75151 h 83560"/>
                  <a:gd name="connsiteX13" fmla="*/ 61453 w 98675"/>
                  <a:gd name="connsiteY13" fmla="*/ 72830 h 83560"/>
                  <a:gd name="connsiteX14" fmla="*/ 66939 w 98675"/>
                  <a:gd name="connsiteY14" fmla="*/ 72056 h 83560"/>
                  <a:gd name="connsiteX15" fmla="*/ 71954 w 98675"/>
                  <a:gd name="connsiteY15" fmla="*/ 71249 h 83560"/>
                  <a:gd name="connsiteX16" fmla="*/ 78684 w 98675"/>
                  <a:gd name="connsiteY16" fmla="*/ 71249 h 83560"/>
                  <a:gd name="connsiteX17" fmla="*/ 83329 w 98675"/>
                  <a:gd name="connsiteY17" fmla="*/ 69533 h 83560"/>
                  <a:gd name="connsiteX18" fmla="*/ 87367 w 98675"/>
                  <a:gd name="connsiteY18" fmla="*/ 69533 h 83560"/>
                  <a:gd name="connsiteX19" fmla="*/ 92584 w 98675"/>
                  <a:gd name="connsiteY19" fmla="*/ 69533 h 83560"/>
                  <a:gd name="connsiteX20" fmla="*/ 96286 w 98675"/>
                  <a:gd name="connsiteY20" fmla="*/ 67784 h 83560"/>
                  <a:gd name="connsiteX21" fmla="*/ 98675 w 98675"/>
                  <a:gd name="connsiteY21" fmla="*/ 64453 h 83560"/>
                  <a:gd name="connsiteX22" fmla="*/ 98675 w 98675"/>
                  <a:gd name="connsiteY22" fmla="*/ 59946 h 83560"/>
                  <a:gd name="connsiteX23" fmla="*/ 97531 w 98675"/>
                  <a:gd name="connsiteY23" fmla="*/ 54597 h 83560"/>
                  <a:gd name="connsiteX24" fmla="*/ 96353 w 98675"/>
                  <a:gd name="connsiteY24" fmla="*/ 50392 h 83560"/>
                  <a:gd name="connsiteX25" fmla="*/ 92314 w 98675"/>
                  <a:gd name="connsiteY25" fmla="*/ 41982 h 83560"/>
                  <a:gd name="connsiteX26" fmla="*/ 86492 w 98675"/>
                  <a:gd name="connsiteY26" fmla="*/ 34178 h 83560"/>
                  <a:gd name="connsiteX27" fmla="*/ 81881 w 98675"/>
                  <a:gd name="connsiteY27" fmla="*/ 27786 h 83560"/>
                  <a:gd name="connsiteX28" fmla="*/ 74208 w 98675"/>
                  <a:gd name="connsiteY28" fmla="*/ 20991 h 83560"/>
                  <a:gd name="connsiteX29" fmla="*/ 66501 w 98675"/>
                  <a:gd name="connsiteY29" fmla="*/ 15474 h 83560"/>
                  <a:gd name="connsiteX30" fmla="*/ 57516 w 98675"/>
                  <a:gd name="connsiteY30" fmla="*/ 10765 h 83560"/>
                  <a:gd name="connsiteX31" fmla="*/ 53174 w 98675"/>
                  <a:gd name="connsiteY31" fmla="*/ 8679 h 83560"/>
                  <a:gd name="connsiteX32" fmla="*/ 46948 w 98675"/>
                  <a:gd name="connsiteY32" fmla="*/ 5988 h 83560"/>
                  <a:gd name="connsiteX33" fmla="*/ 40991 w 98675"/>
                  <a:gd name="connsiteY33" fmla="*/ 2018 h 83560"/>
                  <a:gd name="connsiteX34" fmla="*/ 37390 w 98675"/>
                  <a:gd name="connsiteY34" fmla="*/ 0 h 83560"/>
                  <a:gd name="connsiteX35" fmla="*/ 33452 w 98675"/>
                  <a:gd name="connsiteY35" fmla="*/ 0 h 83560"/>
                  <a:gd name="connsiteX36" fmla="*/ 25510 w 98675"/>
                  <a:gd name="connsiteY36" fmla="*/ 1177 h 83560"/>
                  <a:gd name="connsiteX37" fmla="*/ 19553 w 98675"/>
                  <a:gd name="connsiteY37" fmla="*/ 4474 h 83560"/>
                  <a:gd name="connsiteX38" fmla="*/ 14774 w 98675"/>
                  <a:gd name="connsiteY38" fmla="*/ 10765 h 83560"/>
                  <a:gd name="connsiteX39" fmla="*/ 11745 w 98675"/>
                  <a:gd name="connsiteY39" fmla="*/ 14599 h 83560"/>
                  <a:gd name="connsiteX40" fmla="*/ 11745 w 98675"/>
                  <a:gd name="connsiteY40" fmla="*/ 18233 h 83560"/>
                  <a:gd name="connsiteX41" fmla="*/ 16087 w 98675"/>
                  <a:gd name="connsiteY41" fmla="*/ 21294 h 83560"/>
                  <a:gd name="connsiteX42" fmla="*/ 14067 w 98675"/>
                  <a:gd name="connsiteY42" fmla="*/ 23581 h 83560"/>
                  <a:gd name="connsiteX43" fmla="*/ 9861 w 98675"/>
                  <a:gd name="connsiteY43" fmla="*/ 26643 h 83560"/>
                  <a:gd name="connsiteX44" fmla="*/ 11005 w 98675"/>
                  <a:gd name="connsiteY44" fmla="*/ 33740 h 83560"/>
                  <a:gd name="connsiteX45" fmla="*/ 9861 w 98675"/>
                  <a:gd name="connsiteY45" fmla="*/ 36196 h 83560"/>
                  <a:gd name="connsiteX46" fmla="*/ 6091 w 98675"/>
                  <a:gd name="connsiteY46" fmla="*/ 39527 h 83560"/>
                  <a:gd name="connsiteX47" fmla="*/ 2457 w 98675"/>
                  <a:gd name="connsiteY47" fmla="*/ 43866 h 83560"/>
                  <a:gd name="connsiteX48" fmla="*/ 0 w 98675"/>
                  <a:gd name="connsiteY48" fmla="*/ 47365 h 83560"/>
                  <a:gd name="connsiteX49" fmla="*/ 7370 w 98675"/>
                  <a:gd name="connsiteY49" fmla="*/ 48374 h 83560"/>
                  <a:gd name="connsiteX50" fmla="*/ 10433 w 98675"/>
                  <a:gd name="connsiteY50" fmla="*/ 51973 h 83560"/>
                  <a:gd name="connsiteX51" fmla="*/ 10130 w 98675"/>
                  <a:gd name="connsiteY51" fmla="*/ 55606 h 83560"/>
                  <a:gd name="connsiteX52" fmla="*/ 10702 w 98675"/>
                  <a:gd name="connsiteY52" fmla="*/ 59239 h 83560"/>
                  <a:gd name="connsiteX53" fmla="*/ 8245 w 98675"/>
                  <a:gd name="connsiteY53" fmla="*/ 62267 h 83560"/>
                  <a:gd name="connsiteX54" fmla="*/ 8986 w 98675"/>
                  <a:gd name="connsiteY54" fmla="*/ 65463 h 83560"/>
                  <a:gd name="connsiteX55" fmla="*/ 9693 w 98675"/>
                  <a:gd name="connsiteY55" fmla="*/ 69096 h 83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98675" h="83560">
                    <a:moveTo>
                      <a:pt x="12587" y="69533"/>
                    </a:moveTo>
                    <a:lnTo>
                      <a:pt x="19553" y="69533"/>
                    </a:lnTo>
                    <a:lnTo>
                      <a:pt x="24635" y="71686"/>
                    </a:lnTo>
                    <a:lnTo>
                      <a:pt x="27092" y="74310"/>
                    </a:lnTo>
                    <a:lnTo>
                      <a:pt x="32881" y="73570"/>
                    </a:lnTo>
                    <a:lnTo>
                      <a:pt x="34765" y="71922"/>
                    </a:lnTo>
                    <a:lnTo>
                      <a:pt x="37828" y="76328"/>
                    </a:lnTo>
                    <a:lnTo>
                      <a:pt x="37828" y="79087"/>
                    </a:lnTo>
                    <a:lnTo>
                      <a:pt x="40991" y="80802"/>
                    </a:lnTo>
                    <a:lnTo>
                      <a:pt x="45804" y="83561"/>
                    </a:lnTo>
                    <a:lnTo>
                      <a:pt x="50280" y="79221"/>
                    </a:lnTo>
                    <a:lnTo>
                      <a:pt x="54049" y="77472"/>
                    </a:lnTo>
                    <a:lnTo>
                      <a:pt x="56809" y="75151"/>
                    </a:lnTo>
                    <a:lnTo>
                      <a:pt x="61453" y="72830"/>
                    </a:lnTo>
                    <a:lnTo>
                      <a:pt x="66939" y="72056"/>
                    </a:lnTo>
                    <a:lnTo>
                      <a:pt x="71954" y="71249"/>
                    </a:lnTo>
                    <a:lnTo>
                      <a:pt x="78684" y="71249"/>
                    </a:lnTo>
                    <a:lnTo>
                      <a:pt x="83329" y="69533"/>
                    </a:lnTo>
                    <a:lnTo>
                      <a:pt x="87367" y="69533"/>
                    </a:lnTo>
                    <a:lnTo>
                      <a:pt x="92584" y="69533"/>
                    </a:lnTo>
                    <a:lnTo>
                      <a:pt x="96286" y="67784"/>
                    </a:lnTo>
                    <a:lnTo>
                      <a:pt x="98675" y="64453"/>
                    </a:lnTo>
                    <a:lnTo>
                      <a:pt x="98675" y="59946"/>
                    </a:lnTo>
                    <a:lnTo>
                      <a:pt x="97531" y="54597"/>
                    </a:lnTo>
                    <a:lnTo>
                      <a:pt x="96353" y="50392"/>
                    </a:lnTo>
                    <a:lnTo>
                      <a:pt x="92314" y="41982"/>
                    </a:lnTo>
                    <a:lnTo>
                      <a:pt x="86492" y="34178"/>
                    </a:lnTo>
                    <a:lnTo>
                      <a:pt x="81881" y="27786"/>
                    </a:lnTo>
                    <a:lnTo>
                      <a:pt x="74208" y="20991"/>
                    </a:lnTo>
                    <a:lnTo>
                      <a:pt x="66501" y="15474"/>
                    </a:lnTo>
                    <a:lnTo>
                      <a:pt x="57516" y="10765"/>
                    </a:lnTo>
                    <a:lnTo>
                      <a:pt x="53174" y="8679"/>
                    </a:lnTo>
                    <a:lnTo>
                      <a:pt x="46948" y="5988"/>
                    </a:lnTo>
                    <a:lnTo>
                      <a:pt x="40991" y="2018"/>
                    </a:lnTo>
                    <a:lnTo>
                      <a:pt x="37390" y="0"/>
                    </a:lnTo>
                    <a:lnTo>
                      <a:pt x="33452" y="0"/>
                    </a:lnTo>
                    <a:lnTo>
                      <a:pt x="25510" y="1177"/>
                    </a:lnTo>
                    <a:lnTo>
                      <a:pt x="19553" y="4474"/>
                    </a:lnTo>
                    <a:lnTo>
                      <a:pt x="14774" y="10765"/>
                    </a:lnTo>
                    <a:lnTo>
                      <a:pt x="11745" y="14599"/>
                    </a:lnTo>
                    <a:lnTo>
                      <a:pt x="11745" y="18233"/>
                    </a:lnTo>
                    <a:lnTo>
                      <a:pt x="16087" y="21294"/>
                    </a:lnTo>
                    <a:lnTo>
                      <a:pt x="14067" y="23581"/>
                    </a:lnTo>
                    <a:lnTo>
                      <a:pt x="9861" y="26643"/>
                    </a:lnTo>
                    <a:lnTo>
                      <a:pt x="11005" y="33740"/>
                    </a:lnTo>
                    <a:lnTo>
                      <a:pt x="9861" y="36196"/>
                    </a:lnTo>
                    <a:lnTo>
                      <a:pt x="6091" y="39527"/>
                    </a:lnTo>
                    <a:lnTo>
                      <a:pt x="2457" y="43866"/>
                    </a:lnTo>
                    <a:lnTo>
                      <a:pt x="0" y="47365"/>
                    </a:lnTo>
                    <a:lnTo>
                      <a:pt x="7370" y="48374"/>
                    </a:lnTo>
                    <a:lnTo>
                      <a:pt x="10433" y="51973"/>
                    </a:lnTo>
                    <a:lnTo>
                      <a:pt x="10130" y="55606"/>
                    </a:lnTo>
                    <a:lnTo>
                      <a:pt x="10702" y="59239"/>
                    </a:lnTo>
                    <a:lnTo>
                      <a:pt x="8245" y="62267"/>
                    </a:lnTo>
                    <a:lnTo>
                      <a:pt x="8986" y="65463"/>
                    </a:lnTo>
                    <a:lnTo>
                      <a:pt x="9693" y="69096"/>
                    </a:lnTo>
                    <a:close/>
                  </a:path>
                </a:pathLst>
              </a:custGeom>
              <a:solidFill>
                <a:schemeClr val="tx2">
                  <a:alpha val="50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sp>
          <p:nvSpPr>
            <p:cNvPr id="618" name="Freeform 884">
              <a:extLst>
                <a:ext uri="{FF2B5EF4-FFF2-40B4-BE49-F238E27FC236}">
                  <a16:creationId xmlns:a16="http://schemas.microsoft.com/office/drawing/2014/main" id="{40757043-9A3F-F9DC-9414-14941DBDDDAD}"/>
                </a:ext>
              </a:extLst>
            </p:cNvPr>
            <p:cNvSpPr/>
            <p:nvPr/>
          </p:nvSpPr>
          <p:spPr>
            <a:xfrm>
              <a:off x="8056836" y="2798702"/>
              <a:ext cx="288901" cy="251855"/>
            </a:xfrm>
            <a:custGeom>
              <a:avLst/>
              <a:gdLst>
                <a:gd name="connsiteX0" fmla="*/ 474226 w 554660"/>
                <a:gd name="connsiteY0" fmla="*/ 434086 h 483536"/>
                <a:gd name="connsiteX1" fmla="*/ 477996 w 554660"/>
                <a:gd name="connsiteY1" fmla="*/ 430756 h 483536"/>
                <a:gd name="connsiteX2" fmla="*/ 479140 w 554660"/>
                <a:gd name="connsiteY2" fmla="*/ 428300 h 483536"/>
                <a:gd name="connsiteX3" fmla="*/ 477996 w 554660"/>
                <a:gd name="connsiteY3" fmla="*/ 421202 h 483536"/>
                <a:gd name="connsiteX4" fmla="*/ 482203 w 554660"/>
                <a:gd name="connsiteY4" fmla="*/ 418174 h 483536"/>
                <a:gd name="connsiteX5" fmla="*/ 484222 w 554660"/>
                <a:gd name="connsiteY5" fmla="*/ 415853 h 483536"/>
                <a:gd name="connsiteX6" fmla="*/ 479881 w 554660"/>
                <a:gd name="connsiteY6" fmla="*/ 412826 h 483536"/>
                <a:gd name="connsiteX7" fmla="*/ 479881 w 554660"/>
                <a:gd name="connsiteY7" fmla="*/ 409193 h 483536"/>
                <a:gd name="connsiteX8" fmla="*/ 482910 w 554660"/>
                <a:gd name="connsiteY8" fmla="*/ 405358 h 483536"/>
                <a:gd name="connsiteX9" fmla="*/ 487688 w 554660"/>
                <a:gd name="connsiteY9" fmla="*/ 399067 h 483536"/>
                <a:gd name="connsiteX10" fmla="*/ 493645 w 554660"/>
                <a:gd name="connsiteY10" fmla="*/ 395770 h 483536"/>
                <a:gd name="connsiteX11" fmla="*/ 501621 w 554660"/>
                <a:gd name="connsiteY11" fmla="*/ 394593 h 483536"/>
                <a:gd name="connsiteX12" fmla="*/ 504246 w 554660"/>
                <a:gd name="connsiteY12" fmla="*/ 394593 h 483536"/>
                <a:gd name="connsiteX13" fmla="*/ 504246 w 554660"/>
                <a:gd name="connsiteY13" fmla="*/ 394526 h 483536"/>
                <a:gd name="connsiteX14" fmla="*/ 494352 w 554660"/>
                <a:gd name="connsiteY14" fmla="*/ 385746 h 483536"/>
                <a:gd name="connsiteX15" fmla="*/ 489136 w 554660"/>
                <a:gd name="connsiteY15" fmla="*/ 380532 h 483536"/>
                <a:gd name="connsiteX16" fmla="*/ 485265 w 554660"/>
                <a:gd name="connsiteY16" fmla="*/ 375553 h 483536"/>
                <a:gd name="connsiteX17" fmla="*/ 482135 w 554660"/>
                <a:gd name="connsiteY17" fmla="*/ 372727 h 483536"/>
                <a:gd name="connsiteX18" fmla="*/ 477356 w 554660"/>
                <a:gd name="connsiteY18" fmla="*/ 367950 h 483536"/>
                <a:gd name="connsiteX19" fmla="*/ 474866 w 554660"/>
                <a:gd name="connsiteY19" fmla="*/ 367076 h 483536"/>
                <a:gd name="connsiteX20" fmla="*/ 471400 w 554660"/>
                <a:gd name="connsiteY20" fmla="*/ 366302 h 483536"/>
                <a:gd name="connsiteX21" fmla="*/ 465745 w 554660"/>
                <a:gd name="connsiteY21" fmla="*/ 366302 h 483536"/>
                <a:gd name="connsiteX22" fmla="*/ 458880 w 554660"/>
                <a:gd name="connsiteY22" fmla="*/ 365427 h 483536"/>
                <a:gd name="connsiteX23" fmla="*/ 450063 w 554660"/>
                <a:gd name="connsiteY23" fmla="*/ 363813 h 483536"/>
                <a:gd name="connsiteX24" fmla="*/ 446461 w 554660"/>
                <a:gd name="connsiteY24" fmla="*/ 361323 h 483536"/>
                <a:gd name="connsiteX25" fmla="*/ 443971 w 554660"/>
                <a:gd name="connsiteY25" fmla="*/ 358498 h 483536"/>
                <a:gd name="connsiteX26" fmla="*/ 446461 w 554660"/>
                <a:gd name="connsiteY26" fmla="*/ 356210 h 483536"/>
                <a:gd name="connsiteX27" fmla="*/ 449188 w 554660"/>
                <a:gd name="connsiteY27" fmla="*/ 354696 h 483536"/>
                <a:gd name="connsiteX28" fmla="*/ 454067 w 554660"/>
                <a:gd name="connsiteY28" fmla="*/ 351433 h 483536"/>
                <a:gd name="connsiteX29" fmla="*/ 457231 w 554660"/>
                <a:gd name="connsiteY29" fmla="*/ 351433 h 483536"/>
                <a:gd name="connsiteX30" fmla="*/ 461034 w 554660"/>
                <a:gd name="connsiteY30" fmla="*/ 352846 h 483536"/>
                <a:gd name="connsiteX31" fmla="*/ 465174 w 554660"/>
                <a:gd name="connsiteY31" fmla="*/ 354158 h 483536"/>
                <a:gd name="connsiteX32" fmla="*/ 474731 w 554660"/>
                <a:gd name="connsiteY32" fmla="*/ 355235 h 483536"/>
                <a:gd name="connsiteX33" fmla="*/ 476044 w 554660"/>
                <a:gd name="connsiteY33" fmla="*/ 354259 h 483536"/>
                <a:gd name="connsiteX34" fmla="*/ 480284 w 554660"/>
                <a:gd name="connsiteY34" fmla="*/ 351837 h 483536"/>
                <a:gd name="connsiteX35" fmla="*/ 483650 w 554660"/>
                <a:gd name="connsiteY35" fmla="*/ 351131 h 483536"/>
                <a:gd name="connsiteX36" fmla="*/ 487688 w 554660"/>
                <a:gd name="connsiteY36" fmla="*/ 351131 h 483536"/>
                <a:gd name="connsiteX37" fmla="*/ 493140 w 554660"/>
                <a:gd name="connsiteY37" fmla="*/ 347666 h 483536"/>
                <a:gd name="connsiteX38" fmla="*/ 499871 w 554660"/>
                <a:gd name="connsiteY38" fmla="*/ 347666 h 483536"/>
                <a:gd name="connsiteX39" fmla="*/ 506165 w 554660"/>
                <a:gd name="connsiteY39" fmla="*/ 349617 h 483536"/>
                <a:gd name="connsiteX40" fmla="*/ 511381 w 554660"/>
                <a:gd name="connsiteY40" fmla="*/ 351030 h 483536"/>
                <a:gd name="connsiteX41" fmla="*/ 516934 w 554660"/>
                <a:gd name="connsiteY41" fmla="*/ 355268 h 483536"/>
                <a:gd name="connsiteX42" fmla="*/ 523901 w 554660"/>
                <a:gd name="connsiteY42" fmla="*/ 359070 h 483536"/>
                <a:gd name="connsiteX43" fmla="*/ 531507 w 554660"/>
                <a:gd name="connsiteY43" fmla="*/ 362333 h 483536"/>
                <a:gd name="connsiteX44" fmla="*/ 537261 w 554660"/>
                <a:gd name="connsiteY44" fmla="*/ 363947 h 483536"/>
                <a:gd name="connsiteX45" fmla="*/ 543017 w 554660"/>
                <a:gd name="connsiteY45" fmla="*/ 364586 h 483536"/>
                <a:gd name="connsiteX46" fmla="*/ 549646 w 554660"/>
                <a:gd name="connsiteY46" fmla="*/ 364385 h 483536"/>
                <a:gd name="connsiteX47" fmla="*/ 553786 w 554660"/>
                <a:gd name="connsiteY47" fmla="*/ 362871 h 483536"/>
                <a:gd name="connsiteX48" fmla="*/ 554661 w 554660"/>
                <a:gd name="connsiteY48" fmla="*/ 359070 h 483536"/>
                <a:gd name="connsiteX49" fmla="*/ 552373 w 554660"/>
                <a:gd name="connsiteY49" fmla="*/ 353855 h 483536"/>
                <a:gd name="connsiteX50" fmla="*/ 547358 w 554660"/>
                <a:gd name="connsiteY50" fmla="*/ 343763 h 483536"/>
                <a:gd name="connsiteX51" fmla="*/ 541603 w 554660"/>
                <a:gd name="connsiteY51" fmla="*/ 332461 h 483536"/>
                <a:gd name="connsiteX52" fmla="*/ 534872 w 554660"/>
                <a:gd name="connsiteY52" fmla="*/ 325598 h 483536"/>
                <a:gd name="connsiteX53" fmla="*/ 526930 w 554660"/>
                <a:gd name="connsiteY53" fmla="*/ 321158 h 483536"/>
                <a:gd name="connsiteX54" fmla="*/ 516732 w 554660"/>
                <a:gd name="connsiteY54" fmla="*/ 317693 h 483536"/>
                <a:gd name="connsiteX55" fmla="*/ 510203 w 554660"/>
                <a:gd name="connsiteY55" fmla="*/ 316280 h 483536"/>
                <a:gd name="connsiteX56" fmla="*/ 501823 w 554660"/>
                <a:gd name="connsiteY56" fmla="*/ 313555 h 483536"/>
                <a:gd name="connsiteX57" fmla="*/ 497414 w 554660"/>
                <a:gd name="connsiteY57" fmla="*/ 310527 h 483536"/>
                <a:gd name="connsiteX58" fmla="*/ 495496 w 554660"/>
                <a:gd name="connsiteY58" fmla="*/ 308778 h 483536"/>
                <a:gd name="connsiteX59" fmla="*/ 495496 w 554660"/>
                <a:gd name="connsiteY59" fmla="*/ 287720 h 483536"/>
                <a:gd name="connsiteX60" fmla="*/ 493544 w 554660"/>
                <a:gd name="connsiteY60" fmla="*/ 283818 h 483536"/>
                <a:gd name="connsiteX61" fmla="*/ 488967 w 554660"/>
                <a:gd name="connsiteY61" fmla="*/ 281429 h 483536"/>
                <a:gd name="connsiteX62" fmla="*/ 485064 w 554660"/>
                <a:gd name="connsiteY62" fmla="*/ 277830 h 483536"/>
                <a:gd name="connsiteX63" fmla="*/ 478097 w 554660"/>
                <a:gd name="connsiteY63" fmla="*/ 275374 h 483536"/>
                <a:gd name="connsiteX64" fmla="*/ 472678 w 554660"/>
                <a:gd name="connsiteY64" fmla="*/ 274668 h 483536"/>
                <a:gd name="connsiteX65" fmla="*/ 465072 w 554660"/>
                <a:gd name="connsiteY65" fmla="*/ 274668 h 483536"/>
                <a:gd name="connsiteX66" fmla="*/ 460293 w 554660"/>
                <a:gd name="connsiteY66" fmla="*/ 273894 h 483536"/>
                <a:gd name="connsiteX67" fmla="*/ 452890 w 554660"/>
                <a:gd name="connsiteY67" fmla="*/ 273356 h 483536"/>
                <a:gd name="connsiteX68" fmla="*/ 447336 w 554660"/>
                <a:gd name="connsiteY68" fmla="*/ 271607 h 483536"/>
                <a:gd name="connsiteX69" fmla="*/ 444510 w 554660"/>
                <a:gd name="connsiteY69" fmla="*/ 267267 h 483536"/>
                <a:gd name="connsiteX70" fmla="*/ 443971 w 554660"/>
                <a:gd name="connsiteY70" fmla="*/ 262154 h 483536"/>
                <a:gd name="connsiteX71" fmla="*/ 441582 w 554660"/>
                <a:gd name="connsiteY71" fmla="*/ 255628 h 483536"/>
                <a:gd name="connsiteX72" fmla="*/ 440707 w 554660"/>
                <a:gd name="connsiteY72" fmla="*/ 251187 h 483536"/>
                <a:gd name="connsiteX73" fmla="*/ 437678 w 554660"/>
                <a:gd name="connsiteY73" fmla="*/ 248698 h 483536"/>
                <a:gd name="connsiteX74" fmla="*/ 436163 w 554660"/>
                <a:gd name="connsiteY74" fmla="*/ 245334 h 483536"/>
                <a:gd name="connsiteX75" fmla="*/ 439730 w 554660"/>
                <a:gd name="connsiteY75" fmla="*/ 239918 h 483536"/>
                <a:gd name="connsiteX76" fmla="*/ 441245 w 554660"/>
                <a:gd name="connsiteY76" fmla="*/ 235040 h 483536"/>
                <a:gd name="connsiteX77" fmla="*/ 440808 w 554660"/>
                <a:gd name="connsiteY77" fmla="*/ 233089 h 483536"/>
                <a:gd name="connsiteX78" fmla="*/ 440471 w 554660"/>
                <a:gd name="connsiteY78" fmla="*/ 227438 h 483536"/>
                <a:gd name="connsiteX79" fmla="*/ 439159 w 554660"/>
                <a:gd name="connsiteY79" fmla="*/ 223737 h 483536"/>
                <a:gd name="connsiteX80" fmla="*/ 436668 w 554660"/>
                <a:gd name="connsiteY80" fmla="*/ 219835 h 483536"/>
                <a:gd name="connsiteX81" fmla="*/ 433202 w 554660"/>
                <a:gd name="connsiteY81" fmla="*/ 215058 h 483536"/>
                <a:gd name="connsiteX82" fmla="*/ 427177 w 554660"/>
                <a:gd name="connsiteY82" fmla="*/ 210382 h 483536"/>
                <a:gd name="connsiteX83" fmla="*/ 424182 w 554660"/>
                <a:gd name="connsiteY83" fmla="*/ 206480 h 483536"/>
                <a:gd name="connsiteX84" fmla="*/ 424182 w 554660"/>
                <a:gd name="connsiteY84" fmla="*/ 200829 h 483536"/>
                <a:gd name="connsiteX85" fmla="*/ 424182 w 554660"/>
                <a:gd name="connsiteY85" fmla="*/ 197364 h 483536"/>
                <a:gd name="connsiteX86" fmla="*/ 421557 w 554660"/>
                <a:gd name="connsiteY86" fmla="*/ 192251 h 483536"/>
                <a:gd name="connsiteX87" fmla="*/ 419269 w 554660"/>
                <a:gd name="connsiteY87" fmla="*/ 189324 h 483536"/>
                <a:gd name="connsiteX88" fmla="*/ 415197 w 554660"/>
                <a:gd name="connsiteY88" fmla="*/ 185422 h 483536"/>
                <a:gd name="connsiteX89" fmla="*/ 413716 w 554660"/>
                <a:gd name="connsiteY89" fmla="*/ 180107 h 483536"/>
                <a:gd name="connsiteX90" fmla="*/ 413716 w 554660"/>
                <a:gd name="connsiteY90" fmla="*/ 174792 h 483536"/>
                <a:gd name="connsiteX91" fmla="*/ 411663 w 554660"/>
                <a:gd name="connsiteY91" fmla="*/ 170015 h 483536"/>
                <a:gd name="connsiteX92" fmla="*/ 409071 w 554660"/>
                <a:gd name="connsiteY92" fmla="*/ 166314 h 483536"/>
                <a:gd name="connsiteX93" fmla="*/ 406783 w 554660"/>
                <a:gd name="connsiteY93" fmla="*/ 162278 h 483536"/>
                <a:gd name="connsiteX94" fmla="*/ 401667 w 554660"/>
                <a:gd name="connsiteY94" fmla="*/ 154002 h 483536"/>
                <a:gd name="connsiteX95" fmla="*/ 397763 w 554660"/>
                <a:gd name="connsiteY95" fmla="*/ 147375 h 483536"/>
                <a:gd name="connsiteX96" fmla="*/ 394499 w 554660"/>
                <a:gd name="connsiteY96" fmla="*/ 139773 h 483536"/>
                <a:gd name="connsiteX97" fmla="*/ 391773 w 554660"/>
                <a:gd name="connsiteY97" fmla="*/ 135736 h 483536"/>
                <a:gd name="connsiteX98" fmla="*/ 389383 w 554660"/>
                <a:gd name="connsiteY98" fmla="*/ 132910 h 483536"/>
                <a:gd name="connsiteX99" fmla="*/ 389383 w 554660"/>
                <a:gd name="connsiteY99" fmla="*/ 126081 h 483536"/>
                <a:gd name="connsiteX100" fmla="*/ 388508 w 554660"/>
                <a:gd name="connsiteY100" fmla="*/ 117167 h 483536"/>
                <a:gd name="connsiteX101" fmla="*/ 386321 w 554660"/>
                <a:gd name="connsiteY101" fmla="*/ 111078 h 483536"/>
                <a:gd name="connsiteX102" fmla="*/ 385008 w 554660"/>
                <a:gd name="connsiteY102" fmla="*/ 105662 h 483536"/>
                <a:gd name="connsiteX103" fmla="*/ 375989 w 554660"/>
                <a:gd name="connsiteY103" fmla="*/ 89145 h 483536"/>
                <a:gd name="connsiteX104" fmla="*/ 372085 w 554660"/>
                <a:gd name="connsiteY104" fmla="*/ 81206 h 483536"/>
                <a:gd name="connsiteX105" fmla="*/ 361012 w 554660"/>
                <a:gd name="connsiteY105" fmla="*/ 73604 h 483536"/>
                <a:gd name="connsiteX106" fmla="*/ 343176 w 554660"/>
                <a:gd name="connsiteY106" fmla="*/ 63713 h 483536"/>
                <a:gd name="connsiteX107" fmla="*/ 333921 w 554660"/>
                <a:gd name="connsiteY107" fmla="*/ 62301 h 483536"/>
                <a:gd name="connsiteX108" fmla="*/ 324228 w 554660"/>
                <a:gd name="connsiteY108" fmla="*/ 61426 h 483536"/>
                <a:gd name="connsiteX109" fmla="*/ 318574 w 554660"/>
                <a:gd name="connsiteY109" fmla="*/ 57288 h 483536"/>
                <a:gd name="connsiteX110" fmla="*/ 312045 w 554660"/>
                <a:gd name="connsiteY110" fmla="*/ 56414 h 483536"/>
                <a:gd name="connsiteX111" fmla="*/ 305954 w 554660"/>
                <a:gd name="connsiteY111" fmla="*/ 55337 h 483536"/>
                <a:gd name="connsiteX112" fmla="*/ 300636 w 554660"/>
                <a:gd name="connsiteY112" fmla="*/ 50459 h 483536"/>
                <a:gd name="connsiteX113" fmla="*/ 294343 w 554660"/>
                <a:gd name="connsiteY113" fmla="*/ 43395 h 483536"/>
                <a:gd name="connsiteX114" fmla="*/ 289766 w 554660"/>
                <a:gd name="connsiteY114" fmla="*/ 39695 h 483536"/>
                <a:gd name="connsiteX115" fmla="*/ 281083 w 554660"/>
                <a:gd name="connsiteY115" fmla="*/ 33068 h 483536"/>
                <a:gd name="connsiteX116" fmla="*/ 271525 w 554660"/>
                <a:gd name="connsiteY116" fmla="*/ 32294 h 483536"/>
                <a:gd name="connsiteX117" fmla="*/ 264626 w 554660"/>
                <a:gd name="connsiteY117" fmla="*/ 31756 h 483536"/>
                <a:gd name="connsiteX118" fmla="*/ 262405 w 554660"/>
                <a:gd name="connsiteY118" fmla="*/ 26004 h 483536"/>
                <a:gd name="connsiteX119" fmla="*/ 262405 w 554660"/>
                <a:gd name="connsiteY119" fmla="*/ 20016 h 483536"/>
                <a:gd name="connsiteX120" fmla="*/ 262405 w 554660"/>
                <a:gd name="connsiteY120" fmla="*/ 13052 h 483536"/>
                <a:gd name="connsiteX121" fmla="*/ 265568 w 554660"/>
                <a:gd name="connsiteY121" fmla="*/ 8175 h 483536"/>
                <a:gd name="connsiteX122" fmla="*/ 270246 w 554660"/>
                <a:gd name="connsiteY122" fmla="*/ 4575 h 483536"/>
                <a:gd name="connsiteX123" fmla="*/ 271996 w 554660"/>
                <a:gd name="connsiteY123" fmla="*/ 3263 h 483536"/>
                <a:gd name="connsiteX124" fmla="*/ 273410 w 554660"/>
                <a:gd name="connsiteY124" fmla="*/ 1615 h 483536"/>
                <a:gd name="connsiteX125" fmla="*/ 271458 w 554660"/>
                <a:gd name="connsiteY125" fmla="*/ 0 h 483536"/>
                <a:gd name="connsiteX126" fmla="*/ 261563 w 554660"/>
                <a:gd name="connsiteY126" fmla="*/ 0 h 483536"/>
                <a:gd name="connsiteX127" fmla="*/ 252645 w 554660"/>
                <a:gd name="connsiteY127" fmla="*/ 1413 h 483536"/>
                <a:gd name="connsiteX128" fmla="*/ 247866 w 554660"/>
                <a:gd name="connsiteY128" fmla="*/ 5113 h 483536"/>
                <a:gd name="connsiteX129" fmla="*/ 241875 w 554660"/>
                <a:gd name="connsiteY129" fmla="*/ 7939 h 483536"/>
                <a:gd name="connsiteX130" fmla="*/ 235784 w 554660"/>
                <a:gd name="connsiteY130" fmla="*/ 9352 h 483536"/>
                <a:gd name="connsiteX131" fmla="*/ 226865 w 554660"/>
                <a:gd name="connsiteY131" fmla="*/ 10126 h 483536"/>
                <a:gd name="connsiteX132" fmla="*/ 224510 w 554660"/>
                <a:gd name="connsiteY132" fmla="*/ 15575 h 483536"/>
                <a:gd name="connsiteX133" fmla="*/ 224139 w 554660"/>
                <a:gd name="connsiteY133" fmla="*/ 19276 h 483536"/>
                <a:gd name="connsiteX134" fmla="*/ 224139 w 554660"/>
                <a:gd name="connsiteY134" fmla="*/ 25263 h 483536"/>
                <a:gd name="connsiteX135" fmla="*/ 223500 w 554660"/>
                <a:gd name="connsiteY135" fmla="*/ 29065 h 483536"/>
                <a:gd name="connsiteX136" fmla="*/ 222187 w 554660"/>
                <a:gd name="connsiteY136" fmla="*/ 34279 h 483536"/>
                <a:gd name="connsiteX137" fmla="*/ 218586 w 554660"/>
                <a:gd name="connsiteY137" fmla="*/ 38854 h 483536"/>
                <a:gd name="connsiteX138" fmla="*/ 217610 w 554660"/>
                <a:gd name="connsiteY138" fmla="*/ 44842 h 483536"/>
                <a:gd name="connsiteX139" fmla="*/ 219461 w 554660"/>
                <a:gd name="connsiteY139" fmla="*/ 48441 h 483536"/>
                <a:gd name="connsiteX140" fmla="*/ 215995 w 554660"/>
                <a:gd name="connsiteY140" fmla="*/ 50729 h 483536"/>
                <a:gd name="connsiteX141" fmla="*/ 205226 w 554660"/>
                <a:gd name="connsiteY141" fmla="*/ 51368 h 483536"/>
                <a:gd name="connsiteX142" fmla="*/ 199672 w 554660"/>
                <a:gd name="connsiteY142" fmla="*/ 52680 h 483536"/>
                <a:gd name="connsiteX143" fmla="*/ 196071 w 554660"/>
                <a:gd name="connsiteY143" fmla="*/ 59845 h 483536"/>
                <a:gd name="connsiteX144" fmla="*/ 194658 w 554660"/>
                <a:gd name="connsiteY144" fmla="*/ 65160 h 483536"/>
                <a:gd name="connsiteX145" fmla="*/ 196307 w 554660"/>
                <a:gd name="connsiteY145" fmla="*/ 74075 h 483536"/>
                <a:gd name="connsiteX146" fmla="*/ 194658 w 554660"/>
                <a:gd name="connsiteY146" fmla="*/ 79289 h 483536"/>
                <a:gd name="connsiteX147" fmla="*/ 189980 w 554660"/>
                <a:gd name="connsiteY147" fmla="*/ 85714 h 483536"/>
                <a:gd name="connsiteX148" fmla="*/ 184427 w 554660"/>
                <a:gd name="connsiteY148" fmla="*/ 89179 h 483536"/>
                <a:gd name="connsiteX149" fmla="*/ 175609 w 554660"/>
                <a:gd name="connsiteY149" fmla="*/ 92105 h 483536"/>
                <a:gd name="connsiteX150" fmla="*/ 169417 w 554660"/>
                <a:gd name="connsiteY150" fmla="*/ 89919 h 483536"/>
                <a:gd name="connsiteX151" fmla="*/ 162989 w 554660"/>
                <a:gd name="connsiteY151" fmla="*/ 80903 h 483536"/>
                <a:gd name="connsiteX152" fmla="*/ 163629 w 554660"/>
                <a:gd name="connsiteY152" fmla="*/ 75454 h 483536"/>
                <a:gd name="connsiteX153" fmla="*/ 162989 w 554660"/>
                <a:gd name="connsiteY153" fmla="*/ 69802 h 483536"/>
                <a:gd name="connsiteX154" fmla="*/ 159186 w 554660"/>
                <a:gd name="connsiteY154" fmla="*/ 64386 h 483536"/>
                <a:gd name="connsiteX155" fmla="*/ 155383 w 554660"/>
                <a:gd name="connsiteY155" fmla="*/ 61897 h 483536"/>
                <a:gd name="connsiteX156" fmla="*/ 148652 w 554660"/>
                <a:gd name="connsiteY156" fmla="*/ 59408 h 483536"/>
                <a:gd name="connsiteX157" fmla="*/ 143436 w 554660"/>
                <a:gd name="connsiteY157" fmla="*/ 60282 h 483536"/>
                <a:gd name="connsiteX158" fmla="*/ 136907 w 554660"/>
                <a:gd name="connsiteY158" fmla="*/ 64723 h 483536"/>
                <a:gd name="connsiteX159" fmla="*/ 136368 w 554660"/>
                <a:gd name="connsiteY159" fmla="*/ 69399 h 483536"/>
                <a:gd name="connsiteX160" fmla="*/ 134854 w 554660"/>
                <a:gd name="connsiteY160" fmla="*/ 76362 h 483536"/>
                <a:gd name="connsiteX161" fmla="*/ 130950 w 554660"/>
                <a:gd name="connsiteY161" fmla="*/ 81677 h 483536"/>
                <a:gd name="connsiteX162" fmla="*/ 125834 w 554660"/>
                <a:gd name="connsiteY162" fmla="*/ 82552 h 483536"/>
                <a:gd name="connsiteX163" fmla="*/ 119406 w 554660"/>
                <a:gd name="connsiteY163" fmla="*/ 83628 h 483536"/>
                <a:gd name="connsiteX164" fmla="*/ 113315 w 554660"/>
                <a:gd name="connsiteY164" fmla="*/ 85041 h 483536"/>
                <a:gd name="connsiteX165" fmla="*/ 107762 w 554660"/>
                <a:gd name="connsiteY165" fmla="*/ 83965 h 483536"/>
                <a:gd name="connsiteX166" fmla="*/ 104598 w 554660"/>
                <a:gd name="connsiteY166" fmla="*/ 80601 h 483536"/>
                <a:gd name="connsiteX167" fmla="*/ 93627 w 554660"/>
                <a:gd name="connsiteY167" fmla="*/ 72897 h 483536"/>
                <a:gd name="connsiteX168" fmla="*/ 86661 w 554660"/>
                <a:gd name="connsiteY168" fmla="*/ 76598 h 483536"/>
                <a:gd name="connsiteX169" fmla="*/ 86661 w 554660"/>
                <a:gd name="connsiteY169" fmla="*/ 82686 h 483536"/>
                <a:gd name="connsiteX170" fmla="*/ 84338 w 554660"/>
                <a:gd name="connsiteY170" fmla="*/ 86454 h 483536"/>
                <a:gd name="connsiteX171" fmla="*/ 78247 w 554660"/>
                <a:gd name="connsiteY171" fmla="*/ 91365 h 483536"/>
                <a:gd name="connsiteX172" fmla="*/ 73905 w 554660"/>
                <a:gd name="connsiteY172" fmla="*/ 86454 h 483536"/>
                <a:gd name="connsiteX173" fmla="*/ 70574 w 554660"/>
                <a:gd name="connsiteY173" fmla="*/ 84436 h 483536"/>
                <a:gd name="connsiteX174" fmla="*/ 64044 w 554660"/>
                <a:gd name="connsiteY174" fmla="*/ 77203 h 483536"/>
                <a:gd name="connsiteX175" fmla="*/ 64044 w 554660"/>
                <a:gd name="connsiteY175" fmla="*/ 67077 h 483536"/>
                <a:gd name="connsiteX176" fmla="*/ 64044 w 554660"/>
                <a:gd name="connsiteY176" fmla="*/ 58399 h 483536"/>
                <a:gd name="connsiteX177" fmla="*/ 59400 w 554660"/>
                <a:gd name="connsiteY177" fmla="*/ 55203 h 483536"/>
                <a:gd name="connsiteX178" fmla="*/ 56237 w 554660"/>
                <a:gd name="connsiteY178" fmla="*/ 47970 h 483536"/>
                <a:gd name="connsiteX179" fmla="*/ 52467 w 554660"/>
                <a:gd name="connsiteY179" fmla="*/ 45077 h 483536"/>
                <a:gd name="connsiteX180" fmla="*/ 42910 w 554660"/>
                <a:gd name="connsiteY180" fmla="*/ 42184 h 483536"/>
                <a:gd name="connsiteX181" fmla="*/ 29582 w 554660"/>
                <a:gd name="connsiteY181" fmla="*/ 40166 h 483536"/>
                <a:gd name="connsiteX182" fmla="*/ 17096 w 554660"/>
                <a:gd name="connsiteY182" fmla="*/ 41310 h 483536"/>
                <a:gd name="connsiteX183" fmla="*/ 11308 w 554660"/>
                <a:gd name="connsiteY183" fmla="*/ 45952 h 483536"/>
                <a:gd name="connsiteX184" fmla="*/ 6529 w 554660"/>
                <a:gd name="connsiteY184" fmla="*/ 49417 h 483536"/>
                <a:gd name="connsiteX185" fmla="*/ 1447 w 554660"/>
                <a:gd name="connsiteY185" fmla="*/ 58399 h 483536"/>
                <a:gd name="connsiteX186" fmla="*/ 1447 w 554660"/>
                <a:gd name="connsiteY186" fmla="*/ 63613 h 483536"/>
                <a:gd name="connsiteX187" fmla="*/ 0 w 554660"/>
                <a:gd name="connsiteY187" fmla="*/ 69399 h 483536"/>
                <a:gd name="connsiteX188" fmla="*/ 4341 w 554660"/>
                <a:gd name="connsiteY188" fmla="*/ 73738 h 483536"/>
                <a:gd name="connsiteX189" fmla="*/ 7808 w 554660"/>
                <a:gd name="connsiteY189" fmla="*/ 77203 h 483536"/>
                <a:gd name="connsiteX190" fmla="*/ 22582 w 554660"/>
                <a:gd name="connsiteY190" fmla="*/ 86488 h 483536"/>
                <a:gd name="connsiteX191" fmla="*/ 30423 w 554660"/>
                <a:gd name="connsiteY191" fmla="*/ 90827 h 483536"/>
                <a:gd name="connsiteX192" fmla="*/ 37390 w 554660"/>
                <a:gd name="connsiteY192" fmla="*/ 91702 h 483536"/>
                <a:gd name="connsiteX193" fmla="*/ 44054 w 554660"/>
                <a:gd name="connsiteY193" fmla="*/ 96613 h 483536"/>
                <a:gd name="connsiteX194" fmla="*/ 48967 w 554660"/>
                <a:gd name="connsiteY194" fmla="*/ 100953 h 483536"/>
                <a:gd name="connsiteX195" fmla="*/ 54487 w 554660"/>
                <a:gd name="connsiteY195" fmla="*/ 100953 h 483536"/>
                <a:gd name="connsiteX196" fmla="*/ 58559 w 554660"/>
                <a:gd name="connsiteY196" fmla="*/ 109060 h 483536"/>
                <a:gd name="connsiteX197" fmla="*/ 64044 w 554660"/>
                <a:gd name="connsiteY197" fmla="*/ 119185 h 483536"/>
                <a:gd name="connsiteX198" fmla="*/ 70439 w 554660"/>
                <a:gd name="connsiteY198" fmla="*/ 119488 h 483536"/>
                <a:gd name="connsiteX199" fmla="*/ 71886 w 554660"/>
                <a:gd name="connsiteY199" fmla="*/ 123827 h 483536"/>
                <a:gd name="connsiteX200" fmla="*/ 76800 w 554660"/>
                <a:gd name="connsiteY200" fmla="*/ 129614 h 483536"/>
                <a:gd name="connsiteX201" fmla="*/ 83194 w 554660"/>
                <a:gd name="connsiteY201" fmla="*/ 132069 h 483536"/>
                <a:gd name="connsiteX202" fmla="*/ 97093 w 554660"/>
                <a:gd name="connsiteY202" fmla="*/ 132204 h 483536"/>
                <a:gd name="connsiteX203" fmla="*/ 108401 w 554660"/>
                <a:gd name="connsiteY203" fmla="*/ 132204 h 483536"/>
                <a:gd name="connsiteX204" fmla="*/ 117387 w 554660"/>
                <a:gd name="connsiteY204" fmla="*/ 133650 h 483536"/>
                <a:gd name="connsiteX205" fmla="*/ 123748 w 554660"/>
                <a:gd name="connsiteY205" fmla="*/ 140614 h 483536"/>
                <a:gd name="connsiteX206" fmla="*/ 128089 w 554660"/>
                <a:gd name="connsiteY206" fmla="*/ 144953 h 483536"/>
                <a:gd name="connsiteX207" fmla="*/ 132565 w 554660"/>
                <a:gd name="connsiteY207" fmla="*/ 150739 h 483536"/>
                <a:gd name="connsiteX208" fmla="*/ 133575 w 554660"/>
                <a:gd name="connsiteY208" fmla="*/ 154507 h 483536"/>
                <a:gd name="connsiteX209" fmla="*/ 133575 w 554660"/>
                <a:gd name="connsiteY209" fmla="*/ 164363 h 483536"/>
                <a:gd name="connsiteX210" fmla="*/ 136469 w 554660"/>
                <a:gd name="connsiteY210" fmla="*/ 168434 h 483536"/>
                <a:gd name="connsiteX211" fmla="*/ 145724 w 554660"/>
                <a:gd name="connsiteY211" fmla="*/ 168434 h 483536"/>
                <a:gd name="connsiteX212" fmla="*/ 152388 w 554660"/>
                <a:gd name="connsiteY212" fmla="*/ 164969 h 483536"/>
                <a:gd name="connsiteX213" fmla="*/ 157032 w 554660"/>
                <a:gd name="connsiteY213" fmla="*/ 160898 h 483536"/>
                <a:gd name="connsiteX214" fmla="*/ 162249 w 554660"/>
                <a:gd name="connsiteY214" fmla="*/ 163522 h 483536"/>
                <a:gd name="connsiteX215" fmla="*/ 171806 w 554660"/>
                <a:gd name="connsiteY215" fmla="*/ 165272 h 483536"/>
                <a:gd name="connsiteX216" fmla="*/ 179042 w 554660"/>
                <a:gd name="connsiteY216" fmla="*/ 166146 h 483536"/>
                <a:gd name="connsiteX217" fmla="*/ 178167 w 554660"/>
                <a:gd name="connsiteY217" fmla="*/ 173984 h 483536"/>
                <a:gd name="connsiteX218" fmla="*/ 174095 w 554660"/>
                <a:gd name="connsiteY218" fmla="*/ 179501 h 483536"/>
                <a:gd name="connsiteX219" fmla="*/ 173523 w 554660"/>
                <a:gd name="connsiteY219" fmla="*/ 184413 h 483536"/>
                <a:gd name="connsiteX220" fmla="*/ 171504 w 554660"/>
                <a:gd name="connsiteY220" fmla="*/ 190804 h 483536"/>
                <a:gd name="connsiteX221" fmla="*/ 167432 w 554660"/>
                <a:gd name="connsiteY221" fmla="*/ 197465 h 483536"/>
                <a:gd name="connsiteX222" fmla="*/ 164840 w 554660"/>
                <a:gd name="connsiteY222" fmla="*/ 202107 h 483536"/>
                <a:gd name="connsiteX223" fmla="*/ 162821 w 554660"/>
                <a:gd name="connsiteY223" fmla="*/ 209070 h 483536"/>
                <a:gd name="connsiteX224" fmla="*/ 161071 w 554660"/>
                <a:gd name="connsiteY224" fmla="*/ 222694 h 483536"/>
                <a:gd name="connsiteX225" fmla="*/ 161340 w 554660"/>
                <a:gd name="connsiteY225" fmla="*/ 224444 h 483536"/>
                <a:gd name="connsiteX226" fmla="*/ 165681 w 554660"/>
                <a:gd name="connsiteY226" fmla="*/ 229355 h 483536"/>
                <a:gd name="connsiteX227" fmla="*/ 176114 w 554660"/>
                <a:gd name="connsiteY227" fmla="*/ 228481 h 483536"/>
                <a:gd name="connsiteX228" fmla="*/ 183081 w 554660"/>
                <a:gd name="connsiteY228" fmla="*/ 226159 h 483536"/>
                <a:gd name="connsiteX229" fmla="*/ 185403 w 554660"/>
                <a:gd name="connsiteY229" fmla="*/ 235713 h 483536"/>
                <a:gd name="connsiteX230" fmla="*/ 189475 w 554660"/>
                <a:gd name="connsiteY230" fmla="*/ 244392 h 483536"/>
                <a:gd name="connsiteX231" fmla="*/ 192672 w 554660"/>
                <a:gd name="connsiteY231" fmla="*/ 252802 h 483536"/>
                <a:gd name="connsiteX232" fmla="*/ 191797 w 554660"/>
                <a:gd name="connsiteY232" fmla="*/ 260606 h 483536"/>
                <a:gd name="connsiteX233" fmla="*/ 194692 w 554660"/>
                <a:gd name="connsiteY233" fmla="*/ 268713 h 483536"/>
                <a:gd name="connsiteX234" fmla="*/ 205697 w 554660"/>
                <a:gd name="connsiteY234" fmla="*/ 277123 h 483536"/>
                <a:gd name="connsiteX235" fmla="*/ 211485 w 554660"/>
                <a:gd name="connsiteY235" fmla="*/ 277998 h 483536"/>
                <a:gd name="connsiteX236" fmla="*/ 220168 w 554660"/>
                <a:gd name="connsiteY236" fmla="*/ 275980 h 483536"/>
                <a:gd name="connsiteX237" fmla="*/ 227404 w 554660"/>
                <a:gd name="connsiteY237" fmla="*/ 276282 h 483536"/>
                <a:gd name="connsiteX238" fmla="*/ 234067 w 554660"/>
                <a:gd name="connsiteY238" fmla="*/ 275980 h 483536"/>
                <a:gd name="connsiteX239" fmla="*/ 239284 w 554660"/>
                <a:gd name="connsiteY239" fmla="*/ 273087 h 483536"/>
                <a:gd name="connsiteX240" fmla="*/ 241034 w 554660"/>
                <a:gd name="connsiteY240" fmla="*/ 266998 h 483536"/>
                <a:gd name="connsiteX241" fmla="*/ 245106 w 554660"/>
                <a:gd name="connsiteY241" fmla="*/ 261481 h 483536"/>
                <a:gd name="connsiteX242" fmla="*/ 245409 w 554660"/>
                <a:gd name="connsiteY242" fmla="*/ 250750 h 483536"/>
                <a:gd name="connsiteX243" fmla="*/ 248000 w 554660"/>
                <a:gd name="connsiteY243" fmla="*/ 244661 h 483536"/>
                <a:gd name="connsiteX244" fmla="*/ 256111 w 554660"/>
                <a:gd name="connsiteY244" fmla="*/ 242340 h 483536"/>
                <a:gd name="connsiteX245" fmla="*/ 261631 w 554660"/>
                <a:gd name="connsiteY245" fmla="*/ 248731 h 483536"/>
                <a:gd name="connsiteX246" fmla="*/ 269438 w 554660"/>
                <a:gd name="connsiteY246" fmla="*/ 255392 h 483536"/>
                <a:gd name="connsiteX247" fmla="*/ 281319 w 554660"/>
                <a:gd name="connsiteY247" fmla="*/ 261481 h 483536"/>
                <a:gd name="connsiteX248" fmla="*/ 287982 w 554660"/>
                <a:gd name="connsiteY248" fmla="*/ 266123 h 483536"/>
                <a:gd name="connsiteX249" fmla="*/ 286232 w 554660"/>
                <a:gd name="connsiteY249" fmla="*/ 277426 h 483536"/>
                <a:gd name="connsiteX250" fmla="*/ 283607 w 554660"/>
                <a:gd name="connsiteY250" fmla="*/ 281194 h 483536"/>
                <a:gd name="connsiteX251" fmla="*/ 285054 w 554660"/>
                <a:gd name="connsiteY251" fmla="*/ 289032 h 483536"/>
                <a:gd name="connsiteX252" fmla="*/ 286501 w 554660"/>
                <a:gd name="connsiteY252" fmla="*/ 294818 h 483536"/>
                <a:gd name="connsiteX253" fmla="*/ 281588 w 554660"/>
                <a:gd name="connsiteY253" fmla="*/ 300335 h 483536"/>
                <a:gd name="connsiteX254" fmla="*/ 274352 w 554660"/>
                <a:gd name="connsiteY254" fmla="*/ 304102 h 483536"/>
                <a:gd name="connsiteX255" fmla="*/ 268563 w 554660"/>
                <a:gd name="connsiteY255" fmla="*/ 299191 h 483536"/>
                <a:gd name="connsiteX256" fmla="*/ 260722 w 554660"/>
                <a:gd name="connsiteY256" fmla="*/ 298888 h 483536"/>
                <a:gd name="connsiteX257" fmla="*/ 252039 w 554660"/>
                <a:gd name="connsiteY257" fmla="*/ 297442 h 483536"/>
                <a:gd name="connsiteX258" fmla="*/ 247698 w 554660"/>
                <a:gd name="connsiteY258" fmla="*/ 292530 h 483536"/>
                <a:gd name="connsiteX259" fmla="*/ 239587 w 554660"/>
                <a:gd name="connsiteY259" fmla="*/ 289335 h 483536"/>
                <a:gd name="connsiteX260" fmla="*/ 234101 w 554660"/>
                <a:gd name="connsiteY260" fmla="*/ 293977 h 483536"/>
                <a:gd name="connsiteX261" fmla="*/ 233529 w 554660"/>
                <a:gd name="connsiteY261" fmla="*/ 301512 h 483536"/>
                <a:gd name="connsiteX262" fmla="*/ 236423 w 554660"/>
                <a:gd name="connsiteY262" fmla="*/ 311066 h 483536"/>
                <a:gd name="connsiteX263" fmla="*/ 237568 w 554660"/>
                <a:gd name="connsiteY263" fmla="*/ 317457 h 483536"/>
                <a:gd name="connsiteX264" fmla="*/ 236693 w 554660"/>
                <a:gd name="connsiteY264" fmla="*/ 327314 h 483536"/>
                <a:gd name="connsiteX265" fmla="*/ 233798 w 554660"/>
                <a:gd name="connsiteY265" fmla="*/ 331384 h 483536"/>
                <a:gd name="connsiteX266" fmla="*/ 232351 w 554660"/>
                <a:gd name="connsiteY266" fmla="*/ 336598 h 483536"/>
                <a:gd name="connsiteX267" fmla="*/ 228010 w 554660"/>
                <a:gd name="connsiteY267" fmla="*/ 338045 h 483536"/>
                <a:gd name="connsiteX268" fmla="*/ 222490 w 554660"/>
                <a:gd name="connsiteY268" fmla="*/ 338617 h 483536"/>
                <a:gd name="connsiteX269" fmla="*/ 217846 w 554660"/>
                <a:gd name="connsiteY269" fmla="*/ 345008 h 483536"/>
                <a:gd name="connsiteX270" fmla="*/ 216096 w 554660"/>
                <a:gd name="connsiteY270" fmla="*/ 353115 h 483536"/>
                <a:gd name="connsiteX271" fmla="*/ 211183 w 554660"/>
                <a:gd name="connsiteY271" fmla="*/ 361222 h 483536"/>
                <a:gd name="connsiteX272" fmla="*/ 208860 w 554660"/>
                <a:gd name="connsiteY272" fmla="*/ 367009 h 483536"/>
                <a:gd name="connsiteX273" fmla="*/ 214649 w 554660"/>
                <a:gd name="connsiteY273" fmla="*/ 370473 h 483536"/>
                <a:gd name="connsiteX274" fmla="*/ 219865 w 554660"/>
                <a:gd name="connsiteY274" fmla="*/ 373366 h 483536"/>
                <a:gd name="connsiteX275" fmla="*/ 224510 w 554660"/>
                <a:gd name="connsiteY275" fmla="*/ 379152 h 483536"/>
                <a:gd name="connsiteX276" fmla="*/ 226832 w 554660"/>
                <a:gd name="connsiteY276" fmla="*/ 389581 h 483536"/>
                <a:gd name="connsiteX277" fmla="*/ 229726 w 554660"/>
                <a:gd name="connsiteY277" fmla="*/ 394795 h 483536"/>
                <a:gd name="connsiteX278" fmla="*/ 238712 w 554660"/>
                <a:gd name="connsiteY278" fmla="*/ 395030 h 483536"/>
                <a:gd name="connsiteX279" fmla="*/ 249145 w 554660"/>
                <a:gd name="connsiteY279" fmla="*/ 396578 h 483536"/>
                <a:gd name="connsiteX280" fmla="*/ 259578 w 554660"/>
                <a:gd name="connsiteY280" fmla="*/ 396578 h 483536"/>
                <a:gd name="connsiteX281" fmla="*/ 261328 w 554660"/>
                <a:gd name="connsiteY281" fmla="*/ 401792 h 483536"/>
                <a:gd name="connsiteX282" fmla="*/ 262472 w 554660"/>
                <a:gd name="connsiteY282" fmla="*/ 408183 h 483536"/>
                <a:gd name="connsiteX283" fmla="*/ 263650 w 554660"/>
                <a:gd name="connsiteY283" fmla="*/ 413700 h 483536"/>
                <a:gd name="connsiteX284" fmla="*/ 260452 w 554660"/>
                <a:gd name="connsiteY284" fmla="*/ 421505 h 483536"/>
                <a:gd name="connsiteX285" fmla="*/ 255236 w 554660"/>
                <a:gd name="connsiteY285" fmla="*/ 425844 h 483536"/>
                <a:gd name="connsiteX286" fmla="*/ 247698 w 554660"/>
                <a:gd name="connsiteY286" fmla="*/ 433077 h 483536"/>
                <a:gd name="connsiteX287" fmla="*/ 249717 w 554660"/>
                <a:gd name="connsiteY287" fmla="*/ 438863 h 483536"/>
                <a:gd name="connsiteX288" fmla="*/ 252914 w 554660"/>
                <a:gd name="connsiteY288" fmla="*/ 442193 h 483536"/>
                <a:gd name="connsiteX289" fmla="*/ 261328 w 554660"/>
                <a:gd name="connsiteY289" fmla="*/ 446970 h 483536"/>
                <a:gd name="connsiteX290" fmla="*/ 270011 w 554660"/>
                <a:gd name="connsiteY290" fmla="*/ 446970 h 483536"/>
                <a:gd name="connsiteX291" fmla="*/ 277112 w 554660"/>
                <a:gd name="connsiteY291" fmla="*/ 444952 h 483536"/>
                <a:gd name="connsiteX292" fmla="*/ 284785 w 554660"/>
                <a:gd name="connsiteY292" fmla="*/ 441756 h 483536"/>
                <a:gd name="connsiteX293" fmla="*/ 292020 w 554660"/>
                <a:gd name="connsiteY293" fmla="*/ 440881 h 483536"/>
                <a:gd name="connsiteX294" fmla="*/ 299862 w 554660"/>
                <a:gd name="connsiteY294" fmla="*/ 438829 h 483536"/>
                <a:gd name="connsiteX295" fmla="*/ 310867 w 554660"/>
                <a:gd name="connsiteY295" fmla="*/ 436542 h 483536"/>
                <a:gd name="connsiteX296" fmla="*/ 315209 w 554660"/>
                <a:gd name="connsiteY296" fmla="*/ 436542 h 483536"/>
                <a:gd name="connsiteX297" fmla="*/ 316084 w 554660"/>
                <a:gd name="connsiteY297" fmla="*/ 444649 h 483536"/>
                <a:gd name="connsiteX298" fmla="*/ 316656 w 554660"/>
                <a:gd name="connsiteY298" fmla="*/ 449863 h 483536"/>
                <a:gd name="connsiteX299" fmla="*/ 326786 w 554660"/>
                <a:gd name="connsiteY299" fmla="*/ 448685 h 483536"/>
                <a:gd name="connsiteX300" fmla="*/ 334055 w 554660"/>
                <a:gd name="connsiteY300" fmla="*/ 446667 h 483536"/>
                <a:gd name="connsiteX301" fmla="*/ 337825 w 554660"/>
                <a:gd name="connsiteY301" fmla="*/ 453631 h 483536"/>
                <a:gd name="connsiteX302" fmla="*/ 342738 w 554660"/>
                <a:gd name="connsiteY302" fmla="*/ 447273 h 483536"/>
                <a:gd name="connsiteX303" fmla="*/ 349704 w 554660"/>
                <a:gd name="connsiteY303" fmla="*/ 444380 h 483536"/>
                <a:gd name="connsiteX304" fmla="*/ 360440 w 554660"/>
                <a:gd name="connsiteY304" fmla="*/ 443808 h 483536"/>
                <a:gd name="connsiteX305" fmla="*/ 367676 w 554660"/>
                <a:gd name="connsiteY305" fmla="*/ 448450 h 483536"/>
                <a:gd name="connsiteX306" fmla="*/ 375787 w 554660"/>
                <a:gd name="connsiteY306" fmla="*/ 455985 h 483536"/>
                <a:gd name="connsiteX307" fmla="*/ 380128 w 554660"/>
                <a:gd name="connsiteY307" fmla="*/ 460897 h 483536"/>
                <a:gd name="connsiteX308" fmla="*/ 384200 w 554660"/>
                <a:gd name="connsiteY308" fmla="*/ 463218 h 483536"/>
                <a:gd name="connsiteX309" fmla="*/ 388542 w 554660"/>
                <a:gd name="connsiteY309" fmla="*/ 466985 h 483536"/>
                <a:gd name="connsiteX310" fmla="*/ 398975 w 554660"/>
                <a:gd name="connsiteY310" fmla="*/ 469576 h 483536"/>
                <a:gd name="connsiteX311" fmla="*/ 412605 w 554660"/>
                <a:gd name="connsiteY311" fmla="*/ 469576 h 483536"/>
                <a:gd name="connsiteX312" fmla="*/ 417249 w 554660"/>
                <a:gd name="connsiteY312" fmla="*/ 468432 h 483536"/>
                <a:gd name="connsiteX313" fmla="*/ 421019 w 554660"/>
                <a:gd name="connsiteY313" fmla="*/ 472502 h 483536"/>
                <a:gd name="connsiteX314" fmla="*/ 424216 w 554660"/>
                <a:gd name="connsiteY314" fmla="*/ 479466 h 483536"/>
                <a:gd name="connsiteX315" fmla="*/ 425091 w 554660"/>
                <a:gd name="connsiteY315" fmla="*/ 483536 h 483536"/>
                <a:gd name="connsiteX316" fmla="*/ 431754 w 554660"/>
                <a:gd name="connsiteY316" fmla="*/ 483536 h 483536"/>
                <a:gd name="connsiteX317" fmla="*/ 432629 w 554660"/>
                <a:gd name="connsiteY317" fmla="*/ 476875 h 483536"/>
                <a:gd name="connsiteX318" fmla="*/ 436096 w 554660"/>
                <a:gd name="connsiteY318" fmla="*/ 473411 h 483536"/>
                <a:gd name="connsiteX319" fmla="*/ 443937 w 554660"/>
                <a:gd name="connsiteY319" fmla="*/ 472839 h 483536"/>
                <a:gd name="connsiteX320" fmla="*/ 446260 w 554660"/>
                <a:gd name="connsiteY320" fmla="*/ 466178 h 483536"/>
                <a:gd name="connsiteX321" fmla="*/ 446832 w 554660"/>
                <a:gd name="connsiteY321" fmla="*/ 461267 h 483536"/>
                <a:gd name="connsiteX322" fmla="*/ 444510 w 554660"/>
                <a:gd name="connsiteY322" fmla="*/ 454034 h 483536"/>
                <a:gd name="connsiteX323" fmla="*/ 447976 w 554660"/>
                <a:gd name="connsiteY323" fmla="*/ 449997 h 483536"/>
                <a:gd name="connsiteX324" fmla="*/ 454942 w 554660"/>
                <a:gd name="connsiteY324" fmla="*/ 444783 h 483536"/>
                <a:gd name="connsiteX325" fmla="*/ 462481 w 554660"/>
                <a:gd name="connsiteY325" fmla="*/ 444514 h 483536"/>
                <a:gd name="connsiteX326" fmla="*/ 467832 w 554660"/>
                <a:gd name="connsiteY326" fmla="*/ 442328 h 483536"/>
                <a:gd name="connsiteX327" fmla="*/ 470289 w 554660"/>
                <a:gd name="connsiteY327" fmla="*/ 438863 h 483536"/>
                <a:gd name="connsiteX328" fmla="*/ 474226 w 554660"/>
                <a:gd name="connsiteY328" fmla="*/ 434086 h 483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</a:cxnLst>
              <a:rect l="l" t="t" r="r" b="b"/>
              <a:pathLst>
                <a:path w="554660" h="483536">
                  <a:moveTo>
                    <a:pt x="474226" y="434086"/>
                  </a:moveTo>
                  <a:lnTo>
                    <a:pt x="477996" y="430756"/>
                  </a:lnTo>
                  <a:lnTo>
                    <a:pt x="479140" y="428300"/>
                  </a:lnTo>
                  <a:lnTo>
                    <a:pt x="477996" y="421202"/>
                  </a:lnTo>
                  <a:lnTo>
                    <a:pt x="482203" y="418174"/>
                  </a:lnTo>
                  <a:lnTo>
                    <a:pt x="484222" y="415853"/>
                  </a:lnTo>
                  <a:lnTo>
                    <a:pt x="479881" y="412826"/>
                  </a:lnTo>
                  <a:lnTo>
                    <a:pt x="479881" y="409193"/>
                  </a:lnTo>
                  <a:lnTo>
                    <a:pt x="482910" y="405358"/>
                  </a:lnTo>
                  <a:lnTo>
                    <a:pt x="487688" y="399067"/>
                  </a:lnTo>
                  <a:lnTo>
                    <a:pt x="493645" y="395770"/>
                  </a:lnTo>
                  <a:lnTo>
                    <a:pt x="501621" y="394593"/>
                  </a:lnTo>
                  <a:lnTo>
                    <a:pt x="504246" y="394593"/>
                  </a:lnTo>
                  <a:lnTo>
                    <a:pt x="504246" y="394526"/>
                  </a:lnTo>
                  <a:lnTo>
                    <a:pt x="494352" y="385746"/>
                  </a:lnTo>
                  <a:lnTo>
                    <a:pt x="489136" y="380532"/>
                  </a:lnTo>
                  <a:lnTo>
                    <a:pt x="485265" y="375553"/>
                  </a:lnTo>
                  <a:lnTo>
                    <a:pt x="482135" y="372727"/>
                  </a:lnTo>
                  <a:lnTo>
                    <a:pt x="477356" y="367950"/>
                  </a:lnTo>
                  <a:lnTo>
                    <a:pt x="474866" y="367076"/>
                  </a:lnTo>
                  <a:cubicBezTo>
                    <a:pt x="474866" y="367076"/>
                    <a:pt x="471736" y="366437"/>
                    <a:pt x="471400" y="366302"/>
                  </a:cubicBezTo>
                  <a:cubicBezTo>
                    <a:pt x="471063" y="366201"/>
                    <a:pt x="465745" y="366302"/>
                    <a:pt x="465745" y="366302"/>
                  </a:cubicBezTo>
                  <a:cubicBezTo>
                    <a:pt x="465745" y="366302"/>
                    <a:pt x="461269" y="365427"/>
                    <a:pt x="458880" y="365427"/>
                  </a:cubicBezTo>
                  <a:cubicBezTo>
                    <a:pt x="456490" y="365427"/>
                    <a:pt x="450063" y="363813"/>
                    <a:pt x="450063" y="363813"/>
                  </a:cubicBezTo>
                  <a:lnTo>
                    <a:pt x="446461" y="361323"/>
                  </a:lnTo>
                  <a:lnTo>
                    <a:pt x="443971" y="358498"/>
                  </a:lnTo>
                  <a:cubicBezTo>
                    <a:pt x="443971" y="358498"/>
                    <a:pt x="446058" y="356311"/>
                    <a:pt x="446461" y="356210"/>
                  </a:cubicBezTo>
                  <a:cubicBezTo>
                    <a:pt x="446899" y="356109"/>
                    <a:pt x="448211" y="355134"/>
                    <a:pt x="449188" y="354696"/>
                  </a:cubicBezTo>
                  <a:cubicBezTo>
                    <a:pt x="450163" y="354259"/>
                    <a:pt x="453765" y="351433"/>
                    <a:pt x="454067" y="351433"/>
                  </a:cubicBezTo>
                  <a:cubicBezTo>
                    <a:pt x="454370" y="351433"/>
                    <a:pt x="456457" y="351332"/>
                    <a:pt x="457231" y="351433"/>
                  </a:cubicBezTo>
                  <a:cubicBezTo>
                    <a:pt x="458005" y="351534"/>
                    <a:pt x="459957" y="351972"/>
                    <a:pt x="461034" y="352846"/>
                  </a:cubicBezTo>
                  <a:cubicBezTo>
                    <a:pt x="462111" y="353721"/>
                    <a:pt x="463524" y="353822"/>
                    <a:pt x="465174" y="354158"/>
                  </a:cubicBezTo>
                  <a:cubicBezTo>
                    <a:pt x="466823" y="354494"/>
                    <a:pt x="474731" y="355235"/>
                    <a:pt x="474731" y="355235"/>
                  </a:cubicBezTo>
                  <a:cubicBezTo>
                    <a:pt x="474731" y="355235"/>
                    <a:pt x="475606" y="354360"/>
                    <a:pt x="476044" y="354259"/>
                  </a:cubicBezTo>
                  <a:cubicBezTo>
                    <a:pt x="476481" y="354158"/>
                    <a:pt x="478972" y="352005"/>
                    <a:pt x="480284" y="351837"/>
                  </a:cubicBezTo>
                  <a:cubicBezTo>
                    <a:pt x="481597" y="351669"/>
                    <a:pt x="482910" y="351131"/>
                    <a:pt x="483650" y="351131"/>
                  </a:cubicBezTo>
                  <a:cubicBezTo>
                    <a:pt x="484424" y="351131"/>
                    <a:pt x="487688" y="351131"/>
                    <a:pt x="487688" y="351131"/>
                  </a:cubicBezTo>
                  <a:lnTo>
                    <a:pt x="493140" y="347666"/>
                  </a:lnTo>
                  <a:lnTo>
                    <a:pt x="499871" y="347666"/>
                  </a:lnTo>
                  <a:cubicBezTo>
                    <a:pt x="499871" y="347666"/>
                    <a:pt x="505862" y="349516"/>
                    <a:pt x="506165" y="349617"/>
                  </a:cubicBezTo>
                  <a:cubicBezTo>
                    <a:pt x="506501" y="349718"/>
                    <a:pt x="510944" y="351030"/>
                    <a:pt x="511381" y="351030"/>
                  </a:cubicBezTo>
                  <a:cubicBezTo>
                    <a:pt x="511819" y="351030"/>
                    <a:pt x="516934" y="355268"/>
                    <a:pt x="516934" y="355268"/>
                  </a:cubicBezTo>
                  <a:lnTo>
                    <a:pt x="523901" y="359070"/>
                  </a:lnTo>
                  <a:lnTo>
                    <a:pt x="531507" y="362333"/>
                  </a:lnTo>
                  <a:lnTo>
                    <a:pt x="537261" y="363947"/>
                  </a:lnTo>
                  <a:cubicBezTo>
                    <a:pt x="537261" y="363947"/>
                    <a:pt x="542478" y="364586"/>
                    <a:pt x="543017" y="364586"/>
                  </a:cubicBezTo>
                  <a:cubicBezTo>
                    <a:pt x="543555" y="364586"/>
                    <a:pt x="549646" y="364385"/>
                    <a:pt x="549646" y="364385"/>
                  </a:cubicBezTo>
                  <a:lnTo>
                    <a:pt x="553786" y="362871"/>
                  </a:lnTo>
                  <a:lnTo>
                    <a:pt x="554661" y="359070"/>
                  </a:lnTo>
                  <a:lnTo>
                    <a:pt x="552373" y="353855"/>
                  </a:lnTo>
                  <a:lnTo>
                    <a:pt x="547358" y="343763"/>
                  </a:lnTo>
                  <a:lnTo>
                    <a:pt x="541603" y="332461"/>
                  </a:lnTo>
                  <a:lnTo>
                    <a:pt x="534872" y="325598"/>
                  </a:lnTo>
                  <a:cubicBezTo>
                    <a:pt x="534872" y="325598"/>
                    <a:pt x="527805" y="321360"/>
                    <a:pt x="526930" y="321158"/>
                  </a:cubicBezTo>
                  <a:cubicBezTo>
                    <a:pt x="526055" y="320922"/>
                    <a:pt x="516732" y="317693"/>
                    <a:pt x="516732" y="317693"/>
                  </a:cubicBezTo>
                  <a:lnTo>
                    <a:pt x="510203" y="316280"/>
                  </a:lnTo>
                  <a:lnTo>
                    <a:pt x="501823" y="313555"/>
                  </a:lnTo>
                  <a:lnTo>
                    <a:pt x="497414" y="310527"/>
                  </a:lnTo>
                  <a:lnTo>
                    <a:pt x="495496" y="308778"/>
                  </a:lnTo>
                  <a:lnTo>
                    <a:pt x="495496" y="287720"/>
                  </a:lnTo>
                  <a:lnTo>
                    <a:pt x="493544" y="283818"/>
                  </a:lnTo>
                  <a:lnTo>
                    <a:pt x="488967" y="281429"/>
                  </a:lnTo>
                  <a:lnTo>
                    <a:pt x="485064" y="277830"/>
                  </a:lnTo>
                  <a:lnTo>
                    <a:pt x="478097" y="275374"/>
                  </a:lnTo>
                  <a:cubicBezTo>
                    <a:pt x="478097" y="275374"/>
                    <a:pt x="473116" y="274668"/>
                    <a:pt x="472678" y="274668"/>
                  </a:cubicBezTo>
                  <a:cubicBezTo>
                    <a:pt x="472241" y="274668"/>
                    <a:pt x="465072" y="274668"/>
                    <a:pt x="465072" y="274668"/>
                  </a:cubicBezTo>
                  <a:lnTo>
                    <a:pt x="460293" y="273894"/>
                  </a:lnTo>
                  <a:cubicBezTo>
                    <a:pt x="460293" y="273894"/>
                    <a:pt x="453327" y="273356"/>
                    <a:pt x="452890" y="273356"/>
                  </a:cubicBezTo>
                  <a:cubicBezTo>
                    <a:pt x="452452" y="273356"/>
                    <a:pt x="447673" y="272044"/>
                    <a:pt x="447336" y="271607"/>
                  </a:cubicBezTo>
                  <a:cubicBezTo>
                    <a:pt x="447000" y="271169"/>
                    <a:pt x="444711" y="268781"/>
                    <a:pt x="444510" y="267267"/>
                  </a:cubicBezTo>
                  <a:cubicBezTo>
                    <a:pt x="444274" y="265753"/>
                    <a:pt x="443971" y="262154"/>
                    <a:pt x="443971" y="262154"/>
                  </a:cubicBezTo>
                  <a:lnTo>
                    <a:pt x="441582" y="255628"/>
                  </a:lnTo>
                  <a:lnTo>
                    <a:pt x="440707" y="251187"/>
                  </a:lnTo>
                  <a:cubicBezTo>
                    <a:pt x="440707" y="251187"/>
                    <a:pt x="438081" y="249438"/>
                    <a:pt x="437678" y="248698"/>
                  </a:cubicBezTo>
                  <a:cubicBezTo>
                    <a:pt x="437240" y="247924"/>
                    <a:pt x="435625" y="246310"/>
                    <a:pt x="436163" y="245334"/>
                  </a:cubicBezTo>
                  <a:cubicBezTo>
                    <a:pt x="436701" y="244358"/>
                    <a:pt x="439730" y="239918"/>
                    <a:pt x="439730" y="239918"/>
                  </a:cubicBezTo>
                  <a:lnTo>
                    <a:pt x="441245" y="235040"/>
                  </a:lnTo>
                  <a:cubicBezTo>
                    <a:pt x="441245" y="235040"/>
                    <a:pt x="440808" y="233425"/>
                    <a:pt x="440808" y="233089"/>
                  </a:cubicBezTo>
                  <a:cubicBezTo>
                    <a:pt x="440808" y="232753"/>
                    <a:pt x="440471" y="227976"/>
                    <a:pt x="440471" y="227438"/>
                  </a:cubicBezTo>
                  <a:cubicBezTo>
                    <a:pt x="440471" y="226899"/>
                    <a:pt x="439159" y="224175"/>
                    <a:pt x="439159" y="223737"/>
                  </a:cubicBezTo>
                  <a:cubicBezTo>
                    <a:pt x="439159" y="223300"/>
                    <a:pt x="436971" y="221147"/>
                    <a:pt x="436668" y="219835"/>
                  </a:cubicBezTo>
                  <a:cubicBezTo>
                    <a:pt x="436365" y="218523"/>
                    <a:pt x="433202" y="215058"/>
                    <a:pt x="433202" y="215058"/>
                  </a:cubicBezTo>
                  <a:lnTo>
                    <a:pt x="427177" y="210382"/>
                  </a:lnTo>
                  <a:lnTo>
                    <a:pt x="424182" y="206480"/>
                  </a:lnTo>
                  <a:lnTo>
                    <a:pt x="424182" y="200829"/>
                  </a:lnTo>
                  <a:lnTo>
                    <a:pt x="424182" y="197364"/>
                  </a:lnTo>
                  <a:lnTo>
                    <a:pt x="421557" y="192251"/>
                  </a:lnTo>
                  <a:lnTo>
                    <a:pt x="419269" y="189324"/>
                  </a:lnTo>
                  <a:lnTo>
                    <a:pt x="415197" y="185422"/>
                  </a:lnTo>
                  <a:lnTo>
                    <a:pt x="413716" y="180107"/>
                  </a:lnTo>
                  <a:lnTo>
                    <a:pt x="413716" y="174792"/>
                  </a:lnTo>
                  <a:lnTo>
                    <a:pt x="411663" y="170015"/>
                  </a:lnTo>
                  <a:lnTo>
                    <a:pt x="409071" y="166314"/>
                  </a:lnTo>
                  <a:lnTo>
                    <a:pt x="406783" y="162278"/>
                  </a:lnTo>
                  <a:lnTo>
                    <a:pt x="401667" y="154002"/>
                  </a:lnTo>
                  <a:cubicBezTo>
                    <a:pt x="401667" y="154002"/>
                    <a:pt x="397763" y="147813"/>
                    <a:pt x="397763" y="147375"/>
                  </a:cubicBezTo>
                  <a:cubicBezTo>
                    <a:pt x="397763" y="146938"/>
                    <a:pt x="394499" y="139773"/>
                    <a:pt x="394499" y="139773"/>
                  </a:cubicBezTo>
                  <a:lnTo>
                    <a:pt x="391773" y="135736"/>
                  </a:lnTo>
                  <a:lnTo>
                    <a:pt x="389383" y="132910"/>
                  </a:lnTo>
                  <a:lnTo>
                    <a:pt x="389383" y="126081"/>
                  </a:lnTo>
                  <a:lnTo>
                    <a:pt x="388508" y="117167"/>
                  </a:lnTo>
                  <a:lnTo>
                    <a:pt x="386321" y="111078"/>
                  </a:lnTo>
                  <a:lnTo>
                    <a:pt x="385008" y="105662"/>
                  </a:lnTo>
                  <a:lnTo>
                    <a:pt x="375989" y="89145"/>
                  </a:lnTo>
                  <a:lnTo>
                    <a:pt x="372085" y="81206"/>
                  </a:lnTo>
                  <a:lnTo>
                    <a:pt x="361012" y="73604"/>
                  </a:lnTo>
                  <a:lnTo>
                    <a:pt x="343176" y="63713"/>
                  </a:lnTo>
                  <a:lnTo>
                    <a:pt x="333921" y="62301"/>
                  </a:lnTo>
                  <a:lnTo>
                    <a:pt x="324228" y="61426"/>
                  </a:lnTo>
                  <a:lnTo>
                    <a:pt x="318574" y="57288"/>
                  </a:lnTo>
                  <a:lnTo>
                    <a:pt x="312045" y="56414"/>
                  </a:lnTo>
                  <a:cubicBezTo>
                    <a:pt x="312045" y="56414"/>
                    <a:pt x="307165" y="56077"/>
                    <a:pt x="305954" y="55337"/>
                  </a:cubicBezTo>
                  <a:cubicBezTo>
                    <a:pt x="304776" y="54564"/>
                    <a:pt x="301074" y="51099"/>
                    <a:pt x="300636" y="50459"/>
                  </a:cubicBezTo>
                  <a:cubicBezTo>
                    <a:pt x="300199" y="49820"/>
                    <a:pt x="295622" y="44169"/>
                    <a:pt x="294343" y="43395"/>
                  </a:cubicBezTo>
                  <a:cubicBezTo>
                    <a:pt x="293030" y="42622"/>
                    <a:pt x="289766" y="39695"/>
                    <a:pt x="289766" y="39695"/>
                  </a:cubicBezTo>
                  <a:lnTo>
                    <a:pt x="281083" y="33068"/>
                  </a:lnTo>
                  <a:lnTo>
                    <a:pt x="271525" y="32294"/>
                  </a:lnTo>
                  <a:lnTo>
                    <a:pt x="264626" y="31756"/>
                  </a:lnTo>
                  <a:cubicBezTo>
                    <a:pt x="264626" y="31756"/>
                    <a:pt x="262405" y="26340"/>
                    <a:pt x="262405" y="26004"/>
                  </a:cubicBezTo>
                  <a:cubicBezTo>
                    <a:pt x="262405" y="25667"/>
                    <a:pt x="262405" y="20016"/>
                    <a:pt x="262405" y="20016"/>
                  </a:cubicBezTo>
                  <a:lnTo>
                    <a:pt x="262405" y="13052"/>
                  </a:lnTo>
                  <a:cubicBezTo>
                    <a:pt x="262405" y="13052"/>
                    <a:pt x="265130" y="8376"/>
                    <a:pt x="265568" y="8175"/>
                  </a:cubicBezTo>
                  <a:cubicBezTo>
                    <a:pt x="266006" y="7973"/>
                    <a:pt x="270246" y="4575"/>
                    <a:pt x="270246" y="4575"/>
                  </a:cubicBezTo>
                  <a:lnTo>
                    <a:pt x="271996" y="3263"/>
                  </a:lnTo>
                  <a:lnTo>
                    <a:pt x="273410" y="1615"/>
                  </a:lnTo>
                  <a:lnTo>
                    <a:pt x="271458" y="0"/>
                  </a:lnTo>
                  <a:lnTo>
                    <a:pt x="261563" y="0"/>
                  </a:lnTo>
                  <a:lnTo>
                    <a:pt x="252645" y="1413"/>
                  </a:lnTo>
                  <a:lnTo>
                    <a:pt x="247866" y="5113"/>
                  </a:lnTo>
                  <a:lnTo>
                    <a:pt x="241875" y="7939"/>
                  </a:lnTo>
                  <a:cubicBezTo>
                    <a:pt x="241875" y="7939"/>
                    <a:pt x="236221" y="9150"/>
                    <a:pt x="235784" y="9352"/>
                  </a:cubicBezTo>
                  <a:cubicBezTo>
                    <a:pt x="235346" y="9554"/>
                    <a:pt x="226865" y="10126"/>
                    <a:pt x="226865" y="10126"/>
                  </a:cubicBezTo>
                  <a:lnTo>
                    <a:pt x="224510" y="15575"/>
                  </a:lnTo>
                  <a:cubicBezTo>
                    <a:pt x="224510" y="15575"/>
                    <a:pt x="224139" y="18838"/>
                    <a:pt x="224139" y="19276"/>
                  </a:cubicBezTo>
                  <a:cubicBezTo>
                    <a:pt x="224139" y="19713"/>
                    <a:pt x="224139" y="25263"/>
                    <a:pt x="224139" y="25263"/>
                  </a:cubicBezTo>
                  <a:lnTo>
                    <a:pt x="223500" y="29065"/>
                  </a:lnTo>
                  <a:lnTo>
                    <a:pt x="222187" y="34279"/>
                  </a:lnTo>
                  <a:lnTo>
                    <a:pt x="218586" y="38854"/>
                  </a:lnTo>
                  <a:lnTo>
                    <a:pt x="217610" y="44842"/>
                  </a:lnTo>
                  <a:lnTo>
                    <a:pt x="219461" y="48441"/>
                  </a:lnTo>
                  <a:lnTo>
                    <a:pt x="215995" y="50729"/>
                  </a:lnTo>
                  <a:cubicBezTo>
                    <a:pt x="215995" y="50729"/>
                    <a:pt x="206000" y="51166"/>
                    <a:pt x="205226" y="51368"/>
                  </a:cubicBezTo>
                  <a:cubicBezTo>
                    <a:pt x="204452" y="51570"/>
                    <a:pt x="199672" y="52680"/>
                    <a:pt x="199672" y="52680"/>
                  </a:cubicBezTo>
                  <a:lnTo>
                    <a:pt x="196071" y="59845"/>
                  </a:lnTo>
                  <a:lnTo>
                    <a:pt x="194658" y="65160"/>
                  </a:lnTo>
                  <a:lnTo>
                    <a:pt x="196307" y="74075"/>
                  </a:lnTo>
                  <a:cubicBezTo>
                    <a:pt x="196307" y="74075"/>
                    <a:pt x="194893" y="78952"/>
                    <a:pt x="194658" y="79289"/>
                  </a:cubicBezTo>
                  <a:cubicBezTo>
                    <a:pt x="194456" y="79625"/>
                    <a:pt x="189980" y="85714"/>
                    <a:pt x="189980" y="85714"/>
                  </a:cubicBezTo>
                  <a:cubicBezTo>
                    <a:pt x="189980" y="85714"/>
                    <a:pt x="185100" y="88977"/>
                    <a:pt x="184427" y="89179"/>
                  </a:cubicBezTo>
                  <a:cubicBezTo>
                    <a:pt x="183788" y="89414"/>
                    <a:pt x="175609" y="92105"/>
                    <a:pt x="175609" y="92105"/>
                  </a:cubicBezTo>
                  <a:lnTo>
                    <a:pt x="169417" y="89919"/>
                  </a:lnTo>
                  <a:lnTo>
                    <a:pt x="162989" y="80903"/>
                  </a:lnTo>
                  <a:cubicBezTo>
                    <a:pt x="162989" y="80903"/>
                    <a:pt x="163629" y="75891"/>
                    <a:pt x="163629" y="75454"/>
                  </a:cubicBezTo>
                  <a:cubicBezTo>
                    <a:pt x="163629" y="75017"/>
                    <a:pt x="162652" y="70341"/>
                    <a:pt x="162989" y="69802"/>
                  </a:cubicBezTo>
                  <a:cubicBezTo>
                    <a:pt x="163325" y="69264"/>
                    <a:pt x="159186" y="64386"/>
                    <a:pt x="159186" y="64386"/>
                  </a:cubicBezTo>
                  <a:cubicBezTo>
                    <a:pt x="159186" y="64386"/>
                    <a:pt x="156023" y="62200"/>
                    <a:pt x="155383" y="61897"/>
                  </a:cubicBezTo>
                  <a:cubicBezTo>
                    <a:pt x="154744" y="61561"/>
                    <a:pt x="148652" y="59408"/>
                    <a:pt x="148652" y="59408"/>
                  </a:cubicBezTo>
                  <a:lnTo>
                    <a:pt x="143436" y="60282"/>
                  </a:lnTo>
                  <a:lnTo>
                    <a:pt x="136907" y="64723"/>
                  </a:lnTo>
                  <a:lnTo>
                    <a:pt x="136368" y="69399"/>
                  </a:lnTo>
                  <a:lnTo>
                    <a:pt x="134854" y="76362"/>
                  </a:lnTo>
                  <a:lnTo>
                    <a:pt x="130950" y="81677"/>
                  </a:lnTo>
                  <a:cubicBezTo>
                    <a:pt x="130950" y="81677"/>
                    <a:pt x="126272" y="82552"/>
                    <a:pt x="125834" y="82552"/>
                  </a:cubicBezTo>
                  <a:cubicBezTo>
                    <a:pt x="125397" y="82552"/>
                    <a:pt x="119844" y="83325"/>
                    <a:pt x="119406" y="83628"/>
                  </a:cubicBezTo>
                  <a:cubicBezTo>
                    <a:pt x="118969" y="83965"/>
                    <a:pt x="113315" y="85041"/>
                    <a:pt x="113315" y="85041"/>
                  </a:cubicBezTo>
                  <a:cubicBezTo>
                    <a:pt x="113315" y="85041"/>
                    <a:pt x="108099" y="84066"/>
                    <a:pt x="107762" y="83965"/>
                  </a:cubicBezTo>
                  <a:cubicBezTo>
                    <a:pt x="107425" y="83864"/>
                    <a:pt x="104598" y="80601"/>
                    <a:pt x="104598" y="80601"/>
                  </a:cubicBezTo>
                  <a:lnTo>
                    <a:pt x="93627" y="72897"/>
                  </a:lnTo>
                  <a:lnTo>
                    <a:pt x="86661" y="76598"/>
                  </a:lnTo>
                  <a:lnTo>
                    <a:pt x="86661" y="82686"/>
                  </a:lnTo>
                  <a:lnTo>
                    <a:pt x="84338" y="86454"/>
                  </a:lnTo>
                  <a:lnTo>
                    <a:pt x="78247" y="91365"/>
                  </a:lnTo>
                  <a:lnTo>
                    <a:pt x="73905" y="86454"/>
                  </a:lnTo>
                  <a:lnTo>
                    <a:pt x="70574" y="84436"/>
                  </a:lnTo>
                  <a:lnTo>
                    <a:pt x="64044" y="77203"/>
                  </a:lnTo>
                  <a:lnTo>
                    <a:pt x="64044" y="67077"/>
                  </a:lnTo>
                  <a:lnTo>
                    <a:pt x="64044" y="58399"/>
                  </a:lnTo>
                  <a:lnTo>
                    <a:pt x="59400" y="55203"/>
                  </a:lnTo>
                  <a:lnTo>
                    <a:pt x="56237" y="47970"/>
                  </a:lnTo>
                  <a:cubicBezTo>
                    <a:pt x="56237" y="47970"/>
                    <a:pt x="53612" y="45649"/>
                    <a:pt x="52467" y="45077"/>
                  </a:cubicBezTo>
                  <a:cubicBezTo>
                    <a:pt x="51323" y="44505"/>
                    <a:pt x="42910" y="42184"/>
                    <a:pt x="42910" y="42184"/>
                  </a:cubicBezTo>
                  <a:lnTo>
                    <a:pt x="29582" y="40166"/>
                  </a:lnTo>
                  <a:lnTo>
                    <a:pt x="17096" y="41310"/>
                  </a:lnTo>
                  <a:lnTo>
                    <a:pt x="11308" y="45952"/>
                  </a:lnTo>
                  <a:lnTo>
                    <a:pt x="6529" y="49417"/>
                  </a:lnTo>
                  <a:lnTo>
                    <a:pt x="1447" y="58399"/>
                  </a:lnTo>
                  <a:lnTo>
                    <a:pt x="1447" y="63613"/>
                  </a:lnTo>
                  <a:lnTo>
                    <a:pt x="0" y="69399"/>
                  </a:lnTo>
                  <a:lnTo>
                    <a:pt x="4341" y="73738"/>
                  </a:lnTo>
                  <a:lnTo>
                    <a:pt x="7808" y="77203"/>
                  </a:lnTo>
                  <a:lnTo>
                    <a:pt x="22582" y="86488"/>
                  </a:lnTo>
                  <a:lnTo>
                    <a:pt x="30423" y="90827"/>
                  </a:lnTo>
                  <a:lnTo>
                    <a:pt x="37390" y="91702"/>
                  </a:lnTo>
                  <a:lnTo>
                    <a:pt x="44054" y="96613"/>
                  </a:lnTo>
                  <a:lnTo>
                    <a:pt x="48967" y="100953"/>
                  </a:lnTo>
                  <a:lnTo>
                    <a:pt x="54487" y="100953"/>
                  </a:lnTo>
                  <a:lnTo>
                    <a:pt x="58559" y="109060"/>
                  </a:lnTo>
                  <a:lnTo>
                    <a:pt x="64044" y="119185"/>
                  </a:lnTo>
                  <a:lnTo>
                    <a:pt x="70439" y="119488"/>
                  </a:lnTo>
                  <a:lnTo>
                    <a:pt x="71886" y="123827"/>
                  </a:lnTo>
                  <a:lnTo>
                    <a:pt x="76800" y="129614"/>
                  </a:lnTo>
                  <a:lnTo>
                    <a:pt x="83194" y="132069"/>
                  </a:lnTo>
                  <a:lnTo>
                    <a:pt x="97093" y="132204"/>
                  </a:lnTo>
                  <a:lnTo>
                    <a:pt x="108401" y="132204"/>
                  </a:lnTo>
                  <a:lnTo>
                    <a:pt x="117387" y="133650"/>
                  </a:lnTo>
                  <a:lnTo>
                    <a:pt x="123748" y="140614"/>
                  </a:lnTo>
                  <a:lnTo>
                    <a:pt x="128089" y="144953"/>
                  </a:lnTo>
                  <a:lnTo>
                    <a:pt x="132565" y="150739"/>
                  </a:lnTo>
                  <a:lnTo>
                    <a:pt x="133575" y="154507"/>
                  </a:lnTo>
                  <a:lnTo>
                    <a:pt x="133575" y="164363"/>
                  </a:lnTo>
                  <a:lnTo>
                    <a:pt x="136469" y="168434"/>
                  </a:lnTo>
                  <a:cubicBezTo>
                    <a:pt x="136469" y="168434"/>
                    <a:pt x="144580" y="168737"/>
                    <a:pt x="145724" y="168434"/>
                  </a:cubicBezTo>
                  <a:cubicBezTo>
                    <a:pt x="146902" y="168131"/>
                    <a:pt x="152388" y="164969"/>
                    <a:pt x="152388" y="164969"/>
                  </a:cubicBezTo>
                  <a:lnTo>
                    <a:pt x="157032" y="160898"/>
                  </a:lnTo>
                  <a:lnTo>
                    <a:pt x="162249" y="163522"/>
                  </a:lnTo>
                  <a:lnTo>
                    <a:pt x="171806" y="165272"/>
                  </a:lnTo>
                  <a:lnTo>
                    <a:pt x="179042" y="166146"/>
                  </a:lnTo>
                  <a:lnTo>
                    <a:pt x="178167" y="173984"/>
                  </a:lnTo>
                  <a:lnTo>
                    <a:pt x="174095" y="179501"/>
                  </a:lnTo>
                  <a:lnTo>
                    <a:pt x="173523" y="184413"/>
                  </a:lnTo>
                  <a:lnTo>
                    <a:pt x="171504" y="190804"/>
                  </a:lnTo>
                  <a:lnTo>
                    <a:pt x="167432" y="197465"/>
                  </a:lnTo>
                  <a:lnTo>
                    <a:pt x="164840" y="202107"/>
                  </a:lnTo>
                  <a:lnTo>
                    <a:pt x="162821" y="209070"/>
                  </a:lnTo>
                  <a:lnTo>
                    <a:pt x="161071" y="222694"/>
                  </a:lnTo>
                  <a:lnTo>
                    <a:pt x="161340" y="224444"/>
                  </a:lnTo>
                  <a:lnTo>
                    <a:pt x="165681" y="229355"/>
                  </a:lnTo>
                  <a:lnTo>
                    <a:pt x="176114" y="228481"/>
                  </a:lnTo>
                  <a:lnTo>
                    <a:pt x="183081" y="226159"/>
                  </a:lnTo>
                  <a:lnTo>
                    <a:pt x="185403" y="235713"/>
                  </a:lnTo>
                  <a:lnTo>
                    <a:pt x="189475" y="244392"/>
                  </a:lnTo>
                  <a:lnTo>
                    <a:pt x="192672" y="252802"/>
                  </a:lnTo>
                  <a:lnTo>
                    <a:pt x="191797" y="260606"/>
                  </a:lnTo>
                  <a:cubicBezTo>
                    <a:pt x="191797" y="260606"/>
                    <a:pt x="193547" y="268713"/>
                    <a:pt x="194692" y="268713"/>
                  </a:cubicBezTo>
                  <a:cubicBezTo>
                    <a:pt x="195836" y="268713"/>
                    <a:pt x="205697" y="277123"/>
                    <a:pt x="205697" y="277123"/>
                  </a:cubicBezTo>
                  <a:lnTo>
                    <a:pt x="211485" y="277998"/>
                  </a:lnTo>
                  <a:lnTo>
                    <a:pt x="220168" y="275980"/>
                  </a:lnTo>
                  <a:lnTo>
                    <a:pt x="227404" y="276282"/>
                  </a:lnTo>
                  <a:lnTo>
                    <a:pt x="234067" y="275980"/>
                  </a:lnTo>
                  <a:lnTo>
                    <a:pt x="239284" y="273087"/>
                  </a:lnTo>
                  <a:lnTo>
                    <a:pt x="241034" y="266998"/>
                  </a:lnTo>
                  <a:lnTo>
                    <a:pt x="245106" y="261481"/>
                  </a:lnTo>
                  <a:lnTo>
                    <a:pt x="245409" y="250750"/>
                  </a:lnTo>
                  <a:cubicBezTo>
                    <a:pt x="245409" y="250750"/>
                    <a:pt x="245981" y="245839"/>
                    <a:pt x="248000" y="244661"/>
                  </a:cubicBezTo>
                  <a:cubicBezTo>
                    <a:pt x="250020" y="243517"/>
                    <a:pt x="256111" y="242340"/>
                    <a:pt x="256111" y="242340"/>
                  </a:cubicBezTo>
                  <a:lnTo>
                    <a:pt x="261631" y="248731"/>
                  </a:lnTo>
                  <a:lnTo>
                    <a:pt x="269438" y="255392"/>
                  </a:lnTo>
                  <a:lnTo>
                    <a:pt x="281319" y="261481"/>
                  </a:lnTo>
                  <a:lnTo>
                    <a:pt x="287982" y="266123"/>
                  </a:lnTo>
                  <a:lnTo>
                    <a:pt x="286232" y="277426"/>
                  </a:lnTo>
                  <a:lnTo>
                    <a:pt x="283607" y="281194"/>
                  </a:lnTo>
                  <a:lnTo>
                    <a:pt x="285054" y="289032"/>
                  </a:lnTo>
                  <a:lnTo>
                    <a:pt x="286501" y="294818"/>
                  </a:lnTo>
                  <a:lnTo>
                    <a:pt x="281588" y="300335"/>
                  </a:lnTo>
                  <a:lnTo>
                    <a:pt x="274352" y="304102"/>
                  </a:lnTo>
                  <a:lnTo>
                    <a:pt x="268563" y="299191"/>
                  </a:lnTo>
                  <a:lnTo>
                    <a:pt x="260722" y="298888"/>
                  </a:lnTo>
                  <a:lnTo>
                    <a:pt x="252039" y="297442"/>
                  </a:lnTo>
                  <a:cubicBezTo>
                    <a:pt x="252039" y="297442"/>
                    <a:pt x="248842" y="293371"/>
                    <a:pt x="247698" y="292530"/>
                  </a:cubicBezTo>
                  <a:cubicBezTo>
                    <a:pt x="246553" y="291689"/>
                    <a:pt x="239587" y="289335"/>
                    <a:pt x="239587" y="289335"/>
                  </a:cubicBezTo>
                  <a:lnTo>
                    <a:pt x="234101" y="293977"/>
                  </a:lnTo>
                  <a:lnTo>
                    <a:pt x="233529" y="301512"/>
                  </a:lnTo>
                  <a:lnTo>
                    <a:pt x="236423" y="311066"/>
                  </a:lnTo>
                  <a:lnTo>
                    <a:pt x="237568" y="317457"/>
                  </a:lnTo>
                  <a:cubicBezTo>
                    <a:pt x="237568" y="317457"/>
                    <a:pt x="238139" y="326439"/>
                    <a:pt x="236693" y="327314"/>
                  </a:cubicBezTo>
                  <a:cubicBezTo>
                    <a:pt x="235245" y="328188"/>
                    <a:pt x="233798" y="331384"/>
                    <a:pt x="233798" y="331384"/>
                  </a:cubicBezTo>
                  <a:lnTo>
                    <a:pt x="232351" y="336598"/>
                  </a:lnTo>
                  <a:lnTo>
                    <a:pt x="228010" y="338045"/>
                  </a:lnTo>
                  <a:lnTo>
                    <a:pt x="222490" y="338617"/>
                  </a:lnTo>
                  <a:lnTo>
                    <a:pt x="217846" y="345008"/>
                  </a:lnTo>
                  <a:lnTo>
                    <a:pt x="216096" y="353115"/>
                  </a:lnTo>
                  <a:lnTo>
                    <a:pt x="211183" y="361222"/>
                  </a:lnTo>
                  <a:lnTo>
                    <a:pt x="208860" y="367009"/>
                  </a:lnTo>
                  <a:lnTo>
                    <a:pt x="214649" y="370473"/>
                  </a:lnTo>
                  <a:lnTo>
                    <a:pt x="219865" y="373366"/>
                  </a:lnTo>
                  <a:lnTo>
                    <a:pt x="224510" y="379152"/>
                  </a:lnTo>
                  <a:lnTo>
                    <a:pt x="226832" y="389581"/>
                  </a:lnTo>
                  <a:cubicBezTo>
                    <a:pt x="226832" y="389581"/>
                    <a:pt x="228582" y="395636"/>
                    <a:pt x="229726" y="394795"/>
                  </a:cubicBezTo>
                  <a:cubicBezTo>
                    <a:pt x="230870" y="393954"/>
                    <a:pt x="238712" y="395030"/>
                    <a:pt x="238712" y="395030"/>
                  </a:cubicBezTo>
                  <a:lnTo>
                    <a:pt x="249145" y="396578"/>
                  </a:lnTo>
                  <a:lnTo>
                    <a:pt x="259578" y="396578"/>
                  </a:lnTo>
                  <a:lnTo>
                    <a:pt x="261328" y="401792"/>
                  </a:lnTo>
                  <a:lnTo>
                    <a:pt x="262472" y="408183"/>
                  </a:lnTo>
                  <a:lnTo>
                    <a:pt x="263650" y="413700"/>
                  </a:lnTo>
                  <a:lnTo>
                    <a:pt x="260452" y="421505"/>
                  </a:lnTo>
                  <a:lnTo>
                    <a:pt x="255236" y="425844"/>
                  </a:lnTo>
                  <a:lnTo>
                    <a:pt x="247698" y="433077"/>
                  </a:lnTo>
                  <a:lnTo>
                    <a:pt x="249717" y="438863"/>
                  </a:lnTo>
                  <a:lnTo>
                    <a:pt x="252914" y="442193"/>
                  </a:lnTo>
                  <a:lnTo>
                    <a:pt x="261328" y="446970"/>
                  </a:lnTo>
                  <a:lnTo>
                    <a:pt x="270011" y="446970"/>
                  </a:lnTo>
                  <a:lnTo>
                    <a:pt x="277112" y="444952"/>
                  </a:lnTo>
                  <a:lnTo>
                    <a:pt x="284785" y="441756"/>
                  </a:lnTo>
                  <a:lnTo>
                    <a:pt x="292020" y="440881"/>
                  </a:lnTo>
                  <a:lnTo>
                    <a:pt x="299862" y="438829"/>
                  </a:lnTo>
                  <a:lnTo>
                    <a:pt x="310867" y="436542"/>
                  </a:lnTo>
                  <a:lnTo>
                    <a:pt x="315209" y="436542"/>
                  </a:lnTo>
                  <a:lnTo>
                    <a:pt x="316084" y="444649"/>
                  </a:lnTo>
                  <a:lnTo>
                    <a:pt x="316656" y="449863"/>
                  </a:lnTo>
                  <a:lnTo>
                    <a:pt x="326786" y="448685"/>
                  </a:lnTo>
                  <a:lnTo>
                    <a:pt x="334055" y="446667"/>
                  </a:lnTo>
                  <a:cubicBezTo>
                    <a:pt x="334055" y="446667"/>
                    <a:pt x="337522" y="454505"/>
                    <a:pt x="337825" y="453631"/>
                  </a:cubicBezTo>
                  <a:cubicBezTo>
                    <a:pt x="338127" y="452756"/>
                    <a:pt x="342738" y="447273"/>
                    <a:pt x="342738" y="447273"/>
                  </a:cubicBezTo>
                  <a:lnTo>
                    <a:pt x="349704" y="444380"/>
                  </a:lnTo>
                  <a:lnTo>
                    <a:pt x="360440" y="443808"/>
                  </a:lnTo>
                  <a:lnTo>
                    <a:pt x="367676" y="448450"/>
                  </a:lnTo>
                  <a:lnTo>
                    <a:pt x="375787" y="455985"/>
                  </a:lnTo>
                  <a:lnTo>
                    <a:pt x="380128" y="460897"/>
                  </a:lnTo>
                  <a:lnTo>
                    <a:pt x="384200" y="463218"/>
                  </a:lnTo>
                  <a:lnTo>
                    <a:pt x="388542" y="466985"/>
                  </a:lnTo>
                  <a:lnTo>
                    <a:pt x="398975" y="469576"/>
                  </a:lnTo>
                  <a:lnTo>
                    <a:pt x="412605" y="469576"/>
                  </a:lnTo>
                  <a:lnTo>
                    <a:pt x="417249" y="468432"/>
                  </a:lnTo>
                  <a:lnTo>
                    <a:pt x="421019" y="472502"/>
                  </a:lnTo>
                  <a:lnTo>
                    <a:pt x="424216" y="479466"/>
                  </a:lnTo>
                  <a:lnTo>
                    <a:pt x="425091" y="483536"/>
                  </a:lnTo>
                  <a:lnTo>
                    <a:pt x="431754" y="483536"/>
                  </a:lnTo>
                  <a:lnTo>
                    <a:pt x="432629" y="476875"/>
                  </a:lnTo>
                  <a:lnTo>
                    <a:pt x="436096" y="473411"/>
                  </a:lnTo>
                  <a:lnTo>
                    <a:pt x="443937" y="472839"/>
                  </a:lnTo>
                  <a:lnTo>
                    <a:pt x="446260" y="466178"/>
                  </a:lnTo>
                  <a:lnTo>
                    <a:pt x="446832" y="461267"/>
                  </a:lnTo>
                  <a:lnTo>
                    <a:pt x="444510" y="454034"/>
                  </a:lnTo>
                  <a:lnTo>
                    <a:pt x="447976" y="449997"/>
                  </a:lnTo>
                  <a:lnTo>
                    <a:pt x="454942" y="444783"/>
                  </a:lnTo>
                  <a:lnTo>
                    <a:pt x="462481" y="444514"/>
                  </a:lnTo>
                  <a:lnTo>
                    <a:pt x="467832" y="442328"/>
                  </a:lnTo>
                  <a:lnTo>
                    <a:pt x="470289" y="438863"/>
                  </a:lnTo>
                  <a:lnTo>
                    <a:pt x="474226" y="434086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grpSp>
          <p:nvGrpSpPr>
            <p:cNvPr id="619" name="Graphic 11">
              <a:extLst>
                <a:ext uri="{FF2B5EF4-FFF2-40B4-BE49-F238E27FC236}">
                  <a16:creationId xmlns:a16="http://schemas.microsoft.com/office/drawing/2014/main" id="{8009D359-802B-6D90-9C90-61A76C89EB46}"/>
                </a:ext>
              </a:extLst>
            </p:cNvPr>
            <p:cNvGrpSpPr/>
            <p:nvPr/>
          </p:nvGrpSpPr>
          <p:grpSpPr>
            <a:xfrm>
              <a:off x="8160908" y="3028866"/>
              <a:ext cx="222219" cy="234106"/>
              <a:chOff x="5976405" y="2623117"/>
              <a:chExt cx="426638" cy="449459"/>
            </a:xfrm>
            <a:grpFill/>
          </p:grpSpPr>
          <p:sp>
            <p:nvSpPr>
              <p:cNvPr id="684" name="Freeform 950">
                <a:extLst>
                  <a:ext uri="{FF2B5EF4-FFF2-40B4-BE49-F238E27FC236}">
                    <a16:creationId xmlns:a16="http://schemas.microsoft.com/office/drawing/2014/main" id="{BEF9E5D4-A691-E480-FB42-FAC387A82A83}"/>
                  </a:ext>
                </a:extLst>
              </p:cNvPr>
              <p:cNvSpPr/>
              <p:nvPr/>
            </p:nvSpPr>
            <p:spPr>
              <a:xfrm>
                <a:off x="6350375" y="2836493"/>
                <a:ext cx="6966" cy="8443"/>
              </a:xfrm>
              <a:custGeom>
                <a:avLst/>
                <a:gdLst>
                  <a:gd name="connsiteX0" fmla="*/ 2389 w 6966"/>
                  <a:gd name="connsiteY0" fmla="*/ 7199 h 8443"/>
                  <a:gd name="connsiteX1" fmla="*/ 4442 w 6966"/>
                  <a:gd name="connsiteY1" fmla="*/ 8444 h 8443"/>
                  <a:gd name="connsiteX2" fmla="*/ 6966 w 6966"/>
                  <a:gd name="connsiteY2" fmla="*/ 6223 h 8443"/>
                  <a:gd name="connsiteX3" fmla="*/ 6966 w 6966"/>
                  <a:gd name="connsiteY3" fmla="*/ 4373 h 8443"/>
                  <a:gd name="connsiteX4" fmla="*/ 6966 w 6966"/>
                  <a:gd name="connsiteY4" fmla="*/ 875 h 8443"/>
                  <a:gd name="connsiteX5" fmla="*/ 5856 w 6966"/>
                  <a:gd name="connsiteY5" fmla="*/ 0 h 8443"/>
                  <a:gd name="connsiteX6" fmla="*/ 0 w 6966"/>
                  <a:gd name="connsiteY6" fmla="*/ 0 h 8443"/>
                  <a:gd name="connsiteX7" fmla="*/ 0 w 6966"/>
                  <a:gd name="connsiteY7" fmla="*/ 875 h 8443"/>
                  <a:gd name="connsiteX8" fmla="*/ 1582 w 6966"/>
                  <a:gd name="connsiteY8" fmla="*/ 2186 h 8443"/>
                  <a:gd name="connsiteX9" fmla="*/ 1279 w 6966"/>
                  <a:gd name="connsiteY9" fmla="*/ 4070 h 8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966" h="8443">
                    <a:moveTo>
                      <a:pt x="2389" y="7199"/>
                    </a:moveTo>
                    <a:lnTo>
                      <a:pt x="4442" y="8444"/>
                    </a:lnTo>
                    <a:lnTo>
                      <a:pt x="6966" y="6223"/>
                    </a:lnTo>
                    <a:lnTo>
                      <a:pt x="6966" y="4373"/>
                    </a:lnTo>
                    <a:lnTo>
                      <a:pt x="6966" y="875"/>
                    </a:lnTo>
                    <a:lnTo>
                      <a:pt x="5856" y="0"/>
                    </a:lnTo>
                    <a:lnTo>
                      <a:pt x="0" y="0"/>
                    </a:lnTo>
                    <a:lnTo>
                      <a:pt x="0" y="875"/>
                    </a:lnTo>
                    <a:lnTo>
                      <a:pt x="1582" y="2186"/>
                    </a:lnTo>
                    <a:lnTo>
                      <a:pt x="1279" y="407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5" name="Freeform 951">
                <a:extLst>
                  <a:ext uri="{FF2B5EF4-FFF2-40B4-BE49-F238E27FC236}">
                    <a16:creationId xmlns:a16="http://schemas.microsoft.com/office/drawing/2014/main" id="{5F86DBF0-40EF-4D03-DDDF-33DDBAFE1F23}"/>
                  </a:ext>
                </a:extLst>
              </p:cNvPr>
              <p:cNvSpPr/>
              <p:nvPr/>
            </p:nvSpPr>
            <p:spPr>
              <a:xfrm>
                <a:off x="6339942" y="2834038"/>
                <a:ext cx="8615" cy="6559"/>
              </a:xfrm>
              <a:custGeom>
                <a:avLst/>
                <a:gdLst>
                  <a:gd name="connsiteX0" fmla="*/ 4846 w 8615"/>
                  <a:gd name="connsiteY0" fmla="*/ 5618 h 6559"/>
                  <a:gd name="connsiteX1" fmla="*/ 6462 w 8615"/>
                  <a:gd name="connsiteY1" fmla="*/ 6560 h 6559"/>
                  <a:gd name="connsiteX2" fmla="*/ 8616 w 8615"/>
                  <a:gd name="connsiteY2" fmla="*/ 3566 h 6559"/>
                  <a:gd name="connsiteX3" fmla="*/ 5688 w 8615"/>
                  <a:gd name="connsiteY3" fmla="*/ 707 h 6559"/>
                  <a:gd name="connsiteX4" fmla="*/ 0 w 8615"/>
                  <a:gd name="connsiteY4" fmla="*/ 0 h 6559"/>
                  <a:gd name="connsiteX5" fmla="*/ 0 w 8615"/>
                  <a:gd name="connsiteY5" fmla="*/ 1615 h 6559"/>
                  <a:gd name="connsiteX6" fmla="*/ 2760 w 8615"/>
                  <a:gd name="connsiteY6" fmla="*/ 4777 h 6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615" h="6559">
                    <a:moveTo>
                      <a:pt x="4846" y="5618"/>
                    </a:moveTo>
                    <a:lnTo>
                      <a:pt x="6462" y="6560"/>
                    </a:lnTo>
                    <a:lnTo>
                      <a:pt x="8616" y="3566"/>
                    </a:lnTo>
                    <a:lnTo>
                      <a:pt x="5688" y="707"/>
                    </a:lnTo>
                    <a:lnTo>
                      <a:pt x="0" y="0"/>
                    </a:lnTo>
                    <a:lnTo>
                      <a:pt x="0" y="1615"/>
                    </a:lnTo>
                    <a:lnTo>
                      <a:pt x="2760" y="4777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6" name="Freeform 952">
                <a:extLst>
                  <a:ext uri="{FF2B5EF4-FFF2-40B4-BE49-F238E27FC236}">
                    <a16:creationId xmlns:a16="http://schemas.microsoft.com/office/drawing/2014/main" id="{9E76A24F-D5A4-7EFB-C7D4-9114C89C8FFE}"/>
                  </a:ext>
                </a:extLst>
              </p:cNvPr>
              <p:cNvSpPr/>
              <p:nvPr/>
            </p:nvSpPr>
            <p:spPr>
              <a:xfrm>
                <a:off x="5976405" y="2623117"/>
                <a:ext cx="401801" cy="449459"/>
              </a:xfrm>
              <a:custGeom>
                <a:avLst/>
                <a:gdLst>
                  <a:gd name="connsiteX0" fmla="*/ 401196 w 401801"/>
                  <a:gd name="connsiteY0" fmla="*/ 126317 h 449459"/>
                  <a:gd name="connsiteX1" fmla="*/ 400186 w 401801"/>
                  <a:gd name="connsiteY1" fmla="*/ 124567 h 449459"/>
                  <a:gd name="connsiteX2" fmla="*/ 397494 w 401801"/>
                  <a:gd name="connsiteY2" fmla="*/ 123693 h 449459"/>
                  <a:gd name="connsiteX3" fmla="*/ 393388 w 401801"/>
                  <a:gd name="connsiteY3" fmla="*/ 123390 h 449459"/>
                  <a:gd name="connsiteX4" fmla="*/ 384167 w 401801"/>
                  <a:gd name="connsiteY4" fmla="*/ 124265 h 449459"/>
                  <a:gd name="connsiteX5" fmla="*/ 379859 w 401801"/>
                  <a:gd name="connsiteY5" fmla="*/ 123390 h 449459"/>
                  <a:gd name="connsiteX6" fmla="*/ 375383 w 401801"/>
                  <a:gd name="connsiteY6" fmla="*/ 122650 h 449459"/>
                  <a:gd name="connsiteX7" fmla="*/ 371917 w 401801"/>
                  <a:gd name="connsiteY7" fmla="*/ 121506 h 449459"/>
                  <a:gd name="connsiteX8" fmla="*/ 365994 w 401801"/>
                  <a:gd name="connsiteY8" fmla="*/ 120194 h 449459"/>
                  <a:gd name="connsiteX9" fmla="*/ 361787 w 401801"/>
                  <a:gd name="connsiteY9" fmla="*/ 119623 h 449459"/>
                  <a:gd name="connsiteX10" fmla="*/ 357748 w 401801"/>
                  <a:gd name="connsiteY10" fmla="*/ 116999 h 449459"/>
                  <a:gd name="connsiteX11" fmla="*/ 354416 w 401801"/>
                  <a:gd name="connsiteY11" fmla="*/ 115418 h 449459"/>
                  <a:gd name="connsiteX12" fmla="*/ 349637 w 401801"/>
                  <a:gd name="connsiteY12" fmla="*/ 112524 h 449459"/>
                  <a:gd name="connsiteX13" fmla="*/ 345868 w 401801"/>
                  <a:gd name="connsiteY13" fmla="*/ 110338 h 449459"/>
                  <a:gd name="connsiteX14" fmla="*/ 344858 w 401801"/>
                  <a:gd name="connsiteY14" fmla="*/ 108589 h 449459"/>
                  <a:gd name="connsiteX15" fmla="*/ 341089 w 401801"/>
                  <a:gd name="connsiteY15" fmla="*/ 105830 h 449459"/>
                  <a:gd name="connsiteX16" fmla="*/ 337454 w 401801"/>
                  <a:gd name="connsiteY16" fmla="*/ 103072 h 449459"/>
                  <a:gd name="connsiteX17" fmla="*/ 334997 w 401801"/>
                  <a:gd name="connsiteY17" fmla="*/ 101760 h 449459"/>
                  <a:gd name="connsiteX18" fmla="*/ 333247 w 401801"/>
                  <a:gd name="connsiteY18" fmla="*/ 100011 h 449459"/>
                  <a:gd name="connsiteX19" fmla="*/ 331498 w 401801"/>
                  <a:gd name="connsiteY19" fmla="*/ 96377 h 449459"/>
                  <a:gd name="connsiteX20" fmla="*/ 330050 w 401801"/>
                  <a:gd name="connsiteY20" fmla="*/ 94056 h 449459"/>
                  <a:gd name="connsiteX21" fmla="*/ 328435 w 401801"/>
                  <a:gd name="connsiteY21" fmla="*/ 92172 h 449459"/>
                  <a:gd name="connsiteX22" fmla="*/ 324968 w 401801"/>
                  <a:gd name="connsiteY22" fmla="*/ 87833 h 449459"/>
                  <a:gd name="connsiteX23" fmla="*/ 322781 w 401801"/>
                  <a:gd name="connsiteY23" fmla="*/ 88136 h 449459"/>
                  <a:gd name="connsiteX24" fmla="*/ 318574 w 401801"/>
                  <a:gd name="connsiteY24" fmla="*/ 88136 h 449459"/>
                  <a:gd name="connsiteX25" fmla="*/ 310464 w 401801"/>
                  <a:gd name="connsiteY25" fmla="*/ 88136 h 449459"/>
                  <a:gd name="connsiteX26" fmla="*/ 304507 w 401801"/>
                  <a:gd name="connsiteY26" fmla="*/ 88136 h 449459"/>
                  <a:gd name="connsiteX27" fmla="*/ 300030 w 401801"/>
                  <a:gd name="connsiteY27" fmla="*/ 88136 h 449459"/>
                  <a:gd name="connsiteX28" fmla="*/ 294679 w 401801"/>
                  <a:gd name="connsiteY28" fmla="*/ 89313 h 449459"/>
                  <a:gd name="connsiteX29" fmla="*/ 291920 w 401801"/>
                  <a:gd name="connsiteY29" fmla="*/ 93215 h 449459"/>
                  <a:gd name="connsiteX30" fmla="*/ 288891 w 401801"/>
                  <a:gd name="connsiteY30" fmla="*/ 96176 h 449459"/>
                  <a:gd name="connsiteX31" fmla="*/ 286703 w 401801"/>
                  <a:gd name="connsiteY31" fmla="*/ 99237 h 449459"/>
                  <a:gd name="connsiteX32" fmla="*/ 284246 w 401801"/>
                  <a:gd name="connsiteY32" fmla="*/ 101659 h 449459"/>
                  <a:gd name="connsiteX33" fmla="*/ 281217 w 401801"/>
                  <a:gd name="connsiteY33" fmla="*/ 104518 h 449459"/>
                  <a:gd name="connsiteX34" fmla="*/ 279198 w 401801"/>
                  <a:gd name="connsiteY34" fmla="*/ 105796 h 449459"/>
                  <a:gd name="connsiteX35" fmla="*/ 274722 w 401801"/>
                  <a:gd name="connsiteY35" fmla="*/ 106671 h 449459"/>
                  <a:gd name="connsiteX36" fmla="*/ 270818 w 401801"/>
                  <a:gd name="connsiteY36" fmla="*/ 108690 h 449459"/>
                  <a:gd name="connsiteX37" fmla="*/ 265164 w 401801"/>
                  <a:gd name="connsiteY37" fmla="*/ 108824 h 449459"/>
                  <a:gd name="connsiteX38" fmla="*/ 261395 w 401801"/>
                  <a:gd name="connsiteY38" fmla="*/ 110405 h 449459"/>
                  <a:gd name="connsiteX39" fmla="*/ 257323 w 401801"/>
                  <a:gd name="connsiteY39" fmla="*/ 112726 h 449459"/>
                  <a:gd name="connsiteX40" fmla="*/ 253688 w 401801"/>
                  <a:gd name="connsiteY40" fmla="*/ 111549 h 449459"/>
                  <a:gd name="connsiteX41" fmla="*/ 251501 w 401801"/>
                  <a:gd name="connsiteY41" fmla="*/ 109228 h 449459"/>
                  <a:gd name="connsiteX42" fmla="*/ 248606 w 401801"/>
                  <a:gd name="connsiteY42" fmla="*/ 103442 h 449459"/>
                  <a:gd name="connsiteX43" fmla="*/ 248169 w 401801"/>
                  <a:gd name="connsiteY43" fmla="*/ 97218 h 449459"/>
                  <a:gd name="connsiteX44" fmla="*/ 247294 w 401801"/>
                  <a:gd name="connsiteY44" fmla="*/ 95032 h 449459"/>
                  <a:gd name="connsiteX45" fmla="*/ 243962 w 401801"/>
                  <a:gd name="connsiteY45" fmla="*/ 92576 h 449459"/>
                  <a:gd name="connsiteX46" fmla="*/ 240058 w 401801"/>
                  <a:gd name="connsiteY46" fmla="*/ 90995 h 449459"/>
                  <a:gd name="connsiteX47" fmla="*/ 235851 w 401801"/>
                  <a:gd name="connsiteY47" fmla="*/ 91702 h 449459"/>
                  <a:gd name="connsiteX48" fmla="*/ 230769 w 401801"/>
                  <a:gd name="connsiteY48" fmla="*/ 94325 h 449459"/>
                  <a:gd name="connsiteX49" fmla="*/ 227707 w 401801"/>
                  <a:gd name="connsiteY49" fmla="*/ 97656 h 449459"/>
                  <a:gd name="connsiteX50" fmla="*/ 223500 w 401801"/>
                  <a:gd name="connsiteY50" fmla="*/ 99977 h 449459"/>
                  <a:gd name="connsiteX51" fmla="*/ 220471 w 401801"/>
                  <a:gd name="connsiteY51" fmla="*/ 97656 h 449459"/>
                  <a:gd name="connsiteX52" fmla="*/ 223365 w 401801"/>
                  <a:gd name="connsiteY52" fmla="*/ 93585 h 449459"/>
                  <a:gd name="connsiteX53" fmla="*/ 226394 w 401801"/>
                  <a:gd name="connsiteY53" fmla="*/ 91567 h 449459"/>
                  <a:gd name="connsiteX54" fmla="*/ 231745 w 401801"/>
                  <a:gd name="connsiteY54" fmla="*/ 88977 h 449459"/>
                  <a:gd name="connsiteX55" fmla="*/ 235515 w 401801"/>
                  <a:gd name="connsiteY55" fmla="*/ 87968 h 449459"/>
                  <a:gd name="connsiteX56" fmla="*/ 238409 w 401801"/>
                  <a:gd name="connsiteY56" fmla="*/ 86387 h 449459"/>
                  <a:gd name="connsiteX57" fmla="*/ 241606 w 401801"/>
                  <a:gd name="connsiteY57" fmla="*/ 85747 h 449459"/>
                  <a:gd name="connsiteX58" fmla="*/ 245510 w 401801"/>
                  <a:gd name="connsiteY58" fmla="*/ 84671 h 449459"/>
                  <a:gd name="connsiteX59" fmla="*/ 251299 w 401801"/>
                  <a:gd name="connsiteY59" fmla="*/ 84671 h 449459"/>
                  <a:gd name="connsiteX60" fmla="*/ 253318 w 401801"/>
                  <a:gd name="connsiteY60" fmla="*/ 84368 h 449459"/>
                  <a:gd name="connsiteX61" fmla="*/ 257087 w 401801"/>
                  <a:gd name="connsiteY61" fmla="*/ 85680 h 449459"/>
                  <a:gd name="connsiteX62" fmla="*/ 260991 w 401801"/>
                  <a:gd name="connsiteY62" fmla="*/ 86925 h 449459"/>
                  <a:gd name="connsiteX63" fmla="*/ 268395 w 401801"/>
                  <a:gd name="connsiteY63" fmla="*/ 86958 h 449459"/>
                  <a:gd name="connsiteX64" fmla="*/ 272467 w 401801"/>
                  <a:gd name="connsiteY64" fmla="*/ 86319 h 449459"/>
                  <a:gd name="connsiteX65" fmla="*/ 276809 w 401801"/>
                  <a:gd name="connsiteY65" fmla="*/ 84267 h 449459"/>
                  <a:gd name="connsiteX66" fmla="*/ 278121 w 401801"/>
                  <a:gd name="connsiteY66" fmla="*/ 81509 h 449459"/>
                  <a:gd name="connsiteX67" fmla="*/ 278996 w 401801"/>
                  <a:gd name="connsiteY67" fmla="*/ 79053 h 449459"/>
                  <a:gd name="connsiteX68" fmla="*/ 280578 w 401801"/>
                  <a:gd name="connsiteY68" fmla="*/ 73536 h 449459"/>
                  <a:gd name="connsiteX69" fmla="*/ 281588 w 401801"/>
                  <a:gd name="connsiteY69" fmla="*/ 71350 h 449459"/>
                  <a:gd name="connsiteX70" fmla="*/ 283910 w 401801"/>
                  <a:gd name="connsiteY70" fmla="*/ 67885 h 449459"/>
                  <a:gd name="connsiteX71" fmla="*/ 286535 w 401801"/>
                  <a:gd name="connsiteY71" fmla="*/ 63982 h 449459"/>
                  <a:gd name="connsiteX72" fmla="*/ 290170 w 401801"/>
                  <a:gd name="connsiteY72" fmla="*/ 60787 h 449459"/>
                  <a:gd name="connsiteX73" fmla="*/ 293501 w 401801"/>
                  <a:gd name="connsiteY73" fmla="*/ 55875 h 449459"/>
                  <a:gd name="connsiteX74" fmla="*/ 300300 w 401801"/>
                  <a:gd name="connsiteY74" fmla="*/ 50661 h 449459"/>
                  <a:gd name="connsiteX75" fmla="*/ 304069 w 401801"/>
                  <a:gd name="connsiteY75" fmla="*/ 47465 h 449459"/>
                  <a:gd name="connsiteX76" fmla="*/ 310160 w 401801"/>
                  <a:gd name="connsiteY76" fmla="*/ 40233 h 449459"/>
                  <a:gd name="connsiteX77" fmla="*/ 311776 w 401801"/>
                  <a:gd name="connsiteY77" fmla="*/ 37340 h 449459"/>
                  <a:gd name="connsiteX78" fmla="*/ 314098 w 401801"/>
                  <a:gd name="connsiteY78" fmla="*/ 36196 h 449459"/>
                  <a:gd name="connsiteX79" fmla="*/ 308444 w 401801"/>
                  <a:gd name="connsiteY79" fmla="*/ 33438 h 449459"/>
                  <a:gd name="connsiteX80" fmla="*/ 304372 w 401801"/>
                  <a:gd name="connsiteY80" fmla="*/ 31688 h 449459"/>
                  <a:gd name="connsiteX81" fmla="*/ 304372 w 401801"/>
                  <a:gd name="connsiteY81" fmla="*/ 28930 h 449459"/>
                  <a:gd name="connsiteX82" fmla="*/ 302184 w 401801"/>
                  <a:gd name="connsiteY82" fmla="*/ 24523 h 449459"/>
                  <a:gd name="connsiteX83" fmla="*/ 300737 w 401801"/>
                  <a:gd name="connsiteY83" fmla="*/ 26205 h 449459"/>
                  <a:gd name="connsiteX84" fmla="*/ 295151 w 401801"/>
                  <a:gd name="connsiteY84" fmla="*/ 26945 h 449459"/>
                  <a:gd name="connsiteX85" fmla="*/ 292795 w 401801"/>
                  <a:gd name="connsiteY85" fmla="*/ 25196 h 449459"/>
                  <a:gd name="connsiteX86" fmla="*/ 287847 w 401801"/>
                  <a:gd name="connsiteY86" fmla="*/ 23884 h 449459"/>
                  <a:gd name="connsiteX87" fmla="*/ 280881 w 401801"/>
                  <a:gd name="connsiteY87" fmla="*/ 23884 h 449459"/>
                  <a:gd name="connsiteX88" fmla="*/ 277987 w 401801"/>
                  <a:gd name="connsiteY88" fmla="*/ 22572 h 449459"/>
                  <a:gd name="connsiteX89" fmla="*/ 277280 w 401801"/>
                  <a:gd name="connsiteY89" fmla="*/ 18502 h 449459"/>
                  <a:gd name="connsiteX90" fmla="*/ 276573 w 401801"/>
                  <a:gd name="connsiteY90" fmla="*/ 15104 h 449459"/>
                  <a:gd name="connsiteX91" fmla="*/ 279030 w 401801"/>
                  <a:gd name="connsiteY91" fmla="*/ 11942 h 449459"/>
                  <a:gd name="connsiteX92" fmla="*/ 278458 w 401801"/>
                  <a:gd name="connsiteY92" fmla="*/ 8275 h 449459"/>
                  <a:gd name="connsiteX93" fmla="*/ 278761 w 401801"/>
                  <a:gd name="connsiteY93" fmla="*/ 4642 h 449459"/>
                  <a:gd name="connsiteX94" fmla="*/ 275698 w 401801"/>
                  <a:gd name="connsiteY94" fmla="*/ 1009 h 449459"/>
                  <a:gd name="connsiteX95" fmla="*/ 268294 w 401801"/>
                  <a:gd name="connsiteY95" fmla="*/ 0 h 449459"/>
                  <a:gd name="connsiteX96" fmla="*/ 262943 w 401801"/>
                  <a:gd name="connsiteY96" fmla="*/ 2153 h 449459"/>
                  <a:gd name="connsiteX97" fmla="*/ 255404 w 401801"/>
                  <a:gd name="connsiteY97" fmla="*/ 2456 h 449459"/>
                  <a:gd name="connsiteX98" fmla="*/ 248438 w 401801"/>
                  <a:gd name="connsiteY98" fmla="*/ 7670 h 449459"/>
                  <a:gd name="connsiteX99" fmla="*/ 244971 w 401801"/>
                  <a:gd name="connsiteY99" fmla="*/ 11707 h 449459"/>
                  <a:gd name="connsiteX100" fmla="*/ 247294 w 401801"/>
                  <a:gd name="connsiteY100" fmla="*/ 18939 h 449459"/>
                  <a:gd name="connsiteX101" fmla="*/ 246722 w 401801"/>
                  <a:gd name="connsiteY101" fmla="*/ 23850 h 449459"/>
                  <a:gd name="connsiteX102" fmla="*/ 244400 w 401801"/>
                  <a:gd name="connsiteY102" fmla="*/ 30511 h 449459"/>
                  <a:gd name="connsiteX103" fmla="*/ 236558 w 401801"/>
                  <a:gd name="connsiteY103" fmla="*/ 31083 h 449459"/>
                  <a:gd name="connsiteX104" fmla="*/ 233092 w 401801"/>
                  <a:gd name="connsiteY104" fmla="*/ 35422 h 449459"/>
                  <a:gd name="connsiteX105" fmla="*/ 232217 w 401801"/>
                  <a:gd name="connsiteY105" fmla="*/ 42958 h 449459"/>
                  <a:gd name="connsiteX106" fmla="*/ 225553 w 401801"/>
                  <a:gd name="connsiteY106" fmla="*/ 42958 h 449459"/>
                  <a:gd name="connsiteX107" fmla="*/ 224678 w 401801"/>
                  <a:gd name="connsiteY107" fmla="*/ 38046 h 449459"/>
                  <a:gd name="connsiteX108" fmla="*/ 221481 w 401801"/>
                  <a:gd name="connsiteY108" fmla="*/ 30646 h 449459"/>
                  <a:gd name="connsiteX109" fmla="*/ 217711 w 401801"/>
                  <a:gd name="connsiteY109" fmla="*/ 27248 h 449459"/>
                  <a:gd name="connsiteX110" fmla="*/ 213067 w 401801"/>
                  <a:gd name="connsiteY110" fmla="*/ 29064 h 449459"/>
                  <a:gd name="connsiteX111" fmla="*/ 199437 w 401801"/>
                  <a:gd name="connsiteY111" fmla="*/ 29064 h 449459"/>
                  <a:gd name="connsiteX112" fmla="*/ 189004 w 401801"/>
                  <a:gd name="connsiteY112" fmla="*/ 25600 h 449459"/>
                  <a:gd name="connsiteX113" fmla="*/ 184663 w 401801"/>
                  <a:gd name="connsiteY113" fmla="*/ 21395 h 449459"/>
                  <a:gd name="connsiteX114" fmla="*/ 180590 w 401801"/>
                  <a:gd name="connsiteY114" fmla="*/ 18872 h 449459"/>
                  <a:gd name="connsiteX115" fmla="*/ 176249 w 401801"/>
                  <a:gd name="connsiteY115" fmla="*/ 13826 h 449459"/>
                  <a:gd name="connsiteX116" fmla="*/ 168138 w 401801"/>
                  <a:gd name="connsiteY116" fmla="*/ 6257 h 449459"/>
                  <a:gd name="connsiteX117" fmla="*/ 160902 w 401801"/>
                  <a:gd name="connsiteY117" fmla="*/ 1581 h 449459"/>
                  <a:gd name="connsiteX118" fmla="*/ 150167 w 401801"/>
                  <a:gd name="connsiteY118" fmla="*/ 2153 h 449459"/>
                  <a:gd name="connsiteX119" fmla="*/ 143200 w 401801"/>
                  <a:gd name="connsiteY119" fmla="*/ 5046 h 449459"/>
                  <a:gd name="connsiteX120" fmla="*/ 138287 w 401801"/>
                  <a:gd name="connsiteY120" fmla="*/ 11404 h 449459"/>
                  <a:gd name="connsiteX121" fmla="*/ 136638 w 401801"/>
                  <a:gd name="connsiteY121" fmla="*/ 10563 h 449459"/>
                  <a:gd name="connsiteX122" fmla="*/ 135661 w 401801"/>
                  <a:gd name="connsiteY122" fmla="*/ 10832 h 449459"/>
                  <a:gd name="connsiteX123" fmla="*/ 135661 w 401801"/>
                  <a:gd name="connsiteY123" fmla="*/ 19511 h 449459"/>
                  <a:gd name="connsiteX124" fmla="*/ 134349 w 401801"/>
                  <a:gd name="connsiteY124" fmla="*/ 36163 h 449459"/>
                  <a:gd name="connsiteX125" fmla="*/ 130882 w 401801"/>
                  <a:gd name="connsiteY125" fmla="*/ 43832 h 449459"/>
                  <a:gd name="connsiteX126" fmla="*/ 125229 w 401801"/>
                  <a:gd name="connsiteY126" fmla="*/ 53823 h 449459"/>
                  <a:gd name="connsiteX127" fmla="*/ 125229 w 401801"/>
                  <a:gd name="connsiteY127" fmla="*/ 64689 h 449459"/>
                  <a:gd name="connsiteX128" fmla="*/ 119574 w 401801"/>
                  <a:gd name="connsiteY128" fmla="*/ 69028 h 449459"/>
                  <a:gd name="connsiteX129" fmla="*/ 112171 w 401801"/>
                  <a:gd name="connsiteY129" fmla="*/ 69028 h 449459"/>
                  <a:gd name="connsiteX130" fmla="*/ 105641 w 401801"/>
                  <a:gd name="connsiteY130" fmla="*/ 76833 h 449459"/>
                  <a:gd name="connsiteX131" fmla="*/ 112372 w 401801"/>
                  <a:gd name="connsiteY131" fmla="*/ 83796 h 449459"/>
                  <a:gd name="connsiteX132" fmla="*/ 116512 w 401801"/>
                  <a:gd name="connsiteY132" fmla="*/ 89010 h 449459"/>
                  <a:gd name="connsiteX133" fmla="*/ 116512 w 401801"/>
                  <a:gd name="connsiteY133" fmla="*/ 97689 h 449459"/>
                  <a:gd name="connsiteX134" fmla="*/ 113483 w 401801"/>
                  <a:gd name="connsiteY134" fmla="*/ 105292 h 449459"/>
                  <a:gd name="connsiteX135" fmla="*/ 103488 w 401801"/>
                  <a:gd name="connsiteY135" fmla="*/ 108992 h 449459"/>
                  <a:gd name="connsiteX136" fmla="*/ 91305 w 401801"/>
                  <a:gd name="connsiteY136" fmla="*/ 108992 h 449459"/>
                  <a:gd name="connsiteX137" fmla="*/ 80872 w 401801"/>
                  <a:gd name="connsiteY137" fmla="*/ 108992 h 449459"/>
                  <a:gd name="connsiteX138" fmla="*/ 77102 w 401801"/>
                  <a:gd name="connsiteY138" fmla="*/ 103778 h 449459"/>
                  <a:gd name="connsiteX139" fmla="*/ 73030 w 401801"/>
                  <a:gd name="connsiteY139" fmla="*/ 103778 h 449459"/>
                  <a:gd name="connsiteX140" fmla="*/ 73030 w 401801"/>
                  <a:gd name="connsiteY140" fmla="*/ 120295 h 449459"/>
                  <a:gd name="connsiteX141" fmla="*/ 73030 w 401801"/>
                  <a:gd name="connsiteY141" fmla="*/ 128974 h 449459"/>
                  <a:gd name="connsiteX142" fmla="*/ 76665 w 401801"/>
                  <a:gd name="connsiteY142" fmla="*/ 134188 h 449459"/>
                  <a:gd name="connsiteX143" fmla="*/ 79559 w 401801"/>
                  <a:gd name="connsiteY143" fmla="*/ 144179 h 449459"/>
                  <a:gd name="connsiteX144" fmla="*/ 73468 w 401801"/>
                  <a:gd name="connsiteY144" fmla="*/ 159385 h 449459"/>
                  <a:gd name="connsiteX145" fmla="*/ 67814 w 401801"/>
                  <a:gd name="connsiteY145" fmla="*/ 162446 h 449459"/>
                  <a:gd name="connsiteX146" fmla="*/ 67814 w 401801"/>
                  <a:gd name="connsiteY146" fmla="*/ 170687 h 449459"/>
                  <a:gd name="connsiteX147" fmla="*/ 64785 w 401801"/>
                  <a:gd name="connsiteY147" fmla="*/ 176574 h 449459"/>
                  <a:gd name="connsiteX148" fmla="*/ 55227 w 401801"/>
                  <a:gd name="connsiteY148" fmla="*/ 181789 h 449459"/>
                  <a:gd name="connsiteX149" fmla="*/ 50448 w 401801"/>
                  <a:gd name="connsiteY149" fmla="*/ 184816 h 449459"/>
                  <a:gd name="connsiteX150" fmla="*/ 46847 w 401801"/>
                  <a:gd name="connsiteY150" fmla="*/ 189828 h 449459"/>
                  <a:gd name="connsiteX151" fmla="*/ 41025 w 401801"/>
                  <a:gd name="connsiteY151" fmla="*/ 194403 h 449459"/>
                  <a:gd name="connsiteX152" fmla="*/ 36279 w 401801"/>
                  <a:gd name="connsiteY152" fmla="*/ 201804 h 449459"/>
                  <a:gd name="connsiteX153" fmla="*/ 30222 w 401801"/>
                  <a:gd name="connsiteY153" fmla="*/ 205504 h 449459"/>
                  <a:gd name="connsiteX154" fmla="*/ 23255 w 401801"/>
                  <a:gd name="connsiteY154" fmla="*/ 211358 h 449459"/>
                  <a:gd name="connsiteX155" fmla="*/ 19116 w 401801"/>
                  <a:gd name="connsiteY155" fmla="*/ 215697 h 449459"/>
                  <a:gd name="connsiteX156" fmla="*/ 17601 w 401801"/>
                  <a:gd name="connsiteY156" fmla="*/ 222425 h 449459"/>
                  <a:gd name="connsiteX157" fmla="*/ 15414 w 401801"/>
                  <a:gd name="connsiteY157" fmla="*/ 226126 h 449459"/>
                  <a:gd name="connsiteX158" fmla="*/ 7808 w 401801"/>
                  <a:gd name="connsiteY158" fmla="*/ 227639 h 449459"/>
                  <a:gd name="connsiteX159" fmla="*/ 3466 w 401801"/>
                  <a:gd name="connsiteY159" fmla="*/ 231979 h 449459"/>
                  <a:gd name="connsiteX160" fmla="*/ 3466 w 401801"/>
                  <a:gd name="connsiteY160" fmla="*/ 240254 h 449459"/>
                  <a:gd name="connsiteX161" fmla="*/ 0 w 401801"/>
                  <a:gd name="connsiteY161" fmla="*/ 242643 h 449459"/>
                  <a:gd name="connsiteX162" fmla="*/ 3466 w 401801"/>
                  <a:gd name="connsiteY162" fmla="*/ 254383 h 449459"/>
                  <a:gd name="connsiteX163" fmla="*/ 9322 w 401801"/>
                  <a:gd name="connsiteY163" fmla="*/ 260472 h 449459"/>
                  <a:gd name="connsiteX164" fmla="*/ 20731 w 401801"/>
                  <a:gd name="connsiteY164" fmla="*/ 267839 h 449459"/>
                  <a:gd name="connsiteX165" fmla="*/ 29279 w 401801"/>
                  <a:gd name="connsiteY165" fmla="*/ 276518 h 449459"/>
                  <a:gd name="connsiteX166" fmla="*/ 37996 w 401801"/>
                  <a:gd name="connsiteY166" fmla="*/ 287383 h 449459"/>
                  <a:gd name="connsiteX167" fmla="*/ 45838 w 401801"/>
                  <a:gd name="connsiteY167" fmla="*/ 297610 h 449459"/>
                  <a:gd name="connsiteX168" fmla="*/ 45198 w 401801"/>
                  <a:gd name="connsiteY168" fmla="*/ 308913 h 449459"/>
                  <a:gd name="connsiteX169" fmla="*/ 47823 w 401801"/>
                  <a:gd name="connsiteY169" fmla="*/ 319778 h 449459"/>
                  <a:gd name="connsiteX170" fmla="*/ 54116 w 401801"/>
                  <a:gd name="connsiteY170" fmla="*/ 325867 h 449459"/>
                  <a:gd name="connsiteX171" fmla="*/ 51087 w 401801"/>
                  <a:gd name="connsiteY171" fmla="*/ 337170 h 449459"/>
                  <a:gd name="connsiteX172" fmla="*/ 47823 w 401801"/>
                  <a:gd name="connsiteY172" fmla="*/ 344133 h 449459"/>
                  <a:gd name="connsiteX173" fmla="*/ 54352 w 401801"/>
                  <a:gd name="connsiteY173" fmla="*/ 346320 h 449459"/>
                  <a:gd name="connsiteX174" fmla="*/ 62395 w 401801"/>
                  <a:gd name="connsiteY174" fmla="*/ 343494 h 449459"/>
                  <a:gd name="connsiteX175" fmla="*/ 72828 w 401801"/>
                  <a:gd name="connsiteY175" fmla="*/ 339357 h 449459"/>
                  <a:gd name="connsiteX176" fmla="*/ 79997 w 401801"/>
                  <a:gd name="connsiteY176" fmla="*/ 338482 h 449459"/>
                  <a:gd name="connsiteX177" fmla="*/ 86963 w 401801"/>
                  <a:gd name="connsiteY177" fmla="*/ 346320 h 449459"/>
                  <a:gd name="connsiteX178" fmla="*/ 85886 w 401801"/>
                  <a:gd name="connsiteY178" fmla="*/ 355874 h 449459"/>
                  <a:gd name="connsiteX179" fmla="*/ 82184 w 401801"/>
                  <a:gd name="connsiteY179" fmla="*/ 363039 h 449459"/>
                  <a:gd name="connsiteX180" fmla="*/ 81107 w 401801"/>
                  <a:gd name="connsiteY180" fmla="*/ 372391 h 449459"/>
                  <a:gd name="connsiteX181" fmla="*/ 90026 w 401801"/>
                  <a:gd name="connsiteY181" fmla="*/ 385645 h 449459"/>
                  <a:gd name="connsiteX182" fmla="*/ 94603 w 401801"/>
                  <a:gd name="connsiteY182" fmla="*/ 395434 h 449459"/>
                  <a:gd name="connsiteX183" fmla="*/ 97665 w 401801"/>
                  <a:gd name="connsiteY183" fmla="*/ 404113 h 449459"/>
                  <a:gd name="connsiteX184" fmla="*/ 100694 w 401801"/>
                  <a:gd name="connsiteY184" fmla="*/ 413465 h 449459"/>
                  <a:gd name="connsiteX185" fmla="*/ 100896 w 401801"/>
                  <a:gd name="connsiteY185" fmla="*/ 423254 h 449459"/>
                  <a:gd name="connsiteX186" fmla="*/ 102209 w 401801"/>
                  <a:gd name="connsiteY186" fmla="*/ 429343 h 449459"/>
                  <a:gd name="connsiteX187" fmla="*/ 109377 w 401801"/>
                  <a:gd name="connsiteY187" fmla="*/ 431933 h 449459"/>
                  <a:gd name="connsiteX188" fmla="*/ 116344 w 401801"/>
                  <a:gd name="connsiteY188" fmla="*/ 429343 h 449459"/>
                  <a:gd name="connsiteX189" fmla="*/ 120921 w 401801"/>
                  <a:gd name="connsiteY189" fmla="*/ 427392 h 449459"/>
                  <a:gd name="connsiteX190" fmla="*/ 130916 w 401801"/>
                  <a:gd name="connsiteY190" fmla="*/ 426954 h 449459"/>
                  <a:gd name="connsiteX191" fmla="*/ 132868 w 401801"/>
                  <a:gd name="connsiteY191" fmla="*/ 431966 h 449459"/>
                  <a:gd name="connsiteX192" fmla="*/ 133507 w 401801"/>
                  <a:gd name="connsiteY192" fmla="*/ 436743 h 449459"/>
                  <a:gd name="connsiteX193" fmla="*/ 140474 w 401801"/>
                  <a:gd name="connsiteY193" fmla="*/ 436743 h 449459"/>
                  <a:gd name="connsiteX194" fmla="*/ 145253 w 401801"/>
                  <a:gd name="connsiteY194" fmla="*/ 433716 h 449459"/>
                  <a:gd name="connsiteX195" fmla="*/ 151345 w 401801"/>
                  <a:gd name="connsiteY195" fmla="*/ 425878 h 449459"/>
                  <a:gd name="connsiteX196" fmla="*/ 151345 w 401801"/>
                  <a:gd name="connsiteY196" fmla="*/ 422850 h 449459"/>
                  <a:gd name="connsiteX197" fmla="*/ 155922 w 401801"/>
                  <a:gd name="connsiteY197" fmla="*/ 419587 h 449459"/>
                  <a:gd name="connsiteX198" fmla="*/ 160499 w 401801"/>
                  <a:gd name="connsiteY198" fmla="*/ 418511 h 449459"/>
                  <a:gd name="connsiteX199" fmla="*/ 164638 w 401801"/>
                  <a:gd name="connsiteY199" fmla="*/ 411985 h 449459"/>
                  <a:gd name="connsiteX200" fmla="*/ 166489 w 401801"/>
                  <a:gd name="connsiteY200" fmla="*/ 406569 h 449459"/>
                  <a:gd name="connsiteX201" fmla="*/ 169148 w 401801"/>
                  <a:gd name="connsiteY201" fmla="*/ 403945 h 449459"/>
                  <a:gd name="connsiteX202" fmla="*/ 175273 w 401801"/>
                  <a:gd name="connsiteY202" fmla="*/ 402868 h 449459"/>
                  <a:gd name="connsiteX203" fmla="*/ 179412 w 401801"/>
                  <a:gd name="connsiteY203" fmla="*/ 409832 h 449459"/>
                  <a:gd name="connsiteX204" fmla="*/ 181364 w 401801"/>
                  <a:gd name="connsiteY204" fmla="*/ 418746 h 449459"/>
                  <a:gd name="connsiteX205" fmla="*/ 185706 w 401801"/>
                  <a:gd name="connsiteY205" fmla="*/ 426349 h 449459"/>
                  <a:gd name="connsiteX206" fmla="*/ 189172 w 401801"/>
                  <a:gd name="connsiteY206" fmla="*/ 433312 h 449459"/>
                  <a:gd name="connsiteX207" fmla="*/ 191764 w 401801"/>
                  <a:gd name="connsiteY207" fmla="*/ 438762 h 449459"/>
                  <a:gd name="connsiteX208" fmla="*/ 198091 w 401801"/>
                  <a:gd name="connsiteY208" fmla="*/ 440511 h 449459"/>
                  <a:gd name="connsiteX209" fmla="*/ 205259 w 401801"/>
                  <a:gd name="connsiteY209" fmla="*/ 439435 h 449459"/>
                  <a:gd name="connsiteX210" fmla="*/ 211990 w 401801"/>
                  <a:gd name="connsiteY210" fmla="*/ 437685 h 449459"/>
                  <a:gd name="connsiteX211" fmla="*/ 215692 w 401801"/>
                  <a:gd name="connsiteY211" fmla="*/ 432269 h 449459"/>
                  <a:gd name="connsiteX212" fmla="*/ 220908 w 401801"/>
                  <a:gd name="connsiteY212" fmla="*/ 425541 h 449459"/>
                  <a:gd name="connsiteX213" fmla="*/ 227202 w 401801"/>
                  <a:gd name="connsiteY213" fmla="*/ 422278 h 449459"/>
                  <a:gd name="connsiteX214" fmla="*/ 238072 w 401801"/>
                  <a:gd name="connsiteY214" fmla="*/ 420764 h 449459"/>
                  <a:gd name="connsiteX215" fmla="*/ 248068 w 401801"/>
                  <a:gd name="connsiteY215" fmla="*/ 422514 h 449459"/>
                  <a:gd name="connsiteX216" fmla="*/ 251097 w 401801"/>
                  <a:gd name="connsiteY216" fmla="*/ 426853 h 449459"/>
                  <a:gd name="connsiteX217" fmla="*/ 251299 w 401801"/>
                  <a:gd name="connsiteY217" fmla="*/ 432269 h 449459"/>
                  <a:gd name="connsiteX218" fmla="*/ 253890 w 401801"/>
                  <a:gd name="connsiteY218" fmla="*/ 438795 h 449459"/>
                  <a:gd name="connsiteX219" fmla="*/ 253890 w 401801"/>
                  <a:gd name="connsiteY219" fmla="*/ 443808 h 449459"/>
                  <a:gd name="connsiteX220" fmla="*/ 258904 w 401801"/>
                  <a:gd name="connsiteY220" fmla="*/ 447710 h 449459"/>
                  <a:gd name="connsiteX221" fmla="*/ 261092 w 401801"/>
                  <a:gd name="connsiteY221" fmla="*/ 449459 h 449459"/>
                  <a:gd name="connsiteX222" fmla="*/ 264895 w 401801"/>
                  <a:gd name="connsiteY222" fmla="*/ 447508 h 449459"/>
                  <a:gd name="connsiteX223" fmla="*/ 269573 w 401801"/>
                  <a:gd name="connsiteY223" fmla="*/ 445759 h 449459"/>
                  <a:gd name="connsiteX224" fmla="*/ 269573 w 401801"/>
                  <a:gd name="connsiteY224" fmla="*/ 440343 h 449459"/>
                  <a:gd name="connsiteX225" fmla="*/ 269371 w 401801"/>
                  <a:gd name="connsiteY225" fmla="*/ 432303 h 449459"/>
                  <a:gd name="connsiteX226" fmla="*/ 267621 w 401801"/>
                  <a:gd name="connsiteY226" fmla="*/ 426012 h 449459"/>
                  <a:gd name="connsiteX227" fmla="*/ 268496 w 401801"/>
                  <a:gd name="connsiteY227" fmla="*/ 421437 h 449459"/>
                  <a:gd name="connsiteX228" fmla="*/ 271222 w 401801"/>
                  <a:gd name="connsiteY228" fmla="*/ 423826 h 449459"/>
                  <a:gd name="connsiteX229" fmla="*/ 274319 w 401801"/>
                  <a:gd name="connsiteY229" fmla="*/ 425340 h 449459"/>
                  <a:gd name="connsiteX230" fmla="*/ 274453 w 401801"/>
                  <a:gd name="connsiteY230" fmla="*/ 423388 h 449459"/>
                  <a:gd name="connsiteX231" fmla="*/ 274789 w 401801"/>
                  <a:gd name="connsiteY231" fmla="*/ 421000 h 449459"/>
                  <a:gd name="connsiteX232" fmla="*/ 274789 w 401801"/>
                  <a:gd name="connsiteY232" fmla="*/ 419486 h 449459"/>
                  <a:gd name="connsiteX233" fmla="*/ 276539 w 401801"/>
                  <a:gd name="connsiteY233" fmla="*/ 416425 h 449459"/>
                  <a:gd name="connsiteX234" fmla="*/ 276539 w 401801"/>
                  <a:gd name="connsiteY234" fmla="*/ 414272 h 449459"/>
                  <a:gd name="connsiteX235" fmla="*/ 275664 w 401801"/>
                  <a:gd name="connsiteY235" fmla="*/ 407981 h 449459"/>
                  <a:gd name="connsiteX236" fmla="*/ 273713 w 401801"/>
                  <a:gd name="connsiteY236" fmla="*/ 403844 h 449459"/>
                  <a:gd name="connsiteX237" fmla="*/ 271525 w 401801"/>
                  <a:gd name="connsiteY237" fmla="*/ 400782 h 449459"/>
                  <a:gd name="connsiteX238" fmla="*/ 272703 w 401801"/>
                  <a:gd name="connsiteY238" fmla="*/ 397721 h 449459"/>
                  <a:gd name="connsiteX239" fmla="*/ 275160 w 401801"/>
                  <a:gd name="connsiteY239" fmla="*/ 396006 h 449459"/>
                  <a:gd name="connsiteX240" fmla="*/ 276506 w 401801"/>
                  <a:gd name="connsiteY240" fmla="*/ 392743 h 449459"/>
                  <a:gd name="connsiteX241" fmla="*/ 276506 w 401801"/>
                  <a:gd name="connsiteY241" fmla="*/ 389917 h 449459"/>
                  <a:gd name="connsiteX242" fmla="*/ 276506 w 401801"/>
                  <a:gd name="connsiteY242" fmla="*/ 382953 h 449459"/>
                  <a:gd name="connsiteX243" fmla="*/ 275631 w 401801"/>
                  <a:gd name="connsiteY243" fmla="*/ 380902 h 449459"/>
                  <a:gd name="connsiteX244" fmla="*/ 281049 w 401801"/>
                  <a:gd name="connsiteY244" fmla="*/ 380363 h 449459"/>
                  <a:gd name="connsiteX245" fmla="*/ 284314 w 401801"/>
                  <a:gd name="connsiteY245" fmla="*/ 380363 h 449459"/>
                  <a:gd name="connsiteX246" fmla="*/ 286939 w 401801"/>
                  <a:gd name="connsiteY246" fmla="*/ 377739 h 449459"/>
                  <a:gd name="connsiteX247" fmla="*/ 286939 w 401801"/>
                  <a:gd name="connsiteY247" fmla="*/ 374174 h 449459"/>
                  <a:gd name="connsiteX248" fmla="*/ 290203 w 401801"/>
                  <a:gd name="connsiteY248" fmla="*/ 369397 h 449459"/>
                  <a:gd name="connsiteX249" fmla="*/ 293468 w 401801"/>
                  <a:gd name="connsiteY249" fmla="*/ 363745 h 449459"/>
                  <a:gd name="connsiteX250" fmla="*/ 292155 w 401801"/>
                  <a:gd name="connsiteY250" fmla="*/ 358094 h 449459"/>
                  <a:gd name="connsiteX251" fmla="*/ 291179 w 401801"/>
                  <a:gd name="connsiteY251" fmla="*/ 355470 h 449459"/>
                  <a:gd name="connsiteX252" fmla="*/ 287545 w 401801"/>
                  <a:gd name="connsiteY252" fmla="*/ 354595 h 449459"/>
                  <a:gd name="connsiteX253" fmla="*/ 281285 w 401801"/>
                  <a:gd name="connsiteY253" fmla="*/ 352644 h 449459"/>
                  <a:gd name="connsiteX254" fmla="*/ 280006 w 401801"/>
                  <a:gd name="connsiteY254" fmla="*/ 350256 h 449459"/>
                  <a:gd name="connsiteX255" fmla="*/ 280006 w 401801"/>
                  <a:gd name="connsiteY255" fmla="*/ 348069 h 449459"/>
                  <a:gd name="connsiteX256" fmla="*/ 283270 w 401801"/>
                  <a:gd name="connsiteY256" fmla="*/ 346993 h 449459"/>
                  <a:gd name="connsiteX257" fmla="*/ 286535 w 401801"/>
                  <a:gd name="connsiteY257" fmla="*/ 346555 h 449459"/>
                  <a:gd name="connsiteX258" fmla="*/ 289564 w 401801"/>
                  <a:gd name="connsiteY258" fmla="*/ 348069 h 449459"/>
                  <a:gd name="connsiteX259" fmla="*/ 291852 w 401801"/>
                  <a:gd name="connsiteY259" fmla="*/ 348507 h 449459"/>
                  <a:gd name="connsiteX260" fmla="*/ 296261 w 401801"/>
                  <a:gd name="connsiteY260" fmla="*/ 350996 h 449459"/>
                  <a:gd name="connsiteX261" fmla="*/ 301545 w 401801"/>
                  <a:gd name="connsiteY261" fmla="*/ 352409 h 449459"/>
                  <a:gd name="connsiteX262" fmla="*/ 305247 w 401801"/>
                  <a:gd name="connsiteY262" fmla="*/ 352409 h 449459"/>
                  <a:gd name="connsiteX263" fmla="*/ 306122 w 401801"/>
                  <a:gd name="connsiteY263" fmla="*/ 346757 h 449459"/>
                  <a:gd name="connsiteX264" fmla="*/ 306122 w 401801"/>
                  <a:gd name="connsiteY264" fmla="*/ 342855 h 449459"/>
                  <a:gd name="connsiteX265" fmla="*/ 306122 w 401801"/>
                  <a:gd name="connsiteY265" fmla="*/ 335892 h 449459"/>
                  <a:gd name="connsiteX266" fmla="*/ 308511 w 401801"/>
                  <a:gd name="connsiteY266" fmla="*/ 332427 h 449459"/>
                  <a:gd name="connsiteX267" fmla="*/ 310901 w 401801"/>
                  <a:gd name="connsiteY267" fmla="*/ 330274 h 449459"/>
                  <a:gd name="connsiteX268" fmla="*/ 313728 w 401801"/>
                  <a:gd name="connsiteY268" fmla="*/ 329399 h 449459"/>
                  <a:gd name="connsiteX269" fmla="*/ 316218 w 401801"/>
                  <a:gd name="connsiteY269" fmla="*/ 325934 h 449459"/>
                  <a:gd name="connsiteX270" fmla="*/ 318877 w 401801"/>
                  <a:gd name="connsiteY270" fmla="*/ 324622 h 449459"/>
                  <a:gd name="connsiteX271" fmla="*/ 320863 w 401801"/>
                  <a:gd name="connsiteY271" fmla="*/ 320922 h 449459"/>
                  <a:gd name="connsiteX272" fmla="*/ 317834 w 401801"/>
                  <a:gd name="connsiteY272" fmla="*/ 317895 h 449459"/>
                  <a:gd name="connsiteX273" fmla="*/ 312954 w 401801"/>
                  <a:gd name="connsiteY273" fmla="*/ 315506 h 449459"/>
                  <a:gd name="connsiteX274" fmla="*/ 309588 w 401801"/>
                  <a:gd name="connsiteY274" fmla="*/ 315069 h 449459"/>
                  <a:gd name="connsiteX275" fmla="*/ 309588 w 401801"/>
                  <a:gd name="connsiteY275" fmla="*/ 313319 h 449459"/>
                  <a:gd name="connsiteX276" fmla="*/ 311776 w 401801"/>
                  <a:gd name="connsiteY276" fmla="*/ 310494 h 449459"/>
                  <a:gd name="connsiteX277" fmla="*/ 314165 w 401801"/>
                  <a:gd name="connsiteY277" fmla="*/ 309619 h 449459"/>
                  <a:gd name="connsiteX278" fmla="*/ 318305 w 401801"/>
                  <a:gd name="connsiteY278" fmla="*/ 307432 h 449459"/>
                  <a:gd name="connsiteX279" fmla="*/ 320795 w 401801"/>
                  <a:gd name="connsiteY279" fmla="*/ 306625 h 449459"/>
                  <a:gd name="connsiteX280" fmla="*/ 323319 w 401801"/>
                  <a:gd name="connsiteY280" fmla="*/ 307702 h 449459"/>
                  <a:gd name="connsiteX281" fmla="*/ 324800 w 401801"/>
                  <a:gd name="connsiteY281" fmla="*/ 309720 h 449459"/>
                  <a:gd name="connsiteX282" fmla="*/ 325238 w 401801"/>
                  <a:gd name="connsiteY282" fmla="*/ 313353 h 449459"/>
                  <a:gd name="connsiteX283" fmla="*/ 325238 w 401801"/>
                  <a:gd name="connsiteY283" fmla="*/ 316683 h 449459"/>
                  <a:gd name="connsiteX284" fmla="*/ 325238 w 401801"/>
                  <a:gd name="connsiteY284" fmla="*/ 320216 h 449459"/>
                  <a:gd name="connsiteX285" fmla="*/ 325238 w 401801"/>
                  <a:gd name="connsiteY285" fmla="*/ 323680 h 449459"/>
                  <a:gd name="connsiteX286" fmla="*/ 323218 w 401801"/>
                  <a:gd name="connsiteY286" fmla="*/ 326506 h 449459"/>
                  <a:gd name="connsiteX287" fmla="*/ 321637 w 401801"/>
                  <a:gd name="connsiteY287" fmla="*/ 328693 h 449459"/>
                  <a:gd name="connsiteX288" fmla="*/ 320829 w 401801"/>
                  <a:gd name="connsiteY288" fmla="*/ 331956 h 449459"/>
                  <a:gd name="connsiteX289" fmla="*/ 319920 w 401801"/>
                  <a:gd name="connsiteY289" fmla="*/ 336026 h 449459"/>
                  <a:gd name="connsiteX290" fmla="*/ 321132 w 401801"/>
                  <a:gd name="connsiteY290" fmla="*/ 338785 h 449459"/>
                  <a:gd name="connsiteX291" fmla="*/ 322478 w 401801"/>
                  <a:gd name="connsiteY291" fmla="*/ 341678 h 449459"/>
                  <a:gd name="connsiteX292" fmla="*/ 324968 w 401801"/>
                  <a:gd name="connsiteY292" fmla="*/ 341913 h 449459"/>
                  <a:gd name="connsiteX293" fmla="*/ 327358 w 401801"/>
                  <a:gd name="connsiteY293" fmla="*/ 342048 h 449459"/>
                  <a:gd name="connsiteX294" fmla="*/ 329545 w 401801"/>
                  <a:gd name="connsiteY294" fmla="*/ 340366 h 449459"/>
                  <a:gd name="connsiteX295" fmla="*/ 331363 w 401801"/>
                  <a:gd name="connsiteY295" fmla="*/ 338415 h 449459"/>
                  <a:gd name="connsiteX296" fmla="*/ 333618 w 401801"/>
                  <a:gd name="connsiteY296" fmla="*/ 336329 h 449459"/>
                  <a:gd name="connsiteX297" fmla="*/ 336882 w 401801"/>
                  <a:gd name="connsiteY297" fmla="*/ 334748 h 449459"/>
                  <a:gd name="connsiteX298" fmla="*/ 340517 w 401801"/>
                  <a:gd name="connsiteY298" fmla="*/ 332629 h 449459"/>
                  <a:gd name="connsiteX299" fmla="*/ 344421 w 401801"/>
                  <a:gd name="connsiteY299" fmla="*/ 332124 h 449459"/>
                  <a:gd name="connsiteX300" fmla="*/ 349637 w 401801"/>
                  <a:gd name="connsiteY300" fmla="*/ 333436 h 449459"/>
                  <a:gd name="connsiteX301" fmla="*/ 353979 w 401801"/>
                  <a:gd name="connsiteY301" fmla="*/ 330846 h 449459"/>
                  <a:gd name="connsiteX302" fmla="*/ 353407 w 401801"/>
                  <a:gd name="connsiteY302" fmla="*/ 325766 h 449459"/>
                  <a:gd name="connsiteX303" fmla="*/ 350512 w 401801"/>
                  <a:gd name="connsiteY303" fmla="*/ 321124 h 449459"/>
                  <a:gd name="connsiteX304" fmla="*/ 346945 w 401801"/>
                  <a:gd name="connsiteY304" fmla="*/ 318803 h 449459"/>
                  <a:gd name="connsiteX305" fmla="*/ 344421 w 401801"/>
                  <a:gd name="connsiteY305" fmla="*/ 315472 h 449459"/>
                  <a:gd name="connsiteX306" fmla="*/ 344421 w 401801"/>
                  <a:gd name="connsiteY306" fmla="*/ 309821 h 449459"/>
                  <a:gd name="connsiteX307" fmla="*/ 346003 w 401801"/>
                  <a:gd name="connsiteY307" fmla="*/ 309821 h 449459"/>
                  <a:gd name="connsiteX308" fmla="*/ 350782 w 401801"/>
                  <a:gd name="connsiteY308" fmla="*/ 308946 h 449459"/>
                  <a:gd name="connsiteX309" fmla="*/ 353979 w 401801"/>
                  <a:gd name="connsiteY309" fmla="*/ 308946 h 449459"/>
                  <a:gd name="connsiteX310" fmla="*/ 359498 w 401801"/>
                  <a:gd name="connsiteY310" fmla="*/ 309384 h 449459"/>
                  <a:gd name="connsiteX311" fmla="*/ 362258 w 401801"/>
                  <a:gd name="connsiteY311" fmla="*/ 314295 h 449459"/>
                  <a:gd name="connsiteX312" fmla="*/ 363133 w 401801"/>
                  <a:gd name="connsiteY312" fmla="*/ 319745 h 449459"/>
                  <a:gd name="connsiteX313" fmla="*/ 364445 w 401801"/>
                  <a:gd name="connsiteY313" fmla="*/ 321225 h 449459"/>
                  <a:gd name="connsiteX314" fmla="*/ 365320 w 401801"/>
                  <a:gd name="connsiteY314" fmla="*/ 319106 h 449459"/>
                  <a:gd name="connsiteX315" fmla="*/ 365320 w 401801"/>
                  <a:gd name="connsiteY315" fmla="*/ 313319 h 449459"/>
                  <a:gd name="connsiteX316" fmla="*/ 368585 w 401801"/>
                  <a:gd name="connsiteY316" fmla="*/ 309417 h 449459"/>
                  <a:gd name="connsiteX317" fmla="*/ 370537 w 401801"/>
                  <a:gd name="connsiteY317" fmla="*/ 305078 h 449459"/>
                  <a:gd name="connsiteX318" fmla="*/ 370537 w 401801"/>
                  <a:gd name="connsiteY318" fmla="*/ 301176 h 449459"/>
                  <a:gd name="connsiteX319" fmla="*/ 365758 w 401801"/>
                  <a:gd name="connsiteY319" fmla="*/ 298417 h 449459"/>
                  <a:gd name="connsiteX320" fmla="*/ 362864 w 401801"/>
                  <a:gd name="connsiteY320" fmla="*/ 294347 h 449459"/>
                  <a:gd name="connsiteX321" fmla="*/ 360171 w 401801"/>
                  <a:gd name="connsiteY321" fmla="*/ 289570 h 449459"/>
                  <a:gd name="connsiteX322" fmla="*/ 356806 w 401801"/>
                  <a:gd name="connsiteY322" fmla="*/ 280891 h 449459"/>
                  <a:gd name="connsiteX323" fmla="*/ 353238 w 401801"/>
                  <a:gd name="connsiteY323" fmla="*/ 275811 h 449459"/>
                  <a:gd name="connsiteX324" fmla="*/ 348762 w 401801"/>
                  <a:gd name="connsiteY324" fmla="*/ 270294 h 449459"/>
                  <a:gd name="connsiteX325" fmla="*/ 348055 w 401801"/>
                  <a:gd name="connsiteY325" fmla="*/ 266830 h 449459"/>
                  <a:gd name="connsiteX326" fmla="*/ 349806 w 401801"/>
                  <a:gd name="connsiteY326" fmla="*/ 263062 h 449459"/>
                  <a:gd name="connsiteX327" fmla="*/ 353710 w 401801"/>
                  <a:gd name="connsiteY327" fmla="*/ 261178 h 449459"/>
                  <a:gd name="connsiteX328" fmla="*/ 357479 w 401801"/>
                  <a:gd name="connsiteY328" fmla="*/ 259597 h 449459"/>
                  <a:gd name="connsiteX329" fmla="*/ 361955 w 401801"/>
                  <a:gd name="connsiteY329" fmla="*/ 258722 h 449459"/>
                  <a:gd name="connsiteX330" fmla="*/ 363705 w 401801"/>
                  <a:gd name="connsiteY330" fmla="*/ 255829 h 449459"/>
                  <a:gd name="connsiteX331" fmla="*/ 365455 w 401801"/>
                  <a:gd name="connsiteY331" fmla="*/ 253508 h 449459"/>
                  <a:gd name="connsiteX332" fmla="*/ 366768 w 401801"/>
                  <a:gd name="connsiteY332" fmla="*/ 252062 h 449459"/>
                  <a:gd name="connsiteX333" fmla="*/ 368787 w 401801"/>
                  <a:gd name="connsiteY333" fmla="*/ 249169 h 449459"/>
                  <a:gd name="connsiteX334" fmla="*/ 368046 w 401801"/>
                  <a:gd name="connsiteY334" fmla="*/ 245704 h 449459"/>
                  <a:gd name="connsiteX335" fmla="*/ 365152 w 401801"/>
                  <a:gd name="connsiteY335" fmla="*/ 243517 h 449459"/>
                  <a:gd name="connsiteX336" fmla="*/ 359363 w 401801"/>
                  <a:gd name="connsiteY336" fmla="*/ 242374 h 449459"/>
                  <a:gd name="connsiteX337" fmla="*/ 356032 w 401801"/>
                  <a:gd name="connsiteY337" fmla="*/ 241499 h 449459"/>
                  <a:gd name="connsiteX338" fmla="*/ 351959 w 401801"/>
                  <a:gd name="connsiteY338" fmla="*/ 238740 h 449459"/>
                  <a:gd name="connsiteX339" fmla="*/ 353407 w 401801"/>
                  <a:gd name="connsiteY339" fmla="*/ 237866 h 449459"/>
                  <a:gd name="connsiteX340" fmla="*/ 354551 w 401801"/>
                  <a:gd name="connsiteY340" fmla="*/ 238236 h 449459"/>
                  <a:gd name="connsiteX341" fmla="*/ 359330 w 401801"/>
                  <a:gd name="connsiteY341" fmla="*/ 239481 h 449459"/>
                  <a:gd name="connsiteX342" fmla="*/ 364412 w 401801"/>
                  <a:gd name="connsiteY342" fmla="*/ 239481 h 449459"/>
                  <a:gd name="connsiteX343" fmla="*/ 369628 w 401801"/>
                  <a:gd name="connsiteY343" fmla="*/ 239481 h 449459"/>
                  <a:gd name="connsiteX344" fmla="*/ 371210 w 401801"/>
                  <a:gd name="connsiteY344" fmla="*/ 236453 h 449459"/>
                  <a:gd name="connsiteX345" fmla="*/ 371345 w 401801"/>
                  <a:gd name="connsiteY345" fmla="*/ 232248 h 449459"/>
                  <a:gd name="connsiteX346" fmla="*/ 368450 w 401801"/>
                  <a:gd name="connsiteY346" fmla="*/ 228850 h 449459"/>
                  <a:gd name="connsiteX347" fmla="*/ 368753 w 401801"/>
                  <a:gd name="connsiteY347" fmla="*/ 226899 h 449459"/>
                  <a:gd name="connsiteX348" fmla="*/ 368753 w 401801"/>
                  <a:gd name="connsiteY348" fmla="*/ 222997 h 449459"/>
                  <a:gd name="connsiteX349" fmla="*/ 370503 w 401801"/>
                  <a:gd name="connsiteY349" fmla="*/ 220407 h 449459"/>
                  <a:gd name="connsiteX350" fmla="*/ 367407 w 401801"/>
                  <a:gd name="connsiteY350" fmla="*/ 220407 h 449459"/>
                  <a:gd name="connsiteX351" fmla="*/ 365152 w 401801"/>
                  <a:gd name="connsiteY351" fmla="*/ 222156 h 449459"/>
                  <a:gd name="connsiteX352" fmla="*/ 362695 w 401801"/>
                  <a:gd name="connsiteY352" fmla="*/ 222156 h 449459"/>
                  <a:gd name="connsiteX353" fmla="*/ 359498 w 401801"/>
                  <a:gd name="connsiteY353" fmla="*/ 220340 h 449459"/>
                  <a:gd name="connsiteX354" fmla="*/ 356166 w 401801"/>
                  <a:gd name="connsiteY354" fmla="*/ 220407 h 449459"/>
                  <a:gd name="connsiteX355" fmla="*/ 352262 w 401801"/>
                  <a:gd name="connsiteY355" fmla="*/ 220407 h 449459"/>
                  <a:gd name="connsiteX356" fmla="*/ 348628 w 401801"/>
                  <a:gd name="connsiteY356" fmla="*/ 219835 h 449459"/>
                  <a:gd name="connsiteX357" fmla="*/ 343411 w 401801"/>
                  <a:gd name="connsiteY357" fmla="*/ 219700 h 449459"/>
                  <a:gd name="connsiteX358" fmla="*/ 340652 w 401801"/>
                  <a:gd name="connsiteY358" fmla="*/ 218187 h 449459"/>
                  <a:gd name="connsiteX359" fmla="*/ 339642 w 401801"/>
                  <a:gd name="connsiteY359" fmla="*/ 213443 h 449459"/>
                  <a:gd name="connsiteX360" fmla="*/ 342839 w 401801"/>
                  <a:gd name="connsiteY360" fmla="*/ 208768 h 449459"/>
                  <a:gd name="connsiteX361" fmla="*/ 345296 w 401801"/>
                  <a:gd name="connsiteY361" fmla="*/ 206715 h 449459"/>
                  <a:gd name="connsiteX362" fmla="*/ 348190 w 401801"/>
                  <a:gd name="connsiteY362" fmla="*/ 203217 h 449459"/>
                  <a:gd name="connsiteX363" fmla="*/ 348459 w 401801"/>
                  <a:gd name="connsiteY363" fmla="*/ 197700 h 449459"/>
                  <a:gd name="connsiteX364" fmla="*/ 348594 w 401801"/>
                  <a:gd name="connsiteY364" fmla="*/ 196085 h 449459"/>
                  <a:gd name="connsiteX365" fmla="*/ 350344 w 401801"/>
                  <a:gd name="connsiteY365" fmla="*/ 196085 h 449459"/>
                  <a:gd name="connsiteX366" fmla="*/ 352229 w 401801"/>
                  <a:gd name="connsiteY366" fmla="*/ 196085 h 449459"/>
                  <a:gd name="connsiteX367" fmla="*/ 354854 w 401801"/>
                  <a:gd name="connsiteY367" fmla="*/ 195076 h 449459"/>
                  <a:gd name="connsiteX368" fmla="*/ 354854 w 401801"/>
                  <a:gd name="connsiteY368" fmla="*/ 198844 h 449459"/>
                  <a:gd name="connsiteX369" fmla="*/ 354854 w 401801"/>
                  <a:gd name="connsiteY369" fmla="*/ 202174 h 449459"/>
                  <a:gd name="connsiteX370" fmla="*/ 354854 w 401801"/>
                  <a:gd name="connsiteY370" fmla="*/ 205639 h 449459"/>
                  <a:gd name="connsiteX371" fmla="*/ 356873 w 401801"/>
                  <a:gd name="connsiteY371" fmla="*/ 206076 h 449459"/>
                  <a:gd name="connsiteX372" fmla="*/ 359767 w 401801"/>
                  <a:gd name="connsiteY372" fmla="*/ 206379 h 449459"/>
                  <a:gd name="connsiteX373" fmla="*/ 362594 w 401801"/>
                  <a:gd name="connsiteY373" fmla="*/ 206682 h 449459"/>
                  <a:gd name="connsiteX374" fmla="*/ 364715 w 401801"/>
                  <a:gd name="connsiteY374" fmla="*/ 206379 h 449459"/>
                  <a:gd name="connsiteX375" fmla="*/ 367239 w 401801"/>
                  <a:gd name="connsiteY375" fmla="*/ 205504 h 449459"/>
                  <a:gd name="connsiteX376" fmla="*/ 368988 w 401801"/>
                  <a:gd name="connsiteY376" fmla="*/ 203755 h 449459"/>
                  <a:gd name="connsiteX377" fmla="*/ 369864 w 401801"/>
                  <a:gd name="connsiteY377" fmla="*/ 201165 h 449459"/>
                  <a:gd name="connsiteX378" fmla="*/ 369729 w 401801"/>
                  <a:gd name="connsiteY378" fmla="*/ 197835 h 449459"/>
                  <a:gd name="connsiteX379" fmla="*/ 368719 w 401801"/>
                  <a:gd name="connsiteY379" fmla="*/ 195514 h 449459"/>
                  <a:gd name="connsiteX380" fmla="*/ 368719 w 401801"/>
                  <a:gd name="connsiteY380" fmla="*/ 191746 h 449459"/>
                  <a:gd name="connsiteX381" fmla="*/ 370873 w 401801"/>
                  <a:gd name="connsiteY381" fmla="*/ 189997 h 449459"/>
                  <a:gd name="connsiteX382" fmla="*/ 370806 w 401801"/>
                  <a:gd name="connsiteY382" fmla="*/ 187675 h 449459"/>
                  <a:gd name="connsiteX383" fmla="*/ 372287 w 401801"/>
                  <a:gd name="connsiteY383" fmla="*/ 187238 h 449459"/>
                  <a:gd name="connsiteX384" fmla="*/ 373095 w 401801"/>
                  <a:gd name="connsiteY384" fmla="*/ 187373 h 449459"/>
                  <a:gd name="connsiteX385" fmla="*/ 374508 w 401801"/>
                  <a:gd name="connsiteY385" fmla="*/ 188819 h 449459"/>
                  <a:gd name="connsiteX386" fmla="*/ 376090 w 401801"/>
                  <a:gd name="connsiteY386" fmla="*/ 189963 h 449459"/>
                  <a:gd name="connsiteX387" fmla="*/ 374912 w 401801"/>
                  <a:gd name="connsiteY387" fmla="*/ 196489 h 449459"/>
                  <a:gd name="connsiteX388" fmla="*/ 373902 w 401801"/>
                  <a:gd name="connsiteY388" fmla="*/ 198810 h 449459"/>
                  <a:gd name="connsiteX389" fmla="*/ 373902 w 401801"/>
                  <a:gd name="connsiteY389" fmla="*/ 202140 h 449459"/>
                  <a:gd name="connsiteX390" fmla="*/ 376224 w 401801"/>
                  <a:gd name="connsiteY390" fmla="*/ 206480 h 449459"/>
                  <a:gd name="connsiteX391" fmla="*/ 378984 w 401801"/>
                  <a:gd name="connsiteY391" fmla="*/ 208229 h 449459"/>
                  <a:gd name="connsiteX392" fmla="*/ 381744 w 401801"/>
                  <a:gd name="connsiteY392" fmla="*/ 208229 h 449459"/>
                  <a:gd name="connsiteX393" fmla="*/ 383124 w 401801"/>
                  <a:gd name="connsiteY393" fmla="*/ 206480 h 449459"/>
                  <a:gd name="connsiteX394" fmla="*/ 384369 w 401801"/>
                  <a:gd name="connsiteY394" fmla="*/ 206480 h 449459"/>
                  <a:gd name="connsiteX395" fmla="*/ 384369 w 401801"/>
                  <a:gd name="connsiteY395" fmla="*/ 209104 h 449459"/>
                  <a:gd name="connsiteX396" fmla="*/ 386994 w 401801"/>
                  <a:gd name="connsiteY396" fmla="*/ 212434 h 449459"/>
                  <a:gd name="connsiteX397" fmla="*/ 388441 w 401801"/>
                  <a:gd name="connsiteY397" fmla="*/ 211291 h 449459"/>
                  <a:gd name="connsiteX398" fmla="*/ 390629 w 401801"/>
                  <a:gd name="connsiteY398" fmla="*/ 209541 h 449459"/>
                  <a:gd name="connsiteX399" fmla="*/ 391335 w 401801"/>
                  <a:gd name="connsiteY399" fmla="*/ 206480 h 449459"/>
                  <a:gd name="connsiteX400" fmla="*/ 391335 w 401801"/>
                  <a:gd name="connsiteY400" fmla="*/ 203890 h 449459"/>
                  <a:gd name="connsiteX401" fmla="*/ 391032 w 401801"/>
                  <a:gd name="connsiteY401" fmla="*/ 200559 h 449459"/>
                  <a:gd name="connsiteX402" fmla="*/ 391167 w 401801"/>
                  <a:gd name="connsiteY402" fmla="*/ 194605 h 449459"/>
                  <a:gd name="connsiteX403" fmla="*/ 391235 w 401801"/>
                  <a:gd name="connsiteY403" fmla="*/ 190838 h 449459"/>
                  <a:gd name="connsiteX404" fmla="*/ 389619 w 401801"/>
                  <a:gd name="connsiteY404" fmla="*/ 186363 h 449459"/>
                  <a:gd name="connsiteX405" fmla="*/ 389383 w 401801"/>
                  <a:gd name="connsiteY405" fmla="*/ 183740 h 449459"/>
                  <a:gd name="connsiteX406" fmla="*/ 386792 w 401801"/>
                  <a:gd name="connsiteY406" fmla="*/ 181284 h 449459"/>
                  <a:gd name="connsiteX407" fmla="*/ 385951 w 401801"/>
                  <a:gd name="connsiteY407" fmla="*/ 178256 h 449459"/>
                  <a:gd name="connsiteX408" fmla="*/ 387835 w 401801"/>
                  <a:gd name="connsiteY408" fmla="*/ 176507 h 449459"/>
                  <a:gd name="connsiteX409" fmla="*/ 388710 w 401801"/>
                  <a:gd name="connsiteY409" fmla="*/ 173480 h 449459"/>
                  <a:gd name="connsiteX410" fmla="*/ 388576 w 401801"/>
                  <a:gd name="connsiteY410" fmla="*/ 169846 h 449459"/>
                  <a:gd name="connsiteX411" fmla="*/ 386691 w 401801"/>
                  <a:gd name="connsiteY411" fmla="*/ 167088 h 449459"/>
                  <a:gd name="connsiteX412" fmla="*/ 384369 w 401801"/>
                  <a:gd name="connsiteY412" fmla="*/ 165507 h 449459"/>
                  <a:gd name="connsiteX413" fmla="*/ 384369 w 401801"/>
                  <a:gd name="connsiteY413" fmla="*/ 163926 h 449459"/>
                  <a:gd name="connsiteX414" fmla="*/ 387128 w 401801"/>
                  <a:gd name="connsiteY414" fmla="*/ 160898 h 449459"/>
                  <a:gd name="connsiteX415" fmla="*/ 387869 w 401801"/>
                  <a:gd name="connsiteY415" fmla="*/ 159317 h 449459"/>
                  <a:gd name="connsiteX416" fmla="*/ 387802 w 401801"/>
                  <a:gd name="connsiteY416" fmla="*/ 156424 h 449459"/>
                  <a:gd name="connsiteX417" fmla="*/ 387330 w 401801"/>
                  <a:gd name="connsiteY417" fmla="*/ 155247 h 449459"/>
                  <a:gd name="connsiteX418" fmla="*/ 384773 w 401801"/>
                  <a:gd name="connsiteY418" fmla="*/ 155112 h 449459"/>
                  <a:gd name="connsiteX419" fmla="*/ 381037 w 401801"/>
                  <a:gd name="connsiteY419" fmla="*/ 154978 h 449459"/>
                  <a:gd name="connsiteX420" fmla="*/ 374676 w 401801"/>
                  <a:gd name="connsiteY420" fmla="*/ 155718 h 449459"/>
                  <a:gd name="connsiteX421" fmla="*/ 371782 w 401801"/>
                  <a:gd name="connsiteY421" fmla="*/ 158039 h 449459"/>
                  <a:gd name="connsiteX422" fmla="*/ 369460 w 401801"/>
                  <a:gd name="connsiteY422" fmla="*/ 162816 h 449459"/>
                  <a:gd name="connsiteX423" fmla="*/ 368585 w 401801"/>
                  <a:gd name="connsiteY423" fmla="*/ 166281 h 449459"/>
                  <a:gd name="connsiteX424" fmla="*/ 368147 w 401801"/>
                  <a:gd name="connsiteY424" fmla="*/ 169308 h 449459"/>
                  <a:gd name="connsiteX425" fmla="*/ 364378 w 401801"/>
                  <a:gd name="connsiteY425" fmla="*/ 169611 h 449459"/>
                  <a:gd name="connsiteX426" fmla="*/ 359599 w 401801"/>
                  <a:gd name="connsiteY426" fmla="*/ 169745 h 449459"/>
                  <a:gd name="connsiteX427" fmla="*/ 355830 w 401801"/>
                  <a:gd name="connsiteY427" fmla="*/ 170048 h 449459"/>
                  <a:gd name="connsiteX428" fmla="*/ 352801 w 401801"/>
                  <a:gd name="connsiteY428" fmla="*/ 171057 h 449459"/>
                  <a:gd name="connsiteX429" fmla="*/ 348459 w 401801"/>
                  <a:gd name="connsiteY429" fmla="*/ 173379 h 449459"/>
                  <a:gd name="connsiteX430" fmla="*/ 346305 w 401801"/>
                  <a:gd name="connsiteY430" fmla="*/ 174522 h 449459"/>
                  <a:gd name="connsiteX431" fmla="*/ 342671 w 401801"/>
                  <a:gd name="connsiteY431" fmla="*/ 175834 h 449459"/>
                  <a:gd name="connsiteX432" fmla="*/ 340483 w 401801"/>
                  <a:gd name="connsiteY432" fmla="*/ 177853 h 449459"/>
                  <a:gd name="connsiteX433" fmla="*/ 337589 w 401801"/>
                  <a:gd name="connsiteY433" fmla="*/ 178425 h 449459"/>
                  <a:gd name="connsiteX434" fmla="*/ 337151 w 401801"/>
                  <a:gd name="connsiteY434" fmla="*/ 177415 h 449459"/>
                  <a:gd name="connsiteX435" fmla="*/ 336849 w 401801"/>
                  <a:gd name="connsiteY435" fmla="*/ 174825 h 449459"/>
                  <a:gd name="connsiteX436" fmla="*/ 337724 w 401801"/>
                  <a:gd name="connsiteY436" fmla="*/ 172067 h 449459"/>
                  <a:gd name="connsiteX437" fmla="*/ 339036 w 401801"/>
                  <a:gd name="connsiteY437" fmla="*/ 170486 h 449459"/>
                  <a:gd name="connsiteX438" fmla="*/ 341190 w 401801"/>
                  <a:gd name="connsiteY438" fmla="*/ 169611 h 449459"/>
                  <a:gd name="connsiteX439" fmla="*/ 343815 w 401801"/>
                  <a:gd name="connsiteY439" fmla="*/ 168165 h 449459"/>
                  <a:gd name="connsiteX440" fmla="*/ 346406 w 401801"/>
                  <a:gd name="connsiteY440" fmla="*/ 166853 h 449459"/>
                  <a:gd name="connsiteX441" fmla="*/ 351488 w 401801"/>
                  <a:gd name="connsiteY441" fmla="*/ 165978 h 449459"/>
                  <a:gd name="connsiteX442" fmla="*/ 355392 w 401801"/>
                  <a:gd name="connsiteY442" fmla="*/ 165843 h 449459"/>
                  <a:gd name="connsiteX443" fmla="*/ 357849 w 401801"/>
                  <a:gd name="connsiteY443" fmla="*/ 162513 h 449459"/>
                  <a:gd name="connsiteX444" fmla="*/ 359296 w 401801"/>
                  <a:gd name="connsiteY444" fmla="*/ 160192 h 449459"/>
                  <a:gd name="connsiteX445" fmla="*/ 364075 w 401801"/>
                  <a:gd name="connsiteY445" fmla="*/ 157299 h 449459"/>
                  <a:gd name="connsiteX446" fmla="*/ 365522 w 401801"/>
                  <a:gd name="connsiteY446" fmla="*/ 155718 h 449459"/>
                  <a:gd name="connsiteX447" fmla="*/ 367272 w 401801"/>
                  <a:gd name="connsiteY447" fmla="*/ 153094 h 449459"/>
                  <a:gd name="connsiteX448" fmla="*/ 369292 w 401801"/>
                  <a:gd name="connsiteY448" fmla="*/ 150066 h 449459"/>
                  <a:gd name="connsiteX449" fmla="*/ 371614 w 401801"/>
                  <a:gd name="connsiteY449" fmla="*/ 146871 h 449459"/>
                  <a:gd name="connsiteX450" fmla="*/ 373364 w 401801"/>
                  <a:gd name="connsiteY450" fmla="*/ 143103 h 449459"/>
                  <a:gd name="connsiteX451" fmla="*/ 376998 w 401801"/>
                  <a:gd name="connsiteY451" fmla="*/ 140075 h 449459"/>
                  <a:gd name="connsiteX452" fmla="*/ 379758 w 401801"/>
                  <a:gd name="connsiteY452" fmla="*/ 137182 h 449459"/>
                  <a:gd name="connsiteX453" fmla="*/ 382955 w 401801"/>
                  <a:gd name="connsiteY453" fmla="*/ 134727 h 449459"/>
                  <a:gd name="connsiteX454" fmla="*/ 387903 w 401801"/>
                  <a:gd name="connsiteY454" fmla="*/ 133583 h 449459"/>
                  <a:gd name="connsiteX455" fmla="*/ 393119 w 401801"/>
                  <a:gd name="connsiteY455" fmla="*/ 133280 h 449459"/>
                  <a:gd name="connsiteX456" fmla="*/ 398470 w 401801"/>
                  <a:gd name="connsiteY456" fmla="*/ 132977 h 449459"/>
                  <a:gd name="connsiteX457" fmla="*/ 400355 w 401801"/>
                  <a:gd name="connsiteY457" fmla="*/ 132675 h 449459"/>
                  <a:gd name="connsiteX458" fmla="*/ 401297 w 401801"/>
                  <a:gd name="connsiteY458" fmla="*/ 131363 h 449459"/>
                  <a:gd name="connsiteX459" fmla="*/ 401802 w 401801"/>
                  <a:gd name="connsiteY459" fmla="*/ 130051 h 449459"/>
                  <a:gd name="connsiteX460" fmla="*/ 401802 w 401801"/>
                  <a:gd name="connsiteY460" fmla="*/ 127460 h 449459"/>
                  <a:gd name="connsiteX461" fmla="*/ 401196 w 401801"/>
                  <a:gd name="connsiteY461" fmla="*/ 126317 h 449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</a:cxnLst>
                <a:rect l="l" t="t" r="r" b="b"/>
                <a:pathLst>
                  <a:path w="401801" h="449459">
                    <a:moveTo>
                      <a:pt x="401196" y="126317"/>
                    </a:moveTo>
                    <a:lnTo>
                      <a:pt x="400186" y="124567"/>
                    </a:lnTo>
                    <a:cubicBezTo>
                      <a:pt x="400186" y="124567"/>
                      <a:pt x="398100" y="123996"/>
                      <a:pt x="397494" y="123693"/>
                    </a:cubicBezTo>
                    <a:cubicBezTo>
                      <a:pt x="396922" y="123390"/>
                      <a:pt x="393388" y="123390"/>
                      <a:pt x="393388" y="123390"/>
                    </a:cubicBezTo>
                    <a:lnTo>
                      <a:pt x="384167" y="124265"/>
                    </a:lnTo>
                    <a:lnTo>
                      <a:pt x="379859" y="123390"/>
                    </a:lnTo>
                    <a:lnTo>
                      <a:pt x="375383" y="122650"/>
                    </a:lnTo>
                    <a:lnTo>
                      <a:pt x="371917" y="121506"/>
                    </a:lnTo>
                    <a:lnTo>
                      <a:pt x="365994" y="120194"/>
                    </a:lnTo>
                    <a:lnTo>
                      <a:pt x="361787" y="119623"/>
                    </a:lnTo>
                    <a:lnTo>
                      <a:pt x="357748" y="116999"/>
                    </a:lnTo>
                    <a:lnTo>
                      <a:pt x="354416" y="115418"/>
                    </a:lnTo>
                    <a:lnTo>
                      <a:pt x="349637" y="112524"/>
                    </a:lnTo>
                    <a:lnTo>
                      <a:pt x="345868" y="110338"/>
                    </a:lnTo>
                    <a:lnTo>
                      <a:pt x="344858" y="108589"/>
                    </a:lnTo>
                    <a:lnTo>
                      <a:pt x="341089" y="105830"/>
                    </a:lnTo>
                    <a:lnTo>
                      <a:pt x="337454" y="103072"/>
                    </a:lnTo>
                    <a:lnTo>
                      <a:pt x="334997" y="101760"/>
                    </a:lnTo>
                    <a:lnTo>
                      <a:pt x="333247" y="100011"/>
                    </a:lnTo>
                    <a:lnTo>
                      <a:pt x="331498" y="96377"/>
                    </a:lnTo>
                    <a:lnTo>
                      <a:pt x="330050" y="94056"/>
                    </a:lnTo>
                    <a:lnTo>
                      <a:pt x="328435" y="92172"/>
                    </a:lnTo>
                    <a:lnTo>
                      <a:pt x="324968" y="87833"/>
                    </a:lnTo>
                    <a:lnTo>
                      <a:pt x="322781" y="88136"/>
                    </a:lnTo>
                    <a:cubicBezTo>
                      <a:pt x="322781" y="88136"/>
                      <a:pt x="319752" y="88136"/>
                      <a:pt x="318574" y="88136"/>
                    </a:cubicBezTo>
                    <a:cubicBezTo>
                      <a:pt x="317396" y="88136"/>
                      <a:pt x="310464" y="88136"/>
                      <a:pt x="310464" y="88136"/>
                    </a:cubicBezTo>
                    <a:cubicBezTo>
                      <a:pt x="310464" y="88136"/>
                      <a:pt x="305382" y="88136"/>
                      <a:pt x="304507" y="88136"/>
                    </a:cubicBezTo>
                    <a:cubicBezTo>
                      <a:pt x="303632" y="88136"/>
                      <a:pt x="300030" y="88136"/>
                      <a:pt x="300030" y="88136"/>
                    </a:cubicBezTo>
                    <a:lnTo>
                      <a:pt x="294679" y="89313"/>
                    </a:lnTo>
                    <a:lnTo>
                      <a:pt x="291920" y="93215"/>
                    </a:lnTo>
                    <a:lnTo>
                      <a:pt x="288891" y="96176"/>
                    </a:lnTo>
                    <a:lnTo>
                      <a:pt x="286703" y="99237"/>
                    </a:lnTo>
                    <a:lnTo>
                      <a:pt x="284246" y="101659"/>
                    </a:lnTo>
                    <a:lnTo>
                      <a:pt x="281217" y="104518"/>
                    </a:lnTo>
                    <a:lnTo>
                      <a:pt x="279198" y="105796"/>
                    </a:lnTo>
                    <a:lnTo>
                      <a:pt x="274722" y="106671"/>
                    </a:lnTo>
                    <a:lnTo>
                      <a:pt x="270818" y="108690"/>
                    </a:lnTo>
                    <a:lnTo>
                      <a:pt x="265164" y="108824"/>
                    </a:lnTo>
                    <a:lnTo>
                      <a:pt x="261395" y="110405"/>
                    </a:lnTo>
                    <a:lnTo>
                      <a:pt x="257323" y="112726"/>
                    </a:lnTo>
                    <a:lnTo>
                      <a:pt x="253688" y="111549"/>
                    </a:lnTo>
                    <a:cubicBezTo>
                      <a:pt x="253688" y="111549"/>
                      <a:pt x="252376" y="111112"/>
                      <a:pt x="251501" y="109228"/>
                    </a:cubicBezTo>
                    <a:cubicBezTo>
                      <a:pt x="250626" y="107344"/>
                      <a:pt x="248741" y="104014"/>
                      <a:pt x="248606" y="103442"/>
                    </a:cubicBezTo>
                    <a:cubicBezTo>
                      <a:pt x="248472" y="102870"/>
                      <a:pt x="248169" y="97218"/>
                      <a:pt x="248169" y="97218"/>
                    </a:cubicBezTo>
                    <a:cubicBezTo>
                      <a:pt x="248169" y="97218"/>
                      <a:pt x="248472" y="95907"/>
                      <a:pt x="247294" y="95032"/>
                    </a:cubicBezTo>
                    <a:cubicBezTo>
                      <a:pt x="246149" y="94157"/>
                      <a:pt x="243962" y="92576"/>
                      <a:pt x="243962" y="92576"/>
                    </a:cubicBezTo>
                    <a:lnTo>
                      <a:pt x="240058" y="90995"/>
                    </a:lnTo>
                    <a:cubicBezTo>
                      <a:pt x="240058" y="90995"/>
                      <a:pt x="236423" y="91567"/>
                      <a:pt x="235851" y="91702"/>
                    </a:cubicBezTo>
                    <a:cubicBezTo>
                      <a:pt x="235279" y="91836"/>
                      <a:pt x="230769" y="94325"/>
                      <a:pt x="230769" y="94325"/>
                    </a:cubicBezTo>
                    <a:lnTo>
                      <a:pt x="227707" y="97656"/>
                    </a:lnTo>
                    <a:lnTo>
                      <a:pt x="223500" y="99977"/>
                    </a:lnTo>
                    <a:lnTo>
                      <a:pt x="220471" y="97656"/>
                    </a:lnTo>
                    <a:cubicBezTo>
                      <a:pt x="220471" y="97656"/>
                      <a:pt x="222658" y="93888"/>
                      <a:pt x="223365" y="93585"/>
                    </a:cubicBezTo>
                    <a:cubicBezTo>
                      <a:pt x="224072" y="93283"/>
                      <a:pt x="224812" y="92004"/>
                      <a:pt x="226394" y="91567"/>
                    </a:cubicBezTo>
                    <a:cubicBezTo>
                      <a:pt x="227976" y="91130"/>
                      <a:pt x="231745" y="88977"/>
                      <a:pt x="231745" y="88977"/>
                    </a:cubicBezTo>
                    <a:cubicBezTo>
                      <a:pt x="231745" y="88977"/>
                      <a:pt x="234942" y="88102"/>
                      <a:pt x="235515" y="87968"/>
                    </a:cubicBezTo>
                    <a:cubicBezTo>
                      <a:pt x="236087" y="87833"/>
                      <a:pt x="236827" y="86824"/>
                      <a:pt x="238409" y="86387"/>
                    </a:cubicBezTo>
                    <a:cubicBezTo>
                      <a:pt x="240024" y="85949"/>
                      <a:pt x="240428" y="86017"/>
                      <a:pt x="241606" y="85747"/>
                    </a:cubicBezTo>
                    <a:cubicBezTo>
                      <a:pt x="242751" y="85445"/>
                      <a:pt x="242616" y="84671"/>
                      <a:pt x="245510" y="84671"/>
                    </a:cubicBezTo>
                    <a:cubicBezTo>
                      <a:pt x="248404" y="84671"/>
                      <a:pt x="251299" y="84671"/>
                      <a:pt x="251299" y="84671"/>
                    </a:cubicBezTo>
                    <a:cubicBezTo>
                      <a:pt x="251299" y="84671"/>
                      <a:pt x="251871" y="83796"/>
                      <a:pt x="253318" y="84368"/>
                    </a:cubicBezTo>
                    <a:cubicBezTo>
                      <a:pt x="254765" y="84940"/>
                      <a:pt x="257087" y="85680"/>
                      <a:pt x="257087" y="85680"/>
                    </a:cubicBezTo>
                    <a:cubicBezTo>
                      <a:pt x="257087" y="85680"/>
                      <a:pt x="260419" y="86925"/>
                      <a:pt x="260991" y="86925"/>
                    </a:cubicBezTo>
                    <a:cubicBezTo>
                      <a:pt x="261563" y="86925"/>
                      <a:pt x="268395" y="86958"/>
                      <a:pt x="268395" y="86958"/>
                    </a:cubicBezTo>
                    <a:lnTo>
                      <a:pt x="272467" y="86319"/>
                    </a:lnTo>
                    <a:lnTo>
                      <a:pt x="276809" y="84267"/>
                    </a:lnTo>
                    <a:lnTo>
                      <a:pt x="278121" y="81509"/>
                    </a:lnTo>
                    <a:cubicBezTo>
                      <a:pt x="278121" y="81509"/>
                      <a:pt x="278693" y="79625"/>
                      <a:pt x="278996" y="79053"/>
                    </a:cubicBezTo>
                    <a:cubicBezTo>
                      <a:pt x="279299" y="78481"/>
                      <a:pt x="280578" y="73536"/>
                      <a:pt x="280578" y="73536"/>
                    </a:cubicBezTo>
                    <a:lnTo>
                      <a:pt x="281588" y="71350"/>
                    </a:lnTo>
                    <a:cubicBezTo>
                      <a:pt x="281588" y="71350"/>
                      <a:pt x="283775" y="68322"/>
                      <a:pt x="283910" y="67885"/>
                    </a:cubicBezTo>
                    <a:cubicBezTo>
                      <a:pt x="284044" y="67447"/>
                      <a:pt x="286535" y="63982"/>
                      <a:pt x="286535" y="63982"/>
                    </a:cubicBezTo>
                    <a:lnTo>
                      <a:pt x="290170" y="60787"/>
                    </a:lnTo>
                    <a:lnTo>
                      <a:pt x="293501" y="55875"/>
                    </a:lnTo>
                    <a:lnTo>
                      <a:pt x="300300" y="50661"/>
                    </a:lnTo>
                    <a:cubicBezTo>
                      <a:pt x="300300" y="50661"/>
                      <a:pt x="303497" y="47903"/>
                      <a:pt x="304069" y="47465"/>
                    </a:cubicBezTo>
                    <a:cubicBezTo>
                      <a:pt x="304641" y="47028"/>
                      <a:pt x="310160" y="40233"/>
                      <a:pt x="310160" y="40233"/>
                    </a:cubicBezTo>
                    <a:lnTo>
                      <a:pt x="311776" y="37340"/>
                    </a:lnTo>
                    <a:lnTo>
                      <a:pt x="314098" y="36196"/>
                    </a:lnTo>
                    <a:lnTo>
                      <a:pt x="308444" y="33438"/>
                    </a:lnTo>
                    <a:lnTo>
                      <a:pt x="304372" y="31688"/>
                    </a:lnTo>
                    <a:lnTo>
                      <a:pt x="304372" y="28930"/>
                    </a:lnTo>
                    <a:lnTo>
                      <a:pt x="302184" y="24523"/>
                    </a:lnTo>
                    <a:lnTo>
                      <a:pt x="300737" y="26205"/>
                    </a:lnTo>
                    <a:lnTo>
                      <a:pt x="295151" y="26945"/>
                    </a:lnTo>
                    <a:lnTo>
                      <a:pt x="292795" y="25196"/>
                    </a:lnTo>
                    <a:lnTo>
                      <a:pt x="287847" y="23884"/>
                    </a:lnTo>
                    <a:lnTo>
                      <a:pt x="280881" y="23884"/>
                    </a:lnTo>
                    <a:lnTo>
                      <a:pt x="277987" y="22572"/>
                    </a:lnTo>
                    <a:lnTo>
                      <a:pt x="277280" y="18502"/>
                    </a:lnTo>
                    <a:lnTo>
                      <a:pt x="276573" y="15104"/>
                    </a:lnTo>
                    <a:lnTo>
                      <a:pt x="279030" y="11942"/>
                    </a:lnTo>
                    <a:lnTo>
                      <a:pt x="278458" y="8275"/>
                    </a:lnTo>
                    <a:lnTo>
                      <a:pt x="278761" y="4642"/>
                    </a:lnTo>
                    <a:lnTo>
                      <a:pt x="275698" y="1009"/>
                    </a:lnTo>
                    <a:lnTo>
                      <a:pt x="268294" y="0"/>
                    </a:lnTo>
                    <a:lnTo>
                      <a:pt x="262943" y="2153"/>
                    </a:lnTo>
                    <a:lnTo>
                      <a:pt x="255404" y="2456"/>
                    </a:lnTo>
                    <a:lnTo>
                      <a:pt x="248438" y="7670"/>
                    </a:lnTo>
                    <a:lnTo>
                      <a:pt x="244971" y="11707"/>
                    </a:lnTo>
                    <a:lnTo>
                      <a:pt x="247294" y="18939"/>
                    </a:lnTo>
                    <a:lnTo>
                      <a:pt x="246722" y="23850"/>
                    </a:lnTo>
                    <a:lnTo>
                      <a:pt x="244400" y="30511"/>
                    </a:lnTo>
                    <a:lnTo>
                      <a:pt x="236558" y="31083"/>
                    </a:lnTo>
                    <a:lnTo>
                      <a:pt x="233092" y="35422"/>
                    </a:lnTo>
                    <a:lnTo>
                      <a:pt x="232217" y="42958"/>
                    </a:lnTo>
                    <a:lnTo>
                      <a:pt x="225553" y="42958"/>
                    </a:lnTo>
                    <a:lnTo>
                      <a:pt x="224678" y="38046"/>
                    </a:lnTo>
                    <a:lnTo>
                      <a:pt x="221481" y="30646"/>
                    </a:lnTo>
                    <a:lnTo>
                      <a:pt x="217711" y="27248"/>
                    </a:lnTo>
                    <a:lnTo>
                      <a:pt x="213067" y="29064"/>
                    </a:lnTo>
                    <a:lnTo>
                      <a:pt x="199437" y="29064"/>
                    </a:lnTo>
                    <a:lnTo>
                      <a:pt x="189004" y="25600"/>
                    </a:lnTo>
                    <a:lnTo>
                      <a:pt x="184663" y="21395"/>
                    </a:lnTo>
                    <a:lnTo>
                      <a:pt x="180590" y="18872"/>
                    </a:lnTo>
                    <a:lnTo>
                      <a:pt x="176249" y="13826"/>
                    </a:lnTo>
                    <a:lnTo>
                      <a:pt x="168138" y="6257"/>
                    </a:lnTo>
                    <a:lnTo>
                      <a:pt x="160902" y="1581"/>
                    </a:lnTo>
                    <a:lnTo>
                      <a:pt x="150167" y="2153"/>
                    </a:lnTo>
                    <a:lnTo>
                      <a:pt x="143200" y="5046"/>
                    </a:lnTo>
                    <a:cubicBezTo>
                      <a:pt x="143200" y="5046"/>
                      <a:pt x="138556" y="10563"/>
                      <a:pt x="138287" y="11404"/>
                    </a:cubicBezTo>
                    <a:cubicBezTo>
                      <a:pt x="138219" y="11639"/>
                      <a:pt x="137041" y="11236"/>
                      <a:pt x="136638" y="10563"/>
                    </a:cubicBezTo>
                    <a:lnTo>
                      <a:pt x="135661" y="10832"/>
                    </a:lnTo>
                    <a:lnTo>
                      <a:pt x="135661" y="19511"/>
                    </a:lnTo>
                    <a:lnTo>
                      <a:pt x="134349" y="36163"/>
                    </a:lnTo>
                    <a:lnTo>
                      <a:pt x="130882" y="43832"/>
                    </a:lnTo>
                    <a:lnTo>
                      <a:pt x="125229" y="53823"/>
                    </a:lnTo>
                    <a:lnTo>
                      <a:pt x="125229" y="64689"/>
                    </a:lnTo>
                    <a:lnTo>
                      <a:pt x="119574" y="69028"/>
                    </a:lnTo>
                    <a:lnTo>
                      <a:pt x="112171" y="69028"/>
                    </a:lnTo>
                    <a:cubicBezTo>
                      <a:pt x="112171" y="69028"/>
                      <a:pt x="106079" y="74243"/>
                      <a:pt x="105641" y="76833"/>
                    </a:cubicBezTo>
                    <a:cubicBezTo>
                      <a:pt x="105204" y="79457"/>
                      <a:pt x="112372" y="83796"/>
                      <a:pt x="112372" y="83796"/>
                    </a:cubicBezTo>
                    <a:lnTo>
                      <a:pt x="116512" y="89010"/>
                    </a:lnTo>
                    <a:lnTo>
                      <a:pt x="116512" y="97689"/>
                    </a:lnTo>
                    <a:lnTo>
                      <a:pt x="113483" y="105292"/>
                    </a:lnTo>
                    <a:lnTo>
                      <a:pt x="103488" y="108992"/>
                    </a:lnTo>
                    <a:lnTo>
                      <a:pt x="91305" y="108992"/>
                    </a:lnTo>
                    <a:lnTo>
                      <a:pt x="80872" y="108992"/>
                    </a:lnTo>
                    <a:lnTo>
                      <a:pt x="77102" y="103778"/>
                    </a:lnTo>
                    <a:lnTo>
                      <a:pt x="73030" y="103778"/>
                    </a:lnTo>
                    <a:lnTo>
                      <a:pt x="73030" y="120295"/>
                    </a:lnTo>
                    <a:lnTo>
                      <a:pt x="73030" y="128974"/>
                    </a:lnTo>
                    <a:lnTo>
                      <a:pt x="76665" y="134188"/>
                    </a:lnTo>
                    <a:lnTo>
                      <a:pt x="79559" y="144179"/>
                    </a:lnTo>
                    <a:lnTo>
                      <a:pt x="73468" y="159385"/>
                    </a:lnTo>
                    <a:lnTo>
                      <a:pt x="67814" y="162446"/>
                    </a:lnTo>
                    <a:lnTo>
                      <a:pt x="67814" y="170687"/>
                    </a:lnTo>
                    <a:lnTo>
                      <a:pt x="64785" y="176574"/>
                    </a:lnTo>
                    <a:lnTo>
                      <a:pt x="55227" y="181789"/>
                    </a:lnTo>
                    <a:lnTo>
                      <a:pt x="50448" y="184816"/>
                    </a:lnTo>
                    <a:lnTo>
                      <a:pt x="46847" y="189828"/>
                    </a:lnTo>
                    <a:lnTo>
                      <a:pt x="41025" y="194403"/>
                    </a:lnTo>
                    <a:lnTo>
                      <a:pt x="36279" y="201804"/>
                    </a:lnTo>
                    <a:cubicBezTo>
                      <a:pt x="36279" y="201804"/>
                      <a:pt x="31063" y="205269"/>
                      <a:pt x="30222" y="205504"/>
                    </a:cubicBezTo>
                    <a:cubicBezTo>
                      <a:pt x="29347" y="205706"/>
                      <a:pt x="23255" y="211358"/>
                      <a:pt x="23255" y="211358"/>
                    </a:cubicBezTo>
                    <a:lnTo>
                      <a:pt x="19116" y="215697"/>
                    </a:lnTo>
                    <a:lnTo>
                      <a:pt x="17601" y="222425"/>
                    </a:lnTo>
                    <a:lnTo>
                      <a:pt x="15414" y="226126"/>
                    </a:lnTo>
                    <a:lnTo>
                      <a:pt x="7808" y="227639"/>
                    </a:lnTo>
                    <a:lnTo>
                      <a:pt x="3466" y="231979"/>
                    </a:lnTo>
                    <a:lnTo>
                      <a:pt x="3466" y="240254"/>
                    </a:lnTo>
                    <a:lnTo>
                      <a:pt x="0" y="242643"/>
                    </a:lnTo>
                    <a:lnTo>
                      <a:pt x="3466" y="254383"/>
                    </a:lnTo>
                    <a:lnTo>
                      <a:pt x="9322" y="260472"/>
                    </a:lnTo>
                    <a:lnTo>
                      <a:pt x="20731" y="267839"/>
                    </a:lnTo>
                    <a:lnTo>
                      <a:pt x="29279" y="276518"/>
                    </a:lnTo>
                    <a:lnTo>
                      <a:pt x="37996" y="287383"/>
                    </a:lnTo>
                    <a:lnTo>
                      <a:pt x="45838" y="297610"/>
                    </a:lnTo>
                    <a:lnTo>
                      <a:pt x="45198" y="308913"/>
                    </a:lnTo>
                    <a:lnTo>
                      <a:pt x="47823" y="319778"/>
                    </a:lnTo>
                    <a:lnTo>
                      <a:pt x="54116" y="325867"/>
                    </a:lnTo>
                    <a:lnTo>
                      <a:pt x="51087" y="337170"/>
                    </a:lnTo>
                    <a:lnTo>
                      <a:pt x="47823" y="344133"/>
                    </a:lnTo>
                    <a:cubicBezTo>
                      <a:pt x="47823" y="344133"/>
                      <a:pt x="53679" y="346522"/>
                      <a:pt x="54352" y="346320"/>
                    </a:cubicBezTo>
                    <a:cubicBezTo>
                      <a:pt x="54991" y="346085"/>
                      <a:pt x="62395" y="343494"/>
                      <a:pt x="62395" y="343494"/>
                    </a:cubicBezTo>
                    <a:lnTo>
                      <a:pt x="72828" y="339357"/>
                    </a:lnTo>
                    <a:lnTo>
                      <a:pt x="79997" y="338482"/>
                    </a:lnTo>
                    <a:lnTo>
                      <a:pt x="86963" y="346320"/>
                    </a:lnTo>
                    <a:lnTo>
                      <a:pt x="85886" y="355874"/>
                    </a:lnTo>
                    <a:lnTo>
                      <a:pt x="82184" y="363039"/>
                    </a:lnTo>
                    <a:lnTo>
                      <a:pt x="81107" y="372391"/>
                    </a:lnTo>
                    <a:lnTo>
                      <a:pt x="90026" y="385645"/>
                    </a:lnTo>
                    <a:lnTo>
                      <a:pt x="94603" y="395434"/>
                    </a:lnTo>
                    <a:lnTo>
                      <a:pt x="97665" y="404113"/>
                    </a:lnTo>
                    <a:lnTo>
                      <a:pt x="100694" y="413465"/>
                    </a:lnTo>
                    <a:lnTo>
                      <a:pt x="100896" y="423254"/>
                    </a:lnTo>
                    <a:lnTo>
                      <a:pt x="102209" y="429343"/>
                    </a:lnTo>
                    <a:cubicBezTo>
                      <a:pt x="102209" y="429343"/>
                      <a:pt x="108738" y="431933"/>
                      <a:pt x="109377" y="431933"/>
                    </a:cubicBezTo>
                    <a:cubicBezTo>
                      <a:pt x="110017" y="431933"/>
                      <a:pt x="115469" y="429343"/>
                      <a:pt x="116344" y="429343"/>
                    </a:cubicBezTo>
                    <a:cubicBezTo>
                      <a:pt x="117219" y="429343"/>
                      <a:pt x="117420" y="427829"/>
                      <a:pt x="120921" y="427392"/>
                    </a:cubicBezTo>
                    <a:cubicBezTo>
                      <a:pt x="124387" y="426954"/>
                      <a:pt x="130916" y="426954"/>
                      <a:pt x="130916" y="426954"/>
                    </a:cubicBezTo>
                    <a:lnTo>
                      <a:pt x="132868" y="431966"/>
                    </a:lnTo>
                    <a:cubicBezTo>
                      <a:pt x="132868" y="431966"/>
                      <a:pt x="132868" y="436541"/>
                      <a:pt x="133507" y="436743"/>
                    </a:cubicBezTo>
                    <a:cubicBezTo>
                      <a:pt x="134147" y="436945"/>
                      <a:pt x="139599" y="437382"/>
                      <a:pt x="140474" y="436743"/>
                    </a:cubicBezTo>
                    <a:cubicBezTo>
                      <a:pt x="141349" y="436104"/>
                      <a:pt x="144378" y="434153"/>
                      <a:pt x="145253" y="433716"/>
                    </a:cubicBezTo>
                    <a:cubicBezTo>
                      <a:pt x="146128" y="433278"/>
                      <a:pt x="151345" y="427627"/>
                      <a:pt x="151345" y="425878"/>
                    </a:cubicBezTo>
                    <a:cubicBezTo>
                      <a:pt x="151345" y="424128"/>
                      <a:pt x="151345" y="422850"/>
                      <a:pt x="151345" y="422850"/>
                    </a:cubicBezTo>
                    <a:lnTo>
                      <a:pt x="155922" y="419587"/>
                    </a:lnTo>
                    <a:cubicBezTo>
                      <a:pt x="155922" y="419587"/>
                      <a:pt x="159623" y="418511"/>
                      <a:pt x="160499" y="418511"/>
                    </a:cubicBezTo>
                    <a:cubicBezTo>
                      <a:pt x="161374" y="418511"/>
                      <a:pt x="164638" y="411985"/>
                      <a:pt x="164638" y="411985"/>
                    </a:cubicBezTo>
                    <a:lnTo>
                      <a:pt x="166489" y="406569"/>
                    </a:lnTo>
                    <a:lnTo>
                      <a:pt x="169148" y="403945"/>
                    </a:lnTo>
                    <a:lnTo>
                      <a:pt x="175273" y="402868"/>
                    </a:lnTo>
                    <a:lnTo>
                      <a:pt x="179412" y="409832"/>
                    </a:lnTo>
                    <a:lnTo>
                      <a:pt x="181364" y="418746"/>
                    </a:lnTo>
                    <a:lnTo>
                      <a:pt x="185706" y="426349"/>
                    </a:lnTo>
                    <a:lnTo>
                      <a:pt x="189172" y="433312"/>
                    </a:lnTo>
                    <a:lnTo>
                      <a:pt x="191764" y="438762"/>
                    </a:lnTo>
                    <a:lnTo>
                      <a:pt x="198091" y="440511"/>
                    </a:lnTo>
                    <a:cubicBezTo>
                      <a:pt x="198091" y="440511"/>
                      <a:pt x="204620" y="439636"/>
                      <a:pt x="205259" y="439435"/>
                    </a:cubicBezTo>
                    <a:cubicBezTo>
                      <a:pt x="205899" y="439233"/>
                      <a:pt x="211990" y="437685"/>
                      <a:pt x="211990" y="437685"/>
                    </a:cubicBezTo>
                    <a:lnTo>
                      <a:pt x="215692" y="432269"/>
                    </a:lnTo>
                    <a:lnTo>
                      <a:pt x="220908" y="425541"/>
                    </a:lnTo>
                    <a:cubicBezTo>
                      <a:pt x="220908" y="425541"/>
                      <a:pt x="226562" y="422514"/>
                      <a:pt x="227202" y="422278"/>
                    </a:cubicBezTo>
                    <a:cubicBezTo>
                      <a:pt x="227841" y="422076"/>
                      <a:pt x="238072" y="420764"/>
                      <a:pt x="238072" y="420764"/>
                    </a:cubicBezTo>
                    <a:lnTo>
                      <a:pt x="248068" y="422514"/>
                    </a:lnTo>
                    <a:cubicBezTo>
                      <a:pt x="248068" y="422514"/>
                      <a:pt x="250457" y="426214"/>
                      <a:pt x="251097" y="426853"/>
                    </a:cubicBezTo>
                    <a:cubicBezTo>
                      <a:pt x="251736" y="427492"/>
                      <a:pt x="251299" y="432269"/>
                      <a:pt x="251299" y="432269"/>
                    </a:cubicBezTo>
                    <a:lnTo>
                      <a:pt x="253890" y="438795"/>
                    </a:lnTo>
                    <a:lnTo>
                      <a:pt x="253890" y="443808"/>
                    </a:lnTo>
                    <a:lnTo>
                      <a:pt x="258904" y="447710"/>
                    </a:lnTo>
                    <a:lnTo>
                      <a:pt x="261092" y="449459"/>
                    </a:lnTo>
                    <a:lnTo>
                      <a:pt x="264895" y="447508"/>
                    </a:lnTo>
                    <a:lnTo>
                      <a:pt x="269573" y="445759"/>
                    </a:lnTo>
                    <a:lnTo>
                      <a:pt x="269573" y="440343"/>
                    </a:lnTo>
                    <a:lnTo>
                      <a:pt x="269371" y="432303"/>
                    </a:lnTo>
                    <a:lnTo>
                      <a:pt x="267621" y="426012"/>
                    </a:lnTo>
                    <a:lnTo>
                      <a:pt x="268496" y="421437"/>
                    </a:lnTo>
                    <a:lnTo>
                      <a:pt x="271222" y="423826"/>
                    </a:lnTo>
                    <a:lnTo>
                      <a:pt x="274319" y="425340"/>
                    </a:lnTo>
                    <a:lnTo>
                      <a:pt x="274453" y="423388"/>
                    </a:lnTo>
                    <a:lnTo>
                      <a:pt x="274789" y="421000"/>
                    </a:lnTo>
                    <a:lnTo>
                      <a:pt x="274789" y="419486"/>
                    </a:lnTo>
                    <a:lnTo>
                      <a:pt x="276539" y="416425"/>
                    </a:lnTo>
                    <a:lnTo>
                      <a:pt x="276539" y="414272"/>
                    </a:lnTo>
                    <a:lnTo>
                      <a:pt x="275664" y="407981"/>
                    </a:lnTo>
                    <a:lnTo>
                      <a:pt x="273713" y="403844"/>
                    </a:lnTo>
                    <a:lnTo>
                      <a:pt x="271525" y="400782"/>
                    </a:lnTo>
                    <a:lnTo>
                      <a:pt x="272703" y="397721"/>
                    </a:lnTo>
                    <a:lnTo>
                      <a:pt x="275160" y="396006"/>
                    </a:lnTo>
                    <a:lnTo>
                      <a:pt x="276506" y="392743"/>
                    </a:lnTo>
                    <a:lnTo>
                      <a:pt x="276506" y="389917"/>
                    </a:lnTo>
                    <a:lnTo>
                      <a:pt x="276506" y="382953"/>
                    </a:lnTo>
                    <a:lnTo>
                      <a:pt x="275631" y="380902"/>
                    </a:lnTo>
                    <a:lnTo>
                      <a:pt x="281049" y="380363"/>
                    </a:lnTo>
                    <a:lnTo>
                      <a:pt x="284314" y="380363"/>
                    </a:lnTo>
                    <a:lnTo>
                      <a:pt x="286939" y="377739"/>
                    </a:lnTo>
                    <a:lnTo>
                      <a:pt x="286939" y="374174"/>
                    </a:lnTo>
                    <a:lnTo>
                      <a:pt x="290203" y="369397"/>
                    </a:lnTo>
                    <a:lnTo>
                      <a:pt x="293468" y="363745"/>
                    </a:lnTo>
                    <a:lnTo>
                      <a:pt x="292155" y="358094"/>
                    </a:lnTo>
                    <a:lnTo>
                      <a:pt x="291179" y="355470"/>
                    </a:lnTo>
                    <a:lnTo>
                      <a:pt x="287545" y="354595"/>
                    </a:lnTo>
                    <a:lnTo>
                      <a:pt x="281285" y="352644"/>
                    </a:lnTo>
                    <a:lnTo>
                      <a:pt x="280006" y="350256"/>
                    </a:lnTo>
                    <a:lnTo>
                      <a:pt x="280006" y="348069"/>
                    </a:lnTo>
                    <a:lnTo>
                      <a:pt x="283270" y="346993"/>
                    </a:lnTo>
                    <a:lnTo>
                      <a:pt x="286535" y="346555"/>
                    </a:lnTo>
                    <a:lnTo>
                      <a:pt x="289564" y="348069"/>
                    </a:lnTo>
                    <a:lnTo>
                      <a:pt x="291852" y="348507"/>
                    </a:lnTo>
                    <a:cubicBezTo>
                      <a:pt x="291852" y="348507"/>
                      <a:pt x="295386" y="350996"/>
                      <a:pt x="296261" y="350996"/>
                    </a:cubicBezTo>
                    <a:cubicBezTo>
                      <a:pt x="297136" y="350996"/>
                      <a:pt x="301545" y="352409"/>
                      <a:pt x="301545" y="352409"/>
                    </a:cubicBezTo>
                    <a:lnTo>
                      <a:pt x="305247" y="352409"/>
                    </a:lnTo>
                    <a:lnTo>
                      <a:pt x="306122" y="346757"/>
                    </a:lnTo>
                    <a:lnTo>
                      <a:pt x="306122" y="342855"/>
                    </a:lnTo>
                    <a:lnTo>
                      <a:pt x="306122" y="335892"/>
                    </a:lnTo>
                    <a:lnTo>
                      <a:pt x="308511" y="332427"/>
                    </a:lnTo>
                    <a:lnTo>
                      <a:pt x="310901" y="330274"/>
                    </a:lnTo>
                    <a:lnTo>
                      <a:pt x="313728" y="329399"/>
                    </a:lnTo>
                    <a:lnTo>
                      <a:pt x="316218" y="325934"/>
                    </a:lnTo>
                    <a:lnTo>
                      <a:pt x="318877" y="324622"/>
                    </a:lnTo>
                    <a:lnTo>
                      <a:pt x="320863" y="320922"/>
                    </a:lnTo>
                    <a:lnTo>
                      <a:pt x="317834" y="317895"/>
                    </a:lnTo>
                    <a:lnTo>
                      <a:pt x="312954" y="315506"/>
                    </a:lnTo>
                    <a:lnTo>
                      <a:pt x="309588" y="315069"/>
                    </a:lnTo>
                    <a:lnTo>
                      <a:pt x="309588" y="313319"/>
                    </a:lnTo>
                    <a:lnTo>
                      <a:pt x="311776" y="310494"/>
                    </a:lnTo>
                    <a:lnTo>
                      <a:pt x="314165" y="309619"/>
                    </a:lnTo>
                    <a:lnTo>
                      <a:pt x="318305" y="307432"/>
                    </a:lnTo>
                    <a:lnTo>
                      <a:pt x="320795" y="306625"/>
                    </a:lnTo>
                    <a:lnTo>
                      <a:pt x="323319" y="307702"/>
                    </a:lnTo>
                    <a:lnTo>
                      <a:pt x="324800" y="309720"/>
                    </a:lnTo>
                    <a:lnTo>
                      <a:pt x="325238" y="313353"/>
                    </a:lnTo>
                    <a:lnTo>
                      <a:pt x="325238" y="316683"/>
                    </a:lnTo>
                    <a:lnTo>
                      <a:pt x="325238" y="320216"/>
                    </a:lnTo>
                    <a:lnTo>
                      <a:pt x="325238" y="323680"/>
                    </a:lnTo>
                    <a:lnTo>
                      <a:pt x="323218" y="326506"/>
                    </a:lnTo>
                    <a:lnTo>
                      <a:pt x="321637" y="328693"/>
                    </a:lnTo>
                    <a:lnTo>
                      <a:pt x="320829" y="331956"/>
                    </a:lnTo>
                    <a:lnTo>
                      <a:pt x="319920" y="336026"/>
                    </a:lnTo>
                    <a:lnTo>
                      <a:pt x="321132" y="338785"/>
                    </a:lnTo>
                    <a:lnTo>
                      <a:pt x="322478" y="341678"/>
                    </a:lnTo>
                    <a:lnTo>
                      <a:pt x="324968" y="341913"/>
                    </a:lnTo>
                    <a:lnTo>
                      <a:pt x="327358" y="342048"/>
                    </a:lnTo>
                    <a:lnTo>
                      <a:pt x="329545" y="340366"/>
                    </a:lnTo>
                    <a:cubicBezTo>
                      <a:pt x="329545" y="340366"/>
                      <a:pt x="331127" y="338482"/>
                      <a:pt x="331363" y="338415"/>
                    </a:cubicBezTo>
                    <a:cubicBezTo>
                      <a:pt x="331565" y="338347"/>
                      <a:pt x="333113" y="336531"/>
                      <a:pt x="333618" y="336329"/>
                    </a:cubicBezTo>
                    <a:cubicBezTo>
                      <a:pt x="334122" y="336127"/>
                      <a:pt x="336882" y="334748"/>
                      <a:pt x="336882" y="334748"/>
                    </a:cubicBezTo>
                    <a:lnTo>
                      <a:pt x="340517" y="332629"/>
                    </a:lnTo>
                    <a:lnTo>
                      <a:pt x="344421" y="332124"/>
                    </a:lnTo>
                    <a:lnTo>
                      <a:pt x="349637" y="333436"/>
                    </a:lnTo>
                    <a:lnTo>
                      <a:pt x="353979" y="330846"/>
                    </a:lnTo>
                    <a:lnTo>
                      <a:pt x="353407" y="325766"/>
                    </a:lnTo>
                    <a:lnTo>
                      <a:pt x="350512" y="321124"/>
                    </a:lnTo>
                    <a:lnTo>
                      <a:pt x="346945" y="318803"/>
                    </a:lnTo>
                    <a:lnTo>
                      <a:pt x="344421" y="315472"/>
                    </a:lnTo>
                    <a:lnTo>
                      <a:pt x="344421" y="309821"/>
                    </a:lnTo>
                    <a:lnTo>
                      <a:pt x="346003" y="309821"/>
                    </a:lnTo>
                    <a:lnTo>
                      <a:pt x="350782" y="308946"/>
                    </a:lnTo>
                    <a:lnTo>
                      <a:pt x="353979" y="308946"/>
                    </a:lnTo>
                    <a:lnTo>
                      <a:pt x="359498" y="309384"/>
                    </a:lnTo>
                    <a:lnTo>
                      <a:pt x="362258" y="314295"/>
                    </a:lnTo>
                    <a:lnTo>
                      <a:pt x="363133" y="319745"/>
                    </a:lnTo>
                    <a:lnTo>
                      <a:pt x="364445" y="321225"/>
                    </a:lnTo>
                    <a:lnTo>
                      <a:pt x="365320" y="319106"/>
                    </a:lnTo>
                    <a:lnTo>
                      <a:pt x="365320" y="313319"/>
                    </a:lnTo>
                    <a:cubicBezTo>
                      <a:pt x="365320" y="313319"/>
                      <a:pt x="368450" y="309855"/>
                      <a:pt x="368585" y="309417"/>
                    </a:cubicBezTo>
                    <a:cubicBezTo>
                      <a:pt x="368719" y="308980"/>
                      <a:pt x="370537" y="305078"/>
                      <a:pt x="370537" y="305078"/>
                    </a:cubicBezTo>
                    <a:lnTo>
                      <a:pt x="370537" y="301176"/>
                    </a:lnTo>
                    <a:lnTo>
                      <a:pt x="365758" y="298417"/>
                    </a:lnTo>
                    <a:cubicBezTo>
                      <a:pt x="365758" y="298417"/>
                      <a:pt x="363301" y="294784"/>
                      <a:pt x="362864" y="294347"/>
                    </a:cubicBezTo>
                    <a:cubicBezTo>
                      <a:pt x="362426" y="293909"/>
                      <a:pt x="360171" y="289570"/>
                      <a:pt x="360171" y="289570"/>
                    </a:cubicBezTo>
                    <a:lnTo>
                      <a:pt x="356806" y="280891"/>
                    </a:lnTo>
                    <a:lnTo>
                      <a:pt x="353238" y="275811"/>
                    </a:lnTo>
                    <a:lnTo>
                      <a:pt x="348762" y="270294"/>
                    </a:lnTo>
                    <a:lnTo>
                      <a:pt x="348055" y="266830"/>
                    </a:lnTo>
                    <a:lnTo>
                      <a:pt x="349806" y="263062"/>
                    </a:lnTo>
                    <a:lnTo>
                      <a:pt x="353710" y="261178"/>
                    </a:lnTo>
                    <a:lnTo>
                      <a:pt x="357479" y="259597"/>
                    </a:lnTo>
                    <a:lnTo>
                      <a:pt x="361955" y="258722"/>
                    </a:lnTo>
                    <a:lnTo>
                      <a:pt x="363705" y="255829"/>
                    </a:lnTo>
                    <a:lnTo>
                      <a:pt x="365455" y="253508"/>
                    </a:lnTo>
                    <a:lnTo>
                      <a:pt x="366768" y="252062"/>
                    </a:lnTo>
                    <a:lnTo>
                      <a:pt x="368787" y="249169"/>
                    </a:lnTo>
                    <a:lnTo>
                      <a:pt x="368046" y="245704"/>
                    </a:lnTo>
                    <a:lnTo>
                      <a:pt x="365152" y="243517"/>
                    </a:lnTo>
                    <a:lnTo>
                      <a:pt x="359363" y="242374"/>
                    </a:lnTo>
                    <a:cubicBezTo>
                      <a:pt x="359363" y="242374"/>
                      <a:pt x="356469" y="241936"/>
                      <a:pt x="356032" y="241499"/>
                    </a:cubicBezTo>
                    <a:cubicBezTo>
                      <a:pt x="355594" y="241062"/>
                      <a:pt x="351959" y="238740"/>
                      <a:pt x="351959" y="238740"/>
                    </a:cubicBezTo>
                    <a:lnTo>
                      <a:pt x="353407" y="237866"/>
                    </a:lnTo>
                    <a:lnTo>
                      <a:pt x="354551" y="238236"/>
                    </a:lnTo>
                    <a:lnTo>
                      <a:pt x="359330" y="239481"/>
                    </a:lnTo>
                    <a:lnTo>
                      <a:pt x="364412" y="239481"/>
                    </a:lnTo>
                    <a:lnTo>
                      <a:pt x="369628" y="239481"/>
                    </a:lnTo>
                    <a:lnTo>
                      <a:pt x="371210" y="236453"/>
                    </a:lnTo>
                    <a:lnTo>
                      <a:pt x="371345" y="232248"/>
                    </a:lnTo>
                    <a:lnTo>
                      <a:pt x="368450" y="228850"/>
                    </a:lnTo>
                    <a:lnTo>
                      <a:pt x="368753" y="226899"/>
                    </a:lnTo>
                    <a:lnTo>
                      <a:pt x="368753" y="222997"/>
                    </a:lnTo>
                    <a:lnTo>
                      <a:pt x="370503" y="220407"/>
                    </a:lnTo>
                    <a:lnTo>
                      <a:pt x="367407" y="220407"/>
                    </a:lnTo>
                    <a:lnTo>
                      <a:pt x="365152" y="222156"/>
                    </a:lnTo>
                    <a:lnTo>
                      <a:pt x="362695" y="222156"/>
                    </a:lnTo>
                    <a:lnTo>
                      <a:pt x="359498" y="220340"/>
                    </a:lnTo>
                    <a:lnTo>
                      <a:pt x="356166" y="220407"/>
                    </a:lnTo>
                    <a:lnTo>
                      <a:pt x="352262" y="220407"/>
                    </a:lnTo>
                    <a:lnTo>
                      <a:pt x="348628" y="219835"/>
                    </a:lnTo>
                    <a:lnTo>
                      <a:pt x="343411" y="219700"/>
                    </a:lnTo>
                    <a:lnTo>
                      <a:pt x="340652" y="218187"/>
                    </a:lnTo>
                    <a:lnTo>
                      <a:pt x="339642" y="213443"/>
                    </a:lnTo>
                    <a:lnTo>
                      <a:pt x="342839" y="208768"/>
                    </a:lnTo>
                    <a:lnTo>
                      <a:pt x="345296" y="206715"/>
                    </a:lnTo>
                    <a:lnTo>
                      <a:pt x="348190" y="203217"/>
                    </a:lnTo>
                    <a:lnTo>
                      <a:pt x="348459" y="197700"/>
                    </a:lnTo>
                    <a:lnTo>
                      <a:pt x="348594" y="196085"/>
                    </a:lnTo>
                    <a:lnTo>
                      <a:pt x="350344" y="196085"/>
                    </a:lnTo>
                    <a:lnTo>
                      <a:pt x="352229" y="196085"/>
                    </a:lnTo>
                    <a:lnTo>
                      <a:pt x="354854" y="195076"/>
                    </a:lnTo>
                    <a:lnTo>
                      <a:pt x="354854" y="198844"/>
                    </a:lnTo>
                    <a:lnTo>
                      <a:pt x="354854" y="202174"/>
                    </a:lnTo>
                    <a:lnTo>
                      <a:pt x="354854" y="205639"/>
                    </a:lnTo>
                    <a:lnTo>
                      <a:pt x="356873" y="206076"/>
                    </a:lnTo>
                    <a:lnTo>
                      <a:pt x="359767" y="206379"/>
                    </a:lnTo>
                    <a:lnTo>
                      <a:pt x="362594" y="206682"/>
                    </a:lnTo>
                    <a:lnTo>
                      <a:pt x="364715" y="206379"/>
                    </a:lnTo>
                    <a:lnTo>
                      <a:pt x="367239" y="205504"/>
                    </a:lnTo>
                    <a:lnTo>
                      <a:pt x="368988" y="203755"/>
                    </a:lnTo>
                    <a:lnTo>
                      <a:pt x="369864" y="201165"/>
                    </a:lnTo>
                    <a:lnTo>
                      <a:pt x="369729" y="197835"/>
                    </a:lnTo>
                    <a:lnTo>
                      <a:pt x="368719" y="195514"/>
                    </a:lnTo>
                    <a:lnTo>
                      <a:pt x="368719" y="191746"/>
                    </a:lnTo>
                    <a:lnTo>
                      <a:pt x="370873" y="189997"/>
                    </a:lnTo>
                    <a:lnTo>
                      <a:pt x="370806" y="187675"/>
                    </a:lnTo>
                    <a:lnTo>
                      <a:pt x="372287" y="187238"/>
                    </a:lnTo>
                    <a:lnTo>
                      <a:pt x="373095" y="187373"/>
                    </a:lnTo>
                    <a:lnTo>
                      <a:pt x="374508" y="188819"/>
                    </a:lnTo>
                    <a:cubicBezTo>
                      <a:pt x="374508" y="188819"/>
                      <a:pt x="375652" y="189694"/>
                      <a:pt x="376090" y="189963"/>
                    </a:cubicBezTo>
                    <a:cubicBezTo>
                      <a:pt x="376527" y="190266"/>
                      <a:pt x="374912" y="196489"/>
                      <a:pt x="374912" y="196489"/>
                    </a:cubicBezTo>
                    <a:lnTo>
                      <a:pt x="373902" y="198810"/>
                    </a:lnTo>
                    <a:lnTo>
                      <a:pt x="373902" y="202140"/>
                    </a:lnTo>
                    <a:lnTo>
                      <a:pt x="376224" y="206480"/>
                    </a:lnTo>
                    <a:lnTo>
                      <a:pt x="378984" y="208229"/>
                    </a:lnTo>
                    <a:lnTo>
                      <a:pt x="381744" y="208229"/>
                    </a:lnTo>
                    <a:lnTo>
                      <a:pt x="383124" y="206480"/>
                    </a:lnTo>
                    <a:lnTo>
                      <a:pt x="384369" y="206480"/>
                    </a:lnTo>
                    <a:lnTo>
                      <a:pt x="384369" y="209104"/>
                    </a:lnTo>
                    <a:lnTo>
                      <a:pt x="386994" y="212434"/>
                    </a:lnTo>
                    <a:lnTo>
                      <a:pt x="388441" y="211291"/>
                    </a:lnTo>
                    <a:lnTo>
                      <a:pt x="390629" y="209541"/>
                    </a:lnTo>
                    <a:lnTo>
                      <a:pt x="391335" y="206480"/>
                    </a:lnTo>
                    <a:lnTo>
                      <a:pt x="391335" y="203890"/>
                    </a:lnTo>
                    <a:lnTo>
                      <a:pt x="391032" y="200559"/>
                    </a:lnTo>
                    <a:lnTo>
                      <a:pt x="391167" y="194605"/>
                    </a:lnTo>
                    <a:lnTo>
                      <a:pt x="391235" y="190838"/>
                    </a:lnTo>
                    <a:lnTo>
                      <a:pt x="389619" y="186363"/>
                    </a:lnTo>
                    <a:lnTo>
                      <a:pt x="389383" y="183740"/>
                    </a:lnTo>
                    <a:lnTo>
                      <a:pt x="386792" y="181284"/>
                    </a:lnTo>
                    <a:lnTo>
                      <a:pt x="385951" y="178256"/>
                    </a:lnTo>
                    <a:lnTo>
                      <a:pt x="387835" y="176507"/>
                    </a:lnTo>
                    <a:lnTo>
                      <a:pt x="388710" y="173480"/>
                    </a:lnTo>
                    <a:lnTo>
                      <a:pt x="388576" y="169846"/>
                    </a:lnTo>
                    <a:lnTo>
                      <a:pt x="386691" y="167088"/>
                    </a:lnTo>
                    <a:cubicBezTo>
                      <a:pt x="386691" y="167088"/>
                      <a:pt x="384369" y="165944"/>
                      <a:pt x="384369" y="165507"/>
                    </a:cubicBezTo>
                    <a:cubicBezTo>
                      <a:pt x="384369" y="165070"/>
                      <a:pt x="384369" y="163926"/>
                      <a:pt x="384369" y="163926"/>
                    </a:cubicBezTo>
                    <a:lnTo>
                      <a:pt x="387128" y="160898"/>
                    </a:lnTo>
                    <a:lnTo>
                      <a:pt x="387869" y="159317"/>
                    </a:lnTo>
                    <a:lnTo>
                      <a:pt x="387802" y="156424"/>
                    </a:lnTo>
                    <a:lnTo>
                      <a:pt x="387330" y="155247"/>
                    </a:lnTo>
                    <a:lnTo>
                      <a:pt x="384773" y="155112"/>
                    </a:lnTo>
                    <a:lnTo>
                      <a:pt x="381037" y="154978"/>
                    </a:lnTo>
                    <a:lnTo>
                      <a:pt x="374676" y="155718"/>
                    </a:lnTo>
                    <a:cubicBezTo>
                      <a:pt x="374676" y="155718"/>
                      <a:pt x="372220" y="157467"/>
                      <a:pt x="371782" y="158039"/>
                    </a:cubicBezTo>
                    <a:cubicBezTo>
                      <a:pt x="371345" y="158611"/>
                      <a:pt x="369460" y="162816"/>
                      <a:pt x="369460" y="162816"/>
                    </a:cubicBezTo>
                    <a:cubicBezTo>
                      <a:pt x="369460" y="162816"/>
                      <a:pt x="368753" y="165709"/>
                      <a:pt x="368585" y="166281"/>
                    </a:cubicBezTo>
                    <a:cubicBezTo>
                      <a:pt x="368450" y="166853"/>
                      <a:pt x="368147" y="169308"/>
                      <a:pt x="368147" y="169308"/>
                    </a:cubicBezTo>
                    <a:lnTo>
                      <a:pt x="364378" y="169611"/>
                    </a:lnTo>
                    <a:lnTo>
                      <a:pt x="359599" y="169745"/>
                    </a:lnTo>
                    <a:lnTo>
                      <a:pt x="355830" y="170048"/>
                    </a:lnTo>
                    <a:lnTo>
                      <a:pt x="352801" y="171057"/>
                    </a:lnTo>
                    <a:lnTo>
                      <a:pt x="348459" y="173379"/>
                    </a:lnTo>
                    <a:lnTo>
                      <a:pt x="346305" y="174522"/>
                    </a:lnTo>
                    <a:lnTo>
                      <a:pt x="342671" y="175834"/>
                    </a:lnTo>
                    <a:lnTo>
                      <a:pt x="340483" y="177853"/>
                    </a:lnTo>
                    <a:lnTo>
                      <a:pt x="337589" y="178425"/>
                    </a:lnTo>
                    <a:cubicBezTo>
                      <a:pt x="337589" y="178425"/>
                      <a:pt x="337151" y="177987"/>
                      <a:pt x="337151" y="177415"/>
                    </a:cubicBezTo>
                    <a:cubicBezTo>
                      <a:pt x="337151" y="176844"/>
                      <a:pt x="336714" y="175397"/>
                      <a:pt x="336849" y="174825"/>
                    </a:cubicBezTo>
                    <a:cubicBezTo>
                      <a:pt x="336983" y="174253"/>
                      <a:pt x="337724" y="172067"/>
                      <a:pt x="337724" y="172067"/>
                    </a:cubicBezTo>
                    <a:cubicBezTo>
                      <a:pt x="337724" y="172067"/>
                      <a:pt x="338026" y="171192"/>
                      <a:pt x="339036" y="170486"/>
                    </a:cubicBezTo>
                    <a:cubicBezTo>
                      <a:pt x="340046" y="169745"/>
                      <a:pt x="340786" y="169914"/>
                      <a:pt x="341190" y="169611"/>
                    </a:cubicBezTo>
                    <a:cubicBezTo>
                      <a:pt x="341628" y="169308"/>
                      <a:pt x="343075" y="168602"/>
                      <a:pt x="343815" y="168165"/>
                    </a:cubicBezTo>
                    <a:cubicBezTo>
                      <a:pt x="344522" y="167727"/>
                      <a:pt x="345835" y="166853"/>
                      <a:pt x="346406" y="166853"/>
                    </a:cubicBezTo>
                    <a:cubicBezTo>
                      <a:pt x="346979" y="166853"/>
                      <a:pt x="351488" y="165978"/>
                      <a:pt x="351488" y="165978"/>
                    </a:cubicBezTo>
                    <a:cubicBezTo>
                      <a:pt x="351488" y="165978"/>
                      <a:pt x="354820" y="166113"/>
                      <a:pt x="355392" y="165843"/>
                    </a:cubicBezTo>
                    <a:cubicBezTo>
                      <a:pt x="355964" y="165541"/>
                      <a:pt x="357849" y="162513"/>
                      <a:pt x="357849" y="162513"/>
                    </a:cubicBezTo>
                    <a:lnTo>
                      <a:pt x="359296" y="160192"/>
                    </a:lnTo>
                    <a:lnTo>
                      <a:pt x="364075" y="157299"/>
                    </a:lnTo>
                    <a:lnTo>
                      <a:pt x="365522" y="155718"/>
                    </a:lnTo>
                    <a:lnTo>
                      <a:pt x="367272" y="153094"/>
                    </a:lnTo>
                    <a:lnTo>
                      <a:pt x="369292" y="150066"/>
                    </a:lnTo>
                    <a:lnTo>
                      <a:pt x="371614" y="146871"/>
                    </a:lnTo>
                    <a:lnTo>
                      <a:pt x="373364" y="143103"/>
                    </a:lnTo>
                    <a:lnTo>
                      <a:pt x="376998" y="140075"/>
                    </a:lnTo>
                    <a:lnTo>
                      <a:pt x="379758" y="137182"/>
                    </a:lnTo>
                    <a:lnTo>
                      <a:pt x="382955" y="134727"/>
                    </a:lnTo>
                    <a:lnTo>
                      <a:pt x="387903" y="133583"/>
                    </a:lnTo>
                    <a:lnTo>
                      <a:pt x="393119" y="133280"/>
                    </a:lnTo>
                    <a:lnTo>
                      <a:pt x="398470" y="132977"/>
                    </a:lnTo>
                    <a:lnTo>
                      <a:pt x="400355" y="132675"/>
                    </a:lnTo>
                    <a:lnTo>
                      <a:pt x="401297" y="131363"/>
                    </a:lnTo>
                    <a:lnTo>
                      <a:pt x="401802" y="130051"/>
                    </a:lnTo>
                    <a:lnTo>
                      <a:pt x="401802" y="127460"/>
                    </a:lnTo>
                    <a:lnTo>
                      <a:pt x="401196" y="126317"/>
                    </a:lnTo>
                    <a:close/>
                  </a:path>
                </a:pathLst>
              </a:custGeom>
              <a:solidFill>
                <a:schemeClr val="tx2">
                  <a:alpha val="50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7" name="Freeform 953">
                <a:extLst>
                  <a:ext uri="{FF2B5EF4-FFF2-40B4-BE49-F238E27FC236}">
                    <a16:creationId xmlns:a16="http://schemas.microsoft.com/office/drawing/2014/main" id="{0D56CBD4-CB6D-8DFF-CB76-B9FB8B4B0C5B}"/>
                  </a:ext>
                </a:extLst>
              </p:cNvPr>
              <p:cNvSpPr/>
              <p:nvPr/>
            </p:nvSpPr>
            <p:spPr>
              <a:xfrm>
                <a:off x="6346774" y="2731067"/>
                <a:ext cx="10166" cy="9856"/>
              </a:xfrm>
              <a:custGeom>
                <a:avLst/>
                <a:gdLst>
                  <a:gd name="connsiteX0" fmla="*/ 1346 w 10166"/>
                  <a:gd name="connsiteY0" fmla="*/ 7535 h 9856"/>
                  <a:gd name="connsiteX1" fmla="*/ 4173 w 10166"/>
                  <a:gd name="connsiteY1" fmla="*/ 9856 h 9856"/>
                  <a:gd name="connsiteX2" fmla="*/ 6192 w 10166"/>
                  <a:gd name="connsiteY2" fmla="*/ 9856 h 9856"/>
                  <a:gd name="connsiteX3" fmla="*/ 8649 w 10166"/>
                  <a:gd name="connsiteY3" fmla="*/ 8275 h 9856"/>
                  <a:gd name="connsiteX4" fmla="*/ 10164 w 10166"/>
                  <a:gd name="connsiteY4" fmla="*/ 7132 h 9856"/>
                  <a:gd name="connsiteX5" fmla="*/ 10164 w 10166"/>
                  <a:gd name="connsiteY5" fmla="*/ 5181 h 9856"/>
                  <a:gd name="connsiteX6" fmla="*/ 8919 w 10166"/>
                  <a:gd name="connsiteY6" fmla="*/ 2893 h 9856"/>
                  <a:gd name="connsiteX7" fmla="*/ 6159 w 10166"/>
                  <a:gd name="connsiteY7" fmla="*/ 605 h 9856"/>
                  <a:gd name="connsiteX8" fmla="*/ 3702 w 10166"/>
                  <a:gd name="connsiteY8" fmla="*/ 0 h 9856"/>
                  <a:gd name="connsiteX9" fmla="*/ 1986 w 10166"/>
                  <a:gd name="connsiteY9" fmla="*/ 1076 h 9856"/>
                  <a:gd name="connsiteX10" fmla="*/ 370 w 10166"/>
                  <a:gd name="connsiteY10" fmla="*/ 2960 h 9856"/>
                  <a:gd name="connsiteX11" fmla="*/ 0 w 10166"/>
                  <a:gd name="connsiteY11" fmla="*/ 5046 h 9856"/>
                  <a:gd name="connsiteX12" fmla="*/ 1346 w 10166"/>
                  <a:gd name="connsiteY12" fmla="*/ 7535 h 9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166" h="9856">
                    <a:moveTo>
                      <a:pt x="1346" y="7535"/>
                    </a:moveTo>
                    <a:lnTo>
                      <a:pt x="4173" y="9856"/>
                    </a:lnTo>
                    <a:lnTo>
                      <a:pt x="6192" y="9856"/>
                    </a:lnTo>
                    <a:lnTo>
                      <a:pt x="8649" y="8275"/>
                    </a:lnTo>
                    <a:lnTo>
                      <a:pt x="10164" y="7132"/>
                    </a:lnTo>
                    <a:cubicBezTo>
                      <a:pt x="10164" y="7132"/>
                      <a:pt x="10096" y="5483"/>
                      <a:pt x="10164" y="5181"/>
                    </a:cubicBezTo>
                    <a:cubicBezTo>
                      <a:pt x="10231" y="4878"/>
                      <a:pt x="8919" y="2893"/>
                      <a:pt x="8919" y="2893"/>
                    </a:cubicBezTo>
                    <a:lnTo>
                      <a:pt x="6159" y="605"/>
                    </a:lnTo>
                    <a:lnTo>
                      <a:pt x="3702" y="0"/>
                    </a:lnTo>
                    <a:lnTo>
                      <a:pt x="1986" y="1076"/>
                    </a:lnTo>
                    <a:lnTo>
                      <a:pt x="370" y="2960"/>
                    </a:lnTo>
                    <a:lnTo>
                      <a:pt x="0" y="5046"/>
                    </a:lnTo>
                    <a:lnTo>
                      <a:pt x="1346" y="7535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8" name="Freeform 954">
                <a:extLst>
                  <a:ext uri="{FF2B5EF4-FFF2-40B4-BE49-F238E27FC236}">
                    <a16:creationId xmlns:a16="http://schemas.microsoft.com/office/drawing/2014/main" id="{2B9D0C8A-44E9-2607-C40E-FCB0B2647779}"/>
                  </a:ext>
                </a:extLst>
              </p:cNvPr>
              <p:cNvSpPr/>
              <p:nvPr/>
            </p:nvSpPr>
            <p:spPr>
              <a:xfrm>
                <a:off x="6354346" y="2718372"/>
                <a:ext cx="41664" cy="22988"/>
              </a:xfrm>
              <a:custGeom>
                <a:avLst/>
                <a:gdLst>
                  <a:gd name="connsiteX0" fmla="*/ 5722 w 41664"/>
                  <a:gd name="connsiteY0" fmla="*/ 13536 h 22988"/>
                  <a:gd name="connsiteX1" fmla="*/ 8313 w 41664"/>
                  <a:gd name="connsiteY1" fmla="*/ 15353 h 22988"/>
                  <a:gd name="connsiteX2" fmla="*/ 11005 w 41664"/>
                  <a:gd name="connsiteY2" fmla="*/ 17808 h 22988"/>
                  <a:gd name="connsiteX3" fmla="*/ 14842 w 41664"/>
                  <a:gd name="connsiteY3" fmla="*/ 18818 h 22988"/>
                  <a:gd name="connsiteX4" fmla="*/ 18039 w 41664"/>
                  <a:gd name="connsiteY4" fmla="*/ 19322 h 22988"/>
                  <a:gd name="connsiteX5" fmla="*/ 21808 w 41664"/>
                  <a:gd name="connsiteY5" fmla="*/ 19322 h 22988"/>
                  <a:gd name="connsiteX6" fmla="*/ 26823 w 41664"/>
                  <a:gd name="connsiteY6" fmla="*/ 19322 h 22988"/>
                  <a:gd name="connsiteX7" fmla="*/ 28977 w 41664"/>
                  <a:gd name="connsiteY7" fmla="*/ 19961 h 22988"/>
                  <a:gd name="connsiteX8" fmla="*/ 30861 w 41664"/>
                  <a:gd name="connsiteY8" fmla="*/ 21475 h 22988"/>
                  <a:gd name="connsiteX9" fmla="*/ 33385 w 41664"/>
                  <a:gd name="connsiteY9" fmla="*/ 22283 h 22988"/>
                  <a:gd name="connsiteX10" fmla="*/ 35640 w 41664"/>
                  <a:gd name="connsiteY10" fmla="*/ 22989 h 22988"/>
                  <a:gd name="connsiteX11" fmla="*/ 41093 w 41664"/>
                  <a:gd name="connsiteY11" fmla="*/ 22686 h 22988"/>
                  <a:gd name="connsiteX12" fmla="*/ 41664 w 41664"/>
                  <a:gd name="connsiteY12" fmla="*/ 19558 h 22988"/>
                  <a:gd name="connsiteX13" fmla="*/ 41159 w 41664"/>
                  <a:gd name="connsiteY13" fmla="*/ 16631 h 22988"/>
                  <a:gd name="connsiteX14" fmla="*/ 39275 w 41664"/>
                  <a:gd name="connsiteY14" fmla="*/ 12897 h 22988"/>
                  <a:gd name="connsiteX15" fmla="*/ 39410 w 41664"/>
                  <a:gd name="connsiteY15" fmla="*/ 9264 h 22988"/>
                  <a:gd name="connsiteX16" fmla="*/ 37222 w 41664"/>
                  <a:gd name="connsiteY16" fmla="*/ 6640 h 22988"/>
                  <a:gd name="connsiteX17" fmla="*/ 33385 w 41664"/>
                  <a:gd name="connsiteY17" fmla="*/ 4824 h 22988"/>
                  <a:gd name="connsiteX18" fmla="*/ 30626 w 41664"/>
                  <a:gd name="connsiteY18" fmla="*/ 5126 h 22988"/>
                  <a:gd name="connsiteX19" fmla="*/ 27631 w 41664"/>
                  <a:gd name="connsiteY19" fmla="*/ 5765 h 22988"/>
                  <a:gd name="connsiteX20" fmla="*/ 22919 w 41664"/>
                  <a:gd name="connsiteY20" fmla="*/ 4016 h 22988"/>
                  <a:gd name="connsiteX21" fmla="*/ 18005 w 41664"/>
                  <a:gd name="connsiteY21" fmla="*/ 2267 h 22988"/>
                  <a:gd name="connsiteX22" fmla="*/ 14606 w 41664"/>
                  <a:gd name="connsiteY22" fmla="*/ 753 h 22988"/>
                  <a:gd name="connsiteX23" fmla="*/ 8582 w 41664"/>
                  <a:gd name="connsiteY23" fmla="*/ 13 h 22988"/>
                  <a:gd name="connsiteX24" fmla="*/ 6125 w 41664"/>
                  <a:gd name="connsiteY24" fmla="*/ 13 h 22988"/>
                  <a:gd name="connsiteX25" fmla="*/ 2087 w 41664"/>
                  <a:gd name="connsiteY25" fmla="*/ 820 h 22988"/>
                  <a:gd name="connsiteX26" fmla="*/ 0 w 41664"/>
                  <a:gd name="connsiteY26" fmla="*/ 3444 h 22988"/>
                  <a:gd name="connsiteX27" fmla="*/ 1245 w 41664"/>
                  <a:gd name="connsiteY27" fmla="*/ 6909 h 22988"/>
                  <a:gd name="connsiteX28" fmla="*/ 1986 w 41664"/>
                  <a:gd name="connsiteY28" fmla="*/ 9600 h 22988"/>
                  <a:gd name="connsiteX29" fmla="*/ 3668 w 41664"/>
                  <a:gd name="connsiteY29" fmla="*/ 12493 h 22988"/>
                  <a:gd name="connsiteX30" fmla="*/ 5722 w 41664"/>
                  <a:gd name="connsiteY30" fmla="*/ 13536 h 22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41664" h="22988">
                    <a:moveTo>
                      <a:pt x="5722" y="13536"/>
                    </a:moveTo>
                    <a:lnTo>
                      <a:pt x="8313" y="15353"/>
                    </a:lnTo>
                    <a:lnTo>
                      <a:pt x="11005" y="17808"/>
                    </a:lnTo>
                    <a:lnTo>
                      <a:pt x="14842" y="18818"/>
                    </a:lnTo>
                    <a:lnTo>
                      <a:pt x="18039" y="19322"/>
                    </a:lnTo>
                    <a:cubicBezTo>
                      <a:pt x="18039" y="19322"/>
                      <a:pt x="21573" y="19188"/>
                      <a:pt x="21808" y="19322"/>
                    </a:cubicBezTo>
                    <a:cubicBezTo>
                      <a:pt x="22044" y="19457"/>
                      <a:pt x="26823" y="19322"/>
                      <a:pt x="26823" y="19322"/>
                    </a:cubicBezTo>
                    <a:lnTo>
                      <a:pt x="28977" y="19961"/>
                    </a:lnTo>
                    <a:lnTo>
                      <a:pt x="30861" y="21475"/>
                    </a:lnTo>
                    <a:lnTo>
                      <a:pt x="33385" y="22283"/>
                    </a:lnTo>
                    <a:lnTo>
                      <a:pt x="35640" y="22989"/>
                    </a:lnTo>
                    <a:lnTo>
                      <a:pt x="41093" y="22686"/>
                    </a:lnTo>
                    <a:cubicBezTo>
                      <a:pt x="41093" y="22686"/>
                      <a:pt x="41664" y="19860"/>
                      <a:pt x="41664" y="19558"/>
                    </a:cubicBezTo>
                    <a:cubicBezTo>
                      <a:pt x="41664" y="19255"/>
                      <a:pt x="41294" y="18044"/>
                      <a:pt x="41159" y="16631"/>
                    </a:cubicBezTo>
                    <a:cubicBezTo>
                      <a:pt x="41025" y="15218"/>
                      <a:pt x="39342" y="13200"/>
                      <a:pt x="39275" y="12897"/>
                    </a:cubicBezTo>
                    <a:cubicBezTo>
                      <a:pt x="39208" y="12594"/>
                      <a:pt x="39410" y="9264"/>
                      <a:pt x="39410" y="9264"/>
                    </a:cubicBezTo>
                    <a:lnTo>
                      <a:pt x="37222" y="6640"/>
                    </a:lnTo>
                    <a:lnTo>
                      <a:pt x="33385" y="4824"/>
                    </a:lnTo>
                    <a:cubicBezTo>
                      <a:pt x="33385" y="4824"/>
                      <a:pt x="31299" y="5059"/>
                      <a:pt x="30626" y="5126"/>
                    </a:cubicBezTo>
                    <a:cubicBezTo>
                      <a:pt x="29986" y="5194"/>
                      <a:pt x="27631" y="5765"/>
                      <a:pt x="27631" y="5765"/>
                    </a:cubicBezTo>
                    <a:lnTo>
                      <a:pt x="22919" y="4016"/>
                    </a:lnTo>
                    <a:lnTo>
                      <a:pt x="18005" y="2267"/>
                    </a:lnTo>
                    <a:cubicBezTo>
                      <a:pt x="18005" y="2267"/>
                      <a:pt x="14875" y="753"/>
                      <a:pt x="14606" y="753"/>
                    </a:cubicBezTo>
                    <a:cubicBezTo>
                      <a:pt x="14337" y="753"/>
                      <a:pt x="8582" y="13"/>
                      <a:pt x="8582" y="13"/>
                    </a:cubicBezTo>
                    <a:cubicBezTo>
                      <a:pt x="8582" y="13"/>
                      <a:pt x="6394" y="148"/>
                      <a:pt x="6125" y="13"/>
                    </a:cubicBezTo>
                    <a:cubicBezTo>
                      <a:pt x="5856" y="-122"/>
                      <a:pt x="2087" y="820"/>
                      <a:pt x="2087" y="820"/>
                    </a:cubicBezTo>
                    <a:lnTo>
                      <a:pt x="0" y="3444"/>
                    </a:lnTo>
                    <a:lnTo>
                      <a:pt x="1245" y="6909"/>
                    </a:lnTo>
                    <a:cubicBezTo>
                      <a:pt x="1245" y="6909"/>
                      <a:pt x="1683" y="9365"/>
                      <a:pt x="1986" y="9600"/>
                    </a:cubicBezTo>
                    <a:cubicBezTo>
                      <a:pt x="2289" y="9802"/>
                      <a:pt x="3668" y="12493"/>
                      <a:pt x="3668" y="12493"/>
                    </a:cubicBezTo>
                    <a:lnTo>
                      <a:pt x="5722" y="13536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9" name="Freeform 955">
                <a:extLst>
                  <a:ext uri="{FF2B5EF4-FFF2-40B4-BE49-F238E27FC236}">
                    <a16:creationId xmlns:a16="http://schemas.microsoft.com/office/drawing/2014/main" id="{C8237585-8CDB-21ED-CCCC-8DDBC2DAE7E1}"/>
                  </a:ext>
                </a:extLst>
              </p:cNvPr>
              <p:cNvSpPr/>
              <p:nvPr/>
            </p:nvSpPr>
            <p:spPr>
              <a:xfrm>
                <a:off x="6373630" y="2712733"/>
                <a:ext cx="7605" cy="5786"/>
              </a:xfrm>
              <a:custGeom>
                <a:avLst/>
                <a:gdLst>
                  <a:gd name="connsiteX0" fmla="*/ 1885 w 7605"/>
                  <a:gd name="connsiteY0" fmla="*/ 5786 h 5786"/>
                  <a:gd name="connsiteX1" fmla="*/ 4779 w 7605"/>
                  <a:gd name="connsiteY1" fmla="*/ 5147 h 5786"/>
                  <a:gd name="connsiteX2" fmla="*/ 6293 w 7605"/>
                  <a:gd name="connsiteY2" fmla="*/ 4642 h 5786"/>
                  <a:gd name="connsiteX3" fmla="*/ 7606 w 7605"/>
                  <a:gd name="connsiteY3" fmla="*/ 2456 h 5786"/>
                  <a:gd name="connsiteX4" fmla="*/ 5149 w 7605"/>
                  <a:gd name="connsiteY4" fmla="*/ 0 h 5786"/>
                  <a:gd name="connsiteX5" fmla="*/ 1548 w 7605"/>
                  <a:gd name="connsiteY5" fmla="*/ 572 h 5786"/>
                  <a:gd name="connsiteX6" fmla="*/ 0 w 7605"/>
                  <a:gd name="connsiteY6" fmla="*/ 2388 h 5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605" h="5786">
                    <a:moveTo>
                      <a:pt x="1885" y="5786"/>
                    </a:moveTo>
                    <a:lnTo>
                      <a:pt x="4779" y="5147"/>
                    </a:lnTo>
                    <a:lnTo>
                      <a:pt x="6293" y="4642"/>
                    </a:lnTo>
                    <a:lnTo>
                      <a:pt x="7606" y="2456"/>
                    </a:lnTo>
                    <a:lnTo>
                      <a:pt x="5149" y="0"/>
                    </a:lnTo>
                    <a:lnTo>
                      <a:pt x="1548" y="572"/>
                    </a:lnTo>
                    <a:lnTo>
                      <a:pt x="0" y="238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0" name="Freeform 956">
                <a:extLst>
                  <a:ext uri="{FF2B5EF4-FFF2-40B4-BE49-F238E27FC236}">
                    <a16:creationId xmlns:a16="http://schemas.microsoft.com/office/drawing/2014/main" id="{14EFDBB0-330E-C018-5A8A-3EF263C04DD4}"/>
                  </a:ext>
                </a:extLst>
              </p:cNvPr>
              <p:cNvSpPr/>
              <p:nvPr/>
            </p:nvSpPr>
            <p:spPr>
              <a:xfrm>
                <a:off x="6387630" y="2700993"/>
                <a:ext cx="7605" cy="6727"/>
              </a:xfrm>
              <a:custGeom>
                <a:avLst/>
                <a:gdLst>
                  <a:gd name="connsiteX0" fmla="*/ 3332 w 7605"/>
                  <a:gd name="connsiteY0" fmla="*/ 6728 h 6727"/>
                  <a:gd name="connsiteX1" fmla="*/ 5923 w 7605"/>
                  <a:gd name="connsiteY1" fmla="*/ 5651 h 6727"/>
                  <a:gd name="connsiteX2" fmla="*/ 7606 w 7605"/>
                  <a:gd name="connsiteY2" fmla="*/ 2893 h 6727"/>
                  <a:gd name="connsiteX3" fmla="*/ 5452 w 7605"/>
                  <a:gd name="connsiteY3" fmla="*/ 0 h 6727"/>
                  <a:gd name="connsiteX4" fmla="*/ 2726 w 7605"/>
                  <a:gd name="connsiteY4" fmla="*/ 1009 h 6727"/>
                  <a:gd name="connsiteX5" fmla="*/ 0 w 7605"/>
                  <a:gd name="connsiteY5" fmla="*/ 5012 h 6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605" h="6727">
                    <a:moveTo>
                      <a:pt x="3332" y="6728"/>
                    </a:moveTo>
                    <a:lnTo>
                      <a:pt x="5923" y="5651"/>
                    </a:lnTo>
                    <a:lnTo>
                      <a:pt x="7606" y="2893"/>
                    </a:lnTo>
                    <a:lnTo>
                      <a:pt x="5452" y="0"/>
                    </a:lnTo>
                    <a:lnTo>
                      <a:pt x="2726" y="1009"/>
                    </a:lnTo>
                    <a:lnTo>
                      <a:pt x="0" y="501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1" name="Freeform 957">
                <a:extLst>
                  <a:ext uri="{FF2B5EF4-FFF2-40B4-BE49-F238E27FC236}">
                    <a16:creationId xmlns:a16="http://schemas.microsoft.com/office/drawing/2014/main" id="{3DD62AE0-D1DA-1D1E-A831-516A40246821}"/>
                  </a:ext>
                </a:extLst>
              </p:cNvPr>
              <p:cNvSpPr/>
              <p:nvPr/>
            </p:nvSpPr>
            <p:spPr>
              <a:xfrm>
                <a:off x="6350375" y="2694332"/>
                <a:ext cx="32813" cy="15479"/>
              </a:xfrm>
              <a:custGeom>
                <a:avLst/>
                <a:gdLst>
                  <a:gd name="connsiteX0" fmla="*/ 32510 w 32813"/>
                  <a:gd name="connsiteY0" fmla="*/ 13759 h 15479"/>
                  <a:gd name="connsiteX1" fmla="*/ 29649 w 32813"/>
                  <a:gd name="connsiteY1" fmla="*/ 10327 h 15479"/>
                  <a:gd name="connsiteX2" fmla="*/ 27799 w 32813"/>
                  <a:gd name="connsiteY2" fmla="*/ 7266 h 15479"/>
                  <a:gd name="connsiteX3" fmla="*/ 27799 w 32813"/>
                  <a:gd name="connsiteY3" fmla="*/ 2254 h 15479"/>
                  <a:gd name="connsiteX4" fmla="*/ 27731 w 32813"/>
                  <a:gd name="connsiteY4" fmla="*/ 1446 h 15479"/>
                  <a:gd name="connsiteX5" fmla="*/ 26620 w 32813"/>
                  <a:gd name="connsiteY5" fmla="*/ 0 h 15479"/>
                  <a:gd name="connsiteX6" fmla="*/ 22380 w 32813"/>
                  <a:gd name="connsiteY6" fmla="*/ 1446 h 15479"/>
                  <a:gd name="connsiteX7" fmla="*/ 21101 w 32813"/>
                  <a:gd name="connsiteY7" fmla="*/ 2590 h 15479"/>
                  <a:gd name="connsiteX8" fmla="*/ 18342 w 32813"/>
                  <a:gd name="connsiteY8" fmla="*/ 2153 h 15479"/>
                  <a:gd name="connsiteX9" fmla="*/ 16693 w 32813"/>
                  <a:gd name="connsiteY9" fmla="*/ 1480 h 15479"/>
                  <a:gd name="connsiteX10" fmla="*/ 13394 w 32813"/>
                  <a:gd name="connsiteY10" fmla="*/ 1379 h 15479"/>
                  <a:gd name="connsiteX11" fmla="*/ 9558 w 32813"/>
                  <a:gd name="connsiteY11" fmla="*/ 1379 h 15479"/>
                  <a:gd name="connsiteX12" fmla="*/ 7606 w 32813"/>
                  <a:gd name="connsiteY12" fmla="*/ 3196 h 15479"/>
                  <a:gd name="connsiteX13" fmla="*/ 4375 w 32813"/>
                  <a:gd name="connsiteY13" fmla="*/ 4777 h 15479"/>
                  <a:gd name="connsiteX14" fmla="*/ 0 w 32813"/>
                  <a:gd name="connsiteY14" fmla="*/ 8679 h 15479"/>
                  <a:gd name="connsiteX15" fmla="*/ 0 w 32813"/>
                  <a:gd name="connsiteY15" fmla="*/ 12649 h 15479"/>
                  <a:gd name="connsiteX16" fmla="*/ 3130 w 32813"/>
                  <a:gd name="connsiteY16" fmla="*/ 12783 h 15479"/>
                  <a:gd name="connsiteX17" fmla="*/ 6765 w 32813"/>
                  <a:gd name="connsiteY17" fmla="*/ 12480 h 15479"/>
                  <a:gd name="connsiteX18" fmla="*/ 9962 w 32813"/>
                  <a:gd name="connsiteY18" fmla="*/ 11471 h 15479"/>
                  <a:gd name="connsiteX19" fmla="*/ 15952 w 32813"/>
                  <a:gd name="connsiteY19" fmla="*/ 10597 h 15479"/>
                  <a:gd name="connsiteX20" fmla="*/ 18241 w 32813"/>
                  <a:gd name="connsiteY20" fmla="*/ 10832 h 15479"/>
                  <a:gd name="connsiteX21" fmla="*/ 22178 w 32813"/>
                  <a:gd name="connsiteY21" fmla="*/ 13725 h 15479"/>
                  <a:gd name="connsiteX22" fmla="*/ 26015 w 32813"/>
                  <a:gd name="connsiteY22" fmla="*/ 14667 h 15479"/>
                  <a:gd name="connsiteX23" fmla="*/ 28270 w 32813"/>
                  <a:gd name="connsiteY23" fmla="*/ 14970 h 15479"/>
                  <a:gd name="connsiteX24" fmla="*/ 31299 w 32813"/>
                  <a:gd name="connsiteY24" fmla="*/ 15474 h 15479"/>
                  <a:gd name="connsiteX25" fmla="*/ 32813 w 32813"/>
                  <a:gd name="connsiteY25" fmla="*/ 14398 h 15479"/>
                  <a:gd name="connsiteX26" fmla="*/ 32510 w 32813"/>
                  <a:gd name="connsiteY26" fmla="*/ 13759 h 15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32813" h="15479">
                    <a:moveTo>
                      <a:pt x="32510" y="13759"/>
                    </a:moveTo>
                    <a:cubicBezTo>
                      <a:pt x="32443" y="13523"/>
                      <a:pt x="29649" y="10327"/>
                      <a:pt x="29649" y="10327"/>
                    </a:cubicBezTo>
                    <a:lnTo>
                      <a:pt x="27799" y="7266"/>
                    </a:lnTo>
                    <a:lnTo>
                      <a:pt x="27799" y="2254"/>
                    </a:lnTo>
                    <a:lnTo>
                      <a:pt x="27731" y="1446"/>
                    </a:lnTo>
                    <a:lnTo>
                      <a:pt x="26620" y="0"/>
                    </a:lnTo>
                    <a:lnTo>
                      <a:pt x="22380" y="1446"/>
                    </a:lnTo>
                    <a:lnTo>
                      <a:pt x="21101" y="2590"/>
                    </a:lnTo>
                    <a:lnTo>
                      <a:pt x="18342" y="2153"/>
                    </a:lnTo>
                    <a:lnTo>
                      <a:pt x="16693" y="1480"/>
                    </a:lnTo>
                    <a:lnTo>
                      <a:pt x="13394" y="1379"/>
                    </a:lnTo>
                    <a:lnTo>
                      <a:pt x="9558" y="1379"/>
                    </a:lnTo>
                    <a:cubicBezTo>
                      <a:pt x="9558" y="1379"/>
                      <a:pt x="7673" y="2893"/>
                      <a:pt x="7606" y="3196"/>
                    </a:cubicBezTo>
                    <a:cubicBezTo>
                      <a:pt x="7539" y="3498"/>
                      <a:pt x="4678" y="4440"/>
                      <a:pt x="4375" y="4777"/>
                    </a:cubicBezTo>
                    <a:cubicBezTo>
                      <a:pt x="4106" y="5147"/>
                      <a:pt x="0" y="8679"/>
                      <a:pt x="0" y="8679"/>
                    </a:cubicBezTo>
                    <a:lnTo>
                      <a:pt x="0" y="12649"/>
                    </a:lnTo>
                    <a:lnTo>
                      <a:pt x="3130" y="12783"/>
                    </a:lnTo>
                    <a:lnTo>
                      <a:pt x="6765" y="12480"/>
                    </a:lnTo>
                    <a:lnTo>
                      <a:pt x="9962" y="11471"/>
                    </a:lnTo>
                    <a:lnTo>
                      <a:pt x="15952" y="10597"/>
                    </a:lnTo>
                    <a:lnTo>
                      <a:pt x="18241" y="10832"/>
                    </a:lnTo>
                    <a:lnTo>
                      <a:pt x="22178" y="13725"/>
                    </a:lnTo>
                    <a:cubicBezTo>
                      <a:pt x="22178" y="13725"/>
                      <a:pt x="25745" y="14667"/>
                      <a:pt x="26015" y="14667"/>
                    </a:cubicBezTo>
                    <a:cubicBezTo>
                      <a:pt x="26318" y="14667"/>
                      <a:pt x="28270" y="14970"/>
                      <a:pt x="28270" y="14970"/>
                    </a:cubicBezTo>
                    <a:cubicBezTo>
                      <a:pt x="28270" y="14970"/>
                      <a:pt x="31097" y="15541"/>
                      <a:pt x="31299" y="15474"/>
                    </a:cubicBezTo>
                    <a:cubicBezTo>
                      <a:pt x="31534" y="15407"/>
                      <a:pt x="32813" y="14398"/>
                      <a:pt x="32813" y="14398"/>
                    </a:cubicBezTo>
                    <a:lnTo>
                      <a:pt x="32510" y="13759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2" name="Freeform 958">
                <a:extLst>
                  <a:ext uri="{FF2B5EF4-FFF2-40B4-BE49-F238E27FC236}">
                    <a16:creationId xmlns:a16="http://schemas.microsoft.com/office/drawing/2014/main" id="{14CA041B-F19B-61EF-BC76-D8C211E40A50}"/>
                  </a:ext>
                </a:extLst>
              </p:cNvPr>
              <p:cNvSpPr/>
              <p:nvPr/>
            </p:nvSpPr>
            <p:spPr>
              <a:xfrm>
                <a:off x="6397323" y="2737492"/>
                <a:ext cx="5721" cy="12379"/>
              </a:xfrm>
              <a:custGeom>
                <a:avLst/>
                <a:gdLst>
                  <a:gd name="connsiteX0" fmla="*/ 0 w 5721"/>
                  <a:gd name="connsiteY0" fmla="*/ 9486 h 12379"/>
                  <a:gd name="connsiteX1" fmla="*/ 0 w 5721"/>
                  <a:gd name="connsiteY1" fmla="*/ 6021 h 12379"/>
                  <a:gd name="connsiteX2" fmla="*/ 0 w 5721"/>
                  <a:gd name="connsiteY2" fmla="*/ 2557 h 12379"/>
                  <a:gd name="connsiteX3" fmla="*/ 1750 w 5721"/>
                  <a:gd name="connsiteY3" fmla="*/ 1177 h 12379"/>
                  <a:gd name="connsiteX4" fmla="*/ 3904 w 5721"/>
                  <a:gd name="connsiteY4" fmla="*/ 0 h 12379"/>
                  <a:gd name="connsiteX5" fmla="*/ 4409 w 5721"/>
                  <a:gd name="connsiteY5" fmla="*/ 1682 h 12379"/>
                  <a:gd name="connsiteX6" fmla="*/ 5217 w 5721"/>
                  <a:gd name="connsiteY6" fmla="*/ 3902 h 12379"/>
                  <a:gd name="connsiteX7" fmla="*/ 5217 w 5721"/>
                  <a:gd name="connsiteY7" fmla="*/ 6021 h 12379"/>
                  <a:gd name="connsiteX8" fmla="*/ 5217 w 5721"/>
                  <a:gd name="connsiteY8" fmla="*/ 9486 h 12379"/>
                  <a:gd name="connsiteX9" fmla="*/ 5721 w 5721"/>
                  <a:gd name="connsiteY9" fmla="*/ 12043 h 12379"/>
                  <a:gd name="connsiteX10" fmla="*/ 3029 w 5721"/>
                  <a:gd name="connsiteY10" fmla="*/ 12379 h 12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721" h="12379">
                    <a:moveTo>
                      <a:pt x="0" y="9486"/>
                    </a:moveTo>
                    <a:lnTo>
                      <a:pt x="0" y="6021"/>
                    </a:lnTo>
                    <a:lnTo>
                      <a:pt x="0" y="2557"/>
                    </a:lnTo>
                    <a:lnTo>
                      <a:pt x="1750" y="1177"/>
                    </a:lnTo>
                    <a:lnTo>
                      <a:pt x="3904" y="0"/>
                    </a:lnTo>
                    <a:lnTo>
                      <a:pt x="4409" y="1682"/>
                    </a:lnTo>
                    <a:lnTo>
                      <a:pt x="5217" y="3902"/>
                    </a:lnTo>
                    <a:lnTo>
                      <a:pt x="5217" y="6021"/>
                    </a:lnTo>
                    <a:lnTo>
                      <a:pt x="5217" y="9486"/>
                    </a:lnTo>
                    <a:lnTo>
                      <a:pt x="5721" y="12043"/>
                    </a:lnTo>
                    <a:lnTo>
                      <a:pt x="3029" y="12379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3" name="Freeform 959">
                <a:extLst>
                  <a:ext uri="{FF2B5EF4-FFF2-40B4-BE49-F238E27FC236}">
                    <a16:creationId xmlns:a16="http://schemas.microsoft.com/office/drawing/2014/main" id="{A0543E4F-E434-450D-8DAA-8D52CDADCD22}"/>
                  </a:ext>
                </a:extLst>
              </p:cNvPr>
              <p:cNvSpPr/>
              <p:nvPr/>
            </p:nvSpPr>
            <p:spPr>
              <a:xfrm>
                <a:off x="6390357" y="2746676"/>
                <a:ext cx="4408" cy="3811"/>
              </a:xfrm>
              <a:custGeom>
                <a:avLst/>
                <a:gdLst>
                  <a:gd name="connsiteX0" fmla="*/ 0 w 4408"/>
                  <a:gd name="connsiteY0" fmla="*/ 2691 h 3811"/>
                  <a:gd name="connsiteX1" fmla="*/ 2995 w 4408"/>
                  <a:gd name="connsiteY1" fmla="*/ 3768 h 3811"/>
                  <a:gd name="connsiteX2" fmla="*/ 4409 w 4408"/>
                  <a:gd name="connsiteY2" fmla="*/ 2691 h 3811"/>
                  <a:gd name="connsiteX3" fmla="*/ 3365 w 4408"/>
                  <a:gd name="connsiteY3" fmla="*/ 0 h 3811"/>
                  <a:gd name="connsiteX4" fmla="*/ 0 w 4408"/>
                  <a:gd name="connsiteY4" fmla="*/ 1144 h 3811"/>
                  <a:gd name="connsiteX5" fmla="*/ 0 w 4408"/>
                  <a:gd name="connsiteY5" fmla="*/ 2691 h 3811"/>
                  <a:gd name="connsiteX6" fmla="*/ 0 w 4408"/>
                  <a:gd name="connsiteY6" fmla="*/ 2691 h 3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3811">
                    <a:moveTo>
                      <a:pt x="0" y="2691"/>
                    </a:moveTo>
                    <a:cubicBezTo>
                      <a:pt x="0" y="2691"/>
                      <a:pt x="2995" y="4070"/>
                      <a:pt x="2995" y="3768"/>
                    </a:cubicBezTo>
                    <a:cubicBezTo>
                      <a:pt x="2995" y="3465"/>
                      <a:pt x="4409" y="2691"/>
                      <a:pt x="4409" y="2691"/>
                    </a:cubicBezTo>
                    <a:lnTo>
                      <a:pt x="3365" y="0"/>
                    </a:lnTo>
                    <a:lnTo>
                      <a:pt x="0" y="1144"/>
                    </a:lnTo>
                    <a:lnTo>
                      <a:pt x="0" y="2691"/>
                    </a:lnTo>
                    <a:lnTo>
                      <a:pt x="0" y="269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4" name="Freeform 960">
                <a:extLst>
                  <a:ext uri="{FF2B5EF4-FFF2-40B4-BE49-F238E27FC236}">
                    <a16:creationId xmlns:a16="http://schemas.microsoft.com/office/drawing/2014/main" id="{F1B0F768-5F26-FBC6-9A53-7E2AB9A471B4}"/>
                  </a:ext>
                </a:extLst>
              </p:cNvPr>
              <p:cNvSpPr/>
              <p:nvPr/>
            </p:nvSpPr>
            <p:spPr>
              <a:xfrm>
                <a:off x="6386890" y="2754211"/>
                <a:ext cx="9973" cy="11673"/>
              </a:xfrm>
              <a:custGeom>
                <a:avLst/>
                <a:gdLst>
                  <a:gd name="connsiteX0" fmla="*/ 2726 w 9973"/>
                  <a:gd name="connsiteY0" fmla="*/ 841 h 11673"/>
                  <a:gd name="connsiteX1" fmla="*/ 1413 w 9973"/>
                  <a:gd name="connsiteY1" fmla="*/ 4070 h 11673"/>
                  <a:gd name="connsiteX2" fmla="*/ 0 w 9973"/>
                  <a:gd name="connsiteY2" fmla="*/ 6089 h 11673"/>
                  <a:gd name="connsiteX3" fmla="*/ 0 w 9973"/>
                  <a:gd name="connsiteY3" fmla="*/ 8410 h 11673"/>
                  <a:gd name="connsiteX4" fmla="*/ 1851 w 9973"/>
                  <a:gd name="connsiteY4" fmla="*/ 11034 h 11673"/>
                  <a:gd name="connsiteX5" fmla="*/ 4342 w 9973"/>
                  <a:gd name="connsiteY5" fmla="*/ 11673 h 11673"/>
                  <a:gd name="connsiteX6" fmla="*/ 5923 w 9973"/>
                  <a:gd name="connsiteY6" fmla="*/ 10933 h 11673"/>
                  <a:gd name="connsiteX7" fmla="*/ 7707 w 9973"/>
                  <a:gd name="connsiteY7" fmla="*/ 10193 h 11673"/>
                  <a:gd name="connsiteX8" fmla="*/ 9053 w 9973"/>
                  <a:gd name="connsiteY8" fmla="*/ 8107 h 11673"/>
                  <a:gd name="connsiteX9" fmla="*/ 9962 w 9973"/>
                  <a:gd name="connsiteY9" fmla="*/ 5786 h 11673"/>
                  <a:gd name="connsiteX10" fmla="*/ 7740 w 9973"/>
                  <a:gd name="connsiteY10" fmla="*/ 2456 h 11673"/>
                  <a:gd name="connsiteX11" fmla="*/ 5587 w 9973"/>
                  <a:gd name="connsiteY11" fmla="*/ 437 h 11673"/>
                  <a:gd name="connsiteX12" fmla="*/ 3702 w 9973"/>
                  <a:gd name="connsiteY12" fmla="*/ 0 h 11673"/>
                  <a:gd name="connsiteX13" fmla="*/ 2726 w 9973"/>
                  <a:gd name="connsiteY13" fmla="*/ 841 h 11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973" h="11673">
                    <a:moveTo>
                      <a:pt x="2726" y="841"/>
                    </a:moveTo>
                    <a:lnTo>
                      <a:pt x="1413" y="4070"/>
                    </a:lnTo>
                    <a:lnTo>
                      <a:pt x="0" y="6089"/>
                    </a:lnTo>
                    <a:lnTo>
                      <a:pt x="0" y="8410"/>
                    </a:lnTo>
                    <a:lnTo>
                      <a:pt x="1851" y="11034"/>
                    </a:lnTo>
                    <a:lnTo>
                      <a:pt x="4342" y="11673"/>
                    </a:lnTo>
                    <a:lnTo>
                      <a:pt x="5923" y="10933"/>
                    </a:lnTo>
                    <a:cubicBezTo>
                      <a:pt x="5923" y="10933"/>
                      <a:pt x="7471" y="10294"/>
                      <a:pt x="7707" y="10193"/>
                    </a:cubicBezTo>
                    <a:cubicBezTo>
                      <a:pt x="7909" y="10126"/>
                      <a:pt x="9053" y="8376"/>
                      <a:pt x="9053" y="8107"/>
                    </a:cubicBezTo>
                    <a:cubicBezTo>
                      <a:pt x="9053" y="7804"/>
                      <a:pt x="10096" y="6089"/>
                      <a:pt x="9962" y="5786"/>
                    </a:cubicBezTo>
                    <a:cubicBezTo>
                      <a:pt x="9827" y="5483"/>
                      <a:pt x="7740" y="2456"/>
                      <a:pt x="7740" y="2456"/>
                    </a:cubicBezTo>
                    <a:lnTo>
                      <a:pt x="5587" y="437"/>
                    </a:lnTo>
                    <a:lnTo>
                      <a:pt x="3702" y="0"/>
                    </a:lnTo>
                    <a:lnTo>
                      <a:pt x="2726" y="84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5" name="Freeform 961">
                <a:extLst>
                  <a:ext uri="{FF2B5EF4-FFF2-40B4-BE49-F238E27FC236}">
                    <a16:creationId xmlns:a16="http://schemas.microsoft.com/office/drawing/2014/main" id="{9E580B85-5559-8FC5-9440-2E7D451D5B7E}"/>
                  </a:ext>
                </a:extLst>
              </p:cNvPr>
              <p:cNvSpPr/>
              <p:nvPr/>
            </p:nvSpPr>
            <p:spPr>
              <a:xfrm>
                <a:off x="6369457" y="2761141"/>
                <a:ext cx="13933" cy="13893"/>
              </a:xfrm>
              <a:custGeom>
                <a:avLst/>
                <a:gdLst>
                  <a:gd name="connsiteX0" fmla="*/ 4712 w 13933"/>
                  <a:gd name="connsiteY0" fmla="*/ 0 h 13893"/>
                  <a:gd name="connsiteX1" fmla="*/ 7942 w 13933"/>
                  <a:gd name="connsiteY1" fmla="*/ 1144 h 13893"/>
                  <a:gd name="connsiteX2" fmla="*/ 10029 w 13933"/>
                  <a:gd name="connsiteY2" fmla="*/ 3633 h 13893"/>
                  <a:gd name="connsiteX3" fmla="*/ 11880 w 13933"/>
                  <a:gd name="connsiteY3" fmla="*/ 6392 h 13893"/>
                  <a:gd name="connsiteX4" fmla="*/ 13933 w 13933"/>
                  <a:gd name="connsiteY4" fmla="*/ 9722 h 13893"/>
                  <a:gd name="connsiteX5" fmla="*/ 13933 w 13933"/>
                  <a:gd name="connsiteY5" fmla="*/ 11909 h 13893"/>
                  <a:gd name="connsiteX6" fmla="*/ 13125 w 13933"/>
                  <a:gd name="connsiteY6" fmla="*/ 13591 h 13893"/>
                  <a:gd name="connsiteX7" fmla="*/ 11039 w 13933"/>
                  <a:gd name="connsiteY7" fmla="*/ 13893 h 13893"/>
                  <a:gd name="connsiteX8" fmla="*/ 8212 w 13933"/>
                  <a:gd name="connsiteY8" fmla="*/ 13153 h 13893"/>
                  <a:gd name="connsiteX9" fmla="*/ 6428 w 13933"/>
                  <a:gd name="connsiteY9" fmla="*/ 10765 h 13893"/>
                  <a:gd name="connsiteX10" fmla="*/ 3669 w 13933"/>
                  <a:gd name="connsiteY10" fmla="*/ 7939 h 13893"/>
                  <a:gd name="connsiteX11" fmla="*/ 0 w 13933"/>
                  <a:gd name="connsiteY11" fmla="*/ 4743 h 13893"/>
                  <a:gd name="connsiteX12" fmla="*/ 741 w 13933"/>
                  <a:gd name="connsiteY12" fmla="*/ 2557 h 13893"/>
                  <a:gd name="connsiteX13" fmla="*/ 2322 w 13933"/>
                  <a:gd name="connsiteY13" fmla="*/ 471 h 13893"/>
                  <a:gd name="connsiteX14" fmla="*/ 4712 w 13933"/>
                  <a:gd name="connsiteY14" fmla="*/ 0 h 13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3933" h="13893">
                    <a:moveTo>
                      <a:pt x="4712" y="0"/>
                    </a:moveTo>
                    <a:lnTo>
                      <a:pt x="7942" y="1144"/>
                    </a:lnTo>
                    <a:lnTo>
                      <a:pt x="10029" y="3633"/>
                    </a:lnTo>
                    <a:lnTo>
                      <a:pt x="11880" y="6392"/>
                    </a:lnTo>
                    <a:lnTo>
                      <a:pt x="13933" y="9722"/>
                    </a:lnTo>
                    <a:lnTo>
                      <a:pt x="13933" y="11909"/>
                    </a:lnTo>
                    <a:lnTo>
                      <a:pt x="13125" y="13591"/>
                    </a:lnTo>
                    <a:lnTo>
                      <a:pt x="11039" y="13893"/>
                    </a:lnTo>
                    <a:lnTo>
                      <a:pt x="8212" y="13153"/>
                    </a:lnTo>
                    <a:cubicBezTo>
                      <a:pt x="8212" y="13153"/>
                      <a:pt x="6428" y="10967"/>
                      <a:pt x="6428" y="10765"/>
                    </a:cubicBezTo>
                    <a:cubicBezTo>
                      <a:pt x="6428" y="10563"/>
                      <a:pt x="3870" y="8074"/>
                      <a:pt x="3669" y="7939"/>
                    </a:cubicBezTo>
                    <a:cubicBezTo>
                      <a:pt x="3467" y="7804"/>
                      <a:pt x="0" y="4743"/>
                      <a:pt x="0" y="4743"/>
                    </a:cubicBezTo>
                    <a:cubicBezTo>
                      <a:pt x="0" y="4743"/>
                      <a:pt x="505" y="2725"/>
                      <a:pt x="741" y="2557"/>
                    </a:cubicBezTo>
                    <a:cubicBezTo>
                      <a:pt x="942" y="2422"/>
                      <a:pt x="2322" y="471"/>
                      <a:pt x="2322" y="471"/>
                    </a:cubicBezTo>
                    <a:lnTo>
                      <a:pt x="4712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6" name="Freeform 962">
                <a:extLst>
                  <a:ext uri="{FF2B5EF4-FFF2-40B4-BE49-F238E27FC236}">
                    <a16:creationId xmlns:a16="http://schemas.microsoft.com/office/drawing/2014/main" id="{B6A17BDE-1A34-5F23-FC9B-9EBD716F1771}"/>
                  </a:ext>
                </a:extLst>
              </p:cNvPr>
              <p:cNvSpPr/>
              <p:nvPr/>
            </p:nvSpPr>
            <p:spPr>
              <a:xfrm>
                <a:off x="6383860" y="2679295"/>
                <a:ext cx="13462" cy="7737"/>
              </a:xfrm>
              <a:custGeom>
                <a:avLst/>
                <a:gdLst>
                  <a:gd name="connsiteX0" fmla="*/ 5251 w 13462"/>
                  <a:gd name="connsiteY0" fmla="*/ 6257 h 7737"/>
                  <a:gd name="connsiteX1" fmla="*/ 10367 w 13462"/>
                  <a:gd name="connsiteY1" fmla="*/ 7737 h 7737"/>
                  <a:gd name="connsiteX2" fmla="*/ 13463 w 13462"/>
                  <a:gd name="connsiteY2" fmla="*/ 7737 h 7737"/>
                  <a:gd name="connsiteX3" fmla="*/ 13463 w 13462"/>
                  <a:gd name="connsiteY3" fmla="*/ 5349 h 7737"/>
                  <a:gd name="connsiteX4" fmla="*/ 13463 w 13462"/>
                  <a:gd name="connsiteY4" fmla="*/ 3398 h 7737"/>
                  <a:gd name="connsiteX5" fmla="*/ 12218 w 13462"/>
                  <a:gd name="connsiteY5" fmla="*/ 1514 h 7737"/>
                  <a:gd name="connsiteX6" fmla="*/ 7742 w 13462"/>
                  <a:gd name="connsiteY6" fmla="*/ 0 h 7737"/>
                  <a:gd name="connsiteX7" fmla="*/ 3165 w 13462"/>
                  <a:gd name="connsiteY7" fmla="*/ 1144 h 7737"/>
                  <a:gd name="connsiteX8" fmla="*/ 1 w 13462"/>
                  <a:gd name="connsiteY8" fmla="*/ 2994 h 7737"/>
                  <a:gd name="connsiteX9" fmla="*/ 3165 w 13462"/>
                  <a:gd name="connsiteY9" fmla="*/ 5719 h 7737"/>
                  <a:gd name="connsiteX10" fmla="*/ 5251 w 13462"/>
                  <a:gd name="connsiteY10" fmla="*/ 6257 h 7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3462" h="7737">
                    <a:moveTo>
                      <a:pt x="5251" y="6257"/>
                    </a:moveTo>
                    <a:lnTo>
                      <a:pt x="10367" y="7737"/>
                    </a:lnTo>
                    <a:lnTo>
                      <a:pt x="13463" y="7737"/>
                    </a:lnTo>
                    <a:lnTo>
                      <a:pt x="13463" y="5349"/>
                    </a:lnTo>
                    <a:lnTo>
                      <a:pt x="13463" y="3398"/>
                    </a:lnTo>
                    <a:lnTo>
                      <a:pt x="12218" y="1514"/>
                    </a:lnTo>
                    <a:lnTo>
                      <a:pt x="7742" y="0"/>
                    </a:lnTo>
                    <a:cubicBezTo>
                      <a:pt x="7742" y="0"/>
                      <a:pt x="3400" y="1076"/>
                      <a:pt x="3165" y="1144"/>
                    </a:cubicBezTo>
                    <a:cubicBezTo>
                      <a:pt x="2963" y="1211"/>
                      <a:pt x="-66" y="2153"/>
                      <a:pt x="1" y="2994"/>
                    </a:cubicBezTo>
                    <a:cubicBezTo>
                      <a:pt x="68" y="3835"/>
                      <a:pt x="3165" y="5719"/>
                      <a:pt x="3165" y="5719"/>
                    </a:cubicBezTo>
                    <a:lnTo>
                      <a:pt x="5251" y="6257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7" name="Freeform 963">
                <a:extLst>
                  <a:ext uri="{FF2B5EF4-FFF2-40B4-BE49-F238E27FC236}">
                    <a16:creationId xmlns:a16="http://schemas.microsoft.com/office/drawing/2014/main" id="{AE1FD528-7B53-0C7F-7227-90B948720CB0}"/>
                  </a:ext>
                </a:extLst>
              </p:cNvPr>
              <p:cNvSpPr/>
              <p:nvPr/>
            </p:nvSpPr>
            <p:spPr>
              <a:xfrm>
                <a:off x="6293506" y="2985046"/>
                <a:ext cx="6636" cy="17013"/>
              </a:xfrm>
              <a:custGeom>
                <a:avLst/>
                <a:gdLst>
                  <a:gd name="connsiteX0" fmla="*/ 4637 w 6636"/>
                  <a:gd name="connsiteY0" fmla="*/ 0 h 17013"/>
                  <a:gd name="connsiteX1" fmla="*/ 2584 w 6636"/>
                  <a:gd name="connsiteY1" fmla="*/ 6055 h 17013"/>
                  <a:gd name="connsiteX2" fmla="*/ 26 w 6636"/>
                  <a:gd name="connsiteY2" fmla="*/ 11337 h 17013"/>
                  <a:gd name="connsiteX3" fmla="*/ 1439 w 6636"/>
                  <a:gd name="connsiteY3" fmla="*/ 16652 h 17013"/>
                  <a:gd name="connsiteX4" fmla="*/ 6420 w 6636"/>
                  <a:gd name="connsiteY4" fmla="*/ 16618 h 17013"/>
                  <a:gd name="connsiteX5" fmla="*/ 6353 w 6636"/>
                  <a:gd name="connsiteY5" fmla="*/ 12682 h 17013"/>
                  <a:gd name="connsiteX6" fmla="*/ 6454 w 6636"/>
                  <a:gd name="connsiteY6" fmla="*/ 10058 h 17013"/>
                  <a:gd name="connsiteX7" fmla="*/ 6454 w 6636"/>
                  <a:gd name="connsiteY7" fmla="*/ 5281 h 17013"/>
                  <a:gd name="connsiteX8" fmla="*/ 4637 w 6636"/>
                  <a:gd name="connsiteY8" fmla="*/ 0 h 17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36" h="17013">
                    <a:moveTo>
                      <a:pt x="4637" y="0"/>
                    </a:moveTo>
                    <a:lnTo>
                      <a:pt x="2584" y="6055"/>
                    </a:lnTo>
                    <a:lnTo>
                      <a:pt x="26" y="11337"/>
                    </a:lnTo>
                    <a:cubicBezTo>
                      <a:pt x="26" y="11337"/>
                      <a:pt x="-311" y="16214"/>
                      <a:pt x="1439" y="16652"/>
                    </a:cubicBezTo>
                    <a:cubicBezTo>
                      <a:pt x="3189" y="17089"/>
                      <a:pt x="6286" y="17190"/>
                      <a:pt x="6420" y="16618"/>
                    </a:cubicBezTo>
                    <a:cubicBezTo>
                      <a:pt x="6555" y="16046"/>
                      <a:pt x="5781" y="13994"/>
                      <a:pt x="6353" y="12682"/>
                    </a:cubicBezTo>
                    <a:cubicBezTo>
                      <a:pt x="6925" y="11370"/>
                      <a:pt x="6454" y="11068"/>
                      <a:pt x="6454" y="10058"/>
                    </a:cubicBezTo>
                    <a:cubicBezTo>
                      <a:pt x="6454" y="9049"/>
                      <a:pt x="6454" y="5281"/>
                      <a:pt x="6454" y="5281"/>
                    </a:cubicBezTo>
                    <a:lnTo>
                      <a:pt x="4637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8" name="Freeform 964">
                <a:extLst>
                  <a:ext uri="{FF2B5EF4-FFF2-40B4-BE49-F238E27FC236}">
                    <a16:creationId xmlns:a16="http://schemas.microsoft.com/office/drawing/2014/main" id="{687BBEE7-E28E-A713-77AA-314A334FF635}"/>
                  </a:ext>
                </a:extLst>
              </p:cNvPr>
              <p:cNvSpPr/>
              <p:nvPr/>
            </p:nvSpPr>
            <p:spPr>
              <a:xfrm>
                <a:off x="6303999" y="2993355"/>
                <a:ext cx="8514" cy="10024"/>
              </a:xfrm>
              <a:custGeom>
                <a:avLst/>
                <a:gdLst>
                  <a:gd name="connsiteX0" fmla="*/ 1009 w 8514"/>
                  <a:gd name="connsiteY0" fmla="*/ 1615 h 10024"/>
                  <a:gd name="connsiteX1" fmla="*/ 0 w 8514"/>
                  <a:gd name="connsiteY1" fmla="*/ 6257 h 10024"/>
                  <a:gd name="connsiteX2" fmla="*/ 2591 w 8514"/>
                  <a:gd name="connsiteY2" fmla="*/ 10025 h 10024"/>
                  <a:gd name="connsiteX3" fmla="*/ 5486 w 8514"/>
                  <a:gd name="connsiteY3" fmla="*/ 10025 h 10024"/>
                  <a:gd name="connsiteX4" fmla="*/ 8515 w 8514"/>
                  <a:gd name="connsiteY4" fmla="*/ 3633 h 10024"/>
                  <a:gd name="connsiteX5" fmla="*/ 4241 w 8514"/>
                  <a:gd name="connsiteY5" fmla="*/ 0 h 10024"/>
                  <a:gd name="connsiteX6" fmla="*/ 1009 w 8514"/>
                  <a:gd name="connsiteY6" fmla="*/ 1615 h 10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14" h="10024">
                    <a:moveTo>
                      <a:pt x="1009" y="1615"/>
                    </a:moveTo>
                    <a:lnTo>
                      <a:pt x="0" y="6257"/>
                    </a:lnTo>
                    <a:cubicBezTo>
                      <a:pt x="0" y="6257"/>
                      <a:pt x="2188" y="10025"/>
                      <a:pt x="2591" y="10025"/>
                    </a:cubicBezTo>
                    <a:cubicBezTo>
                      <a:pt x="3029" y="10025"/>
                      <a:pt x="5486" y="10025"/>
                      <a:pt x="5486" y="10025"/>
                    </a:cubicBezTo>
                    <a:lnTo>
                      <a:pt x="8515" y="3633"/>
                    </a:lnTo>
                    <a:lnTo>
                      <a:pt x="4241" y="0"/>
                    </a:lnTo>
                    <a:lnTo>
                      <a:pt x="1009" y="1615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grpSp>
          <p:nvGrpSpPr>
            <p:cNvPr id="620" name="Graphic 11">
              <a:extLst>
                <a:ext uri="{FF2B5EF4-FFF2-40B4-BE49-F238E27FC236}">
                  <a16:creationId xmlns:a16="http://schemas.microsoft.com/office/drawing/2014/main" id="{76561204-8B3A-4E92-D5FA-A84355FEBB94}"/>
                </a:ext>
              </a:extLst>
            </p:cNvPr>
            <p:cNvGrpSpPr/>
            <p:nvPr/>
          </p:nvGrpSpPr>
          <p:grpSpPr>
            <a:xfrm>
              <a:off x="8062252" y="3205115"/>
              <a:ext cx="235051" cy="285269"/>
              <a:chOff x="5786997" y="2961498"/>
              <a:chExt cx="451274" cy="547687"/>
            </a:xfrm>
            <a:grpFill/>
          </p:grpSpPr>
          <p:sp>
            <p:nvSpPr>
              <p:cNvPr id="678" name="Freeform 944">
                <a:extLst>
                  <a:ext uri="{FF2B5EF4-FFF2-40B4-BE49-F238E27FC236}">
                    <a16:creationId xmlns:a16="http://schemas.microsoft.com/office/drawing/2014/main" id="{7823A78F-38FC-F4E7-51C2-A0C25750F044}"/>
                  </a:ext>
                </a:extLst>
              </p:cNvPr>
              <p:cNvSpPr/>
              <p:nvPr/>
            </p:nvSpPr>
            <p:spPr>
              <a:xfrm>
                <a:off x="5786997" y="2961498"/>
                <a:ext cx="451274" cy="536619"/>
              </a:xfrm>
              <a:custGeom>
                <a:avLst/>
                <a:gdLst>
                  <a:gd name="connsiteX0" fmla="*/ 451005 w 451274"/>
                  <a:gd name="connsiteY0" fmla="*/ 110977 h 536619"/>
                  <a:gd name="connsiteX1" fmla="*/ 449255 w 451274"/>
                  <a:gd name="connsiteY1" fmla="*/ 109228 h 536619"/>
                  <a:gd name="connsiteX2" fmla="*/ 445116 w 451274"/>
                  <a:gd name="connsiteY2" fmla="*/ 105326 h 536619"/>
                  <a:gd name="connsiteX3" fmla="*/ 445116 w 451274"/>
                  <a:gd name="connsiteY3" fmla="*/ 100313 h 536619"/>
                  <a:gd name="connsiteX4" fmla="*/ 441649 w 451274"/>
                  <a:gd name="connsiteY4" fmla="*/ 93787 h 536619"/>
                  <a:gd name="connsiteX5" fmla="*/ 440572 w 451274"/>
                  <a:gd name="connsiteY5" fmla="*/ 88371 h 536619"/>
                  <a:gd name="connsiteX6" fmla="*/ 437510 w 451274"/>
                  <a:gd name="connsiteY6" fmla="*/ 84032 h 536619"/>
                  <a:gd name="connsiteX7" fmla="*/ 427514 w 451274"/>
                  <a:gd name="connsiteY7" fmla="*/ 82283 h 536619"/>
                  <a:gd name="connsiteX8" fmla="*/ 416643 w 451274"/>
                  <a:gd name="connsiteY8" fmla="*/ 83796 h 536619"/>
                  <a:gd name="connsiteX9" fmla="*/ 410350 w 451274"/>
                  <a:gd name="connsiteY9" fmla="*/ 87059 h 536619"/>
                  <a:gd name="connsiteX10" fmla="*/ 405134 w 451274"/>
                  <a:gd name="connsiteY10" fmla="*/ 93787 h 536619"/>
                  <a:gd name="connsiteX11" fmla="*/ 401432 w 451274"/>
                  <a:gd name="connsiteY11" fmla="*/ 99203 h 536619"/>
                  <a:gd name="connsiteX12" fmla="*/ 394701 w 451274"/>
                  <a:gd name="connsiteY12" fmla="*/ 100953 h 536619"/>
                  <a:gd name="connsiteX13" fmla="*/ 387533 w 451274"/>
                  <a:gd name="connsiteY13" fmla="*/ 102029 h 536619"/>
                  <a:gd name="connsiteX14" fmla="*/ 381206 w 451274"/>
                  <a:gd name="connsiteY14" fmla="*/ 100280 h 536619"/>
                  <a:gd name="connsiteX15" fmla="*/ 378580 w 451274"/>
                  <a:gd name="connsiteY15" fmla="*/ 94830 h 536619"/>
                  <a:gd name="connsiteX16" fmla="*/ 375114 w 451274"/>
                  <a:gd name="connsiteY16" fmla="*/ 87867 h 536619"/>
                  <a:gd name="connsiteX17" fmla="*/ 370772 w 451274"/>
                  <a:gd name="connsiteY17" fmla="*/ 80264 h 536619"/>
                  <a:gd name="connsiteX18" fmla="*/ 368820 w 451274"/>
                  <a:gd name="connsiteY18" fmla="*/ 71350 h 536619"/>
                  <a:gd name="connsiteX19" fmla="*/ 364681 w 451274"/>
                  <a:gd name="connsiteY19" fmla="*/ 64386 h 536619"/>
                  <a:gd name="connsiteX20" fmla="*/ 358589 w 451274"/>
                  <a:gd name="connsiteY20" fmla="*/ 65463 h 536619"/>
                  <a:gd name="connsiteX21" fmla="*/ 355965 w 451274"/>
                  <a:gd name="connsiteY21" fmla="*/ 68087 h 536619"/>
                  <a:gd name="connsiteX22" fmla="*/ 354214 w 451274"/>
                  <a:gd name="connsiteY22" fmla="*/ 73503 h 536619"/>
                  <a:gd name="connsiteX23" fmla="*/ 350310 w 451274"/>
                  <a:gd name="connsiteY23" fmla="*/ 80029 h 536619"/>
                  <a:gd name="connsiteX24" fmla="*/ 346171 w 451274"/>
                  <a:gd name="connsiteY24" fmla="*/ 81105 h 536619"/>
                  <a:gd name="connsiteX25" fmla="*/ 342469 w 451274"/>
                  <a:gd name="connsiteY25" fmla="*/ 84368 h 536619"/>
                  <a:gd name="connsiteX26" fmla="*/ 342469 w 451274"/>
                  <a:gd name="connsiteY26" fmla="*/ 87396 h 536619"/>
                  <a:gd name="connsiteX27" fmla="*/ 335502 w 451274"/>
                  <a:gd name="connsiteY27" fmla="*/ 95234 h 536619"/>
                  <a:gd name="connsiteX28" fmla="*/ 329849 w 451274"/>
                  <a:gd name="connsiteY28" fmla="*/ 98261 h 536619"/>
                  <a:gd name="connsiteX29" fmla="*/ 322882 w 451274"/>
                  <a:gd name="connsiteY29" fmla="*/ 98261 h 536619"/>
                  <a:gd name="connsiteX30" fmla="*/ 322243 w 451274"/>
                  <a:gd name="connsiteY30" fmla="*/ 93485 h 536619"/>
                  <a:gd name="connsiteX31" fmla="*/ 320290 w 451274"/>
                  <a:gd name="connsiteY31" fmla="*/ 88472 h 536619"/>
                  <a:gd name="connsiteX32" fmla="*/ 310295 w 451274"/>
                  <a:gd name="connsiteY32" fmla="*/ 88910 h 536619"/>
                  <a:gd name="connsiteX33" fmla="*/ 305718 w 451274"/>
                  <a:gd name="connsiteY33" fmla="*/ 90861 h 536619"/>
                  <a:gd name="connsiteX34" fmla="*/ 298752 w 451274"/>
                  <a:gd name="connsiteY34" fmla="*/ 93451 h 536619"/>
                  <a:gd name="connsiteX35" fmla="*/ 291583 w 451274"/>
                  <a:gd name="connsiteY35" fmla="*/ 90861 h 536619"/>
                  <a:gd name="connsiteX36" fmla="*/ 290271 w 451274"/>
                  <a:gd name="connsiteY36" fmla="*/ 84772 h 536619"/>
                  <a:gd name="connsiteX37" fmla="*/ 290069 w 451274"/>
                  <a:gd name="connsiteY37" fmla="*/ 74983 h 536619"/>
                  <a:gd name="connsiteX38" fmla="*/ 287040 w 451274"/>
                  <a:gd name="connsiteY38" fmla="*/ 65631 h 536619"/>
                  <a:gd name="connsiteX39" fmla="*/ 283977 w 451274"/>
                  <a:gd name="connsiteY39" fmla="*/ 56952 h 536619"/>
                  <a:gd name="connsiteX40" fmla="*/ 279400 w 451274"/>
                  <a:gd name="connsiteY40" fmla="*/ 47163 h 536619"/>
                  <a:gd name="connsiteX41" fmla="*/ 270482 w 451274"/>
                  <a:gd name="connsiteY41" fmla="*/ 33909 h 536619"/>
                  <a:gd name="connsiteX42" fmla="*/ 271559 w 451274"/>
                  <a:gd name="connsiteY42" fmla="*/ 24557 h 536619"/>
                  <a:gd name="connsiteX43" fmla="*/ 275261 w 451274"/>
                  <a:gd name="connsiteY43" fmla="*/ 17392 h 536619"/>
                  <a:gd name="connsiteX44" fmla="*/ 276338 w 451274"/>
                  <a:gd name="connsiteY44" fmla="*/ 7838 h 536619"/>
                  <a:gd name="connsiteX45" fmla="*/ 269371 w 451274"/>
                  <a:gd name="connsiteY45" fmla="*/ 0 h 536619"/>
                  <a:gd name="connsiteX46" fmla="*/ 262203 w 451274"/>
                  <a:gd name="connsiteY46" fmla="*/ 875 h 536619"/>
                  <a:gd name="connsiteX47" fmla="*/ 251770 w 451274"/>
                  <a:gd name="connsiteY47" fmla="*/ 5012 h 536619"/>
                  <a:gd name="connsiteX48" fmla="*/ 243726 w 451274"/>
                  <a:gd name="connsiteY48" fmla="*/ 7838 h 536619"/>
                  <a:gd name="connsiteX49" fmla="*/ 237197 w 451274"/>
                  <a:gd name="connsiteY49" fmla="*/ 5651 h 536619"/>
                  <a:gd name="connsiteX50" fmla="*/ 233496 w 451274"/>
                  <a:gd name="connsiteY50" fmla="*/ 6089 h 536619"/>
                  <a:gd name="connsiteX51" fmla="*/ 231981 w 451274"/>
                  <a:gd name="connsiteY51" fmla="*/ 7603 h 536619"/>
                  <a:gd name="connsiteX52" fmla="*/ 233496 w 451274"/>
                  <a:gd name="connsiteY52" fmla="*/ 13019 h 536619"/>
                  <a:gd name="connsiteX53" fmla="*/ 234135 w 451274"/>
                  <a:gd name="connsiteY53" fmla="*/ 16921 h 536619"/>
                  <a:gd name="connsiteX54" fmla="*/ 233697 w 451274"/>
                  <a:gd name="connsiteY54" fmla="*/ 24322 h 536619"/>
                  <a:gd name="connsiteX55" fmla="*/ 233260 w 451274"/>
                  <a:gd name="connsiteY55" fmla="*/ 24322 h 536619"/>
                  <a:gd name="connsiteX56" fmla="*/ 229995 w 451274"/>
                  <a:gd name="connsiteY56" fmla="*/ 25835 h 536619"/>
                  <a:gd name="connsiteX57" fmla="*/ 225014 w 451274"/>
                  <a:gd name="connsiteY57" fmla="*/ 29536 h 536619"/>
                  <a:gd name="connsiteX58" fmla="*/ 220000 w 451274"/>
                  <a:gd name="connsiteY58" fmla="*/ 29536 h 536619"/>
                  <a:gd name="connsiteX59" fmla="*/ 214582 w 451274"/>
                  <a:gd name="connsiteY59" fmla="*/ 32361 h 536619"/>
                  <a:gd name="connsiteX60" fmla="*/ 212832 w 451274"/>
                  <a:gd name="connsiteY60" fmla="*/ 33673 h 536619"/>
                  <a:gd name="connsiteX61" fmla="*/ 211754 w 451274"/>
                  <a:gd name="connsiteY61" fmla="*/ 39089 h 536619"/>
                  <a:gd name="connsiteX62" fmla="*/ 208726 w 451274"/>
                  <a:gd name="connsiteY62" fmla="*/ 41915 h 536619"/>
                  <a:gd name="connsiteX63" fmla="*/ 205697 w 451274"/>
                  <a:gd name="connsiteY63" fmla="*/ 40166 h 536619"/>
                  <a:gd name="connsiteX64" fmla="*/ 202634 w 451274"/>
                  <a:gd name="connsiteY64" fmla="*/ 37777 h 536619"/>
                  <a:gd name="connsiteX65" fmla="*/ 195466 w 451274"/>
                  <a:gd name="connsiteY65" fmla="*/ 41915 h 536619"/>
                  <a:gd name="connsiteX66" fmla="*/ 185235 w 451274"/>
                  <a:gd name="connsiteY66" fmla="*/ 46927 h 536619"/>
                  <a:gd name="connsiteX67" fmla="*/ 179816 w 451274"/>
                  <a:gd name="connsiteY67" fmla="*/ 52141 h 536619"/>
                  <a:gd name="connsiteX68" fmla="*/ 176788 w 451274"/>
                  <a:gd name="connsiteY68" fmla="*/ 55405 h 536619"/>
                  <a:gd name="connsiteX69" fmla="*/ 170932 w 451274"/>
                  <a:gd name="connsiteY69" fmla="*/ 58230 h 536619"/>
                  <a:gd name="connsiteX70" fmla="*/ 167667 w 451274"/>
                  <a:gd name="connsiteY70" fmla="*/ 60181 h 536619"/>
                  <a:gd name="connsiteX71" fmla="*/ 161576 w 451274"/>
                  <a:gd name="connsiteY71" fmla="*/ 59307 h 536619"/>
                  <a:gd name="connsiteX72" fmla="*/ 158109 w 451274"/>
                  <a:gd name="connsiteY72" fmla="*/ 53016 h 536619"/>
                  <a:gd name="connsiteX73" fmla="*/ 157234 w 451274"/>
                  <a:gd name="connsiteY73" fmla="*/ 47566 h 536619"/>
                  <a:gd name="connsiteX74" fmla="*/ 152017 w 451274"/>
                  <a:gd name="connsiteY74" fmla="*/ 45178 h 536619"/>
                  <a:gd name="connsiteX75" fmla="*/ 150268 w 451274"/>
                  <a:gd name="connsiteY75" fmla="*/ 45178 h 536619"/>
                  <a:gd name="connsiteX76" fmla="*/ 147676 w 451274"/>
                  <a:gd name="connsiteY76" fmla="*/ 48004 h 536619"/>
                  <a:gd name="connsiteX77" fmla="*/ 145287 w 451274"/>
                  <a:gd name="connsiteY77" fmla="*/ 50392 h 536619"/>
                  <a:gd name="connsiteX78" fmla="*/ 140508 w 451274"/>
                  <a:gd name="connsiteY78" fmla="*/ 53218 h 536619"/>
                  <a:gd name="connsiteX79" fmla="*/ 135291 w 451274"/>
                  <a:gd name="connsiteY79" fmla="*/ 54967 h 536619"/>
                  <a:gd name="connsiteX80" fmla="*/ 131589 w 451274"/>
                  <a:gd name="connsiteY80" fmla="*/ 58028 h 536619"/>
                  <a:gd name="connsiteX81" fmla="*/ 130950 w 451274"/>
                  <a:gd name="connsiteY81" fmla="*/ 60215 h 536619"/>
                  <a:gd name="connsiteX82" fmla="*/ 130513 w 451274"/>
                  <a:gd name="connsiteY82" fmla="*/ 67380 h 536619"/>
                  <a:gd name="connsiteX83" fmla="*/ 127685 w 451274"/>
                  <a:gd name="connsiteY83" fmla="*/ 71955 h 536619"/>
                  <a:gd name="connsiteX84" fmla="*/ 120719 w 451274"/>
                  <a:gd name="connsiteY84" fmla="*/ 77169 h 536619"/>
                  <a:gd name="connsiteX85" fmla="*/ 115502 w 451274"/>
                  <a:gd name="connsiteY85" fmla="*/ 79558 h 536619"/>
                  <a:gd name="connsiteX86" fmla="*/ 107896 w 451274"/>
                  <a:gd name="connsiteY86" fmla="*/ 83460 h 536619"/>
                  <a:gd name="connsiteX87" fmla="*/ 103757 w 451274"/>
                  <a:gd name="connsiteY87" fmla="*/ 87598 h 536619"/>
                  <a:gd name="connsiteX88" fmla="*/ 102680 w 451274"/>
                  <a:gd name="connsiteY88" fmla="*/ 92173 h 536619"/>
                  <a:gd name="connsiteX89" fmla="*/ 101368 w 451274"/>
                  <a:gd name="connsiteY89" fmla="*/ 95436 h 536619"/>
                  <a:gd name="connsiteX90" fmla="*/ 107661 w 451274"/>
                  <a:gd name="connsiteY90" fmla="*/ 98901 h 536619"/>
                  <a:gd name="connsiteX91" fmla="*/ 111565 w 451274"/>
                  <a:gd name="connsiteY91" fmla="*/ 100852 h 536619"/>
                  <a:gd name="connsiteX92" fmla="*/ 113752 w 451274"/>
                  <a:gd name="connsiteY92" fmla="*/ 104989 h 536619"/>
                  <a:gd name="connsiteX93" fmla="*/ 113551 w 451274"/>
                  <a:gd name="connsiteY93" fmla="*/ 110843 h 536619"/>
                  <a:gd name="connsiteX94" fmla="*/ 115940 w 451274"/>
                  <a:gd name="connsiteY94" fmla="*/ 114745 h 536619"/>
                  <a:gd name="connsiteX95" fmla="*/ 119204 w 451274"/>
                  <a:gd name="connsiteY95" fmla="*/ 115821 h 536619"/>
                  <a:gd name="connsiteX96" fmla="*/ 121594 w 451274"/>
                  <a:gd name="connsiteY96" fmla="*/ 120834 h 536619"/>
                  <a:gd name="connsiteX97" fmla="*/ 121594 w 451274"/>
                  <a:gd name="connsiteY97" fmla="*/ 124971 h 536619"/>
                  <a:gd name="connsiteX98" fmla="*/ 118666 w 451274"/>
                  <a:gd name="connsiteY98" fmla="*/ 129748 h 536619"/>
                  <a:gd name="connsiteX99" fmla="*/ 114627 w 451274"/>
                  <a:gd name="connsiteY99" fmla="*/ 133650 h 536619"/>
                  <a:gd name="connsiteX100" fmla="*/ 112238 w 451274"/>
                  <a:gd name="connsiteY100" fmla="*/ 139302 h 536619"/>
                  <a:gd name="connsiteX101" fmla="*/ 109646 w 451274"/>
                  <a:gd name="connsiteY101" fmla="*/ 144516 h 536619"/>
                  <a:gd name="connsiteX102" fmla="*/ 106820 w 451274"/>
                  <a:gd name="connsiteY102" fmla="*/ 146904 h 536619"/>
                  <a:gd name="connsiteX103" fmla="*/ 100526 w 451274"/>
                  <a:gd name="connsiteY103" fmla="*/ 153430 h 536619"/>
                  <a:gd name="connsiteX104" fmla="*/ 93997 w 451274"/>
                  <a:gd name="connsiteY104" fmla="*/ 154069 h 536619"/>
                  <a:gd name="connsiteX105" fmla="*/ 84877 w 451274"/>
                  <a:gd name="connsiteY105" fmla="*/ 155146 h 536619"/>
                  <a:gd name="connsiteX106" fmla="*/ 73804 w 451274"/>
                  <a:gd name="connsiteY106" fmla="*/ 162749 h 536619"/>
                  <a:gd name="connsiteX107" fmla="*/ 69463 w 451274"/>
                  <a:gd name="connsiteY107" fmla="*/ 168165 h 536619"/>
                  <a:gd name="connsiteX108" fmla="*/ 64684 w 451274"/>
                  <a:gd name="connsiteY108" fmla="*/ 172504 h 536619"/>
                  <a:gd name="connsiteX109" fmla="*/ 60780 w 451274"/>
                  <a:gd name="connsiteY109" fmla="*/ 180544 h 536619"/>
                  <a:gd name="connsiteX110" fmla="*/ 58593 w 451274"/>
                  <a:gd name="connsiteY110" fmla="*/ 183370 h 536619"/>
                  <a:gd name="connsiteX111" fmla="*/ 54689 w 451274"/>
                  <a:gd name="connsiteY111" fmla="*/ 185556 h 536619"/>
                  <a:gd name="connsiteX112" fmla="*/ 55126 w 451274"/>
                  <a:gd name="connsiteY112" fmla="*/ 191847 h 536619"/>
                  <a:gd name="connsiteX113" fmla="*/ 59703 w 451274"/>
                  <a:gd name="connsiteY113" fmla="*/ 195547 h 536619"/>
                  <a:gd name="connsiteX114" fmla="*/ 63170 w 451274"/>
                  <a:gd name="connsiteY114" fmla="*/ 203150 h 536619"/>
                  <a:gd name="connsiteX115" fmla="*/ 67747 w 451274"/>
                  <a:gd name="connsiteY115" fmla="*/ 209003 h 536619"/>
                  <a:gd name="connsiteX116" fmla="*/ 72088 w 451274"/>
                  <a:gd name="connsiteY116" fmla="*/ 215092 h 536619"/>
                  <a:gd name="connsiteX117" fmla="*/ 72728 w 451274"/>
                  <a:gd name="connsiteY117" fmla="*/ 220945 h 536619"/>
                  <a:gd name="connsiteX118" fmla="*/ 69699 w 451274"/>
                  <a:gd name="connsiteY118" fmla="*/ 225924 h 536619"/>
                  <a:gd name="connsiteX119" fmla="*/ 63843 w 451274"/>
                  <a:gd name="connsiteY119" fmla="*/ 228951 h 536619"/>
                  <a:gd name="connsiteX120" fmla="*/ 60578 w 451274"/>
                  <a:gd name="connsiteY120" fmla="*/ 231777 h 536619"/>
                  <a:gd name="connsiteX121" fmla="*/ 53410 w 451274"/>
                  <a:gd name="connsiteY121" fmla="*/ 236117 h 536619"/>
                  <a:gd name="connsiteX122" fmla="*/ 49708 w 451274"/>
                  <a:gd name="connsiteY122" fmla="*/ 241331 h 536619"/>
                  <a:gd name="connsiteX123" fmla="*/ 46881 w 451274"/>
                  <a:gd name="connsiteY123" fmla="*/ 247621 h 536619"/>
                  <a:gd name="connsiteX124" fmla="*/ 46881 w 451274"/>
                  <a:gd name="connsiteY124" fmla="*/ 250884 h 536619"/>
                  <a:gd name="connsiteX125" fmla="*/ 49506 w 451274"/>
                  <a:gd name="connsiteY125" fmla="*/ 255459 h 536619"/>
                  <a:gd name="connsiteX126" fmla="*/ 54722 w 451274"/>
                  <a:gd name="connsiteY126" fmla="*/ 255459 h 536619"/>
                  <a:gd name="connsiteX127" fmla="*/ 60376 w 451274"/>
                  <a:gd name="connsiteY127" fmla="*/ 255459 h 536619"/>
                  <a:gd name="connsiteX128" fmla="*/ 63203 w 451274"/>
                  <a:gd name="connsiteY128" fmla="*/ 257511 h 536619"/>
                  <a:gd name="connsiteX129" fmla="*/ 61891 w 451274"/>
                  <a:gd name="connsiteY129" fmla="*/ 261548 h 536619"/>
                  <a:gd name="connsiteX130" fmla="*/ 57112 w 451274"/>
                  <a:gd name="connsiteY130" fmla="*/ 264374 h 536619"/>
                  <a:gd name="connsiteX131" fmla="*/ 54958 w 451274"/>
                  <a:gd name="connsiteY131" fmla="*/ 265888 h 536619"/>
                  <a:gd name="connsiteX132" fmla="*/ 53006 w 451274"/>
                  <a:gd name="connsiteY132" fmla="*/ 268713 h 536619"/>
                  <a:gd name="connsiteX133" fmla="*/ 50179 w 451274"/>
                  <a:gd name="connsiteY133" fmla="*/ 274163 h 536619"/>
                  <a:gd name="connsiteX134" fmla="*/ 47352 w 451274"/>
                  <a:gd name="connsiteY134" fmla="*/ 279579 h 536619"/>
                  <a:gd name="connsiteX135" fmla="*/ 42775 w 451274"/>
                  <a:gd name="connsiteY135" fmla="*/ 282842 h 536619"/>
                  <a:gd name="connsiteX136" fmla="*/ 36044 w 451274"/>
                  <a:gd name="connsiteY136" fmla="*/ 287182 h 536619"/>
                  <a:gd name="connsiteX137" fmla="*/ 32342 w 451274"/>
                  <a:gd name="connsiteY137" fmla="*/ 288056 h 536619"/>
                  <a:gd name="connsiteX138" fmla="*/ 28203 w 451274"/>
                  <a:gd name="connsiteY138" fmla="*/ 291084 h 536619"/>
                  <a:gd name="connsiteX139" fmla="*/ 26049 w 451274"/>
                  <a:gd name="connsiteY139" fmla="*/ 296096 h 536619"/>
                  <a:gd name="connsiteX140" fmla="*/ 27361 w 451274"/>
                  <a:gd name="connsiteY140" fmla="*/ 301310 h 536619"/>
                  <a:gd name="connsiteX141" fmla="*/ 23895 w 451274"/>
                  <a:gd name="connsiteY141" fmla="*/ 310427 h 536619"/>
                  <a:gd name="connsiteX142" fmla="*/ 18241 w 451274"/>
                  <a:gd name="connsiteY142" fmla="*/ 313690 h 536619"/>
                  <a:gd name="connsiteX143" fmla="*/ 18443 w 451274"/>
                  <a:gd name="connsiteY143" fmla="*/ 320216 h 536619"/>
                  <a:gd name="connsiteX144" fmla="*/ 20193 w 451274"/>
                  <a:gd name="connsiteY144" fmla="*/ 325665 h 536619"/>
                  <a:gd name="connsiteX145" fmla="*/ 18039 w 451274"/>
                  <a:gd name="connsiteY145" fmla="*/ 331519 h 536619"/>
                  <a:gd name="connsiteX146" fmla="*/ 16928 w 451274"/>
                  <a:gd name="connsiteY146" fmla="*/ 342149 h 536619"/>
                  <a:gd name="connsiteX147" fmla="*/ 13899 w 451274"/>
                  <a:gd name="connsiteY147" fmla="*/ 354091 h 536619"/>
                  <a:gd name="connsiteX148" fmla="*/ 10635 w 451274"/>
                  <a:gd name="connsiteY148" fmla="*/ 361693 h 536619"/>
                  <a:gd name="connsiteX149" fmla="*/ 0 w 451274"/>
                  <a:gd name="connsiteY149" fmla="*/ 369296 h 536619"/>
                  <a:gd name="connsiteX150" fmla="*/ 0 w 451274"/>
                  <a:gd name="connsiteY150" fmla="*/ 376899 h 536619"/>
                  <a:gd name="connsiteX151" fmla="*/ 6966 w 451274"/>
                  <a:gd name="connsiteY151" fmla="*/ 383189 h 536619"/>
                  <a:gd name="connsiteX152" fmla="*/ 6966 w 451274"/>
                  <a:gd name="connsiteY152" fmla="*/ 390590 h 536619"/>
                  <a:gd name="connsiteX153" fmla="*/ 8919 w 451274"/>
                  <a:gd name="connsiteY153" fmla="*/ 400783 h 536619"/>
                  <a:gd name="connsiteX154" fmla="*/ 20664 w 451274"/>
                  <a:gd name="connsiteY154" fmla="*/ 407746 h 536619"/>
                  <a:gd name="connsiteX155" fmla="*/ 31736 w 451274"/>
                  <a:gd name="connsiteY155" fmla="*/ 412523 h 536619"/>
                  <a:gd name="connsiteX156" fmla="*/ 40015 w 451274"/>
                  <a:gd name="connsiteY156" fmla="*/ 412960 h 536619"/>
                  <a:gd name="connsiteX157" fmla="*/ 45905 w 451274"/>
                  <a:gd name="connsiteY157" fmla="*/ 410135 h 536619"/>
                  <a:gd name="connsiteX158" fmla="*/ 53073 w 451274"/>
                  <a:gd name="connsiteY158" fmla="*/ 408183 h 536619"/>
                  <a:gd name="connsiteX159" fmla="*/ 61319 w 451274"/>
                  <a:gd name="connsiteY159" fmla="*/ 410370 h 536619"/>
                  <a:gd name="connsiteX160" fmla="*/ 61319 w 451274"/>
                  <a:gd name="connsiteY160" fmla="*/ 413835 h 536619"/>
                  <a:gd name="connsiteX161" fmla="*/ 65660 w 451274"/>
                  <a:gd name="connsiteY161" fmla="*/ 418612 h 536619"/>
                  <a:gd name="connsiteX162" fmla="*/ 68925 w 451274"/>
                  <a:gd name="connsiteY162" fmla="*/ 424028 h 536619"/>
                  <a:gd name="connsiteX163" fmla="*/ 75218 w 451274"/>
                  <a:gd name="connsiteY163" fmla="*/ 428805 h 536619"/>
                  <a:gd name="connsiteX164" fmla="*/ 78920 w 451274"/>
                  <a:gd name="connsiteY164" fmla="*/ 431832 h 536619"/>
                  <a:gd name="connsiteX165" fmla="*/ 85213 w 451274"/>
                  <a:gd name="connsiteY165" fmla="*/ 428805 h 536619"/>
                  <a:gd name="connsiteX166" fmla="*/ 90228 w 451274"/>
                  <a:gd name="connsiteY166" fmla="*/ 424465 h 536619"/>
                  <a:gd name="connsiteX167" fmla="*/ 95882 w 451274"/>
                  <a:gd name="connsiteY167" fmla="*/ 420125 h 536619"/>
                  <a:gd name="connsiteX168" fmla="*/ 99146 w 451274"/>
                  <a:gd name="connsiteY168" fmla="*/ 416223 h 536619"/>
                  <a:gd name="connsiteX169" fmla="*/ 103925 w 451274"/>
                  <a:gd name="connsiteY169" fmla="*/ 418612 h 536619"/>
                  <a:gd name="connsiteX170" fmla="*/ 104363 w 451274"/>
                  <a:gd name="connsiteY170" fmla="*/ 421437 h 536619"/>
                  <a:gd name="connsiteX171" fmla="*/ 104363 w 451274"/>
                  <a:gd name="connsiteY171" fmla="*/ 426652 h 536619"/>
                  <a:gd name="connsiteX172" fmla="*/ 99146 w 451274"/>
                  <a:gd name="connsiteY172" fmla="*/ 431866 h 536619"/>
                  <a:gd name="connsiteX173" fmla="*/ 99146 w 451274"/>
                  <a:gd name="connsiteY173" fmla="*/ 440343 h 536619"/>
                  <a:gd name="connsiteX174" fmla="*/ 106113 w 451274"/>
                  <a:gd name="connsiteY174" fmla="*/ 445557 h 536619"/>
                  <a:gd name="connsiteX175" fmla="*/ 111969 w 451274"/>
                  <a:gd name="connsiteY175" fmla="*/ 454236 h 536619"/>
                  <a:gd name="connsiteX176" fmla="*/ 115872 w 451274"/>
                  <a:gd name="connsiteY176" fmla="*/ 462478 h 536619"/>
                  <a:gd name="connsiteX177" fmla="*/ 117825 w 451274"/>
                  <a:gd name="connsiteY177" fmla="*/ 466178 h 536619"/>
                  <a:gd name="connsiteX178" fmla="*/ 121728 w 451274"/>
                  <a:gd name="connsiteY178" fmla="*/ 470955 h 536619"/>
                  <a:gd name="connsiteX179" fmla="*/ 123478 w 451274"/>
                  <a:gd name="connsiteY179" fmla="*/ 478793 h 536619"/>
                  <a:gd name="connsiteX180" fmla="*/ 123478 w 451274"/>
                  <a:gd name="connsiteY180" fmla="*/ 484007 h 536619"/>
                  <a:gd name="connsiteX181" fmla="*/ 123478 w 451274"/>
                  <a:gd name="connsiteY181" fmla="*/ 489659 h 536619"/>
                  <a:gd name="connsiteX182" fmla="*/ 126406 w 451274"/>
                  <a:gd name="connsiteY182" fmla="*/ 497699 h 536619"/>
                  <a:gd name="connsiteX183" fmla="*/ 126070 w 451274"/>
                  <a:gd name="connsiteY183" fmla="*/ 502711 h 536619"/>
                  <a:gd name="connsiteX184" fmla="*/ 128695 w 451274"/>
                  <a:gd name="connsiteY184" fmla="*/ 509002 h 536619"/>
                  <a:gd name="connsiteX185" fmla="*/ 130209 w 451274"/>
                  <a:gd name="connsiteY185" fmla="*/ 516604 h 536619"/>
                  <a:gd name="connsiteX186" fmla="*/ 132801 w 451274"/>
                  <a:gd name="connsiteY186" fmla="*/ 524442 h 536619"/>
                  <a:gd name="connsiteX187" fmla="*/ 136940 w 451274"/>
                  <a:gd name="connsiteY187" fmla="*/ 529656 h 536619"/>
                  <a:gd name="connsiteX188" fmla="*/ 144546 w 451274"/>
                  <a:gd name="connsiteY188" fmla="*/ 536620 h 536619"/>
                  <a:gd name="connsiteX189" fmla="*/ 148686 w 451274"/>
                  <a:gd name="connsiteY189" fmla="*/ 535543 h 536619"/>
                  <a:gd name="connsiteX190" fmla="*/ 153700 w 451274"/>
                  <a:gd name="connsiteY190" fmla="*/ 532516 h 536619"/>
                  <a:gd name="connsiteX191" fmla="*/ 154777 w 451274"/>
                  <a:gd name="connsiteY191" fmla="*/ 531002 h 536619"/>
                  <a:gd name="connsiteX192" fmla="*/ 154777 w 451274"/>
                  <a:gd name="connsiteY192" fmla="*/ 527537 h 536619"/>
                  <a:gd name="connsiteX193" fmla="*/ 154777 w 451274"/>
                  <a:gd name="connsiteY193" fmla="*/ 521448 h 536619"/>
                  <a:gd name="connsiteX194" fmla="*/ 156191 w 451274"/>
                  <a:gd name="connsiteY194" fmla="*/ 516671 h 536619"/>
                  <a:gd name="connsiteX195" fmla="*/ 158244 w 451274"/>
                  <a:gd name="connsiteY195" fmla="*/ 519261 h 536619"/>
                  <a:gd name="connsiteX196" fmla="*/ 166927 w 451274"/>
                  <a:gd name="connsiteY196" fmla="*/ 518824 h 536619"/>
                  <a:gd name="connsiteX197" fmla="*/ 170393 w 451274"/>
                  <a:gd name="connsiteY197" fmla="*/ 517075 h 536619"/>
                  <a:gd name="connsiteX198" fmla="*/ 177562 w 451274"/>
                  <a:gd name="connsiteY198" fmla="*/ 513374 h 536619"/>
                  <a:gd name="connsiteX199" fmla="*/ 177763 w 451274"/>
                  <a:gd name="connsiteY199" fmla="*/ 509909 h 536619"/>
                  <a:gd name="connsiteX200" fmla="*/ 175374 w 451274"/>
                  <a:gd name="connsiteY200" fmla="*/ 507084 h 536619"/>
                  <a:gd name="connsiteX201" fmla="*/ 174061 w 451274"/>
                  <a:gd name="connsiteY201" fmla="*/ 503821 h 536619"/>
                  <a:gd name="connsiteX202" fmla="*/ 169047 w 451274"/>
                  <a:gd name="connsiteY202" fmla="*/ 501231 h 536619"/>
                  <a:gd name="connsiteX203" fmla="*/ 178167 w 451274"/>
                  <a:gd name="connsiteY203" fmla="*/ 500154 h 536619"/>
                  <a:gd name="connsiteX204" fmla="*/ 182509 w 451274"/>
                  <a:gd name="connsiteY204" fmla="*/ 501466 h 536619"/>
                  <a:gd name="connsiteX205" fmla="*/ 187725 w 451274"/>
                  <a:gd name="connsiteY205" fmla="*/ 504931 h 536619"/>
                  <a:gd name="connsiteX206" fmla="*/ 187725 w 451274"/>
                  <a:gd name="connsiteY206" fmla="*/ 513610 h 536619"/>
                  <a:gd name="connsiteX207" fmla="*/ 187725 w 451274"/>
                  <a:gd name="connsiteY207" fmla="*/ 518387 h 536619"/>
                  <a:gd name="connsiteX208" fmla="*/ 188600 w 451274"/>
                  <a:gd name="connsiteY208" fmla="*/ 521414 h 536619"/>
                  <a:gd name="connsiteX209" fmla="*/ 192740 w 451274"/>
                  <a:gd name="connsiteY209" fmla="*/ 521414 h 536619"/>
                  <a:gd name="connsiteX210" fmla="*/ 194692 w 451274"/>
                  <a:gd name="connsiteY210" fmla="*/ 517075 h 536619"/>
                  <a:gd name="connsiteX211" fmla="*/ 194692 w 451274"/>
                  <a:gd name="connsiteY211" fmla="*/ 513610 h 536619"/>
                  <a:gd name="connsiteX212" fmla="*/ 196004 w 451274"/>
                  <a:gd name="connsiteY212" fmla="*/ 509473 h 536619"/>
                  <a:gd name="connsiteX213" fmla="*/ 194692 w 451274"/>
                  <a:gd name="connsiteY213" fmla="*/ 506646 h 536619"/>
                  <a:gd name="connsiteX214" fmla="*/ 194692 w 451274"/>
                  <a:gd name="connsiteY214" fmla="*/ 503384 h 536619"/>
                  <a:gd name="connsiteX215" fmla="*/ 194692 w 451274"/>
                  <a:gd name="connsiteY215" fmla="*/ 494906 h 536619"/>
                  <a:gd name="connsiteX216" fmla="*/ 196879 w 451274"/>
                  <a:gd name="connsiteY216" fmla="*/ 491441 h 536619"/>
                  <a:gd name="connsiteX217" fmla="*/ 199908 w 451274"/>
                  <a:gd name="connsiteY217" fmla="*/ 486227 h 536619"/>
                  <a:gd name="connsiteX218" fmla="*/ 203374 w 451274"/>
                  <a:gd name="connsiteY218" fmla="*/ 486025 h 536619"/>
                  <a:gd name="connsiteX219" fmla="*/ 203374 w 451274"/>
                  <a:gd name="connsiteY219" fmla="*/ 488414 h 536619"/>
                  <a:gd name="connsiteX220" fmla="*/ 202836 w 451274"/>
                  <a:gd name="connsiteY220" fmla="*/ 494065 h 536619"/>
                  <a:gd name="connsiteX221" fmla="*/ 202062 w 451274"/>
                  <a:gd name="connsiteY221" fmla="*/ 500154 h 536619"/>
                  <a:gd name="connsiteX222" fmla="*/ 204687 w 451274"/>
                  <a:gd name="connsiteY222" fmla="*/ 502778 h 536619"/>
                  <a:gd name="connsiteX223" fmla="*/ 208154 w 451274"/>
                  <a:gd name="connsiteY223" fmla="*/ 498640 h 536619"/>
                  <a:gd name="connsiteX224" fmla="*/ 214447 w 451274"/>
                  <a:gd name="connsiteY224" fmla="*/ 492989 h 536619"/>
                  <a:gd name="connsiteX225" fmla="*/ 217274 w 451274"/>
                  <a:gd name="connsiteY225" fmla="*/ 487775 h 536619"/>
                  <a:gd name="connsiteX226" fmla="*/ 217274 w 451274"/>
                  <a:gd name="connsiteY226" fmla="*/ 481047 h 536619"/>
                  <a:gd name="connsiteX227" fmla="*/ 218250 w 451274"/>
                  <a:gd name="connsiteY227" fmla="*/ 474958 h 536619"/>
                  <a:gd name="connsiteX228" fmla="*/ 217038 w 451274"/>
                  <a:gd name="connsiteY228" fmla="*/ 472368 h 536619"/>
                  <a:gd name="connsiteX229" fmla="*/ 222894 w 451274"/>
                  <a:gd name="connsiteY229" fmla="*/ 471056 h 536619"/>
                  <a:gd name="connsiteX230" fmla="*/ 231173 w 451274"/>
                  <a:gd name="connsiteY230" fmla="*/ 471056 h 536619"/>
                  <a:gd name="connsiteX231" fmla="*/ 235750 w 451274"/>
                  <a:gd name="connsiteY231" fmla="*/ 467355 h 536619"/>
                  <a:gd name="connsiteX232" fmla="*/ 237500 w 451274"/>
                  <a:gd name="connsiteY232" fmla="*/ 463218 h 536619"/>
                  <a:gd name="connsiteX233" fmla="*/ 238375 w 451274"/>
                  <a:gd name="connsiteY233" fmla="*/ 457566 h 536619"/>
                  <a:gd name="connsiteX234" fmla="*/ 237298 w 451274"/>
                  <a:gd name="connsiteY234" fmla="*/ 453866 h 536619"/>
                  <a:gd name="connsiteX235" fmla="*/ 233597 w 451274"/>
                  <a:gd name="connsiteY235" fmla="*/ 453866 h 536619"/>
                  <a:gd name="connsiteX236" fmla="*/ 233394 w 451274"/>
                  <a:gd name="connsiteY236" fmla="*/ 449728 h 536619"/>
                  <a:gd name="connsiteX237" fmla="*/ 229255 w 451274"/>
                  <a:gd name="connsiteY237" fmla="*/ 446028 h 536619"/>
                  <a:gd name="connsiteX238" fmla="*/ 229693 w 451274"/>
                  <a:gd name="connsiteY238" fmla="*/ 441890 h 536619"/>
                  <a:gd name="connsiteX239" fmla="*/ 230130 w 451274"/>
                  <a:gd name="connsiteY239" fmla="*/ 438863 h 536619"/>
                  <a:gd name="connsiteX240" fmla="*/ 228817 w 451274"/>
                  <a:gd name="connsiteY240" fmla="*/ 435600 h 536619"/>
                  <a:gd name="connsiteX241" fmla="*/ 226866 w 451274"/>
                  <a:gd name="connsiteY241" fmla="*/ 432337 h 536619"/>
                  <a:gd name="connsiteX242" fmla="*/ 222962 w 451274"/>
                  <a:gd name="connsiteY242" fmla="*/ 427123 h 536619"/>
                  <a:gd name="connsiteX243" fmla="*/ 226462 w 451274"/>
                  <a:gd name="connsiteY243" fmla="*/ 424532 h 536619"/>
                  <a:gd name="connsiteX244" fmla="*/ 230164 w 451274"/>
                  <a:gd name="connsiteY244" fmla="*/ 423658 h 536619"/>
                  <a:gd name="connsiteX245" fmla="*/ 234303 w 451274"/>
                  <a:gd name="connsiteY245" fmla="*/ 423859 h 536619"/>
                  <a:gd name="connsiteX246" fmla="*/ 235380 w 451274"/>
                  <a:gd name="connsiteY246" fmla="*/ 428434 h 536619"/>
                  <a:gd name="connsiteX247" fmla="*/ 235380 w 451274"/>
                  <a:gd name="connsiteY247" fmla="*/ 435162 h 536619"/>
                  <a:gd name="connsiteX248" fmla="*/ 237332 w 451274"/>
                  <a:gd name="connsiteY248" fmla="*/ 439939 h 536619"/>
                  <a:gd name="connsiteX249" fmla="*/ 240798 w 451274"/>
                  <a:gd name="connsiteY249" fmla="*/ 439939 h 536619"/>
                  <a:gd name="connsiteX250" fmla="*/ 247529 w 451274"/>
                  <a:gd name="connsiteY250" fmla="*/ 438964 h 536619"/>
                  <a:gd name="connsiteX251" fmla="*/ 248169 w 451274"/>
                  <a:gd name="connsiteY251" fmla="*/ 435600 h 536619"/>
                  <a:gd name="connsiteX252" fmla="*/ 244702 w 451274"/>
                  <a:gd name="connsiteY252" fmla="*/ 429511 h 536619"/>
                  <a:gd name="connsiteX253" fmla="*/ 241875 w 451274"/>
                  <a:gd name="connsiteY253" fmla="*/ 425609 h 536619"/>
                  <a:gd name="connsiteX254" fmla="*/ 239924 w 451274"/>
                  <a:gd name="connsiteY254" fmla="*/ 419318 h 536619"/>
                  <a:gd name="connsiteX255" fmla="*/ 237971 w 451274"/>
                  <a:gd name="connsiteY255" fmla="*/ 413028 h 536619"/>
                  <a:gd name="connsiteX256" fmla="*/ 242313 w 451274"/>
                  <a:gd name="connsiteY256" fmla="*/ 417165 h 536619"/>
                  <a:gd name="connsiteX257" fmla="*/ 249919 w 451274"/>
                  <a:gd name="connsiteY257" fmla="*/ 424330 h 536619"/>
                  <a:gd name="connsiteX258" fmla="*/ 255371 w 451274"/>
                  <a:gd name="connsiteY258" fmla="*/ 423691 h 536619"/>
                  <a:gd name="connsiteX259" fmla="*/ 260587 w 451274"/>
                  <a:gd name="connsiteY259" fmla="*/ 420865 h 536619"/>
                  <a:gd name="connsiteX260" fmla="*/ 268833 w 451274"/>
                  <a:gd name="connsiteY260" fmla="*/ 420865 h 536619"/>
                  <a:gd name="connsiteX261" fmla="*/ 271222 w 451274"/>
                  <a:gd name="connsiteY261" fmla="*/ 421942 h 536619"/>
                  <a:gd name="connsiteX262" fmla="*/ 279266 w 451274"/>
                  <a:gd name="connsiteY262" fmla="*/ 425642 h 536619"/>
                  <a:gd name="connsiteX263" fmla="*/ 285794 w 451274"/>
                  <a:gd name="connsiteY263" fmla="*/ 427593 h 536619"/>
                  <a:gd name="connsiteX264" fmla="*/ 293199 w 451274"/>
                  <a:gd name="connsiteY264" fmla="*/ 425205 h 536619"/>
                  <a:gd name="connsiteX265" fmla="*/ 293838 w 451274"/>
                  <a:gd name="connsiteY265" fmla="*/ 419789 h 536619"/>
                  <a:gd name="connsiteX266" fmla="*/ 294915 w 451274"/>
                  <a:gd name="connsiteY266" fmla="*/ 413700 h 536619"/>
                  <a:gd name="connsiteX267" fmla="*/ 299492 w 451274"/>
                  <a:gd name="connsiteY267" fmla="*/ 408923 h 536619"/>
                  <a:gd name="connsiteX268" fmla="*/ 302756 w 451274"/>
                  <a:gd name="connsiteY268" fmla="*/ 407847 h 536619"/>
                  <a:gd name="connsiteX269" fmla="*/ 305583 w 451274"/>
                  <a:gd name="connsiteY269" fmla="*/ 405021 h 536619"/>
                  <a:gd name="connsiteX270" fmla="*/ 306223 w 451274"/>
                  <a:gd name="connsiteY270" fmla="*/ 400446 h 536619"/>
                  <a:gd name="connsiteX271" fmla="*/ 303194 w 451274"/>
                  <a:gd name="connsiteY271" fmla="*/ 396746 h 536619"/>
                  <a:gd name="connsiteX272" fmla="*/ 294511 w 451274"/>
                  <a:gd name="connsiteY272" fmla="*/ 395669 h 536619"/>
                  <a:gd name="connsiteX273" fmla="*/ 292122 w 451274"/>
                  <a:gd name="connsiteY273" fmla="*/ 392205 h 536619"/>
                  <a:gd name="connsiteX274" fmla="*/ 292122 w 451274"/>
                  <a:gd name="connsiteY274" fmla="*/ 389614 h 536619"/>
                  <a:gd name="connsiteX275" fmla="*/ 299963 w 451274"/>
                  <a:gd name="connsiteY275" fmla="*/ 389614 h 536619"/>
                  <a:gd name="connsiteX276" fmla="*/ 305180 w 451274"/>
                  <a:gd name="connsiteY276" fmla="*/ 389614 h 536619"/>
                  <a:gd name="connsiteX277" fmla="*/ 310396 w 451274"/>
                  <a:gd name="connsiteY277" fmla="*/ 386150 h 536619"/>
                  <a:gd name="connsiteX278" fmla="*/ 322579 w 451274"/>
                  <a:gd name="connsiteY278" fmla="*/ 386150 h 536619"/>
                  <a:gd name="connsiteX279" fmla="*/ 327594 w 451274"/>
                  <a:gd name="connsiteY279" fmla="*/ 386150 h 536619"/>
                  <a:gd name="connsiteX280" fmla="*/ 330623 w 451274"/>
                  <a:gd name="connsiteY280" fmla="*/ 381810 h 536619"/>
                  <a:gd name="connsiteX281" fmla="*/ 331296 w 451274"/>
                  <a:gd name="connsiteY281" fmla="*/ 372256 h 536619"/>
                  <a:gd name="connsiteX282" fmla="*/ 326719 w 451274"/>
                  <a:gd name="connsiteY282" fmla="*/ 367244 h 536619"/>
                  <a:gd name="connsiteX283" fmla="*/ 322579 w 451274"/>
                  <a:gd name="connsiteY283" fmla="*/ 365293 h 536619"/>
                  <a:gd name="connsiteX284" fmla="*/ 316488 w 451274"/>
                  <a:gd name="connsiteY284" fmla="*/ 365293 h 536619"/>
                  <a:gd name="connsiteX285" fmla="*/ 316488 w 451274"/>
                  <a:gd name="connsiteY285" fmla="*/ 360079 h 536619"/>
                  <a:gd name="connsiteX286" fmla="*/ 318541 w 451274"/>
                  <a:gd name="connsiteY286" fmla="*/ 355100 h 536619"/>
                  <a:gd name="connsiteX287" fmla="*/ 319954 w 451274"/>
                  <a:gd name="connsiteY287" fmla="*/ 350525 h 536619"/>
                  <a:gd name="connsiteX288" fmla="*/ 319954 w 451274"/>
                  <a:gd name="connsiteY288" fmla="*/ 345984 h 536619"/>
                  <a:gd name="connsiteX289" fmla="*/ 322680 w 451274"/>
                  <a:gd name="connsiteY289" fmla="*/ 343360 h 536619"/>
                  <a:gd name="connsiteX290" fmla="*/ 326921 w 451274"/>
                  <a:gd name="connsiteY290" fmla="*/ 343595 h 536619"/>
                  <a:gd name="connsiteX291" fmla="*/ 326921 w 451274"/>
                  <a:gd name="connsiteY291" fmla="*/ 348809 h 536619"/>
                  <a:gd name="connsiteX292" fmla="*/ 326921 w 451274"/>
                  <a:gd name="connsiteY292" fmla="*/ 354259 h 536619"/>
                  <a:gd name="connsiteX293" fmla="*/ 331599 w 451274"/>
                  <a:gd name="connsiteY293" fmla="*/ 358599 h 536619"/>
                  <a:gd name="connsiteX294" fmla="*/ 337151 w 451274"/>
                  <a:gd name="connsiteY294" fmla="*/ 357085 h 536619"/>
                  <a:gd name="connsiteX295" fmla="*/ 338901 w 451274"/>
                  <a:gd name="connsiteY295" fmla="*/ 355571 h 536619"/>
                  <a:gd name="connsiteX296" fmla="*/ 338700 w 451274"/>
                  <a:gd name="connsiteY296" fmla="*/ 347531 h 536619"/>
                  <a:gd name="connsiteX297" fmla="*/ 339575 w 451274"/>
                  <a:gd name="connsiteY297" fmla="*/ 344268 h 536619"/>
                  <a:gd name="connsiteX298" fmla="*/ 342200 w 451274"/>
                  <a:gd name="connsiteY298" fmla="*/ 342317 h 536619"/>
                  <a:gd name="connsiteX299" fmla="*/ 346541 w 451274"/>
                  <a:gd name="connsiteY299" fmla="*/ 344705 h 536619"/>
                  <a:gd name="connsiteX300" fmla="*/ 350681 w 451274"/>
                  <a:gd name="connsiteY300" fmla="*/ 347531 h 536619"/>
                  <a:gd name="connsiteX301" fmla="*/ 354585 w 451274"/>
                  <a:gd name="connsiteY301" fmla="*/ 346455 h 536619"/>
                  <a:gd name="connsiteX302" fmla="*/ 357849 w 451274"/>
                  <a:gd name="connsiteY302" fmla="*/ 341240 h 536619"/>
                  <a:gd name="connsiteX303" fmla="*/ 359801 w 451274"/>
                  <a:gd name="connsiteY303" fmla="*/ 337776 h 536619"/>
                  <a:gd name="connsiteX304" fmla="*/ 357412 w 451274"/>
                  <a:gd name="connsiteY304" fmla="*/ 332360 h 536619"/>
                  <a:gd name="connsiteX305" fmla="*/ 347181 w 451274"/>
                  <a:gd name="connsiteY305" fmla="*/ 332360 h 536619"/>
                  <a:gd name="connsiteX306" fmla="*/ 339575 w 451274"/>
                  <a:gd name="connsiteY306" fmla="*/ 326069 h 536619"/>
                  <a:gd name="connsiteX307" fmla="*/ 337185 w 451274"/>
                  <a:gd name="connsiteY307" fmla="*/ 320855 h 536619"/>
                  <a:gd name="connsiteX308" fmla="*/ 338262 w 451274"/>
                  <a:gd name="connsiteY308" fmla="*/ 316717 h 536619"/>
                  <a:gd name="connsiteX309" fmla="*/ 342839 w 451274"/>
                  <a:gd name="connsiteY309" fmla="*/ 316717 h 536619"/>
                  <a:gd name="connsiteX310" fmla="*/ 348291 w 451274"/>
                  <a:gd name="connsiteY310" fmla="*/ 318904 h 536619"/>
                  <a:gd name="connsiteX311" fmla="*/ 353710 w 451274"/>
                  <a:gd name="connsiteY311" fmla="*/ 321292 h 536619"/>
                  <a:gd name="connsiteX312" fmla="*/ 356536 w 451274"/>
                  <a:gd name="connsiteY312" fmla="*/ 321057 h 536619"/>
                  <a:gd name="connsiteX313" fmla="*/ 356536 w 451274"/>
                  <a:gd name="connsiteY313" fmla="*/ 311503 h 536619"/>
                  <a:gd name="connsiteX314" fmla="*/ 361113 w 451274"/>
                  <a:gd name="connsiteY314" fmla="*/ 303026 h 536619"/>
                  <a:gd name="connsiteX315" fmla="*/ 364378 w 451274"/>
                  <a:gd name="connsiteY315" fmla="*/ 305650 h 536619"/>
                  <a:gd name="connsiteX316" fmla="*/ 368282 w 451274"/>
                  <a:gd name="connsiteY316" fmla="*/ 309787 h 536619"/>
                  <a:gd name="connsiteX317" fmla="*/ 371984 w 451274"/>
                  <a:gd name="connsiteY317" fmla="*/ 315002 h 536619"/>
                  <a:gd name="connsiteX318" fmla="*/ 371547 w 451274"/>
                  <a:gd name="connsiteY318" fmla="*/ 320014 h 536619"/>
                  <a:gd name="connsiteX319" fmla="*/ 378278 w 451274"/>
                  <a:gd name="connsiteY319" fmla="*/ 327179 h 536619"/>
                  <a:gd name="connsiteX320" fmla="*/ 388071 w 451274"/>
                  <a:gd name="connsiteY320" fmla="*/ 327179 h 536619"/>
                  <a:gd name="connsiteX321" fmla="*/ 390662 w 451274"/>
                  <a:gd name="connsiteY321" fmla="*/ 324555 h 536619"/>
                  <a:gd name="connsiteX322" fmla="*/ 389350 w 451274"/>
                  <a:gd name="connsiteY322" fmla="*/ 318702 h 536619"/>
                  <a:gd name="connsiteX323" fmla="*/ 385884 w 451274"/>
                  <a:gd name="connsiteY323" fmla="*/ 308913 h 536619"/>
                  <a:gd name="connsiteX324" fmla="*/ 381542 w 451274"/>
                  <a:gd name="connsiteY324" fmla="*/ 304338 h 536619"/>
                  <a:gd name="connsiteX325" fmla="*/ 376527 w 451274"/>
                  <a:gd name="connsiteY325" fmla="*/ 297610 h 536619"/>
                  <a:gd name="connsiteX326" fmla="*/ 383898 w 451274"/>
                  <a:gd name="connsiteY326" fmla="*/ 297610 h 536619"/>
                  <a:gd name="connsiteX327" fmla="*/ 388475 w 451274"/>
                  <a:gd name="connsiteY327" fmla="*/ 295457 h 536619"/>
                  <a:gd name="connsiteX328" fmla="*/ 387600 w 451274"/>
                  <a:gd name="connsiteY328" fmla="*/ 289166 h 536619"/>
                  <a:gd name="connsiteX329" fmla="*/ 386725 w 451274"/>
                  <a:gd name="connsiteY329" fmla="*/ 283952 h 536619"/>
                  <a:gd name="connsiteX330" fmla="*/ 384335 w 451274"/>
                  <a:gd name="connsiteY330" fmla="*/ 275273 h 536619"/>
                  <a:gd name="connsiteX331" fmla="*/ 384537 w 451274"/>
                  <a:gd name="connsiteY331" fmla="*/ 268747 h 536619"/>
                  <a:gd name="connsiteX332" fmla="*/ 385177 w 451274"/>
                  <a:gd name="connsiteY332" fmla="*/ 266359 h 536619"/>
                  <a:gd name="connsiteX333" fmla="*/ 396249 w 451274"/>
                  <a:gd name="connsiteY333" fmla="*/ 266359 h 536619"/>
                  <a:gd name="connsiteX334" fmla="*/ 399749 w 451274"/>
                  <a:gd name="connsiteY334" fmla="*/ 262759 h 536619"/>
                  <a:gd name="connsiteX335" fmla="*/ 398672 w 451274"/>
                  <a:gd name="connsiteY335" fmla="*/ 257444 h 536619"/>
                  <a:gd name="connsiteX336" fmla="*/ 395206 w 451274"/>
                  <a:gd name="connsiteY336" fmla="*/ 251355 h 536619"/>
                  <a:gd name="connsiteX337" fmla="*/ 388677 w 451274"/>
                  <a:gd name="connsiteY337" fmla="*/ 248967 h 536619"/>
                  <a:gd name="connsiteX338" fmla="*/ 379994 w 451274"/>
                  <a:gd name="connsiteY338" fmla="*/ 248967 h 536619"/>
                  <a:gd name="connsiteX339" fmla="*/ 372826 w 451274"/>
                  <a:gd name="connsiteY339" fmla="*/ 248967 h 536619"/>
                  <a:gd name="connsiteX340" fmla="*/ 373902 w 451274"/>
                  <a:gd name="connsiteY340" fmla="*/ 245368 h 536619"/>
                  <a:gd name="connsiteX341" fmla="*/ 380869 w 451274"/>
                  <a:gd name="connsiteY341" fmla="*/ 238539 h 536619"/>
                  <a:gd name="connsiteX342" fmla="*/ 383696 w 451274"/>
                  <a:gd name="connsiteY342" fmla="*/ 234401 h 536619"/>
                  <a:gd name="connsiteX343" fmla="*/ 384571 w 451274"/>
                  <a:gd name="connsiteY343" fmla="*/ 225924 h 536619"/>
                  <a:gd name="connsiteX344" fmla="*/ 388273 w 451274"/>
                  <a:gd name="connsiteY344" fmla="*/ 220272 h 536619"/>
                  <a:gd name="connsiteX345" fmla="*/ 395441 w 451274"/>
                  <a:gd name="connsiteY345" fmla="*/ 218759 h 536619"/>
                  <a:gd name="connsiteX346" fmla="*/ 401095 w 451274"/>
                  <a:gd name="connsiteY346" fmla="*/ 216370 h 536619"/>
                  <a:gd name="connsiteX347" fmla="*/ 405639 w 451274"/>
                  <a:gd name="connsiteY347" fmla="*/ 216370 h 536619"/>
                  <a:gd name="connsiteX348" fmla="*/ 410417 w 451274"/>
                  <a:gd name="connsiteY348" fmla="*/ 213545 h 536619"/>
                  <a:gd name="connsiteX349" fmla="*/ 411730 w 451274"/>
                  <a:gd name="connsiteY349" fmla="*/ 207893 h 536619"/>
                  <a:gd name="connsiteX350" fmla="*/ 407591 w 451274"/>
                  <a:gd name="connsiteY350" fmla="*/ 203755 h 536619"/>
                  <a:gd name="connsiteX351" fmla="*/ 402811 w 451274"/>
                  <a:gd name="connsiteY351" fmla="*/ 202881 h 536619"/>
                  <a:gd name="connsiteX352" fmla="*/ 398033 w 451274"/>
                  <a:gd name="connsiteY352" fmla="*/ 204193 h 536619"/>
                  <a:gd name="connsiteX353" fmla="*/ 394768 w 451274"/>
                  <a:gd name="connsiteY353" fmla="*/ 207893 h 536619"/>
                  <a:gd name="connsiteX354" fmla="*/ 391706 w 451274"/>
                  <a:gd name="connsiteY354" fmla="*/ 211593 h 536619"/>
                  <a:gd name="connsiteX355" fmla="*/ 388677 w 451274"/>
                  <a:gd name="connsiteY355" fmla="*/ 213545 h 536619"/>
                  <a:gd name="connsiteX356" fmla="*/ 385782 w 451274"/>
                  <a:gd name="connsiteY356" fmla="*/ 211291 h 536619"/>
                  <a:gd name="connsiteX357" fmla="*/ 380869 w 451274"/>
                  <a:gd name="connsiteY357" fmla="*/ 208969 h 536619"/>
                  <a:gd name="connsiteX358" fmla="*/ 375652 w 451274"/>
                  <a:gd name="connsiteY358" fmla="*/ 204058 h 536619"/>
                  <a:gd name="connsiteX359" fmla="*/ 374777 w 451274"/>
                  <a:gd name="connsiteY359" fmla="*/ 200593 h 536619"/>
                  <a:gd name="connsiteX360" fmla="*/ 378244 w 451274"/>
                  <a:gd name="connsiteY360" fmla="*/ 198272 h 536619"/>
                  <a:gd name="connsiteX361" fmla="*/ 379994 w 451274"/>
                  <a:gd name="connsiteY361" fmla="*/ 196826 h 536619"/>
                  <a:gd name="connsiteX362" fmla="*/ 383191 w 451274"/>
                  <a:gd name="connsiteY362" fmla="*/ 196826 h 536619"/>
                  <a:gd name="connsiteX363" fmla="*/ 386388 w 451274"/>
                  <a:gd name="connsiteY363" fmla="*/ 200459 h 536619"/>
                  <a:gd name="connsiteX364" fmla="*/ 390461 w 451274"/>
                  <a:gd name="connsiteY364" fmla="*/ 202040 h 536619"/>
                  <a:gd name="connsiteX365" fmla="*/ 395374 w 451274"/>
                  <a:gd name="connsiteY365" fmla="*/ 202040 h 536619"/>
                  <a:gd name="connsiteX366" fmla="*/ 398268 w 451274"/>
                  <a:gd name="connsiteY366" fmla="*/ 199416 h 536619"/>
                  <a:gd name="connsiteX367" fmla="*/ 398268 w 451274"/>
                  <a:gd name="connsiteY367" fmla="*/ 193899 h 536619"/>
                  <a:gd name="connsiteX368" fmla="*/ 395509 w 451274"/>
                  <a:gd name="connsiteY368" fmla="*/ 190703 h 536619"/>
                  <a:gd name="connsiteX369" fmla="*/ 391302 w 451274"/>
                  <a:gd name="connsiteY369" fmla="*/ 185489 h 536619"/>
                  <a:gd name="connsiteX370" fmla="*/ 391302 w 451274"/>
                  <a:gd name="connsiteY370" fmla="*/ 182865 h 536619"/>
                  <a:gd name="connsiteX371" fmla="*/ 385580 w 451274"/>
                  <a:gd name="connsiteY371" fmla="*/ 179400 h 536619"/>
                  <a:gd name="connsiteX372" fmla="*/ 379119 w 451274"/>
                  <a:gd name="connsiteY372" fmla="*/ 178526 h 536619"/>
                  <a:gd name="connsiteX373" fmla="*/ 379119 w 451274"/>
                  <a:gd name="connsiteY373" fmla="*/ 177651 h 536619"/>
                  <a:gd name="connsiteX374" fmla="*/ 381878 w 451274"/>
                  <a:gd name="connsiteY374" fmla="*/ 175330 h 536619"/>
                  <a:gd name="connsiteX375" fmla="*/ 383460 w 451274"/>
                  <a:gd name="connsiteY375" fmla="*/ 172437 h 536619"/>
                  <a:gd name="connsiteX376" fmla="*/ 377941 w 451274"/>
                  <a:gd name="connsiteY376" fmla="*/ 172437 h 536619"/>
                  <a:gd name="connsiteX377" fmla="*/ 372152 w 451274"/>
                  <a:gd name="connsiteY377" fmla="*/ 169813 h 536619"/>
                  <a:gd name="connsiteX378" fmla="*/ 369527 w 451274"/>
                  <a:gd name="connsiteY378" fmla="*/ 165743 h 536619"/>
                  <a:gd name="connsiteX379" fmla="*/ 371849 w 451274"/>
                  <a:gd name="connsiteY379" fmla="*/ 162547 h 536619"/>
                  <a:gd name="connsiteX380" fmla="*/ 376763 w 451274"/>
                  <a:gd name="connsiteY380" fmla="*/ 165743 h 536619"/>
                  <a:gd name="connsiteX381" fmla="*/ 383730 w 451274"/>
                  <a:gd name="connsiteY381" fmla="*/ 168064 h 536619"/>
                  <a:gd name="connsiteX382" fmla="*/ 384032 w 451274"/>
                  <a:gd name="connsiteY382" fmla="*/ 165743 h 536619"/>
                  <a:gd name="connsiteX383" fmla="*/ 382585 w 451274"/>
                  <a:gd name="connsiteY383" fmla="*/ 162850 h 536619"/>
                  <a:gd name="connsiteX384" fmla="*/ 382585 w 451274"/>
                  <a:gd name="connsiteY384" fmla="*/ 157938 h 536619"/>
                  <a:gd name="connsiteX385" fmla="*/ 385042 w 451274"/>
                  <a:gd name="connsiteY385" fmla="*/ 158207 h 536619"/>
                  <a:gd name="connsiteX386" fmla="*/ 386927 w 451274"/>
                  <a:gd name="connsiteY386" fmla="*/ 158779 h 536619"/>
                  <a:gd name="connsiteX387" fmla="*/ 390124 w 451274"/>
                  <a:gd name="connsiteY387" fmla="*/ 156458 h 536619"/>
                  <a:gd name="connsiteX388" fmla="*/ 394768 w 451274"/>
                  <a:gd name="connsiteY388" fmla="*/ 157602 h 536619"/>
                  <a:gd name="connsiteX389" fmla="*/ 394768 w 451274"/>
                  <a:gd name="connsiteY389" fmla="*/ 164565 h 536619"/>
                  <a:gd name="connsiteX390" fmla="*/ 394768 w 451274"/>
                  <a:gd name="connsiteY390" fmla="*/ 170654 h 536619"/>
                  <a:gd name="connsiteX391" fmla="*/ 401735 w 451274"/>
                  <a:gd name="connsiteY391" fmla="*/ 170654 h 536619"/>
                  <a:gd name="connsiteX392" fmla="*/ 405201 w 451274"/>
                  <a:gd name="connsiteY392" fmla="*/ 169645 h 536619"/>
                  <a:gd name="connsiteX393" fmla="*/ 406648 w 451274"/>
                  <a:gd name="connsiteY393" fmla="*/ 166314 h 536619"/>
                  <a:gd name="connsiteX394" fmla="*/ 408667 w 451274"/>
                  <a:gd name="connsiteY394" fmla="*/ 160528 h 536619"/>
                  <a:gd name="connsiteX395" fmla="*/ 410990 w 451274"/>
                  <a:gd name="connsiteY395" fmla="*/ 159082 h 536619"/>
                  <a:gd name="connsiteX396" fmla="*/ 412740 w 451274"/>
                  <a:gd name="connsiteY396" fmla="*/ 159654 h 536619"/>
                  <a:gd name="connsiteX397" fmla="*/ 415062 w 451274"/>
                  <a:gd name="connsiteY397" fmla="*/ 162278 h 536619"/>
                  <a:gd name="connsiteX398" fmla="*/ 414490 w 451274"/>
                  <a:gd name="connsiteY398" fmla="*/ 164868 h 536619"/>
                  <a:gd name="connsiteX399" fmla="*/ 413918 w 451274"/>
                  <a:gd name="connsiteY399" fmla="*/ 167189 h 536619"/>
                  <a:gd name="connsiteX400" fmla="*/ 411293 w 451274"/>
                  <a:gd name="connsiteY400" fmla="*/ 170957 h 536619"/>
                  <a:gd name="connsiteX401" fmla="*/ 408095 w 451274"/>
                  <a:gd name="connsiteY401" fmla="*/ 173547 h 536619"/>
                  <a:gd name="connsiteX402" fmla="*/ 404326 w 451274"/>
                  <a:gd name="connsiteY402" fmla="*/ 177886 h 536619"/>
                  <a:gd name="connsiteX403" fmla="*/ 401701 w 451274"/>
                  <a:gd name="connsiteY403" fmla="*/ 183673 h 536619"/>
                  <a:gd name="connsiteX404" fmla="*/ 401701 w 451274"/>
                  <a:gd name="connsiteY404" fmla="*/ 185994 h 536619"/>
                  <a:gd name="connsiteX405" fmla="*/ 404461 w 451274"/>
                  <a:gd name="connsiteY405" fmla="*/ 190636 h 536619"/>
                  <a:gd name="connsiteX406" fmla="*/ 411562 w 451274"/>
                  <a:gd name="connsiteY406" fmla="*/ 187171 h 536619"/>
                  <a:gd name="connsiteX407" fmla="*/ 423745 w 451274"/>
                  <a:gd name="connsiteY407" fmla="*/ 181385 h 536619"/>
                  <a:gd name="connsiteX408" fmla="*/ 428389 w 451274"/>
                  <a:gd name="connsiteY408" fmla="*/ 174422 h 536619"/>
                  <a:gd name="connsiteX409" fmla="*/ 430409 w 451274"/>
                  <a:gd name="connsiteY409" fmla="*/ 168333 h 536619"/>
                  <a:gd name="connsiteX410" fmla="*/ 422567 w 451274"/>
                  <a:gd name="connsiteY410" fmla="*/ 159351 h 536619"/>
                  <a:gd name="connsiteX411" fmla="*/ 418797 w 451274"/>
                  <a:gd name="connsiteY411" fmla="*/ 152690 h 536619"/>
                  <a:gd name="connsiteX412" fmla="*/ 420817 w 451274"/>
                  <a:gd name="connsiteY412" fmla="*/ 147173 h 536619"/>
                  <a:gd name="connsiteX413" fmla="*/ 420817 w 451274"/>
                  <a:gd name="connsiteY413" fmla="*/ 142834 h 536619"/>
                  <a:gd name="connsiteX414" fmla="*/ 425158 w 451274"/>
                  <a:gd name="connsiteY414" fmla="*/ 140815 h 536619"/>
                  <a:gd name="connsiteX415" fmla="*/ 430375 w 451274"/>
                  <a:gd name="connsiteY415" fmla="*/ 141118 h 536619"/>
                  <a:gd name="connsiteX416" fmla="*/ 433841 w 451274"/>
                  <a:gd name="connsiteY416" fmla="*/ 142868 h 536619"/>
                  <a:gd name="connsiteX417" fmla="*/ 437611 w 451274"/>
                  <a:gd name="connsiteY417" fmla="*/ 142868 h 536619"/>
                  <a:gd name="connsiteX418" fmla="*/ 438890 w 451274"/>
                  <a:gd name="connsiteY418" fmla="*/ 139537 h 536619"/>
                  <a:gd name="connsiteX419" fmla="*/ 437307 w 451274"/>
                  <a:gd name="connsiteY419" fmla="*/ 135904 h 536619"/>
                  <a:gd name="connsiteX420" fmla="*/ 436736 w 451274"/>
                  <a:gd name="connsiteY420" fmla="*/ 133011 h 536619"/>
                  <a:gd name="connsiteX421" fmla="*/ 435288 w 451274"/>
                  <a:gd name="connsiteY421" fmla="*/ 124904 h 536619"/>
                  <a:gd name="connsiteX422" fmla="*/ 438890 w 451274"/>
                  <a:gd name="connsiteY422" fmla="*/ 123155 h 536619"/>
                  <a:gd name="connsiteX423" fmla="*/ 444846 w 451274"/>
                  <a:gd name="connsiteY423" fmla="*/ 120834 h 536619"/>
                  <a:gd name="connsiteX424" fmla="*/ 446293 w 451274"/>
                  <a:gd name="connsiteY424" fmla="*/ 115922 h 536619"/>
                  <a:gd name="connsiteX425" fmla="*/ 441952 w 451274"/>
                  <a:gd name="connsiteY425" fmla="*/ 111583 h 536619"/>
                  <a:gd name="connsiteX426" fmla="*/ 439058 w 451274"/>
                  <a:gd name="connsiteY426" fmla="*/ 108118 h 536619"/>
                  <a:gd name="connsiteX427" fmla="*/ 433841 w 451274"/>
                  <a:gd name="connsiteY427" fmla="*/ 108118 h 536619"/>
                  <a:gd name="connsiteX428" fmla="*/ 426875 w 451274"/>
                  <a:gd name="connsiteY428" fmla="*/ 106369 h 536619"/>
                  <a:gd name="connsiteX429" fmla="*/ 426572 w 451274"/>
                  <a:gd name="connsiteY429" fmla="*/ 106369 h 536619"/>
                  <a:gd name="connsiteX430" fmla="*/ 429466 w 451274"/>
                  <a:gd name="connsiteY430" fmla="*/ 101154 h 536619"/>
                  <a:gd name="connsiteX431" fmla="*/ 438721 w 451274"/>
                  <a:gd name="connsiteY431" fmla="*/ 102904 h 536619"/>
                  <a:gd name="connsiteX432" fmla="*/ 443635 w 451274"/>
                  <a:gd name="connsiteY432" fmla="*/ 108690 h 536619"/>
                  <a:gd name="connsiteX433" fmla="*/ 447673 w 451274"/>
                  <a:gd name="connsiteY433" fmla="*/ 111583 h 536619"/>
                  <a:gd name="connsiteX434" fmla="*/ 451139 w 451274"/>
                  <a:gd name="connsiteY434" fmla="*/ 111583 h 536619"/>
                  <a:gd name="connsiteX435" fmla="*/ 451274 w 451274"/>
                  <a:gd name="connsiteY435" fmla="*/ 111011 h 536619"/>
                  <a:gd name="connsiteX436" fmla="*/ 451005 w 451274"/>
                  <a:gd name="connsiteY436" fmla="*/ 110977 h 536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</a:cxnLst>
                <a:rect l="l" t="t" r="r" b="b"/>
                <a:pathLst>
                  <a:path w="451274" h="536619">
                    <a:moveTo>
                      <a:pt x="451005" y="110977"/>
                    </a:moveTo>
                    <a:lnTo>
                      <a:pt x="449255" y="109228"/>
                    </a:lnTo>
                    <a:lnTo>
                      <a:pt x="445116" y="105326"/>
                    </a:lnTo>
                    <a:lnTo>
                      <a:pt x="445116" y="100313"/>
                    </a:lnTo>
                    <a:lnTo>
                      <a:pt x="441649" y="93787"/>
                    </a:lnTo>
                    <a:cubicBezTo>
                      <a:pt x="441649" y="93787"/>
                      <a:pt x="441211" y="89011"/>
                      <a:pt x="440572" y="88371"/>
                    </a:cubicBezTo>
                    <a:cubicBezTo>
                      <a:pt x="439899" y="87732"/>
                      <a:pt x="437510" y="84032"/>
                      <a:pt x="437510" y="84032"/>
                    </a:cubicBezTo>
                    <a:lnTo>
                      <a:pt x="427514" y="82283"/>
                    </a:lnTo>
                    <a:cubicBezTo>
                      <a:pt x="427514" y="82283"/>
                      <a:pt x="417283" y="83595"/>
                      <a:pt x="416643" y="83796"/>
                    </a:cubicBezTo>
                    <a:cubicBezTo>
                      <a:pt x="416004" y="83998"/>
                      <a:pt x="410350" y="87059"/>
                      <a:pt x="410350" y="87059"/>
                    </a:cubicBezTo>
                    <a:lnTo>
                      <a:pt x="405134" y="93787"/>
                    </a:lnTo>
                    <a:lnTo>
                      <a:pt x="401432" y="99203"/>
                    </a:lnTo>
                    <a:cubicBezTo>
                      <a:pt x="401432" y="99203"/>
                      <a:pt x="395340" y="100717"/>
                      <a:pt x="394701" y="100953"/>
                    </a:cubicBezTo>
                    <a:cubicBezTo>
                      <a:pt x="394028" y="101188"/>
                      <a:pt x="387533" y="102029"/>
                      <a:pt x="387533" y="102029"/>
                    </a:cubicBezTo>
                    <a:lnTo>
                      <a:pt x="381206" y="100280"/>
                    </a:lnTo>
                    <a:lnTo>
                      <a:pt x="378580" y="94830"/>
                    </a:lnTo>
                    <a:lnTo>
                      <a:pt x="375114" y="87867"/>
                    </a:lnTo>
                    <a:lnTo>
                      <a:pt x="370772" y="80264"/>
                    </a:lnTo>
                    <a:lnTo>
                      <a:pt x="368820" y="71350"/>
                    </a:lnTo>
                    <a:lnTo>
                      <a:pt x="364681" y="64386"/>
                    </a:lnTo>
                    <a:lnTo>
                      <a:pt x="358589" y="65463"/>
                    </a:lnTo>
                    <a:lnTo>
                      <a:pt x="355965" y="68087"/>
                    </a:lnTo>
                    <a:lnTo>
                      <a:pt x="354214" y="73503"/>
                    </a:lnTo>
                    <a:cubicBezTo>
                      <a:pt x="354214" y="73503"/>
                      <a:pt x="351185" y="80029"/>
                      <a:pt x="350310" y="80029"/>
                    </a:cubicBezTo>
                    <a:cubicBezTo>
                      <a:pt x="349435" y="80029"/>
                      <a:pt x="346171" y="81105"/>
                      <a:pt x="346171" y="81105"/>
                    </a:cubicBezTo>
                    <a:lnTo>
                      <a:pt x="342469" y="84368"/>
                    </a:lnTo>
                    <a:cubicBezTo>
                      <a:pt x="342469" y="84368"/>
                      <a:pt x="342469" y="85680"/>
                      <a:pt x="342469" y="87396"/>
                    </a:cubicBezTo>
                    <a:cubicBezTo>
                      <a:pt x="342469" y="89145"/>
                      <a:pt x="336377" y="94796"/>
                      <a:pt x="335502" y="95234"/>
                    </a:cubicBezTo>
                    <a:cubicBezTo>
                      <a:pt x="334627" y="95671"/>
                      <a:pt x="330724" y="97622"/>
                      <a:pt x="329849" y="98261"/>
                    </a:cubicBezTo>
                    <a:cubicBezTo>
                      <a:pt x="328974" y="98901"/>
                      <a:pt x="323555" y="98463"/>
                      <a:pt x="322882" y="98261"/>
                    </a:cubicBezTo>
                    <a:cubicBezTo>
                      <a:pt x="322243" y="98060"/>
                      <a:pt x="322243" y="93485"/>
                      <a:pt x="322243" y="93485"/>
                    </a:cubicBezTo>
                    <a:lnTo>
                      <a:pt x="320290" y="88472"/>
                    </a:lnTo>
                    <a:cubicBezTo>
                      <a:pt x="320290" y="88472"/>
                      <a:pt x="313762" y="88472"/>
                      <a:pt x="310295" y="88910"/>
                    </a:cubicBezTo>
                    <a:cubicBezTo>
                      <a:pt x="306829" y="89347"/>
                      <a:pt x="306593" y="90861"/>
                      <a:pt x="305718" y="90861"/>
                    </a:cubicBezTo>
                    <a:cubicBezTo>
                      <a:pt x="304843" y="90861"/>
                      <a:pt x="299425" y="93451"/>
                      <a:pt x="298752" y="93451"/>
                    </a:cubicBezTo>
                    <a:cubicBezTo>
                      <a:pt x="298112" y="93451"/>
                      <a:pt x="291583" y="90861"/>
                      <a:pt x="291583" y="90861"/>
                    </a:cubicBezTo>
                    <a:lnTo>
                      <a:pt x="290271" y="84772"/>
                    </a:lnTo>
                    <a:lnTo>
                      <a:pt x="290069" y="74983"/>
                    </a:lnTo>
                    <a:lnTo>
                      <a:pt x="287040" y="65631"/>
                    </a:lnTo>
                    <a:lnTo>
                      <a:pt x="283977" y="56952"/>
                    </a:lnTo>
                    <a:lnTo>
                      <a:pt x="279400" y="47163"/>
                    </a:lnTo>
                    <a:lnTo>
                      <a:pt x="270482" y="33909"/>
                    </a:lnTo>
                    <a:lnTo>
                      <a:pt x="271559" y="24557"/>
                    </a:lnTo>
                    <a:lnTo>
                      <a:pt x="275261" y="17392"/>
                    </a:lnTo>
                    <a:lnTo>
                      <a:pt x="276338" y="7838"/>
                    </a:lnTo>
                    <a:lnTo>
                      <a:pt x="269371" y="0"/>
                    </a:lnTo>
                    <a:lnTo>
                      <a:pt x="262203" y="875"/>
                    </a:lnTo>
                    <a:lnTo>
                      <a:pt x="251770" y="5012"/>
                    </a:lnTo>
                    <a:cubicBezTo>
                      <a:pt x="251770" y="5012"/>
                      <a:pt x="244366" y="7603"/>
                      <a:pt x="243726" y="7838"/>
                    </a:cubicBezTo>
                    <a:cubicBezTo>
                      <a:pt x="243087" y="8040"/>
                      <a:pt x="237197" y="5651"/>
                      <a:pt x="237197" y="5651"/>
                    </a:cubicBezTo>
                    <a:lnTo>
                      <a:pt x="233496" y="6089"/>
                    </a:lnTo>
                    <a:lnTo>
                      <a:pt x="231981" y="7603"/>
                    </a:lnTo>
                    <a:lnTo>
                      <a:pt x="233496" y="13019"/>
                    </a:lnTo>
                    <a:lnTo>
                      <a:pt x="234135" y="16921"/>
                    </a:lnTo>
                    <a:lnTo>
                      <a:pt x="233697" y="24322"/>
                    </a:lnTo>
                    <a:lnTo>
                      <a:pt x="233260" y="24322"/>
                    </a:lnTo>
                    <a:lnTo>
                      <a:pt x="229995" y="25835"/>
                    </a:lnTo>
                    <a:lnTo>
                      <a:pt x="225014" y="29536"/>
                    </a:lnTo>
                    <a:cubicBezTo>
                      <a:pt x="225014" y="29536"/>
                      <a:pt x="220875" y="29536"/>
                      <a:pt x="220000" y="29536"/>
                    </a:cubicBezTo>
                    <a:cubicBezTo>
                      <a:pt x="219125" y="29536"/>
                      <a:pt x="214582" y="32361"/>
                      <a:pt x="214582" y="32361"/>
                    </a:cubicBezTo>
                    <a:lnTo>
                      <a:pt x="212832" y="33673"/>
                    </a:lnTo>
                    <a:lnTo>
                      <a:pt x="211754" y="39089"/>
                    </a:lnTo>
                    <a:lnTo>
                      <a:pt x="208726" y="41915"/>
                    </a:lnTo>
                    <a:lnTo>
                      <a:pt x="205697" y="40166"/>
                    </a:lnTo>
                    <a:lnTo>
                      <a:pt x="202634" y="37777"/>
                    </a:lnTo>
                    <a:lnTo>
                      <a:pt x="195466" y="41915"/>
                    </a:lnTo>
                    <a:cubicBezTo>
                      <a:pt x="195466" y="41915"/>
                      <a:pt x="186110" y="46490"/>
                      <a:pt x="185235" y="46927"/>
                    </a:cubicBezTo>
                    <a:cubicBezTo>
                      <a:pt x="184360" y="47365"/>
                      <a:pt x="179816" y="52141"/>
                      <a:pt x="179816" y="52141"/>
                    </a:cubicBezTo>
                    <a:lnTo>
                      <a:pt x="176788" y="55405"/>
                    </a:lnTo>
                    <a:lnTo>
                      <a:pt x="170932" y="58230"/>
                    </a:lnTo>
                    <a:lnTo>
                      <a:pt x="167667" y="60181"/>
                    </a:lnTo>
                    <a:lnTo>
                      <a:pt x="161576" y="59307"/>
                    </a:lnTo>
                    <a:lnTo>
                      <a:pt x="158109" y="53016"/>
                    </a:lnTo>
                    <a:lnTo>
                      <a:pt x="157234" y="47566"/>
                    </a:lnTo>
                    <a:lnTo>
                      <a:pt x="152017" y="45178"/>
                    </a:lnTo>
                    <a:lnTo>
                      <a:pt x="150268" y="45178"/>
                    </a:lnTo>
                    <a:lnTo>
                      <a:pt x="147676" y="48004"/>
                    </a:lnTo>
                    <a:lnTo>
                      <a:pt x="145287" y="50392"/>
                    </a:lnTo>
                    <a:lnTo>
                      <a:pt x="140508" y="53218"/>
                    </a:lnTo>
                    <a:lnTo>
                      <a:pt x="135291" y="54967"/>
                    </a:lnTo>
                    <a:lnTo>
                      <a:pt x="131589" y="58028"/>
                    </a:lnTo>
                    <a:lnTo>
                      <a:pt x="130950" y="60215"/>
                    </a:lnTo>
                    <a:lnTo>
                      <a:pt x="130513" y="67380"/>
                    </a:lnTo>
                    <a:lnTo>
                      <a:pt x="127685" y="71955"/>
                    </a:lnTo>
                    <a:lnTo>
                      <a:pt x="120719" y="77169"/>
                    </a:lnTo>
                    <a:lnTo>
                      <a:pt x="115502" y="79558"/>
                    </a:lnTo>
                    <a:cubicBezTo>
                      <a:pt x="115502" y="79558"/>
                      <a:pt x="108536" y="83258"/>
                      <a:pt x="107896" y="83460"/>
                    </a:cubicBezTo>
                    <a:cubicBezTo>
                      <a:pt x="107223" y="83662"/>
                      <a:pt x="103757" y="87598"/>
                      <a:pt x="103757" y="87598"/>
                    </a:cubicBezTo>
                    <a:lnTo>
                      <a:pt x="102680" y="92173"/>
                    </a:lnTo>
                    <a:lnTo>
                      <a:pt x="101368" y="95436"/>
                    </a:lnTo>
                    <a:lnTo>
                      <a:pt x="107661" y="98901"/>
                    </a:lnTo>
                    <a:lnTo>
                      <a:pt x="111565" y="100852"/>
                    </a:lnTo>
                    <a:lnTo>
                      <a:pt x="113752" y="104989"/>
                    </a:lnTo>
                    <a:cubicBezTo>
                      <a:pt x="113752" y="104989"/>
                      <a:pt x="113551" y="109766"/>
                      <a:pt x="113551" y="110843"/>
                    </a:cubicBezTo>
                    <a:cubicBezTo>
                      <a:pt x="113551" y="111919"/>
                      <a:pt x="115940" y="114745"/>
                      <a:pt x="115940" y="114745"/>
                    </a:cubicBezTo>
                    <a:lnTo>
                      <a:pt x="119204" y="115821"/>
                    </a:lnTo>
                    <a:lnTo>
                      <a:pt x="121594" y="120834"/>
                    </a:lnTo>
                    <a:lnTo>
                      <a:pt x="121594" y="124971"/>
                    </a:lnTo>
                    <a:lnTo>
                      <a:pt x="118666" y="129748"/>
                    </a:lnTo>
                    <a:lnTo>
                      <a:pt x="114627" y="133650"/>
                    </a:lnTo>
                    <a:lnTo>
                      <a:pt x="112238" y="139302"/>
                    </a:lnTo>
                    <a:lnTo>
                      <a:pt x="109646" y="144516"/>
                    </a:lnTo>
                    <a:lnTo>
                      <a:pt x="106820" y="146904"/>
                    </a:lnTo>
                    <a:lnTo>
                      <a:pt x="100526" y="153430"/>
                    </a:lnTo>
                    <a:lnTo>
                      <a:pt x="93997" y="154069"/>
                    </a:lnTo>
                    <a:lnTo>
                      <a:pt x="84877" y="155146"/>
                    </a:lnTo>
                    <a:lnTo>
                      <a:pt x="73804" y="162749"/>
                    </a:lnTo>
                    <a:lnTo>
                      <a:pt x="69463" y="168165"/>
                    </a:lnTo>
                    <a:lnTo>
                      <a:pt x="64684" y="172504"/>
                    </a:lnTo>
                    <a:lnTo>
                      <a:pt x="60780" y="180544"/>
                    </a:lnTo>
                    <a:lnTo>
                      <a:pt x="58593" y="183370"/>
                    </a:lnTo>
                    <a:lnTo>
                      <a:pt x="54689" y="185556"/>
                    </a:lnTo>
                    <a:lnTo>
                      <a:pt x="55126" y="191847"/>
                    </a:lnTo>
                    <a:lnTo>
                      <a:pt x="59703" y="195547"/>
                    </a:lnTo>
                    <a:lnTo>
                      <a:pt x="63170" y="203150"/>
                    </a:lnTo>
                    <a:lnTo>
                      <a:pt x="67747" y="209003"/>
                    </a:lnTo>
                    <a:cubicBezTo>
                      <a:pt x="67747" y="209003"/>
                      <a:pt x="71886" y="214453"/>
                      <a:pt x="72088" y="215092"/>
                    </a:cubicBezTo>
                    <a:cubicBezTo>
                      <a:pt x="72290" y="215731"/>
                      <a:pt x="72728" y="220945"/>
                      <a:pt x="72728" y="220945"/>
                    </a:cubicBezTo>
                    <a:lnTo>
                      <a:pt x="69699" y="225924"/>
                    </a:lnTo>
                    <a:lnTo>
                      <a:pt x="63843" y="228951"/>
                    </a:lnTo>
                    <a:lnTo>
                      <a:pt x="60578" y="231777"/>
                    </a:lnTo>
                    <a:cubicBezTo>
                      <a:pt x="60578" y="231777"/>
                      <a:pt x="54049" y="236117"/>
                      <a:pt x="53410" y="236117"/>
                    </a:cubicBezTo>
                    <a:cubicBezTo>
                      <a:pt x="52770" y="236117"/>
                      <a:pt x="49708" y="241331"/>
                      <a:pt x="49708" y="241331"/>
                    </a:cubicBezTo>
                    <a:lnTo>
                      <a:pt x="46881" y="247621"/>
                    </a:lnTo>
                    <a:lnTo>
                      <a:pt x="46881" y="250884"/>
                    </a:lnTo>
                    <a:lnTo>
                      <a:pt x="49506" y="255459"/>
                    </a:lnTo>
                    <a:lnTo>
                      <a:pt x="54722" y="255459"/>
                    </a:lnTo>
                    <a:lnTo>
                      <a:pt x="60376" y="255459"/>
                    </a:lnTo>
                    <a:lnTo>
                      <a:pt x="63203" y="257511"/>
                    </a:lnTo>
                    <a:lnTo>
                      <a:pt x="61891" y="261548"/>
                    </a:lnTo>
                    <a:lnTo>
                      <a:pt x="57112" y="264374"/>
                    </a:lnTo>
                    <a:lnTo>
                      <a:pt x="54958" y="265888"/>
                    </a:lnTo>
                    <a:lnTo>
                      <a:pt x="53006" y="268713"/>
                    </a:lnTo>
                    <a:lnTo>
                      <a:pt x="50179" y="274163"/>
                    </a:lnTo>
                    <a:lnTo>
                      <a:pt x="47352" y="279579"/>
                    </a:lnTo>
                    <a:lnTo>
                      <a:pt x="42775" y="282842"/>
                    </a:lnTo>
                    <a:cubicBezTo>
                      <a:pt x="42775" y="282842"/>
                      <a:pt x="36885" y="286744"/>
                      <a:pt x="36044" y="287182"/>
                    </a:cubicBezTo>
                    <a:cubicBezTo>
                      <a:pt x="35169" y="287619"/>
                      <a:pt x="32342" y="288056"/>
                      <a:pt x="32342" y="288056"/>
                    </a:cubicBezTo>
                    <a:lnTo>
                      <a:pt x="28203" y="291084"/>
                    </a:lnTo>
                    <a:lnTo>
                      <a:pt x="26049" y="296096"/>
                    </a:lnTo>
                    <a:lnTo>
                      <a:pt x="27361" y="301310"/>
                    </a:lnTo>
                    <a:lnTo>
                      <a:pt x="23895" y="310427"/>
                    </a:lnTo>
                    <a:cubicBezTo>
                      <a:pt x="23895" y="310427"/>
                      <a:pt x="18880" y="313454"/>
                      <a:pt x="18241" y="313690"/>
                    </a:cubicBezTo>
                    <a:cubicBezTo>
                      <a:pt x="17568" y="313891"/>
                      <a:pt x="18443" y="320216"/>
                      <a:pt x="18443" y="320216"/>
                    </a:cubicBezTo>
                    <a:lnTo>
                      <a:pt x="20193" y="325665"/>
                    </a:lnTo>
                    <a:lnTo>
                      <a:pt x="18039" y="331519"/>
                    </a:lnTo>
                    <a:lnTo>
                      <a:pt x="16928" y="342149"/>
                    </a:lnTo>
                    <a:lnTo>
                      <a:pt x="13899" y="354091"/>
                    </a:lnTo>
                    <a:lnTo>
                      <a:pt x="10635" y="361693"/>
                    </a:lnTo>
                    <a:lnTo>
                      <a:pt x="0" y="369296"/>
                    </a:lnTo>
                    <a:lnTo>
                      <a:pt x="0" y="376899"/>
                    </a:lnTo>
                    <a:lnTo>
                      <a:pt x="6966" y="383189"/>
                    </a:lnTo>
                    <a:lnTo>
                      <a:pt x="6966" y="390590"/>
                    </a:lnTo>
                    <a:lnTo>
                      <a:pt x="8919" y="400783"/>
                    </a:lnTo>
                    <a:lnTo>
                      <a:pt x="20664" y="407746"/>
                    </a:lnTo>
                    <a:lnTo>
                      <a:pt x="31736" y="412523"/>
                    </a:lnTo>
                    <a:lnTo>
                      <a:pt x="40015" y="412960"/>
                    </a:lnTo>
                    <a:lnTo>
                      <a:pt x="45905" y="410135"/>
                    </a:lnTo>
                    <a:lnTo>
                      <a:pt x="53073" y="408183"/>
                    </a:lnTo>
                    <a:cubicBezTo>
                      <a:pt x="53073" y="408183"/>
                      <a:pt x="60679" y="409697"/>
                      <a:pt x="61319" y="410370"/>
                    </a:cubicBezTo>
                    <a:cubicBezTo>
                      <a:pt x="61958" y="411009"/>
                      <a:pt x="61319" y="413835"/>
                      <a:pt x="61319" y="413835"/>
                    </a:cubicBezTo>
                    <a:cubicBezTo>
                      <a:pt x="61319" y="413835"/>
                      <a:pt x="64819" y="418612"/>
                      <a:pt x="65660" y="418612"/>
                    </a:cubicBezTo>
                    <a:cubicBezTo>
                      <a:pt x="66535" y="418612"/>
                      <a:pt x="68925" y="424028"/>
                      <a:pt x="68925" y="424028"/>
                    </a:cubicBezTo>
                    <a:cubicBezTo>
                      <a:pt x="68925" y="424028"/>
                      <a:pt x="74579" y="428367"/>
                      <a:pt x="75218" y="428805"/>
                    </a:cubicBezTo>
                    <a:cubicBezTo>
                      <a:pt x="75858" y="429242"/>
                      <a:pt x="78920" y="431832"/>
                      <a:pt x="78920" y="431832"/>
                    </a:cubicBezTo>
                    <a:lnTo>
                      <a:pt x="85213" y="428805"/>
                    </a:lnTo>
                    <a:lnTo>
                      <a:pt x="90228" y="424465"/>
                    </a:lnTo>
                    <a:lnTo>
                      <a:pt x="95882" y="420125"/>
                    </a:lnTo>
                    <a:lnTo>
                      <a:pt x="99146" y="416223"/>
                    </a:lnTo>
                    <a:lnTo>
                      <a:pt x="103925" y="418612"/>
                    </a:lnTo>
                    <a:lnTo>
                      <a:pt x="104363" y="421437"/>
                    </a:lnTo>
                    <a:lnTo>
                      <a:pt x="104363" y="426652"/>
                    </a:lnTo>
                    <a:lnTo>
                      <a:pt x="99146" y="431866"/>
                    </a:lnTo>
                    <a:lnTo>
                      <a:pt x="99146" y="440343"/>
                    </a:lnTo>
                    <a:lnTo>
                      <a:pt x="106113" y="445557"/>
                    </a:lnTo>
                    <a:lnTo>
                      <a:pt x="111969" y="454236"/>
                    </a:lnTo>
                    <a:cubicBezTo>
                      <a:pt x="111969" y="454236"/>
                      <a:pt x="115872" y="461200"/>
                      <a:pt x="115872" y="462478"/>
                    </a:cubicBezTo>
                    <a:cubicBezTo>
                      <a:pt x="115872" y="463790"/>
                      <a:pt x="117589" y="465505"/>
                      <a:pt x="117825" y="466178"/>
                    </a:cubicBezTo>
                    <a:cubicBezTo>
                      <a:pt x="118060" y="466817"/>
                      <a:pt x="121728" y="470955"/>
                      <a:pt x="121728" y="470955"/>
                    </a:cubicBezTo>
                    <a:lnTo>
                      <a:pt x="123478" y="478793"/>
                    </a:lnTo>
                    <a:lnTo>
                      <a:pt x="123478" y="484007"/>
                    </a:lnTo>
                    <a:lnTo>
                      <a:pt x="123478" y="489659"/>
                    </a:lnTo>
                    <a:cubicBezTo>
                      <a:pt x="123478" y="489659"/>
                      <a:pt x="125767" y="496824"/>
                      <a:pt x="126406" y="497699"/>
                    </a:cubicBezTo>
                    <a:cubicBezTo>
                      <a:pt x="127046" y="498573"/>
                      <a:pt x="126070" y="502711"/>
                      <a:pt x="126070" y="502711"/>
                    </a:cubicBezTo>
                    <a:lnTo>
                      <a:pt x="128695" y="509002"/>
                    </a:lnTo>
                    <a:cubicBezTo>
                      <a:pt x="128695" y="509002"/>
                      <a:pt x="130209" y="515729"/>
                      <a:pt x="130209" y="516604"/>
                    </a:cubicBezTo>
                    <a:cubicBezTo>
                      <a:pt x="130209" y="517478"/>
                      <a:pt x="132801" y="524442"/>
                      <a:pt x="132801" y="524442"/>
                    </a:cubicBezTo>
                    <a:lnTo>
                      <a:pt x="136940" y="529656"/>
                    </a:lnTo>
                    <a:lnTo>
                      <a:pt x="144546" y="536620"/>
                    </a:lnTo>
                    <a:lnTo>
                      <a:pt x="148686" y="535543"/>
                    </a:lnTo>
                    <a:lnTo>
                      <a:pt x="153700" y="532516"/>
                    </a:lnTo>
                    <a:lnTo>
                      <a:pt x="154777" y="531002"/>
                    </a:lnTo>
                    <a:lnTo>
                      <a:pt x="154777" y="527537"/>
                    </a:lnTo>
                    <a:lnTo>
                      <a:pt x="154777" y="521448"/>
                    </a:lnTo>
                    <a:lnTo>
                      <a:pt x="156191" y="516671"/>
                    </a:lnTo>
                    <a:lnTo>
                      <a:pt x="158244" y="519261"/>
                    </a:lnTo>
                    <a:lnTo>
                      <a:pt x="166927" y="518824"/>
                    </a:lnTo>
                    <a:lnTo>
                      <a:pt x="170393" y="517075"/>
                    </a:lnTo>
                    <a:lnTo>
                      <a:pt x="177562" y="513374"/>
                    </a:lnTo>
                    <a:lnTo>
                      <a:pt x="177763" y="509909"/>
                    </a:lnTo>
                    <a:lnTo>
                      <a:pt x="175374" y="507084"/>
                    </a:lnTo>
                    <a:lnTo>
                      <a:pt x="174061" y="503821"/>
                    </a:lnTo>
                    <a:lnTo>
                      <a:pt x="169047" y="501231"/>
                    </a:lnTo>
                    <a:lnTo>
                      <a:pt x="178167" y="500154"/>
                    </a:lnTo>
                    <a:lnTo>
                      <a:pt x="182509" y="501466"/>
                    </a:lnTo>
                    <a:lnTo>
                      <a:pt x="187725" y="504931"/>
                    </a:lnTo>
                    <a:lnTo>
                      <a:pt x="187725" y="513610"/>
                    </a:lnTo>
                    <a:lnTo>
                      <a:pt x="187725" y="518387"/>
                    </a:lnTo>
                    <a:lnTo>
                      <a:pt x="188600" y="521414"/>
                    </a:lnTo>
                    <a:lnTo>
                      <a:pt x="192740" y="521414"/>
                    </a:lnTo>
                    <a:lnTo>
                      <a:pt x="194692" y="517075"/>
                    </a:lnTo>
                    <a:lnTo>
                      <a:pt x="194692" y="513610"/>
                    </a:lnTo>
                    <a:lnTo>
                      <a:pt x="196004" y="509473"/>
                    </a:lnTo>
                    <a:lnTo>
                      <a:pt x="194692" y="506646"/>
                    </a:lnTo>
                    <a:lnTo>
                      <a:pt x="194692" y="503384"/>
                    </a:lnTo>
                    <a:lnTo>
                      <a:pt x="194692" y="494906"/>
                    </a:lnTo>
                    <a:lnTo>
                      <a:pt x="196879" y="491441"/>
                    </a:lnTo>
                    <a:lnTo>
                      <a:pt x="199908" y="486227"/>
                    </a:lnTo>
                    <a:lnTo>
                      <a:pt x="203374" y="486025"/>
                    </a:lnTo>
                    <a:lnTo>
                      <a:pt x="203374" y="488414"/>
                    </a:lnTo>
                    <a:lnTo>
                      <a:pt x="202836" y="494065"/>
                    </a:lnTo>
                    <a:lnTo>
                      <a:pt x="202062" y="500154"/>
                    </a:lnTo>
                    <a:lnTo>
                      <a:pt x="204687" y="502778"/>
                    </a:lnTo>
                    <a:lnTo>
                      <a:pt x="208154" y="498640"/>
                    </a:lnTo>
                    <a:lnTo>
                      <a:pt x="214447" y="492989"/>
                    </a:lnTo>
                    <a:lnTo>
                      <a:pt x="217274" y="487775"/>
                    </a:lnTo>
                    <a:lnTo>
                      <a:pt x="217274" y="481047"/>
                    </a:lnTo>
                    <a:lnTo>
                      <a:pt x="218250" y="474958"/>
                    </a:lnTo>
                    <a:lnTo>
                      <a:pt x="217038" y="472368"/>
                    </a:lnTo>
                    <a:lnTo>
                      <a:pt x="222894" y="471056"/>
                    </a:lnTo>
                    <a:cubicBezTo>
                      <a:pt x="222894" y="471056"/>
                      <a:pt x="230500" y="471258"/>
                      <a:pt x="231173" y="471056"/>
                    </a:cubicBezTo>
                    <a:cubicBezTo>
                      <a:pt x="231813" y="470820"/>
                      <a:pt x="235077" y="468028"/>
                      <a:pt x="235750" y="467355"/>
                    </a:cubicBezTo>
                    <a:cubicBezTo>
                      <a:pt x="236390" y="466716"/>
                      <a:pt x="237500" y="463218"/>
                      <a:pt x="237500" y="463218"/>
                    </a:cubicBezTo>
                    <a:lnTo>
                      <a:pt x="238375" y="457566"/>
                    </a:lnTo>
                    <a:lnTo>
                      <a:pt x="237298" y="453866"/>
                    </a:lnTo>
                    <a:lnTo>
                      <a:pt x="233597" y="453866"/>
                    </a:lnTo>
                    <a:lnTo>
                      <a:pt x="233394" y="449728"/>
                    </a:lnTo>
                    <a:lnTo>
                      <a:pt x="229255" y="446028"/>
                    </a:lnTo>
                    <a:lnTo>
                      <a:pt x="229693" y="441890"/>
                    </a:lnTo>
                    <a:lnTo>
                      <a:pt x="230130" y="438863"/>
                    </a:lnTo>
                    <a:lnTo>
                      <a:pt x="228817" y="435600"/>
                    </a:lnTo>
                    <a:lnTo>
                      <a:pt x="226866" y="432337"/>
                    </a:lnTo>
                    <a:lnTo>
                      <a:pt x="222962" y="427123"/>
                    </a:lnTo>
                    <a:lnTo>
                      <a:pt x="226462" y="424532"/>
                    </a:lnTo>
                    <a:lnTo>
                      <a:pt x="230164" y="423658"/>
                    </a:lnTo>
                    <a:cubicBezTo>
                      <a:pt x="230164" y="423658"/>
                      <a:pt x="231914" y="423456"/>
                      <a:pt x="234303" y="423859"/>
                    </a:cubicBezTo>
                    <a:cubicBezTo>
                      <a:pt x="236693" y="424297"/>
                      <a:pt x="234942" y="427762"/>
                      <a:pt x="235380" y="428434"/>
                    </a:cubicBezTo>
                    <a:cubicBezTo>
                      <a:pt x="235817" y="429074"/>
                      <a:pt x="235380" y="432572"/>
                      <a:pt x="235380" y="435162"/>
                    </a:cubicBezTo>
                    <a:cubicBezTo>
                      <a:pt x="235380" y="437786"/>
                      <a:pt x="237332" y="439939"/>
                      <a:pt x="237332" y="439939"/>
                    </a:cubicBezTo>
                    <a:lnTo>
                      <a:pt x="240798" y="439939"/>
                    </a:lnTo>
                    <a:cubicBezTo>
                      <a:pt x="240798" y="439939"/>
                      <a:pt x="245813" y="440040"/>
                      <a:pt x="247529" y="438964"/>
                    </a:cubicBezTo>
                    <a:cubicBezTo>
                      <a:pt x="249246" y="437887"/>
                      <a:pt x="248169" y="435600"/>
                      <a:pt x="248169" y="435600"/>
                    </a:cubicBezTo>
                    <a:lnTo>
                      <a:pt x="244702" y="429511"/>
                    </a:lnTo>
                    <a:lnTo>
                      <a:pt x="241875" y="425609"/>
                    </a:lnTo>
                    <a:lnTo>
                      <a:pt x="239924" y="419318"/>
                    </a:lnTo>
                    <a:lnTo>
                      <a:pt x="237971" y="413028"/>
                    </a:lnTo>
                    <a:lnTo>
                      <a:pt x="242313" y="417165"/>
                    </a:lnTo>
                    <a:cubicBezTo>
                      <a:pt x="242313" y="417165"/>
                      <a:pt x="249481" y="423691"/>
                      <a:pt x="249919" y="424330"/>
                    </a:cubicBezTo>
                    <a:cubicBezTo>
                      <a:pt x="250356" y="424970"/>
                      <a:pt x="255371" y="423691"/>
                      <a:pt x="255371" y="423691"/>
                    </a:cubicBezTo>
                    <a:lnTo>
                      <a:pt x="260587" y="420865"/>
                    </a:lnTo>
                    <a:cubicBezTo>
                      <a:pt x="260587" y="420865"/>
                      <a:pt x="265602" y="420428"/>
                      <a:pt x="268833" y="420865"/>
                    </a:cubicBezTo>
                    <a:cubicBezTo>
                      <a:pt x="272097" y="421303"/>
                      <a:pt x="271222" y="421942"/>
                      <a:pt x="271222" y="421942"/>
                    </a:cubicBezTo>
                    <a:cubicBezTo>
                      <a:pt x="271222" y="421942"/>
                      <a:pt x="278626" y="425642"/>
                      <a:pt x="279266" y="425642"/>
                    </a:cubicBezTo>
                    <a:cubicBezTo>
                      <a:pt x="279905" y="425642"/>
                      <a:pt x="285794" y="427593"/>
                      <a:pt x="285794" y="427593"/>
                    </a:cubicBezTo>
                    <a:cubicBezTo>
                      <a:pt x="285794" y="427593"/>
                      <a:pt x="292963" y="425844"/>
                      <a:pt x="293199" y="425205"/>
                    </a:cubicBezTo>
                    <a:cubicBezTo>
                      <a:pt x="293400" y="424566"/>
                      <a:pt x="293838" y="419789"/>
                      <a:pt x="293838" y="419789"/>
                    </a:cubicBezTo>
                    <a:lnTo>
                      <a:pt x="294915" y="413700"/>
                    </a:lnTo>
                    <a:lnTo>
                      <a:pt x="299492" y="408923"/>
                    </a:lnTo>
                    <a:lnTo>
                      <a:pt x="302756" y="407847"/>
                    </a:lnTo>
                    <a:lnTo>
                      <a:pt x="305583" y="405021"/>
                    </a:lnTo>
                    <a:lnTo>
                      <a:pt x="306223" y="400446"/>
                    </a:lnTo>
                    <a:lnTo>
                      <a:pt x="303194" y="396746"/>
                    </a:lnTo>
                    <a:lnTo>
                      <a:pt x="294511" y="395669"/>
                    </a:lnTo>
                    <a:lnTo>
                      <a:pt x="292122" y="392205"/>
                    </a:lnTo>
                    <a:lnTo>
                      <a:pt x="292122" y="389614"/>
                    </a:lnTo>
                    <a:lnTo>
                      <a:pt x="299963" y="389614"/>
                    </a:lnTo>
                    <a:lnTo>
                      <a:pt x="305180" y="389614"/>
                    </a:lnTo>
                    <a:lnTo>
                      <a:pt x="310396" y="386150"/>
                    </a:lnTo>
                    <a:lnTo>
                      <a:pt x="322579" y="386150"/>
                    </a:lnTo>
                    <a:lnTo>
                      <a:pt x="327594" y="386150"/>
                    </a:lnTo>
                    <a:lnTo>
                      <a:pt x="330623" y="381810"/>
                    </a:lnTo>
                    <a:lnTo>
                      <a:pt x="331296" y="372256"/>
                    </a:lnTo>
                    <a:lnTo>
                      <a:pt x="326719" y="367244"/>
                    </a:lnTo>
                    <a:lnTo>
                      <a:pt x="322579" y="365293"/>
                    </a:lnTo>
                    <a:lnTo>
                      <a:pt x="316488" y="365293"/>
                    </a:lnTo>
                    <a:lnTo>
                      <a:pt x="316488" y="360079"/>
                    </a:lnTo>
                    <a:lnTo>
                      <a:pt x="318541" y="355100"/>
                    </a:lnTo>
                    <a:lnTo>
                      <a:pt x="319954" y="350525"/>
                    </a:lnTo>
                    <a:lnTo>
                      <a:pt x="319954" y="345984"/>
                    </a:lnTo>
                    <a:lnTo>
                      <a:pt x="322680" y="343360"/>
                    </a:lnTo>
                    <a:lnTo>
                      <a:pt x="326921" y="343595"/>
                    </a:lnTo>
                    <a:lnTo>
                      <a:pt x="326921" y="348809"/>
                    </a:lnTo>
                    <a:lnTo>
                      <a:pt x="326921" y="354259"/>
                    </a:lnTo>
                    <a:lnTo>
                      <a:pt x="331599" y="358599"/>
                    </a:lnTo>
                    <a:lnTo>
                      <a:pt x="337151" y="357085"/>
                    </a:lnTo>
                    <a:lnTo>
                      <a:pt x="338901" y="355571"/>
                    </a:lnTo>
                    <a:lnTo>
                      <a:pt x="338700" y="347531"/>
                    </a:lnTo>
                    <a:lnTo>
                      <a:pt x="339575" y="344268"/>
                    </a:lnTo>
                    <a:lnTo>
                      <a:pt x="342200" y="342317"/>
                    </a:lnTo>
                    <a:cubicBezTo>
                      <a:pt x="342200" y="342317"/>
                      <a:pt x="345902" y="344504"/>
                      <a:pt x="346541" y="344705"/>
                    </a:cubicBezTo>
                    <a:cubicBezTo>
                      <a:pt x="347181" y="344907"/>
                      <a:pt x="350681" y="347531"/>
                      <a:pt x="350681" y="347531"/>
                    </a:cubicBezTo>
                    <a:lnTo>
                      <a:pt x="354585" y="346455"/>
                    </a:lnTo>
                    <a:lnTo>
                      <a:pt x="357849" y="341240"/>
                    </a:lnTo>
                    <a:lnTo>
                      <a:pt x="359801" y="337776"/>
                    </a:lnTo>
                    <a:lnTo>
                      <a:pt x="357412" y="332360"/>
                    </a:lnTo>
                    <a:lnTo>
                      <a:pt x="347181" y="332360"/>
                    </a:lnTo>
                    <a:lnTo>
                      <a:pt x="339575" y="326069"/>
                    </a:lnTo>
                    <a:lnTo>
                      <a:pt x="337185" y="320855"/>
                    </a:lnTo>
                    <a:lnTo>
                      <a:pt x="338262" y="316717"/>
                    </a:lnTo>
                    <a:lnTo>
                      <a:pt x="342839" y="316717"/>
                    </a:lnTo>
                    <a:lnTo>
                      <a:pt x="348291" y="318904"/>
                    </a:lnTo>
                    <a:lnTo>
                      <a:pt x="353710" y="321292"/>
                    </a:lnTo>
                    <a:lnTo>
                      <a:pt x="356536" y="321057"/>
                    </a:lnTo>
                    <a:lnTo>
                      <a:pt x="356536" y="311503"/>
                    </a:lnTo>
                    <a:lnTo>
                      <a:pt x="361113" y="303026"/>
                    </a:lnTo>
                    <a:lnTo>
                      <a:pt x="364378" y="305650"/>
                    </a:lnTo>
                    <a:lnTo>
                      <a:pt x="368282" y="309787"/>
                    </a:lnTo>
                    <a:lnTo>
                      <a:pt x="371984" y="315002"/>
                    </a:lnTo>
                    <a:lnTo>
                      <a:pt x="371547" y="320014"/>
                    </a:lnTo>
                    <a:lnTo>
                      <a:pt x="378278" y="327179"/>
                    </a:lnTo>
                    <a:lnTo>
                      <a:pt x="388071" y="327179"/>
                    </a:lnTo>
                    <a:lnTo>
                      <a:pt x="390662" y="324555"/>
                    </a:lnTo>
                    <a:lnTo>
                      <a:pt x="389350" y="318702"/>
                    </a:lnTo>
                    <a:lnTo>
                      <a:pt x="385884" y="308913"/>
                    </a:lnTo>
                    <a:lnTo>
                      <a:pt x="381542" y="304338"/>
                    </a:lnTo>
                    <a:lnTo>
                      <a:pt x="376527" y="297610"/>
                    </a:lnTo>
                    <a:lnTo>
                      <a:pt x="383898" y="297610"/>
                    </a:lnTo>
                    <a:lnTo>
                      <a:pt x="388475" y="295457"/>
                    </a:lnTo>
                    <a:lnTo>
                      <a:pt x="387600" y="289166"/>
                    </a:lnTo>
                    <a:lnTo>
                      <a:pt x="386725" y="283952"/>
                    </a:lnTo>
                    <a:lnTo>
                      <a:pt x="384335" y="275273"/>
                    </a:lnTo>
                    <a:lnTo>
                      <a:pt x="384537" y="268747"/>
                    </a:lnTo>
                    <a:lnTo>
                      <a:pt x="385177" y="266359"/>
                    </a:lnTo>
                    <a:cubicBezTo>
                      <a:pt x="385177" y="266359"/>
                      <a:pt x="394970" y="266359"/>
                      <a:pt x="396249" y="266359"/>
                    </a:cubicBezTo>
                    <a:cubicBezTo>
                      <a:pt x="397562" y="266359"/>
                      <a:pt x="399749" y="262759"/>
                      <a:pt x="399749" y="262759"/>
                    </a:cubicBezTo>
                    <a:lnTo>
                      <a:pt x="398672" y="257444"/>
                    </a:lnTo>
                    <a:lnTo>
                      <a:pt x="395206" y="251355"/>
                    </a:lnTo>
                    <a:lnTo>
                      <a:pt x="388677" y="248967"/>
                    </a:lnTo>
                    <a:lnTo>
                      <a:pt x="379994" y="248967"/>
                    </a:lnTo>
                    <a:lnTo>
                      <a:pt x="372826" y="248967"/>
                    </a:lnTo>
                    <a:lnTo>
                      <a:pt x="373902" y="245368"/>
                    </a:lnTo>
                    <a:lnTo>
                      <a:pt x="380869" y="238539"/>
                    </a:lnTo>
                    <a:lnTo>
                      <a:pt x="383696" y="234401"/>
                    </a:lnTo>
                    <a:lnTo>
                      <a:pt x="384571" y="225924"/>
                    </a:lnTo>
                    <a:lnTo>
                      <a:pt x="388273" y="220272"/>
                    </a:lnTo>
                    <a:lnTo>
                      <a:pt x="395441" y="218759"/>
                    </a:lnTo>
                    <a:cubicBezTo>
                      <a:pt x="395441" y="218759"/>
                      <a:pt x="400220" y="217245"/>
                      <a:pt x="401095" y="216370"/>
                    </a:cubicBezTo>
                    <a:cubicBezTo>
                      <a:pt x="401970" y="215495"/>
                      <a:pt x="405639" y="216370"/>
                      <a:pt x="405639" y="216370"/>
                    </a:cubicBezTo>
                    <a:lnTo>
                      <a:pt x="410417" y="213545"/>
                    </a:lnTo>
                    <a:lnTo>
                      <a:pt x="411730" y="207893"/>
                    </a:lnTo>
                    <a:lnTo>
                      <a:pt x="407591" y="203755"/>
                    </a:lnTo>
                    <a:lnTo>
                      <a:pt x="402811" y="202881"/>
                    </a:lnTo>
                    <a:lnTo>
                      <a:pt x="398033" y="204193"/>
                    </a:lnTo>
                    <a:lnTo>
                      <a:pt x="394768" y="207893"/>
                    </a:lnTo>
                    <a:lnTo>
                      <a:pt x="391706" y="211593"/>
                    </a:lnTo>
                    <a:lnTo>
                      <a:pt x="388677" y="213545"/>
                    </a:lnTo>
                    <a:lnTo>
                      <a:pt x="385782" y="211291"/>
                    </a:lnTo>
                    <a:lnTo>
                      <a:pt x="380869" y="208969"/>
                    </a:lnTo>
                    <a:lnTo>
                      <a:pt x="375652" y="204058"/>
                    </a:lnTo>
                    <a:lnTo>
                      <a:pt x="374777" y="200593"/>
                    </a:lnTo>
                    <a:lnTo>
                      <a:pt x="378244" y="198272"/>
                    </a:lnTo>
                    <a:lnTo>
                      <a:pt x="379994" y="196826"/>
                    </a:lnTo>
                    <a:lnTo>
                      <a:pt x="383191" y="196826"/>
                    </a:lnTo>
                    <a:lnTo>
                      <a:pt x="386388" y="200459"/>
                    </a:lnTo>
                    <a:lnTo>
                      <a:pt x="390461" y="202040"/>
                    </a:lnTo>
                    <a:lnTo>
                      <a:pt x="395374" y="202040"/>
                    </a:lnTo>
                    <a:lnTo>
                      <a:pt x="398268" y="199416"/>
                    </a:lnTo>
                    <a:lnTo>
                      <a:pt x="398268" y="193899"/>
                    </a:lnTo>
                    <a:lnTo>
                      <a:pt x="395509" y="190703"/>
                    </a:lnTo>
                    <a:lnTo>
                      <a:pt x="391302" y="185489"/>
                    </a:lnTo>
                    <a:lnTo>
                      <a:pt x="391302" y="182865"/>
                    </a:lnTo>
                    <a:cubicBezTo>
                      <a:pt x="391302" y="182865"/>
                      <a:pt x="387600" y="179669"/>
                      <a:pt x="385580" y="179400"/>
                    </a:cubicBezTo>
                    <a:cubicBezTo>
                      <a:pt x="383561" y="179097"/>
                      <a:pt x="379119" y="178526"/>
                      <a:pt x="379119" y="178526"/>
                    </a:cubicBezTo>
                    <a:lnTo>
                      <a:pt x="379119" y="177651"/>
                    </a:lnTo>
                    <a:lnTo>
                      <a:pt x="381878" y="175330"/>
                    </a:lnTo>
                    <a:lnTo>
                      <a:pt x="383460" y="172437"/>
                    </a:lnTo>
                    <a:lnTo>
                      <a:pt x="377941" y="172437"/>
                    </a:lnTo>
                    <a:lnTo>
                      <a:pt x="372152" y="169813"/>
                    </a:lnTo>
                    <a:lnTo>
                      <a:pt x="369527" y="165743"/>
                    </a:lnTo>
                    <a:lnTo>
                      <a:pt x="371849" y="162547"/>
                    </a:lnTo>
                    <a:lnTo>
                      <a:pt x="376763" y="165743"/>
                    </a:lnTo>
                    <a:lnTo>
                      <a:pt x="383730" y="168064"/>
                    </a:lnTo>
                    <a:lnTo>
                      <a:pt x="384032" y="165743"/>
                    </a:lnTo>
                    <a:lnTo>
                      <a:pt x="382585" y="162850"/>
                    </a:lnTo>
                    <a:lnTo>
                      <a:pt x="382585" y="157938"/>
                    </a:lnTo>
                    <a:lnTo>
                      <a:pt x="385042" y="158207"/>
                    </a:lnTo>
                    <a:lnTo>
                      <a:pt x="386927" y="158779"/>
                    </a:lnTo>
                    <a:lnTo>
                      <a:pt x="390124" y="156458"/>
                    </a:lnTo>
                    <a:lnTo>
                      <a:pt x="394768" y="157602"/>
                    </a:lnTo>
                    <a:lnTo>
                      <a:pt x="394768" y="164565"/>
                    </a:lnTo>
                    <a:lnTo>
                      <a:pt x="394768" y="170654"/>
                    </a:lnTo>
                    <a:lnTo>
                      <a:pt x="401735" y="170654"/>
                    </a:lnTo>
                    <a:lnTo>
                      <a:pt x="405201" y="169645"/>
                    </a:lnTo>
                    <a:lnTo>
                      <a:pt x="406648" y="166314"/>
                    </a:lnTo>
                    <a:lnTo>
                      <a:pt x="408667" y="160528"/>
                    </a:lnTo>
                    <a:lnTo>
                      <a:pt x="410990" y="159082"/>
                    </a:lnTo>
                    <a:lnTo>
                      <a:pt x="412740" y="159654"/>
                    </a:lnTo>
                    <a:lnTo>
                      <a:pt x="415062" y="162278"/>
                    </a:lnTo>
                    <a:lnTo>
                      <a:pt x="414490" y="164868"/>
                    </a:lnTo>
                    <a:lnTo>
                      <a:pt x="413918" y="167189"/>
                    </a:lnTo>
                    <a:lnTo>
                      <a:pt x="411293" y="170957"/>
                    </a:lnTo>
                    <a:lnTo>
                      <a:pt x="408095" y="173547"/>
                    </a:lnTo>
                    <a:lnTo>
                      <a:pt x="404326" y="177886"/>
                    </a:lnTo>
                    <a:lnTo>
                      <a:pt x="401701" y="183673"/>
                    </a:lnTo>
                    <a:lnTo>
                      <a:pt x="401701" y="185994"/>
                    </a:lnTo>
                    <a:lnTo>
                      <a:pt x="404461" y="190636"/>
                    </a:lnTo>
                    <a:lnTo>
                      <a:pt x="411562" y="187171"/>
                    </a:lnTo>
                    <a:cubicBezTo>
                      <a:pt x="411562" y="187171"/>
                      <a:pt x="422870" y="181654"/>
                      <a:pt x="423745" y="181385"/>
                    </a:cubicBezTo>
                    <a:cubicBezTo>
                      <a:pt x="424620" y="181082"/>
                      <a:pt x="428389" y="174422"/>
                      <a:pt x="428389" y="174422"/>
                    </a:cubicBezTo>
                    <a:lnTo>
                      <a:pt x="430409" y="168333"/>
                    </a:lnTo>
                    <a:lnTo>
                      <a:pt x="422567" y="159351"/>
                    </a:lnTo>
                    <a:lnTo>
                      <a:pt x="418797" y="152690"/>
                    </a:lnTo>
                    <a:lnTo>
                      <a:pt x="420817" y="147173"/>
                    </a:lnTo>
                    <a:lnTo>
                      <a:pt x="420817" y="142834"/>
                    </a:lnTo>
                    <a:lnTo>
                      <a:pt x="425158" y="140815"/>
                    </a:lnTo>
                    <a:lnTo>
                      <a:pt x="430375" y="141118"/>
                    </a:lnTo>
                    <a:lnTo>
                      <a:pt x="433841" y="142868"/>
                    </a:lnTo>
                    <a:lnTo>
                      <a:pt x="437611" y="142868"/>
                    </a:lnTo>
                    <a:lnTo>
                      <a:pt x="438890" y="139537"/>
                    </a:lnTo>
                    <a:lnTo>
                      <a:pt x="437307" y="135904"/>
                    </a:lnTo>
                    <a:lnTo>
                      <a:pt x="436736" y="133011"/>
                    </a:lnTo>
                    <a:lnTo>
                      <a:pt x="435288" y="124904"/>
                    </a:lnTo>
                    <a:cubicBezTo>
                      <a:pt x="435288" y="124904"/>
                      <a:pt x="436736" y="123155"/>
                      <a:pt x="438890" y="123155"/>
                    </a:cubicBezTo>
                    <a:cubicBezTo>
                      <a:pt x="441077" y="123155"/>
                      <a:pt x="444846" y="120834"/>
                      <a:pt x="444846" y="120834"/>
                    </a:cubicBezTo>
                    <a:lnTo>
                      <a:pt x="446293" y="115922"/>
                    </a:lnTo>
                    <a:lnTo>
                      <a:pt x="441952" y="111583"/>
                    </a:lnTo>
                    <a:lnTo>
                      <a:pt x="439058" y="108118"/>
                    </a:lnTo>
                    <a:lnTo>
                      <a:pt x="433841" y="108118"/>
                    </a:lnTo>
                    <a:lnTo>
                      <a:pt x="426875" y="106369"/>
                    </a:lnTo>
                    <a:lnTo>
                      <a:pt x="426572" y="106369"/>
                    </a:lnTo>
                    <a:lnTo>
                      <a:pt x="429466" y="101154"/>
                    </a:lnTo>
                    <a:lnTo>
                      <a:pt x="438721" y="102904"/>
                    </a:lnTo>
                    <a:lnTo>
                      <a:pt x="443635" y="108690"/>
                    </a:lnTo>
                    <a:lnTo>
                      <a:pt x="447673" y="111583"/>
                    </a:lnTo>
                    <a:lnTo>
                      <a:pt x="451139" y="111583"/>
                    </a:lnTo>
                    <a:lnTo>
                      <a:pt x="451274" y="111011"/>
                    </a:lnTo>
                    <a:lnTo>
                      <a:pt x="451005" y="110977"/>
                    </a:lnTo>
                    <a:close/>
                  </a:path>
                </a:pathLst>
              </a:custGeom>
              <a:solidFill>
                <a:schemeClr val="tx2">
                  <a:alpha val="50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9" name="Freeform 945">
                <a:extLst>
                  <a:ext uri="{FF2B5EF4-FFF2-40B4-BE49-F238E27FC236}">
                    <a16:creationId xmlns:a16="http://schemas.microsoft.com/office/drawing/2014/main" id="{857FD11A-460F-0B4A-A84C-F781A3588BEB}"/>
                  </a:ext>
                </a:extLst>
              </p:cNvPr>
              <p:cNvSpPr/>
              <p:nvPr/>
            </p:nvSpPr>
            <p:spPr>
              <a:xfrm>
                <a:off x="6194083" y="3181973"/>
                <a:ext cx="7168" cy="7804"/>
              </a:xfrm>
              <a:custGeom>
                <a:avLst/>
                <a:gdLst>
                  <a:gd name="connsiteX0" fmla="*/ 1952 w 7168"/>
                  <a:gd name="connsiteY0" fmla="*/ 6291 h 7804"/>
                  <a:gd name="connsiteX1" fmla="*/ 4543 w 7168"/>
                  <a:gd name="connsiteY1" fmla="*/ 7804 h 7804"/>
                  <a:gd name="connsiteX2" fmla="*/ 6092 w 7168"/>
                  <a:gd name="connsiteY2" fmla="*/ 7064 h 7804"/>
                  <a:gd name="connsiteX3" fmla="*/ 7168 w 7168"/>
                  <a:gd name="connsiteY3" fmla="*/ 4575 h 7804"/>
                  <a:gd name="connsiteX4" fmla="*/ 6092 w 7168"/>
                  <a:gd name="connsiteY4" fmla="*/ 874 h 7804"/>
                  <a:gd name="connsiteX5" fmla="*/ 1952 w 7168"/>
                  <a:gd name="connsiteY5" fmla="*/ 0 h 7804"/>
                  <a:gd name="connsiteX6" fmla="*/ 0 w 7168"/>
                  <a:gd name="connsiteY6" fmla="*/ 2624 h 7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168" h="7804">
                    <a:moveTo>
                      <a:pt x="1952" y="6291"/>
                    </a:moveTo>
                    <a:lnTo>
                      <a:pt x="4543" y="7804"/>
                    </a:lnTo>
                    <a:lnTo>
                      <a:pt x="6092" y="7064"/>
                    </a:lnTo>
                    <a:lnTo>
                      <a:pt x="7168" y="4575"/>
                    </a:lnTo>
                    <a:lnTo>
                      <a:pt x="6092" y="874"/>
                    </a:lnTo>
                    <a:lnTo>
                      <a:pt x="1952" y="0"/>
                    </a:lnTo>
                    <a:lnTo>
                      <a:pt x="0" y="262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0" name="Freeform 946">
                <a:extLst>
                  <a:ext uri="{FF2B5EF4-FFF2-40B4-BE49-F238E27FC236}">
                    <a16:creationId xmlns:a16="http://schemas.microsoft.com/office/drawing/2014/main" id="{C7BDBBBB-7CE4-5FE6-7046-43ACC318B740}"/>
                  </a:ext>
                </a:extLst>
              </p:cNvPr>
              <p:cNvSpPr/>
              <p:nvPr/>
            </p:nvSpPr>
            <p:spPr>
              <a:xfrm>
                <a:off x="6191256" y="3189777"/>
                <a:ext cx="3466" cy="3061"/>
              </a:xfrm>
              <a:custGeom>
                <a:avLst/>
                <a:gdLst>
                  <a:gd name="connsiteX0" fmla="*/ 3467 w 3466"/>
                  <a:gd name="connsiteY0" fmla="*/ 3061 h 3061"/>
                  <a:gd name="connsiteX1" fmla="*/ 0 w 3466"/>
                  <a:gd name="connsiteY1" fmla="*/ 3061 h 3061"/>
                  <a:gd name="connsiteX2" fmla="*/ 0 w 3466"/>
                  <a:gd name="connsiteY2" fmla="*/ 0 h 3061"/>
                  <a:gd name="connsiteX3" fmla="*/ 2827 w 3466"/>
                  <a:gd name="connsiteY3" fmla="*/ 0 h 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66" h="3061">
                    <a:moveTo>
                      <a:pt x="3467" y="3061"/>
                    </a:moveTo>
                    <a:lnTo>
                      <a:pt x="0" y="3061"/>
                    </a:lnTo>
                    <a:lnTo>
                      <a:pt x="0" y="0"/>
                    </a:lnTo>
                    <a:lnTo>
                      <a:pt x="2827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1" name="Freeform 947">
                <a:extLst>
                  <a:ext uri="{FF2B5EF4-FFF2-40B4-BE49-F238E27FC236}">
                    <a16:creationId xmlns:a16="http://schemas.microsoft.com/office/drawing/2014/main" id="{50EEEC7F-8F30-FB19-B0D5-33F3FB0112B6}"/>
                  </a:ext>
                </a:extLst>
              </p:cNvPr>
              <p:cNvSpPr/>
              <p:nvPr/>
            </p:nvSpPr>
            <p:spPr>
              <a:xfrm>
                <a:off x="6178232" y="3255408"/>
                <a:ext cx="23457" cy="25767"/>
              </a:xfrm>
              <a:custGeom>
                <a:avLst/>
                <a:gdLst>
                  <a:gd name="connsiteX0" fmla="*/ 12587 w 23457"/>
                  <a:gd name="connsiteY0" fmla="*/ 0 h 25767"/>
                  <a:gd name="connsiteX1" fmla="*/ 15616 w 23457"/>
                  <a:gd name="connsiteY1" fmla="*/ 2052 h 25767"/>
                  <a:gd name="connsiteX2" fmla="*/ 16491 w 23457"/>
                  <a:gd name="connsiteY2" fmla="*/ 5214 h 25767"/>
                  <a:gd name="connsiteX3" fmla="*/ 23457 w 23457"/>
                  <a:gd name="connsiteY3" fmla="*/ 5214 h 25767"/>
                  <a:gd name="connsiteX4" fmla="*/ 23020 w 23457"/>
                  <a:gd name="connsiteY4" fmla="*/ 10866 h 25767"/>
                  <a:gd name="connsiteX5" fmla="*/ 19015 w 23457"/>
                  <a:gd name="connsiteY5" fmla="*/ 13691 h 25767"/>
                  <a:gd name="connsiteX6" fmla="*/ 15649 w 23457"/>
                  <a:gd name="connsiteY6" fmla="*/ 20857 h 25767"/>
                  <a:gd name="connsiteX7" fmla="*/ 15649 w 23457"/>
                  <a:gd name="connsiteY7" fmla="*/ 25196 h 25767"/>
                  <a:gd name="connsiteX8" fmla="*/ 13899 w 23457"/>
                  <a:gd name="connsiteY8" fmla="*/ 25196 h 25767"/>
                  <a:gd name="connsiteX9" fmla="*/ 10433 w 23457"/>
                  <a:gd name="connsiteY9" fmla="*/ 25196 h 25767"/>
                  <a:gd name="connsiteX10" fmla="*/ 5856 w 23457"/>
                  <a:gd name="connsiteY10" fmla="*/ 20857 h 25767"/>
                  <a:gd name="connsiteX11" fmla="*/ 5856 w 23457"/>
                  <a:gd name="connsiteY11" fmla="*/ 17156 h 25767"/>
                  <a:gd name="connsiteX12" fmla="*/ 5654 w 23457"/>
                  <a:gd name="connsiteY12" fmla="*/ 15407 h 25767"/>
                  <a:gd name="connsiteX13" fmla="*/ 0 w 23457"/>
                  <a:gd name="connsiteY13" fmla="*/ 12750 h 25767"/>
                  <a:gd name="connsiteX14" fmla="*/ 0 w 23457"/>
                  <a:gd name="connsiteY14" fmla="*/ 11269 h 25767"/>
                  <a:gd name="connsiteX15" fmla="*/ 1952 w 23457"/>
                  <a:gd name="connsiteY15" fmla="*/ 6492 h 25767"/>
                  <a:gd name="connsiteX16" fmla="*/ 5856 w 23457"/>
                  <a:gd name="connsiteY16" fmla="*/ 3229 h 25767"/>
                  <a:gd name="connsiteX17" fmla="*/ 6731 w 23457"/>
                  <a:gd name="connsiteY17" fmla="*/ 3028 h 25767"/>
                  <a:gd name="connsiteX18" fmla="*/ 8683 w 23457"/>
                  <a:gd name="connsiteY18" fmla="*/ 0 h 25767"/>
                  <a:gd name="connsiteX19" fmla="*/ 12587 w 23457"/>
                  <a:gd name="connsiteY19" fmla="*/ 0 h 25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3457" h="25767">
                    <a:moveTo>
                      <a:pt x="12587" y="0"/>
                    </a:moveTo>
                    <a:lnTo>
                      <a:pt x="15616" y="2052"/>
                    </a:lnTo>
                    <a:lnTo>
                      <a:pt x="16491" y="5214"/>
                    </a:lnTo>
                    <a:lnTo>
                      <a:pt x="23457" y="5214"/>
                    </a:lnTo>
                    <a:lnTo>
                      <a:pt x="23020" y="10866"/>
                    </a:lnTo>
                    <a:lnTo>
                      <a:pt x="19015" y="13691"/>
                    </a:lnTo>
                    <a:lnTo>
                      <a:pt x="15649" y="20857"/>
                    </a:lnTo>
                    <a:lnTo>
                      <a:pt x="15649" y="25196"/>
                    </a:lnTo>
                    <a:cubicBezTo>
                      <a:pt x="15649" y="25196"/>
                      <a:pt x="14572" y="24557"/>
                      <a:pt x="13899" y="25196"/>
                    </a:cubicBezTo>
                    <a:cubicBezTo>
                      <a:pt x="13260" y="25835"/>
                      <a:pt x="12149" y="26071"/>
                      <a:pt x="10433" y="25196"/>
                    </a:cubicBezTo>
                    <a:cubicBezTo>
                      <a:pt x="8683" y="24322"/>
                      <a:pt x="5856" y="20857"/>
                      <a:pt x="5856" y="20857"/>
                    </a:cubicBezTo>
                    <a:cubicBezTo>
                      <a:pt x="5856" y="20857"/>
                      <a:pt x="6058" y="17829"/>
                      <a:pt x="5856" y="17156"/>
                    </a:cubicBezTo>
                    <a:cubicBezTo>
                      <a:pt x="5654" y="16517"/>
                      <a:pt x="5654" y="15407"/>
                      <a:pt x="5654" y="15407"/>
                    </a:cubicBezTo>
                    <a:lnTo>
                      <a:pt x="0" y="12750"/>
                    </a:lnTo>
                    <a:lnTo>
                      <a:pt x="0" y="11269"/>
                    </a:lnTo>
                    <a:cubicBezTo>
                      <a:pt x="0" y="11269"/>
                      <a:pt x="1313" y="6694"/>
                      <a:pt x="1952" y="6492"/>
                    </a:cubicBezTo>
                    <a:cubicBezTo>
                      <a:pt x="2591" y="6291"/>
                      <a:pt x="4981" y="3667"/>
                      <a:pt x="5856" y="3229"/>
                    </a:cubicBezTo>
                    <a:cubicBezTo>
                      <a:pt x="6731" y="2792"/>
                      <a:pt x="6731" y="3028"/>
                      <a:pt x="6731" y="3028"/>
                    </a:cubicBezTo>
                    <a:lnTo>
                      <a:pt x="8683" y="0"/>
                    </a:lnTo>
                    <a:lnTo>
                      <a:pt x="12587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2" name="Freeform 948">
                <a:extLst>
                  <a:ext uri="{FF2B5EF4-FFF2-40B4-BE49-F238E27FC236}">
                    <a16:creationId xmlns:a16="http://schemas.microsoft.com/office/drawing/2014/main" id="{09264527-8727-2786-4C67-F8A5E3E6285D}"/>
                  </a:ext>
                </a:extLst>
              </p:cNvPr>
              <p:cNvSpPr/>
              <p:nvPr/>
            </p:nvSpPr>
            <p:spPr>
              <a:xfrm>
                <a:off x="6151476" y="3302335"/>
                <a:ext cx="14539" cy="11134"/>
              </a:xfrm>
              <a:custGeom>
                <a:avLst/>
                <a:gdLst>
                  <a:gd name="connsiteX0" fmla="*/ 4779 w 14539"/>
                  <a:gd name="connsiteY0" fmla="*/ 0 h 11134"/>
                  <a:gd name="connsiteX1" fmla="*/ 8683 w 14539"/>
                  <a:gd name="connsiteY1" fmla="*/ 1514 h 11134"/>
                  <a:gd name="connsiteX2" fmla="*/ 14539 w 14539"/>
                  <a:gd name="connsiteY2" fmla="*/ 4104 h 11134"/>
                  <a:gd name="connsiteX3" fmla="*/ 13024 w 14539"/>
                  <a:gd name="connsiteY3" fmla="*/ 9655 h 11134"/>
                  <a:gd name="connsiteX4" fmla="*/ 9659 w 14539"/>
                  <a:gd name="connsiteY4" fmla="*/ 11135 h 11134"/>
                  <a:gd name="connsiteX5" fmla="*/ 6058 w 14539"/>
                  <a:gd name="connsiteY5" fmla="*/ 7636 h 11134"/>
                  <a:gd name="connsiteX6" fmla="*/ 2154 w 14539"/>
                  <a:gd name="connsiteY6" fmla="*/ 3700 h 11134"/>
                  <a:gd name="connsiteX7" fmla="*/ 0 w 14539"/>
                  <a:gd name="connsiteY7" fmla="*/ 875 h 11134"/>
                  <a:gd name="connsiteX8" fmla="*/ 1952 w 14539"/>
                  <a:gd name="connsiteY8" fmla="*/ 0 h 11134"/>
                  <a:gd name="connsiteX9" fmla="*/ 4779 w 14539"/>
                  <a:gd name="connsiteY9" fmla="*/ 0 h 11134"/>
                  <a:gd name="connsiteX10" fmla="*/ 4779 w 14539"/>
                  <a:gd name="connsiteY10" fmla="*/ 0 h 11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539" h="11134">
                    <a:moveTo>
                      <a:pt x="4779" y="0"/>
                    </a:moveTo>
                    <a:lnTo>
                      <a:pt x="8683" y="1514"/>
                    </a:lnTo>
                    <a:lnTo>
                      <a:pt x="14539" y="4104"/>
                    </a:lnTo>
                    <a:lnTo>
                      <a:pt x="13024" y="9655"/>
                    </a:lnTo>
                    <a:lnTo>
                      <a:pt x="9659" y="11135"/>
                    </a:lnTo>
                    <a:cubicBezTo>
                      <a:pt x="9659" y="11135"/>
                      <a:pt x="6933" y="7636"/>
                      <a:pt x="6058" y="7636"/>
                    </a:cubicBezTo>
                    <a:cubicBezTo>
                      <a:pt x="5183" y="7636"/>
                      <a:pt x="2154" y="3700"/>
                      <a:pt x="2154" y="3700"/>
                    </a:cubicBezTo>
                    <a:lnTo>
                      <a:pt x="0" y="875"/>
                    </a:lnTo>
                    <a:lnTo>
                      <a:pt x="1952" y="0"/>
                    </a:lnTo>
                    <a:lnTo>
                      <a:pt x="4779" y="0"/>
                    </a:lnTo>
                    <a:lnTo>
                      <a:pt x="4779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3" name="Freeform 949">
                <a:extLst>
                  <a:ext uri="{FF2B5EF4-FFF2-40B4-BE49-F238E27FC236}">
                    <a16:creationId xmlns:a16="http://schemas.microsoft.com/office/drawing/2014/main" id="{40524E18-F127-33AC-C90D-6B907C547722}"/>
                  </a:ext>
                </a:extLst>
              </p:cNvPr>
              <p:cNvSpPr/>
              <p:nvPr/>
            </p:nvSpPr>
            <p:spPr>
              <a:xfrm>
                <a:off x="5947799" y="3484864"/>
                <a:ext cx="28269" cy="24321"/>
              </a:xfrm>
              <a:custGeom>
                <a:avLst/>
                <a:gdLst>
                  <a:gd name="connsiteX0" fmla="*/ 10635 w 28269"/>
                  <a:gd name="connsiteY0" fmla="*/ 24322 h 24321"/>
                  <a:gd name="connsiteX1" fmla="*/ 14774 w 28269"/>
                  <a:gd name="connsiteY1" fmla="*/ 20419 h 24321"/>
                  <a:gd name="connsiteX2" fmla="*/ 14774 w 28269"/>
                  <a:gd name="connsiteY2" fmla="*/ 17358 h 24321"/>
                  <a:gd name="connsiteX3" fmla="*/ 17399 w 28269"/>
                  <a:gd name="connsiteY3" fmla="*/ 17358 h 24321"/>
                  <a:gd name="connsiteX4" fmla="*/ 23895 w 28269"/>
                  <a:gd name="connsiteY4" fmla="*/ 13456 h 24321"/>
                  <a:gd name="connsiteX5" fmla="*/ 28270 w 28269"/>
                  <a:gd name="connsiteY5" fmla="*/ 9991 h 24321"/>
                  <a:gd name="connsiteX6" fmla="*/ 24332 w 28269"/>
                  <a:gd name="connsiteY6" fmla="*/ 5416 h 24321"/>
                  <a:gd name="connsiteX7" fmla="*/ 19553 w 28269"/>
                  <a:gd name="connsiteY7" fmla="*/ 1716 h 24321"/>
                  <a:gd name="connsiteX8" fmla="*/ 13899 w 28269"/>
                  <a:gd name="connsiteY8" fmla="*/ 1716 h 24321"/>
                  <a:gd name="connsiteX9" fmla="*/ 11072 w 28269"/>
                  <a:gd name="connsiteY9" fmla="*/ 0 h 24321"/>
                  <a:gd name="connsiteX10" fmla="*/ 0 w 28269"/>
                  <a:gd name="connsiteY10" fmla="*/ 0 h 24321"/>
                  <a:gd name="connsiteX11" fmla="*/ 4341 w 28269"/>
                  <a:gd name="connsiteY11" fmla="*/ 6930 h 24321"/>
                  <a:gd name="connsiteX12" fmla="*/ 4341 w 28269"/>
                  <a:gd name="connsiteY12" fmla="*/ 13019 h 24321"/>
                  <a:gd name="connsiteX13" fmla="*/ 4341 w 28269"/>
                  <a:gd name="connsiteY13" fmla="*/ 18233 h 24321"/>
                  <a:gd name="connsiteX14" fmla="*/ 5654 w 28269"/>
                  <a:gd name="connsiteY14" fmla="*/ 20419 h 24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8269" h="24321">
                    <a:moveTo>
                      <a:pt x="10635" y="24322"/>
                    </a:moveTo>
                    <a:lnTo>
                      <a:pt x="14774" y="20419"/>
                    </a:lnTo>
                    <a:lnTo>
                      <a:pt x="14774" y="17358"/>
                    </a:lnTo>
                    <a:lnTo>
                      <a:pt x="17399" y="17358"/>
                    </a:lnTo>
                    <a:lnTo>
                      <a:pt x="23895" y="13456"/>
                    </a:lnTo>
                    <a:lnTo>
                      <a:pt x="28270" y="9991"/>
                    </a:lnTo>
                    <a:lnTo>
                      <a:pt x="24332" y="5416"/>
                    </a:lnTo>
                    <a:lnTo>
                      <a:pt x="19553" y="1716"/>
                    </a:lnTo>
                    <a:lnTo>
                      <a:pt x="13899" y="1716"/>
                    </a:lnTo>
                    <a:lnTo>
                      <a:pt x="11072" y="0"/>
                    </a:lnTo>
                    <a:lnTo>
                      <a:pt x="0" y="0"/>
                    </a:lnTo>
                    <a:lnTo>
                      <a:pt x="4341" y="6930"/>
                    </a:lnTo>
                    <a:lnTo>
                      <a:pt x="4341" y="13019"/>
                    </a:lnTo>
                    <a:lnTo>
                      <a:pt x="4341" y="18233"/>
                    </a:lnTo>
                    <a:lnTo>
                      <a:pt x="5654" y="20419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sp>
          <p:nvSpPr>
            <p:cNvPr id="621" name="Freeform 887">
              <a:extLst>
                <a:ext uri="{FF2B5EF4-FFF2-40B4-BE49-F238E27FC236}">
                  <a16:creationId xmlns:a16="http://schemas.microsoft.com/office/drawing/2014/main" id="{E879D952-0C70-449B-17E8-3B397B1E9819}"/>
                </a:ext>
              </a:extLst>
            </p:cNvPr>
            <p:cNvSpPr/>
            <p:nvPr/>
          </p:nvSpPr>
          <p:spPr>
            <a:xfrm>
              <a:off x="7987017" y="2835953"/>
              <a:ext cx="245586" cy="305313"/>
            </a:xfrm>
            <a:custGeom>
              <a:avLst/>
              <a:gdLst>
                <a:gd name="connsiteX0" fmla="*/ 342638 w 471500"/>
                <a:gd name="connsiteY0" fmla="*/ 573051 h 586170"/>
                <a:gd name="connsiteX1" fmla="*/ 344388 w 471500"/>
                <a:gd name="connsiteY1" fmla="*/ 580015 h 586170"/>
                <a:gd name="connsiteX2" fmla="*/ 344388 w 471500"/>
                <a:gd name="connsiteY2" fmla="*/ 582908 h 586170"/>
                <a:gd name="connsiteX3" fmla="*/ 353070 w 471500"/>
                <a:gd name="connsiteY3" fmla="*/ 586171 h 586170"/>
                <a:gd name="connsiteX4" fmla="*/ 357210 w 471500"/>
                <a:gd name="connsiteY4" fmla="*/ 581831 h 586170"/>
                <a:gd name="connsiteX5" fmla="*/ 364177 w 471500"/>
                <a:gd name="connsiteY5" fmla="*/ 575978 h 586170"/>
                <a:gd name="connsiteX6" fmla="*/ 370268 w 471500"/>
                <a:gd name="connsiteY6" fmla="*/ 572277 h 586170"/>
                <a:gd name="connsiteX7" fmla="*/ 375047 w 471500"/>
                <a:gd name="connsiteY7" fmla="*/ 564877 h 586170"/>
                <a:gd name="connsiteX8" fmla="*/ 380936 w 471500"/>
                <a:gd name="connsiteY8" fmla="*/ 560302 h 586170"/>
                <a:gd name="connsiteX9" fmla="*/ 384638 w 471500"/>
                <a:gd name="connsiteY9" fmla="*/ 555289 h 586170"/>
                <a:gd name="connsiteX10" fmla="*/ 389619 w 471500"/>
                <a:gd name="connsiteY10" fmla="*/ 552262 h 586170"/>
                <a:gd name="connsiteX11" fmla="*/ 399614 w 471500"/>
                <a:gd name="connsiteY11" fmla="*/ 547048 h 586170"/>
                <a:gd name="connsiteX12" fmla="*/ 403519 w 471500"/>
                <a:gd name="connsiteY12" fmla="*/ 541161 h 586170"/>
                <a:gd name="connsiteX13" fmla="*/ 403519 w 471500"/>
                <a:gd name="connsiteY13" fmla="*/ 532919 h 586170"/>
                <a:gd name="connsiteX14" fmla="*/ 408533 w 471500"/>
                <a:gd name="connsiteY14" fmla="*/ 529858 h 586170"/>
                <a:gd name="connsiteX15" fmla="*/ 413951 w 471500"/>
                <a:gd name="connsiteY15" fmla="*/ 514653 h 586170"/>
                <a:gd name="connsiteX16" fmla="*/ 411495 w 471500"/>
                <a:gd name="connsiteY16" fmla="*/ 504662 h 586170"/>
                <a:gd name="connsiteX17" fmla="*/ 408735 w 471500"/>
                <a:gd name="connsiteY17" fmla="*/ 499448 h 586170"/>
                <a:gd name="connsiteX18" fmla="*/ 408735 w 471500"/>
                <a:gd name="connsiteY18" fmla="*/ 490769 h 586170"/>
                <a:gd name="connsiteX19" fmla="*/ 408735 w 471500"/>
                <a:gd name="connsiteY19" fmla="*/ 474689 h 586170"/>
                <a:gd name="connsiteX20" fmla="*/ 411495 w 471500"/>
                <a:gd name="connsiteY20" fmla="*/ 474252 h 586170"/>
                <a:gd name="connsiteX21" fmla="*/ 414826 w 471500"/>
                <a:gd name="connsiteY21" fmla="*/ 477716 h 586170"/>
                <a:gd name="connsiteX22" fmla="*/ 425259 w 471500"/>
                <a:gd name="connsiteY22" fmla="*/ 477716 h 586170"/>
                <a:gd name="connsiteX23" fmla="*/ 437442 w 471500"/>
                <a:gd name="connsiteY23" fmla="*/ 477716 h 586170"/>
                <a:gd name="connsiteX24" fmla="*/ 448313 w 471500"/>
                <a:gd name="connsiteY24" fmla="*/ 474891 h 586170"/>
                <a:gd name="connsiteX25" fmla="*/ 452217 w 471500"/>
                <a:gd name="connsiteY25" fmla="*/ 468163 h 586170"/>
                <a:gd name="connsiteX26" fmla="*/ 452217 w 471500"/>
                <a:gd name="connsiteY26" fmla="*/ 459484 h 586170"/>
                <a:gd name="connsiteX27" fmla="*/ 447202 w 471500"/>
                <a:gd name="connsiteY27" fmla="*/ 453832 h 586170"/>
                <a:gd name="connsiteX28" fmla="*/ 439596 w 471500"/>
                <a:gd name="connsiteY28" fmla="*/ 446432 h 586170"/>
                <a:gd name="connsiteX29" fmla="*/ 446125 w 471500"/>
                <a:gd name="connsiteY29" fmla="*/ 437753 h 586170"/>
                <a:gd name="connsiteX30" fmla="*/ 453529 w 471500"/>
                <a:gd name="connsiteY30" fmla="*/ 437753 h 586170"/>
                <a:gd name="connsiteX31" fmla="*/ 460933 w 471500"/>
                <a:gd name="connsiteY31" fmla="*/ 435129 h 586170"/>
                <a:gd name="connsiteX32" fmla="*/ 460933 w 471500"/>
                <a:gd name="connsiteY32" fmla="*/ 424263 h 586170"/>
                <a:gd name="connsiteX33" fmla="*/ 466150 w 471500"/>
                <a:gd name="connsiteY33" fmla="*/ 414272 h 586170"/>
                <a:gd name="connsiteX34" fmla="*/ 469212 w 471500"/>
                <a:gd name="connsiteY34" fmla="*/ 406602 h 586170"/>
                <a:gd name="connsiteX35" fmla="*/ 471400 w 471500"/>
                <a:gd name="connsiteY35" fmla="*/ 389951 h 586170"/>
                <a:gd name="connsiteX36" fmla="*/ 471400 w 471500"/>
                <a:gd name="connsiteY36" fmla="*/ 381272 h 586170"/>
                <a:gd name="connsiteX37" fmla="*/ 471501 w 471500"/>
                <a:gd name="connsiteY37" fmla="*/ 381003 h 586170"/>
                <a:gd name="connsiteX38" fmla="*/ 468506 w 471500"/>
                <a:gd name="connsiteY38" fmla="*/ 374880 h 586170"/>
                <a:gd name="connsiteX39" fmla="*/ 461236 w 471500"/>
                <a:gd name="connsiteY39" fmla="*/ 376899 h 586170"/>
                <a:gd name="connsiteX40" fmla="*/ 451106 w 471500"/>
                <a:gd name="connsiteY40" fmla="*/ 378076 h 586170"/>
                <a:gd name="connsiteX41" fmla="*/ 450534 w 471500"/>
                <a:gd name="connsiteY41" fmla="*/ 372862 h 586170"/>
                <a:gd name="connsiteX42" fmla="*/ 449659 w 471500"/>
                <a:gd name="connsiteY42" fmla="*/ 364755 h 586170"/>
                <a:gd name="connsiteX43" fmla="*/ 445318 w 471500"/>
                <a:gd name="connsiteY43" fmla="*/ 364755 h 586170"/>
                <a:gd name="connsiteX44" fmla="*/ 434313 w 471500"/>
                <a:gd name="connsiteY44" fmla="*/ 367042 h 586170"/>
                <a:gd name="connsiteX45" fmla="*/ 426471 w 471500"/>
                <a:gd name="connsiteY45" fmla="*/ 369094 h 586170"/>
                <a:gd name="connsiteX46" fmla="*/ 419235 w 471500"/>
                <a:gd name="connsiteY46" fmla="*/ 369969 h 586170"/>
                <a:gd name="connsiteX47" fmla="*/ 411562 w 471500"/>
                <a:gd name="connsiteY47" fmla="*/ 373164 h 586170"/>
                <a:gd name="connsiteX48" fmla="*/ 404461 w 471500"/>
                <a:gd name="connsiteY48" fmla="*/ 375183 h 586170"/>
                <a:gd name="connsiteX49" fmla="*/ 395778 w 471500"/>
                <a:gd name="connsiteY49" fmla="*/ 375183 h 586170"/>
                <a:gd name="connsiteX50" fmla="*/ 387364 w 471500"/>
                <a:gd name="connsiteY50" fmla="*/ 370406 h 586170"/>
                <a:gd name="connsiteX51" fmla="*/ 384167 w 471500"/>
                <a:gd name="connsiteY51" fmla="*/ 367076 h 586170"/>
                <a:gd name="connsiteX52" fmla="*/ 382148 w 471500"/>
                <a:gd name="connsiteY52" fmla="*/ 361290 h 586170"/>
                <a:gd name="connsiteX53" fmla="*/ 389687 w 471500"/>
                <a:gd name="connsiteY53" fmla="*/ 354057 h 586170"/>
                <a:gd name="connsiteX54" fmla="*/ 394903 w 471500"/>
                <a:gd name="connsiteY54" fmla="*/ 349718 h 586170"/>
                <a:gd name="connsiteX55" fmla="*/ 398100 w 471500"/>
                <a:gd name="connsiteY55" fmla="*/ 341913 h 586170"/>
                <a:gd name="connsiteX56" fmla="*/ 396922 w 471500"/>
                <a:gd name="connsiteY56" fmla="*/ 336396 h 586170"/>
                <a:gd name="connsiteX57" fmla="*/ 395778 w 471500"/>
                <a:gd name="connsiteY57" fmla="*/ 330005 h 586170"/>
                <a:gd name="connsiteX58" fmla="*/ 394028 w 471500"/>
                <a:gd name="connsiteY58" fmla="*/ 324791 h 586170"/>
                <a:gd name="connsiteX59" fmla="*/ 383595 w 471500"/>
                <a:gd name="connsiteY59" fmla="*/ 324791 h 586170"/>
                <a:gd name="connsiteX60" fmla="*/ 373162 w 471500"/>
                <a:gd name="connsiteY60" fmla="*/ 323243 h 586170"/>
                <a:gd name="connsiteX61" fmla="*/ 364177 w 471500"/>
                <a:gd name="connsiteY61" fmla="*/ 323008 h 586170"/>
                <a:gd name="connsiteX62" fmla="*/ 361282 w 471500"/>
                <a:gd name="connsiteY62" fmla="*/ 317794 h 586170"/>
                <a:gd name="connsiteX63" fmla="*/ 358960 w 471500"/>
                <a:gd name="connsiteY63" fmla="*/ 307365 h 586170"/>
                <a:gd name="connsiteX64" fmla="*/ 354316 w 471500"/>
                <a:gd name="connsiteY64" fmla="*/ 301579 h 586170"/>
                <a:gd name="connsiteX65" fmla="*/ 349099 w 471500"/>
                <a:gd name="connsiteY65" fmla="*/ 298686 h 586170"/>
                <a:gd name="connsiteX66" fmla="*/ 343310 w 471500"/>
                <a:gd name="connsiteY66" fmla="*/ 295221 h 586170"/>
                <a:gd name="connsiteX67" fmla="*/ 345633 w 471500"/>
                <a:gd name="connsiteY67" fmla="*/ 289436 h 586170"/>
                <a:gd name="connsiteX68" fmla="*/ 350546 w 471500"/>
                <a:gd name="connsiteY68" fmla="*/ 281328 h 586170"/>
                <a:gd name="connsiteX69" fmla="*/ 352296 w 471500"/>
                <a:gd name="connsiteY69" fmla="*/ 273221 h 586170"/>
                <a:gd name="connsiteX70" fmla="*/ 356941 w 471500"/>
                <a:gd name="connsiteY70" fmla="*/ 266830 h 586170"/>
                <a:gd name="connsiteX71" fmla="*/ 362460 w 471500"/>
                <a:gd name="connsiteY71" fmla="*/ 266258 h 586170"/>
                <a:gd name="connsiteX72" fmla="*/ 366801 w 471500"/>
                <a:gd name="connsiteY72" fmla="*/ 264811 h 586170"/>
                <a:gd name="connsiteX73" fmla="*/ 368249 w 471500"/>
                <a:gd name="connsiteY73" fmla="*/ 259597 h 586170"/>
                <a:gd name="connsiteX74" fmla="*/ 371143 w 471500"/>
                <a:gd name="connsiteY74" fmla="*/ 255527 h 586170"/>
                <a:gd name="connsiteX75" fmla="*/ 372018 w 471500"/>
                <a:gd name="connsiteY75" fmla="*/ 245670 h 586170"/>
                <a:gd name="connsiteX76" fmla="*/ 370874 w 471500"/>
                <a:gd name="connsiteY76" fmla="*/ 239279 h 586170"/>
                <a:gd name="connsiteX77" fmla="*/ 367979 w 471500"/>
                <a:gd name="connsiteY77" fmla="*/ 229725 h 586170"/>
                <a:gd name="connsiteX78" fmla="*/ 368551 w 471500"/>
                <a:gd name="connsiteY78" fmla="*/ 222190 h 586170"/>
                <a:gd name="connsiteX79" fmla="*/ 374037 w 471500"/>
                <a:gd name="connsiteY79" fmla="*/ 217548 h 586170"/>
                <a:gd name="connsiteX80" fmla="*/ 382148 w 471500"/>
                <a:gd name="connsiteY80" fmla="*/ 220743 h 586170"/>
                <a:gd name="connsiteX81" fmla="*/ 386489 w 471500"/>
                <a:gd name="connsiteY81" fmla="*/ 225655 h 586170"/>
                <a:gd name="connsiteX82" fmla="*/ 395172 w 471500"/>
                <a:gd name="connsiteY82" fmla="*/ 227101 h 586170"/>
                <a:gd name="connsiteX83" fmla="*/ 403014 w 471500"/>
                <a:gd name="connsiteY83" fmla="*/ 227404 h 586170"/>
                <a:gd name="connsiteX84" fmla="*/ 408802 w 471500"/>
                <a:gd name="connsiteY84" fmla="*/ 232315 h 586170"/>
                <a:gd name="connsiteX85" fmla="*/ 416038 w 471500"/>
                <a:gd name="connsiteY85" fmla="*/ 228548 h 586170"/>
                <a:gd name="connsiteX86" fmla="*/ 420952 w 471500"/>
                <a:gd name="connsiteY86" fmla="*/ 223031 h 586170"/>
                <a:gd name="connsiteX87" fmla="*/ 419504 w 471500"/>
                <a:gd name="connsiteY87" fmla="*/ 217245 h 586170"/>
                <a:gd name="connsiteX88" fmla="*/ 418057 w 471500"/>
                <a:gd name="connsiteY88" fmla="*/ 209407 h 586170"/>
                <a:gd name="connsiteX89" fmla="*/ 420682 w 471500"/>
                <a:gd name="connsiteY89" fmla="*/ 205639 h 586170"/>
                <a:gd name="connsiteX90" fmla="*/ 422432 w 471500"/>
                <a:gd name="connsiteY90" fmla="*/ 194336 h 586170"/>
                <a:gd name="connsiteX91" fmla="*/ 415769 w 471500"/>
                <a:gd name="connsiteY91" fmla="*/ 189694 h 586170"/>
                <a:gd name="connsiteX92" fmla="*/ 403889 w 471500"/>
                <a:gd name="connsiteY92" fmla="*/ 183605 h 586170"/>
                <a:gd name="connsiteX93" fmla="*/ 396081 w 471500"/>
                <a:gd name="connsiteY93" fmla="*/ 176945 h 586170"/>
                <a:gd name="connsiteX94" fmla="*/ 390562 w 471500"/>
                <a:gd name="connsiteY94" fmla="*/ 170553 h 586170"/>
                <a:gd name="connsiteX95" fmla="*/ 382451 w 471500"/>
                <a:gd name="connsiteY95" fmla="*/ 172874 h 586170"/>
                <a:gd name="connsiteX96" fmla="*/ 379859 w 471500"/>
                <a:gd name="connsiteY96" fmla="*/ 178963 h 586170"/>
                <a:gd name="connsiteX97" fmla="*/ 379556 w 471500"/>
                <a:gd name="connsiteY97" fmla="*/ 189694 h 586170"/>
                <a:gd name="connsiteX98" fmla="*/ 375484 w 471500"/>
                <a:gd name="connsiteY98" fmla="*/ 195211 h 586170"/>
                <a:gd name="connsiteX99" fmla="*/ 373734 w 471500"/>
                <a:gd name="connsiteY99" fmla="*/ 201300 h 586170"/>
                <a:gd name="connsiteX100" fmla="*/ 368518 w 471500"/>
                <a:gd name="connsiteY100" fmla="*/ 204193 h 586170"/>
                <a:gd name="connsiteX101" fmla="*/ 361854 w 471500"/>
                <a:gd name="connsiteY101" fmla="*/ 204495 h 586170"/>
                <a:gd name="connsiteX102" fmla="*/ 354618 w 471500"/>
                <a:gd name="connsiteY102" fmla="*/ 204193 h 586170"/>
                <a:gd name="connsiteX103" fmla="*/ 345936 w 471500"/>
                <a:gd name="connsiteY103" fmla="*/ 206211 h 586170"/>
                <a:gd name="connsiteX104" fmla="*/ 340147 w 471500"/>
                <a:gd name="connsiteY104" fmla="*/ 205336 h 586170"/>
                <a:gd name="connsiteX105" fmla="*/ 329142 w 471500"/>
                <a:gd name="connsiteY105" fmla="*/ 196927 h 586170"/>
                <a:gd name="connsiteX106" fmla="*/ 326248 w 471500"/>
                <a:gd name="connsiteY106" fmla="*/ 188819 h 586170"/>
                <a:gd name="connsiteX107" fmla="*/ 327123 w 471500"/>
                <a:gd name="connsiteY107" fmla="*/ 181015 h 586170"/>
                <a:gd name="connsiteX108" fmla="*/ 323925 w 471500"/>
                <a:gd name="connsiteY108" fmla="*/ 172605 h 586170"/>
                <a:gd name="connsiteX109" fmla="*/ 319853 w 471500"/>
                <a:gd name="connsiteY109" fmla="*/ 163926 h 586170"/>
                <a:gd name="connsiteX110" fmla="*/ 317531 w 471500"/>
                <a:gd name="connsiteY110" fmla="*/ 154372 h 586170"/>
                <a:gd name="connsiteX111" fmla="*/ 310565 w 471500"/>
                <a:gd name="connsiteY111" fmla="*/ 156693 h 586170"/>
                <a:gd name="connsiteX112" fmla="*/ 300132 w 471500"/>
                <a:gd name="connsiteY112" fmla="*/ 157568 h 586170"/>
                <a:gd name="connsiteX113" fmla="*/ 295790 w 471500"/>
                <a:gd name="connsiteY113" fmla="*/ 152657 h 586170"/>
                <a:gd name="connsiteX114" fmla="*/ 295521 w 471500"/>
                <a:gd name="connsiteY114" fmla="*/ 150908 h 586170"/>
                <a:gd name="connsiteX115" fmla="*/ 297271 w 471500"/>
                <a:gd name="connsiteY115" fmla="*/ 137283 h 586170"/>
                <a:gd name="connsiteX116" fmla="*/ 299290 w 471500"/>
                <a:gd name="connsiteY116" fmla="*/ 130320 h 586170"/>
                <a:gd name="connsiteX117" fmla="*/ 301882 w 471500"/>
                <a:gd name="connsiteY117" fmla="*/ 125678 h 586170"/>
                <a:gd name="connsiteX118" fmla="*/ 305954 w 471500"/>
                <a:gd name="connsiteY118" fmla="*/ 119017 h 586170"/>
                <a:gd name="connsiteX119" fmla="*/ 307973 w 471500"/>
                <a:gd name="connsiteY119" fmla="*/ 112626 h 586170"/>
                <a:gd name="connsiteX120" fmla="*/ 308545 w 471500"/>
                <a:gd name="connsiteY120" fmla="*/ 107714 h 586170"/>
                <a:gd name="connsiteX121" fmla="*/ 312617 w 471500"/>
                <a:gd name="connsiteY121" fmla="*/ 102197 h 586170"/>
                <a:gd name="connsiteX122" fmla="*/ 313493 w 471500"/>
                <a:gd name="connsiteY122" fmla="*/ 94359 h 586170"/>
                <a:gd name="connsiteX123" fmla="*/ 306257 w 471500"/>
                <a:gd name="connsiteY123" fmla="*/ 93485 h 586170"/>
                <a:gd name="connsiteX124" fmla="*/ 296699 w 471500"/>
                <a:gd name="connsiteY124" fmla="*/ 91735 h 586170"/>
                <a:gd name="connsiteX125" fmla="*/ 291482 w 471500"/>
                <a:gd name="connsiteY125" fmla="*/ 89111 h 586170"/>
                <a:gd name="connsiteX126" fmla="*/ 286838 w 471500"/>
                <a:gd name="connsiteY126" fmla="*/ 93182 h 586170"/>
                <a:gd name="connsiteX127" fmla="*/ 280174 w 471500"/>
                <a:gd name="connsiteY127" fmla="*/ 96647 h 586170"/>
                <a:gd name="connsiteX128" fmla="*/ 270919 w 471500"/>
                <a:gd name="connsiteY128" fmla="*/ 96647 h 586170"/>
                <a:gd name="connsiteX129" fmla="*/ 268025 w 471500"/>
                <a:gd name="connsiteY129" fmla="*/ 92576 h 586170"/>
                <a:gd name="connsiteX130" fmla="*/ 268025 w 471500"/>
                <a:gd name="connsiteY130" fmla="*/ 82720 h 586170"/>
                <a:gd name="connsiteX131" fmla="*/ 267015 w 471500"/>
                <a:gd name="connsiteY131" fmla="*/ 78952 h 586170"/>
                <a:gd name="connsiteX132" fmla="*/ 262539 w 471500"/>
                <a:gd name="connsiteY132" fmla="*/ 73166 h 586170"/>
                <a:gd name="connsiteX133" fmla="*/ 258198 w 471500"/>
                <a:gd name="connsiteY133" fmla="*/ 68827 h 586170"/>
                <a:gd name="connsiteX134" fmla="*/ 251838 w 471500"/>
                <a:gd name="connsiteY134" fmla="*/ 61863 h 586170"/>
                <a:gd name="connsiteX135" fmla="*/ 242852 w 471500"/>
                <a:gd name="connsiteY135" fmla="*/ 60417 h 586170"/>
                <a:gd name="connsiteX136" fmla="*/ 231544 w 471500"/>
                <a:gd name="connsiteY136" fmla="*/ 60417 h 586170"/>
                <a:gd name="connsiteX137" fmla="*/ 217644 w 471500"/>
                <a:gd name="connsiteY137" fmla="*/ 60282 h 586170"/>
                <a:gd name="connsiteX138" fmla="*/ 211250 w 471500"/>
                <a:gd name="connsiteY138" fmla="*/ 57827 h 586170"/>
                <a:gd name="connsiteX139" fmla="*/ 206336 w 471500"/>
                <a:gd name="connsiteY139" fmla="*/ 52041 h 586170"/>
                <a:gd name="connsiteX140" fmla="*/ 204889 w 471500"/>
                <a:gd name="connsiteY140" fmla="*/ 47701 h 586170"/>
                <a:gd name="connsiteX141" fmla="*/ 198495 w 471500"/>
                <a:gd name="connsiteY141" fmla="*/ 47398 h 586170"/>
                <a:gd name="connsiteX142" fmla="*/ 193009 w 471500"/>
                <a:gd name="connsiteY142" fmla="*/ 37273 h 586170"/>
                <a:gd name="connsiteX143" fmla="*/ 188937 w 471500"/>
                <a:gd name="connsiteY143" fmla="*/ 29166 h 586170"/>
                <a:gd name="connsiteX144" fmla="*/ 183417 w 471500"/>
                <a:gd name="connsiteY144" fmla="*/ 29166 h 586170"/>
                <a:gd name="connsiteX145" fmla="*/ 178504 w 471500"/>
                <a:gd name="connsiteY145" fmla="*/ 24826 h 586170"/>
                <a:gd name="connsiteX146" fmla="*/ 171840 w 471500"/>
                <a:gd name="connsiteY146" fmla="*/ 19915 h 586170"/>
                <a:gd name="connsiteX147" fmla="*/ 164874 w 471500"/>
                <a:gd name="connsiteY147" fmla="*/ 19040 h 586170"/>
                <a:gd name="connsiteX148" fmla="*/ 157032 w 471500"/>
                <a:gd name="connsiteY148" fmla="*/ 14701 h 586170"/>
                <a:gd name="connsiteX149" fmla="*/ 142258 w 471500"/>
                <a:gd name="connsiteY149" fmla="*/ 5416 h 586170"/>
                <a:gd name="connsiteX150" fmla="*/ 138791 w 471500"/>
                <a:gd name="connsiteY150" fmla="*/ 1951 h 586170"/>
                <a:gd name="connsiteX151" fmla="*/ 136840 w 471500"/>
                <a:gd name="connsiteY151" fmla="*/ 0 h 586170"/>
                <a:gd name="connsiteX152" fmla="*/ 135325 w 471500"/>
                <a:gd name="connsiteY152" fmla="*/ 976 h 586170"/>
                <a:gd name="connsiteX153" fmla="*/ 129166 w 471500"/>
                <a:gd name="connsiteY153" fmla="*/ 2859 h 586170"/>
                <a:gd name="connsiteX154" fmla="*/ 120248 w 471500"/>
                <a:gd name="connsiteY154" fmla="*/ 6156 h 586170"/>
                <a:gd name="connsiteX155" fmla="*/ 114594 w 471500"/>
                <a:gd name="connsiteY155" fmla="*/ 8343 h 586170"/>
                <a:gd name="connsiteX156" fmla="*/ 108570 w 471500"/>
                <a:gd name="connsiteY156" fmla="*/ 8343 h 586170"/>
                <a:gd name="connsiteX157" fmla="*/ 109108 w 471500"/>
                <a:gd name="connsiteY157" fmla="*/ 9655 h 586170"/>
                <a:gd name="connsiteX158" fmla="*/ 116647 w 471500"/>
                <a:gd name="connsiteY158" fmla="*/ 26104 h 586170"/>
                <a:gd name="connsiteX159" fmla="*/ 124825 w 471500"/>
                <a:gd name="connsiteY159" fmla="*/ 35053 h 586170"/>
                <a:gd name="connsiteX160" fmla="*/ 137647 w 471500"/>
                <a:gd name="connsiteY160" fmla="*/ 38787 h 586170"/>
                <a:gd name="connsiteX161" fmla="*/ 137647 w 471500"/>
                <a:gd name="connsiteY161" fmla="*/ 45750 h 586170"/>
                <a:gd name="connsiteX162" fmla="*/ 143167 w 471500"/>
                <a:gd name="connsiteY162" fmla="*/ 43429 h 586170"/>
                <a:gd name="connsiteX163" fmla="*/ 149393 w 471500"/>
                <a:gd name="connsiteY163" fmla="*/ 41108 h 586170"/>
                <a:gd name="connsiteX164" fmla="*/ 153297 w 471500"/>
                <a:gd name="connsiteY164" fmla="*/ 41680 h 586170"/>
                <a:gd name="connsiteX165" fmla="*/ 153297 w 471500"/>
                <a:gd name="connsiteY165" fmla="*/ 47466 h 586170"/>
                <a:gd name="connsiteX166" fmla="*/ 153297 w 471500"/>
                <a:gd name="connsiteY166" fmla="*/ 54429 h 586170"/>
                <a:gd name="connsiteX167" fmla="*/ 155922 w 471500"/>
                <a:gd name="connsiteY167" fmla="*/ 64285 h 586170"/>
                <a:gd name="connsiteX168" fmla="*/ 157941 w 471500"/>
                <a:gd name="connsiteY168" fmla="*/ 69802 h 586170"/>
                <a:gd name="connsiteX169" fmla="*/ 163730 w 471500"/>
                <a:gd name="connsiteY169" fmla="*/ 76463 h 586170"/>
                <a:gd name="connsiteX170" fmla="*/ 163730 w 471500"/>
                <a:gd name="connsiteY170" fmla="*/ 82249 h 586170"/>
                <a:gd name="connsiteX171" fmla="*/ 163730 w 471500"/>
                <a:gd name="connsiteY171" fmla="*/ 84873 h 586170"/>
                <a:gd name="connsiteX172" fmla="*/ 159388 w 471500"/>
                <a:gd name="connsiteY172" fmla="*/ 84873 h 586170"/>
                <a:gd name="connsiteX173" fmla="*/ 155922 w 471500"/>
                <a:gd name="connsiteY173" fmla="*/ 84873 h 586170"/>
                <a:gd name="connsiteX174" fmla="*/ 153600 w 471500"/>
                <a:gd name="connsiteY174" fmla="*/ 88069 h 586170"/>
                <a:gd name="connsiteX175" fmla="*/ 150403 w 471500"/>
                <a:gd name="connsiteY175" fmla="*/ 93014 h 586170"/>
                <a:gd name="connsiteX176" fmla="*/ 143739 w 471500"/>
                <a:gd name="connsiteY176" fmla="*/ 97084 h 586170"/>
                <a:gd name="connsiteX177" fmla="*/ 136200 w 471500"/>
                <a:gd name="connsiteY177" fmla="*/ 101592 h 586170"/>
                <a:gd name="connsiteX178" fmla="*/ 130412 w 471500"/>
                <a:gd name="connsiteY178" fmla="*/ 105797 h 586170"/>
                <a:gd name="connsiteX179" fmla="*/ 124623 w 471500"/>
                <a:gd name="connsiteY179" fmla="*/ 105797 h 586170"/>
                <a:gd name="connsiteX180" fmla="*/ 117657 w 471500"/>
                <a:gd name="connsiteY180" fmla="*/ 105797 h 586170"/>
                <a:gd name="connsiteX181" fmla="*/ 115032 w 471500"/>
                <a:gd name="connsiteY181" fmla="*/ 100583 h 586170"/>
                <a:gd name="connsiteX182" fmla="*/ 113012 w 471500"/>
                <a:gd name="connsiteY182" fmla="*/ 92173 h 586170"/>
                <a:gd name="connsiteX183" fmla="*/ 110993 w 471500"/>
                <a:gd name="connsiteY183" fmla="*/ 86959 h 586170"/>
                <a:gd name="connsiteX184" fmla="*/ 104632 w 471500"/>
                <a:gd name="connsiteY184" fmla="*/ 82619 h 586170"/>
                <a:gd name="connsiteX185" fmla="*/ 101132 w 471500"/>
                <a:gd name="connsiteY185" fmla="*/ 78279 h 586170"/>
                <a:gd name="connsiteX186" fmla="*/ 97935 w 471500"/>
                <a:gd name="connsiteY186" fmla="*/ 73940 h 586170"/>
                <a:gd name="connsiteX187" fmla="*/ 89521 w 471500"/>
                <a:gd name="connsiteY187" fmla="*/ 74815 h 586170"/>
                <a:gd name="connsiteX188" fmla="*/ 84305 w 471500"/>
                <a:gd name="connsiteY188" fmla="*/ 71350 h 586170"/>
                <a:gd name="connsiteX189" fmla="*/ 76194 w 471500"/>
                <a:gd name="connsiteY189" fmla="*/ 68154 h 586170"/>
                <a:gd name="connsiteX190" fmla="*/ 68083 w 471500"/>
                <a:gd name="connsiteY190" fmla="*/ 68726 h 586170"/>
                <a:gd name="connsiteX191" fmla="*/ 66064 w 471500"/>
                <a:gd name="connsiteY191" fmla="*/ 75689 h 586170"/>
                <a:gd name="connsiteX192" fmla="*/ 64617 w 471500"/>
                <a:gd name="connsiteY192" fmla="*/ 82922 h 586170"/>
                <a:gd name="connsiteX193" fmla="*/ 64617 w 471500"/>
                <a:gd name="connsiteY193" fmla="*/ 92778 h 586170"/>
                <a:gd name="connsiteX194" fmla="*/ 67511 w 471500"/>
                <a:gd name="connsiteY194" fmla="*/ 95368 h 586170"/>
                <a:gd name="connsiteX195" fmla="*/ 68386 w 471500"/>
                <a:gd name="connsiteY195" fmla="*/ 100583 h 586170"/>
                <a:gd name="connsiteX196" fmla="*/ 66939 w 471500"/>
                <a:gd name="connsiteY196" fmla="*/ 104350 h 586170"/>
                <a:gd name="connsiteX197" fmla="*/ 64617 w 471500"/>
                <a:gd name="connsiteY197" fmla="*/ 105797 h 586170"/>
                <a:gd name="connsiteX198" fmla="*/ 64617 w 471500"/>
                <a:gd name="connsiteY198" fmla="*/ 110136 h 586170"/>
                <a:gd name="connsiteX199" fmla="*/ 67511 w 471500"/>
                <a:gd name="connsiteY199" fmla="*/ 114778 h 586170"/>
                <a:gd name="connsiteX200" fmla="*/ 68386 w 471500"/>
                <a:gd name="connsiteY200" fmla="*/ 121742 h 586170"/>
                <a:gd name="connsiteX201" fmla="*/ 68083 w 471500"/>
                <a:gd name="connsiteY201" fmla="*/ 128403 h 586170"/>
                <a:gd name="connsiteX202" fmla="*/ 58525 w 471500"/>
                <a:gd name="connsiteY202" fmla="*/ 128403 h 586170"/>
                <a:gd name="connsiteX203" fmla="*/ 53309 w 471500"/>
                <a:gd name="connsiteY203" fmla="*/ 128403 h 586170"/>
                <a:gd name="connsiteX204" fmla="*/ 47520 w 471500"/>
                <a:gd name="connsiteY204" fmla="*/ 134491 h 586170"/>
                <a:gd name="connsiteX205" fmla="*/ 43751 w 471500"/>
                <a:gd name="connsiteY205" fmla="*/ 139706 h 586170"/>
                <a:gd name="connsiteX206" fmla="*/ 43751 w 471500"/>
                <a:gd name="connsiteY206" fmla="*/ 148385 h 586170"/>
                <a:gd name="connsiteX207" fmla="*/ 47823 w 471500"/>
                <a:gd name="connsiteY207" fmla="*/ 154171 h 586170"/>
                <a:gd name="connsiteX208" fmla="*/ 48698 w 471500"/>
                <a:gd name="connsiteY208" fmla="*/ 157938 h 586170"/>
                <a:gd name="connsiteX209" fmla="*/ 49270 w 471500"/>
                <a:gd name="connsiteY209" fmla="*/ 164902 h 586170"/>
                <a:gd name="connsiteX210" fmla="*/ 48395 w 471500"/>
                <a:gd name="connsiteY210" fmla="*/ 172134 h 586170"/>
                <a:gd name="connsiteX211" fmla="*/ 46679 w 471500"/>
                <a:gd name="connsiteY211" fmla="*/ 176171 h 586170"/>
                <a:gd name="connsiteX212" fmla="*/ 40588 w 471500"/>
                <a:gd name="connsiteY212" fmla="*/ 178189 h 586170"/>
                <a:gd name="connsiteX213" fmla="*/ 31029 w 471500"/>
                <a:gd name="connsiteY213" fmla="*/ 187171 h 586170"/>
                <a:gd name="connsiteX214" fmla="*/ 20294 w 471500"/>
                <a:gd name="connsiteY214" fmla="*/ 188920 h 586170"/>
                <a:gd name="connsiteX215" fmla="*/ 11611 w 471500"/>
                <a:gd name="connsiteY215" fmla="*/ 184009 h 586170"/>
                <a:gd name="connsiteX216" fmla="*/ 6967 w 471500"/>
                <a:gd name="connsiteY216" fmla="*/ 178795 h 586170"/>
                <a:gd name="connsiteX217" fmla="*/ 2322 w 471500"/>
                <a:gd name="connsiteY217" fmla="*/ 178223 h 586170"/>
                <a:gd name="connsiteX218" fmla="*/ 0 w 471500"/>
                <a:gd name="connsiteY218" fmla="*/ 182562 h 586170"/>
                <a:gd name="connsiteX219" fmla="*/ 3197 w 471500"/>
                <a:gd name="connsiteY219" fmla="*/ 188920 h 586170"/>
                <a:gd name="connsiteX220" fmla="*/ 3769 w 471500"/>
                <a:gd name="connsiteY220" fmla="*/ 192991 h 586170"/>
                <a:gd name="connsiteX221" fmla="*/ 4947 w 471500"/>
                <a:gd name="connsiteY221" fmla="*/ 201670 h 586170"/>
                <a:gd name="connsiteX222" fmla="*/ 9861 w 471500"/>
                <a:gd name="connsiteY222" fmla="*/ 208028 h 586170"/>
                <a:gd name="connsiteX223" fmla="*/ 23760 w 471500"/>
                <a:gd name="connsiteY223" fmla="*/ 209777 h 586170"/>
                <a:gd name="connsiteX224" fmla="*/ 31299 w 471500"/>
                <a:gd name="connsiteY224" fmla="*/ 211795 h 586170"/>
                <a:gd name="connsiteX225" fmla="*/ 36212 w 471500"/>
                <a:gd name="connsiteY225" fmla="*/ 224847 h 586170"/>
                <a:gd name="connsiteX226" fmla="*/ 42001 w 471500"/>
                <a:gd name="connsiteY226" fmla="*/ 240490 h 586170"/>
                <a:gd name="connsiteX227" fmla="*/ 42001 w 471500"/>
                <a:gd name="connsiteY227" fmla="*/ 250918 h 586170"/>
                <a:gd name="connsiteX228" fmla="*/ 48968 w 471500"/>
                <a:gd name="connsiteY228" fmla="*/ 256435 h 586170"/>
                <a:gd name="connsiteX229" fmla="*/ 60275 w 471500"/>
                <a:gd name="connsiteY229" fmla="*/ 251793 h 586170"/>
                <a:gd name="connsiteX230" fmla="*/ 63472 w 471500"/>
                <a:gd name="connsiteY230" fmla="*/ 249774 h 586170"/>
                <a:gd name="connsiteX231" fmla="*/ 71011 w 471500"/>
                <a:gd name="connsiteY231" fmla="*/ 252095 h 586170"/>
                <a:gd name="connsiteX232" fmla="*/ 78819 w 471500"/>
                <a:gd name="connsiteY232" fmla="*/ 258756 h 586170"/>
                <a:gd name="connsiteX233" fmla="*/ 85483 w 471500"/>
                <a:gd name="connsiteY233" fmla="*/ 258756 h 586170"/>
                <a:gd name="connsiteX234" fmla="*/ 89824 w 471500"/>
                <a:gd name="connsiteY234" fmla="*/ 255291 h 586170"/>
                <a:gd name="connsiteX235" fmla="*/ 95613 w 471500"/>
                <a:gd name="connsiteY235" fmla="*/ 251254 h 586170"/>
                <a:gd name="connsiteX236" fmla="*/ 100526 w 471500"/>
                <a:gd name="connsiteY236" fmla="*/ 252129 h 586170"/>
                <a:gd name="connsiteX237" fmla="*/ 104868 w 471500"/>
                <a:gd name="connsiteY237" fmla="*/ 261380 h 586170"/>
                <a:gd name="connsiteX238" fmla="*/ 106315 w 471500"/>
                <a:gd name="connsiteY238" fmla="*/ 270665 h 586170"/>
                <a:gd name="connsiteX239" fmla="*/ 105743 w 471500"/>
                <a:gd name="connsiteY239" fmla="*/ 284289 h 586170"/>
                <a:gd name="connsiteX240" fmla="*/ 108065 w 471500"/>
                <a:gd name="connsiteY240" fmla="*/ 306895 h 586170"/>
                <a:gd name="connsiteX241" fmla="*/ 108368 w 471500"/>
                <a:gd name="connsiteY241" fmla="*/ 321090 h 586170"/>
                <a:gd name="connsiteX242" fmla="*/ 101704 w 471500"/>
                <a:gd name="connsiteY242" fmla="*/ 326607 h 586170"/>
                <a:gd name="connsiteX243" fmla="*/ 99685 w 471500"/>
                <a:gd name="connsiteY243" fmla="*/ 328626 h 586170"/>
                <a:gd name="connsiteX244" fmla="*/ 93896 w 471500"/>
                <a:gd name="connsiteY244" fmla="*/ 332393 h 586170"/>
                <a:gd name="connsiteX245" fmla="*/ 85214 w 471500"/>
                <a:gd name="connsiteY245" fmla="*/ 336161 h 586170"/>
                <a:gd name="connsiteX246" fmla="*/ 79122 w 471500"/>
                <a:gd name="connsiteY246" fmla="*/ 337910 h 586170"/>
                <a:gd name="connsiteX247" fmla="*/ 73031 w 471500"/>
                <a:gd name="connsiteY247" fmla="*/ 341106 h 586170"/>
                <a:gd name="connsiteX248" fmla="*/ 70406 w 471500"/>
                <a:gd name="connsiteY248" fmla="*/ 348069 h 586170"/>
                <a:gd name="connsiteX249" fmla="*/ 63439 w 471500"/>
                <a:gd name="connsiteY249" fmla="*/ 360516 h 586170"/>
                <a:gd name="connsiteX250" fmla="*/ 63136 w 471500"/>
                <a:gd name="connsiteY250" fmla="*/ 368051 h 586170"/>
                <a:gd name="connsiteX251" fmla="*/ 61386 w 471500"/>
                <a:gd name="connsiteY251" fmla="*/ 372122 h 586170"/>
                <a:gd name="connsiteX252" fmla="*/ 58189 w 471500"/>
                <a:gd name="connsiteY252" fmla="*/ 376899 h 586170"/>
                <a:gd name="connsiteX253" fmla="*/ 59064 w 471500"/>
                <a:gd name="connsiteY253" fmla="*/ 382247 h 586170"/>
                <a:gd name="connsiteX254" fmla="*/ 65458 w 471500"/>
                <a:gd name="connsiteY254" fmla="*/ 382247 h 586170"/>
                <a:gd name="connsiteX255" fmla="*/ 67208 w 471500"/>
                <a:gd name="connsiteY255" fmla="*/ 382247 h 586170"/>
                <a:gd name="connsiteX256" fmla="*/ 72862 w 471500"/>
                <a:gd name="connsiteY256" fmla="*/ 387764 h 586170"/>
                <a:gd name="connsiteX257" fmla="*/ 75016 w 471500"/>
                <a:gd name="connsiteY257" fmla="*/ 392104 h 586170"/>
                <a:gd name="connsiteX258" fmla="*/ 75016 w 471500"/>
                <a:gd name="connsiteY258" fmla="*/ 397015 h 586170"/>
                <a:gd name="connsiteX259" fmla="*/ 81814 w 471500"/>
                <a:gd name="connsiteY259" fmla="*/ 401354 h 586170"/>
                <a:gd name="connsiteX260" fmla="*/ 84574 w 471500"/>
                <a:gd name="connsiteY260" fmla="*/ 401354 h 586170"/>
                <a:gd name="connsiteX261" fmla="*/ 87199 w 471500"/>
                <a:gd name="connsiteY261" fmla="*/ 397284 h 586170"/>
                <a:gd name="connsiteX262" fmla="*/ 89824 w 471500"/>
                <a:gd name="connsiteY262" fmla="*/ 395266 h 586170"/>
                <a:gd name="connsiteX263" fmla="*/ 96488 w 471500"/>
                <a:gd name="connsiteY263" fmla="*/ 397890 h 586170"/>
                <a:gd name="connsiteX264" fmla="*/ 100257 w 471500"/>
                <a:gd name="connsiteY264" fmla="*/ 403541 h 586170"/>
                <a:gd name="connsiteX265" fmla="*/ 104599 w 471500"/>
                <a:gd name="connsiteY265" fmla="*/ 406602 h 586170"/>
                <a:gd name="connsiteX266" fmla="*/ 110690 w 471500"/>
                <a:gd name="connsiteY266" fmla="*/ 406602 h 586170"/>
                <a:gd name="connsiteX267" fmla="*/ 114156 w 471500"/>
                <a:gd name="connsiteY267" fmla="*/ 406602 h 586170"/>
                <a:gd name="connsiteX268" fmla="*/ 118229 w 471500"/>
                <a:gd name="connsiteY268" fmla="*/ 411951 h 586170"/>
                <a:gd name="connsiteX269" fmla="*/ 119373 w 471500"/>
                <a:gd name="connsiteY269" fmla="*/ 417031 h 586170"/>
                <a:gd name="connsiteX270" fmla="*/ 124589 w 471500"/>
                <a:gd name="connsiteY270" fmla="*/ 417031 h 586170"/>
                <a:gd name="connsiteX271" fmla="*/ 128359 w 471500"/>
                <a:gd name="connsiteY271" fmla="*/ 419352 h 586170"/>
                <a:gd name="connsiteX272" fmla="*/ 127484 w 471500"/>
                <a:gd name="connsiteY272" fmla="*/ 422245 h 586170"/>
                <a:gd name="connsiteX273" fmla="*/ 122839 w 471500"/>
                <a:gd name="connsiteY273" fmla="*/ 425710 h 586170"/>
                <a:gd name="connsiteX274" fmla="*/ 117926 w 471500"/>
                <a:gd name="connsiteY274" fmla="*/ 429780 h 586170"/>
                <a:gd name="connsiteX275" fmla="*/ 113854 w 471500"/>
                <a:gd name="connsiteY275" fmla="*/ 432673 h 586170"/>
                <a:gd name="connsiteX276" fmla="*/ 108940 w 471500"/>
                <a:gd name="connsiteY276" fmla="*/ 432673 h 586170"/>
                <a:gd name="connsiteX277" fmla="*/ 110084 w 471500"/>
                <a:gd name="connsiteY277" fmla="*/ 437584 h 586170"/>
                <a:gd name="connsiteX278" fmla="*/ 109512 w 471500"/>
                <a:gd name="connsiteY278" fmla="*/ 443101 h 586170"/>
                <a:gd name="connsiteX279" fmla="*/ 107493 w 471500"/>
                <a:gd name="connsiteY279" fmla="*/ 448887 h 586170"/>
                <a:gd name="connsiteX280" fmla="*/ 103724 w 471500"/>
                <a:gd name="connsiteY280" fmla="*/ 452083 h 586170"/>
                <a:gd name="connsiteX281" fmla="*/ 103454 w 471500"/>
                <a:gd name="connsiteY281" fmla="*/ 458744 h 586170"/>
                <a:gd name="connsiteX282" fmla="*/ 108099 w 471500"/>
                <a:gd name="connsiteY282" fmla="*/ 464832 h 586170"/>
                <a:gd name="connsiteX283" fmla="*/ 112440 w 471500"/>
                <a:gd name="connsiteY283" fmla="*/ 470047 h 586170"/>
                <a:gd name="connsiteX284" fmla="*/ 115772 w 471500"/>
                <a:gd name="connsiteY284" fmla="*/ 474117 h 586170"/>
                <a:gd name="connsiteX285" fmla="*/ 118531 w 471500"/>
                <a:gd name="connsiteY285" fmla="*/ 477582 h 586170"/>
                <a:gd name="connsiteX286" fmla="*/ 118531 w 471500"/>
                <a:gd name="connsiteY286" fmla="*/ 482224 h 586170"/>
                <a:gd name="connsiteX287" fmla="*/ 120854 w 471500"/>
                <a:gd name="connsiteY287" fmla="*/ 489457 h 586170"/>
                <a:gd name="connsiteX288" fmla="*/ 116209 w 471500"/>
                <a:gd name="connsiteY288" fmla="*/ 493527 h 586170"/>
                <a:gd name="connsiteX289" fmla="*/ 119104 w 471500"/>
                <a:gd name="connsiteY289" fmla="*/ 496723 h 586170"/>
                <a:gd name="connsiteX290" fmla="*/ 124017 w 471500"/>
                <a:gd name="connsiteY290" fmla="*/ 498169 h 586170"/>
                <a:gd name="connsiteX291" fmla="*/ 128090 w 471500"/>
                <a:gd name="connsiteY291" fmla="*/ 500793 h 586170"/>
                <a:gd name="connsiteX292" fmla="*/ 132734 w 471500"/>
                <a:gd name="connsiteY292" fmla="*/ 508026 h 586170"/>
                <a:gd name="connsiteX293" fmla="*/ 134484 w 471500"/>
                <a:gd name="connsiteY293" fmla="*/ 512096 h 586170"/>
                <a:gd name="connsiteX294" fmla="*/ 136806 w 471500"/>
                <a:gd name="connsiteY294" fmla="*/ 518454 h 586170"/>
                <a:gd name="connsiteX295" fmla="*/ 138253 w 471500"/>
                <a:gd name="connsiteY295" fmla="*/ 523668 h 586170"/>
                <a:gd name="connsiteX296" fmla="*/ 138556 w 471500"/>
                <a:gd name="connsiteY296" fmla="*/ 528580 h 586170"/>
                <a:gd name="connsiteX297" fmla="*/ 138253 w 471500"/>
                <a:gd name="connsiteY297" fmla="*/ 534097 h 586170"/>
                <a:gd name="connsiteX298" fmla="*/ 138556 w 471500"/>
                <a:gd name="connsiteY298" fmla="*/ 539614 h 586170"/>
                <a:gd name="connsiteX299" fmla="*/ 144075 w 471500"/>
                <a:gd name="connsiteY299" fmla="*/ 548023 h 586170"/>
                <a:gd name="connsiteX300" fmla="*/ 144345 w 471500"/>
                <a:gd name="connsiteY300" fmla="*/ 552497 h 586170"/>
                <a:gd name="connsiteX301" fmla="*/ 145792 w 471500"/>
                <a:gd name="connsiteY301" fmla="*/ 557846 h 586170"/>
                <a:gd name="connsiteX302" fmla="*/ 152455 w 471500"/>
                <a:gd name="connsiteY302" fmla="*/ 557846 h 586170"/>
                <a:gd name="connsiteX303" fmla="*/ 161138 w 471500"/>
                <a:gd name="connsiteY303" fmla="*/ 555256 h 586170"/>
                <a:gd name="connsiteX304" fmla="*/ 166927 w 471500"/>
                <a:gd name="connsiteY304" fmla="*/ 552632 h 586170"/>
                <a:gd name="connsiteX305" fmla="*/ 173893 w 471500"/>
                <a:gd name="connsiteY305" fmla="*/ 549436 h 586170"/>
                <a:gd name="connsiteX306" fmla="*/ 177965 w 471500"/>
                <a:gd name="connsiteY306" fmla="*/ 544222 h 586170"/>
                <a:gd name="connsiteX307" fmla="*/ 183754 w 471500"/>
                <a:gd name="connsiteY307" fmla="*/ 538436 h 586170"/>
                <a:gd name="connsiteX308" fmla="*/ 187826 w 471500"/>
                <a:gd name="connsiteY308" fmla="*/ 534971 h 586170"/>
                <a:gd name="connsiteX309" fmla="*/ 190721 w 471500"/>
                <a:gd name="connsiteY309" fmla="*/ 531506 h 586170"/>
                <a:gd name="connsiteX310" fmla="*/ 189577 w 471500"/>
                <a:gd name="connsiteY310" fmla="*/ 524274 h 586170"/>
                <a:gd name="connsiteX311" fmla="*/ 193043 w 471500"/>
                <a:gd name="connsiteY311" fmla="*/ 521953 h 586170"/>
                <a:gd name="connsiteX312" fmla="*/ 197115 w 471500"/>
                <a:gd name="connsiteY312" fmla="*/ 521650 h 586170"/>
                <a:gd name="connsiteX313" fmla="*/ 205663 w 471500"/>
                <a:gd name="connsiteY313" fmla="*/ 520775 h 586170"/>
                <a:gd name="connsiteX314" fmla="*/ 208995 w 471500"/>
                <a:gd name="connsiteY314" fmla="*/ 524240 h 586170"/>
                <a:gd name="connsiteX315" fmla="*/ 208995 w 471500"/>
                <a:gd name="connsiteY315" fmla="*/ 527436 h 586170"/>
                <a:gd name="connsiteX316" fmla="*/ 214952 w 471500"/>
                <a:gd name="connsiteY316" fmla="*/ 532347 h 586170"/>
                <a:gd name="connsiteX317" fmla="*/ 219428 w 471500"/>
                <a:gd name="connsiteY317" fmla="*/ 536115 h 586170"/>
                <a:gd name="connsiteX318" fmla="*/ 219428 w 471500"/>
                <a:gd name="connsiteY318" fmla="*/ 543078 h 586170"/>
                <a:gd name="connsiteX319" fmla="*/ 212764 w 471500"/>
                <a:gd name="connsiteY319" fmla="*/ 547721 h 586170"/>
                <a:gd name="connsiteX320" fmla="*/ 209567 w 471500"/>
                <a:gd name="connsiteY320" fmla="*/ 551488 h 586170"/>
                <a:gd name="connsiteX321" fmla="*/ 204351 w 471500"/>
                <a:gd name="connsiteY321" fmla="*/ 554381 h 586170"/>
                <a:gd name="connsiteX322" fmla="*/ 199134 w 471500"/>
                <a:gd name="connsiteY322" fmla="*/ 557846 h 586170"/>
                <a:gd name="connsiteX323" fmla="*/ 198562 w 471500"/>
                <a:gd name="connsiteY323" fmla="*/ 562186 h 586170"/>
                <a:gd name="connsiteX324" fmla="*/ 198562 w 471500"/>
                <a:gd name="connsiteY324" fmla="*/ 565651 h 586170"/>
                <a:gd name="connsiteX325" fmla="*/ 200009 w 471500"/>
                <a:gd name="connsiteY325" fmla="*/ 570293 h 586170"/>
                <a:gd name="connsiteX326" fmla="*/ 202601 w 471500"/>
                <a:gd name="connsiteY326" fmla="*/ 573926 h 586170"/>
                <a:gd name="connsiteX327" fmla="*/ 206673 w 471500"/>
                <a:gd name="connsiteY327" fmla="*/ 576953 h 586170"/>
                <a:gd name="connsiteX328" fmla="*/ 213336 w 471500"/>
                <a:gd name="connsiteY328" fmla="*/ 576953 h 586170"/>
                <a:gd name="connsiteX329" fmla="*/ 218553 w 471500"/>
                <a:gd name="connsiteY329" fmla="*/ 576953 h 586170"/>
                <a:gd name="connsiteX330" fmla="*/ 222894 w 471500"/>
                <a:gd name="connsiteY330" fmla="*/ 572042 h 586170"/>
                <a:gd name="connsiteX331" fmla="*/ 226092 w 471500"/>
                <a:gd name="connsiteY331" fmla="*/ 568846 h 586170"/>
                <a:gd name="connsiteX332" fmla="*/ 237097 w 471500"/>
                <a:gd name="connsiteY332" fmla="*/ 565381 h 586170"/>
                <a:gd name="connsiteX333" fmla="*/ 238241 w 471500"/>
                <a:gd name="connsiteY333" fmla="*/ 562186 h 586170"/>
                <a:gd name="connsiteX334" fmla="*/ 240260 w 471500"/>
                <a:gd name="connsiteY334" fmla="*/ 557543 h 586170"/>
                <a:gd name="connsiteX335" fmla="*/ 240260 w 471500"/>
                <a:gd name="connsiteY335" fmla="*/ 553473 h 586170"/>
                <a:gd name="connsiteX336" fmla="*/ 240260 w 471500"/>
                <a:gd name="connsiteY336" fmla="*/ 547956 h 586170"/>
                <a:gd name="connsiteX337" fmla="*/ 237366 w 471500"/>
                <a:gd name="connsiteY337" fmla="*/ 543045 h 586170"/>
                <a:gd name="connsiteX338" fmla="*/ 241034 w 471500"/>
                <a:gd name="connsiteY338" fmla="*/ 538705 h 586170"/>
                <a:gd name="connsiteX339" fmla="*/ 244904 w 471500"/>
                <a:gd name="connsiteY339" fmla="*/ 536384 h 586170"/>
                <a:gd name="connsiteX340" fmla="*/ 246655 w 471500"/>
                <a:gd name="connsiteY340" fmla="*/ 534635 h 586170"/>
                <a:gd name="connsiteX341" fmla="*/ 251568 w 471500"/>
                <a:gd name="connsiteY341" fmla="*/ 534938 h 586170"/>
                <a:gd name="connsiteX342" fmla="*/ 256212 w 471500"/>
                <a:gd name="connsiteY342" fmla="*/ 541026 h 586170"/>
                <a:gd name="connsiteX343" fmla="*/ 258804 w 471500"/>
                <a:gd name="connsiteY343" fmla="*/ 544794 h 586170"/>
                <a:gd name="connsiteX344" fmla="*/ 265770 w 471500"/>
                <a:gd name="connsiteY344" fmla="*/ 545669 h 586170"/>
                <a:gd name="connsiteX345" fmla="*/ 269405 w 471500"/>
                <a:gd name="connsiteY345" fmla="*/ 544794 h 586170"/>
                <a:gd name="connsiteX346" fmla="*/ 271593 w 471500"/>
                <a:gd name="connsiteY346" fmla="*/ 547384 h 586170"/>
                <a:gd name="connsiteX347" fmla="*/ 271593 w 471500"/>
                <a:gd name="connsiteY347" fmla="*/ 549974 h 586170"/>
                <a:gd name="connsiteX348" fmla="*/ 271593 w 471500"/>
                <a:gd name="connsiteY348" fmla="*/ 556938 h 586170"/>
                <a:gd name="connsiteX349" fmla="*/ 273780 w 471500"/>
                <a:gd name="connsiteY349" fmla="*/ 562152 h 586170"/>
                <a:gd name="connsiteX350" fmla="*/ 278559 w 471500"/>
                <a:gd name="connsiteY350" fmla="*/ 563599 h 586170"/>
                <a:gd name="connsiteX351" fmla="*/ 278559 w 471500"/>
                <a:gd name="connsiteY351" fmla="*/ 565617 h 586170"/>
                <a:gd name="connsiteX352" fmla="*/ 284348 w 471500"/>
                <a:gd name="connsiteY352" fmla="*/ 567938 h 586170"/>
                <a:gd name="connsiteX353" fmla="*/ 289261 w 471500"/>
                <a:gd name="connsiteY353" fmla="*/ 569956 h 586170"/>
                <a:gd name="connsiteX354" fmla="*/ 297372 w 471500"/>
                <a:gd name="connsiteY354" fmla="*/ 570259 h 586170"/>
                <a:gd name="connsiteX355" fmla="*/ 308377 w 471500"/>
                <a:gd name="connsiteY355" fmla="*/ 571134 h 586170"/>
                <a:gd name="connsiteX356" fmla="*/ 320829 w 471500"/>
                <a:gd name="connsiteY356" fmla="*/ 573152 h 586170"/>
                <a:gd name="connsiteX357" fmla="*/ 328671 w 471500"/>
                <a:gd name="connsiteY357" fmla="*/ 573724 h 586170"/>
                <a:gd name="connsiteX358" fmla="*/ 337657 w 471500"/>
                <a:gd name="connsiteY358" fmla="*/ 572277 h 586170"/>
                <a:gd name="connsiteX359" fmla="*/ 342638 w 471500"/>
                <a:gd name="connsiteY359" fmla="*/ 573051 h 586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</a:cxnLst>
              <a:rect l="l" t="t" r="r" b="b"/>
              <a:pathLst>
                <a:path w="471500" h="586170">
                  <a:moveTo>
                    <a:pt x="342638" y="573051"/>
                  </a:moveTo>
                  <a:lnTo>
                    <a:pt x="344388" y="580015"/>
                  </a:lnTo>
                  <a:lnTo>
                    <a:pt x="344388" y="582908"/>
                  </a:lnTo>
                  <a:lnTo>
                    <a:pt x="353070" y="586171"/>
                  </a:lnTo>
                  <a:lnTo>
                    <a:pt x="357210" y="581831"/>
                  </a:lnTo>
                  <a:cubicBezTo>
                    <a:pt x="357210" y="581831"/>
                    <a:pt x="363301" y="576180"/>
                    <a:pt x="364177" y="575978"/>
                  </a:cubicBezTo>
                  <a:cubicBezTo>
                    <a:pt x="365051" y="575776"/>
                    <a:pt x="370268" y="572277"/>
                    <a:pt x="370268" y="572277"/>
                  </a:cubicBezTo>
                  <a:lnTo>
                    <a:pt x="375047" y="564877"/>
                  </a:lnTo>
                  <a:lnTo>
                    <a:pt x="380936" y="560302"/>
                  </a:lnTo>
                  <a:lnTo>
                    <a:pt x="384638" y="555289"/>
                  </a:lnTo>
                  <a:lnTo>
                    <a:pt x="389619" y="552262"/>
                  </a:lnTo>
                  <a:lnTo>
                    <a:pt x="399614" y="547048"/>
                  </a:lnTo>
                  <a:lnTo>
                    <a:pt x="403519" y="541161"/>
                  </a:lnTo>
                  <a:lnTo>
                    <a:pt x="403519" y="532919"/>
                  </a:lnTo>
                  <a:lnTo>
                    <a:pt x="408533" y="529858"/>
                  </a:lnTo>
                  <a:lnTo>
                    <a:pt x="413951" y="514653"/>
                  </a:lnTo>
                  <a:lnTo>
                    <a:pt x="411495" y="504662"/>
                  </a:lnTo>
                  <a:lnTo>
                    <a:pt x="408735" y="499448"/>
                  </a:lnTo>
                  <a:lnTo>
                    <a:pt x="408735" y="490769"/>
                  </a:lnTo>
                  <a:lnTo>
                    <a:pt x="408735" y="474689"/>
                  </a:lnTo>
                  <a:lnTo>
                    <a:pt x="411495" y="474252"/>
                  </a:lnTo>
                  <a:lnTo>
                    <a:pt x="414826" y="477716"/>
                  </a:lnTo>
                  <a:lnTo>
                    <a:pt x="425259" y="477716"/>
                  </a:lnTo>
                  <a:lnTo>
                    <a:pt x="437442" y="477716"/>
                  </a:lnTo>
                  <a:lnTo>
                    <a:pt x="448313" y="474891"/>
                  </a:lnTo>
                  <a:lnTo>
                    <a:pt x="452217" y="468163"/>
                  </a:lnTo>
                  <a:lnTo>
                    <a:pt x="452217" y="459484"/>
                  </a:lnTo>
                  <a:lnTo>
                    <a:pt x="447202" y="453832"/>
                  </a:lnTo>
                  <a:cubicBezTo>
                    <a:pt x="447202" y="453832"/>
                    <a:pt x="439159" y="449055"/>
                    <a:pt x="439596" y="446432"/>
                  </a:cubicBezTo>
                  <a:cubicBezTo>
                    <a:pt x="440034" y="443841"/>
                    <a:pt x="446125" y="437753"/>
                    <a:pt x="446125" y="437753"/>
                  </a:cubicBezTo>
                  <a:lnTo>
                    <a:pt x="453529" y="437753"/>
                  </a:lnTo>
                  <a:lnTo>
                    <a:pt x="460933" y="435129"/>
                  </a:lnTo>
                  <a:lnTo>
                    <a:pt x="460933" y="424263"/>
                  </a:lnTo>
                  <a:lnTo>
                    <a:pt x="466150" y="414272"/>
                  </a:lnTo>
                  <a:lnTo>
                    <a:pt x="469212" y="406602"/>
                  </a:lnTo>
                  <a:lnTo>
                    <a:pt x="471400" y="389951"/>
                  </a:lnTo>
                  <a:lnTo>
                    <a:pt x="471400" y="381272"/>
                  </a:lnTo>
                  <a:lnTo>
                    <a:pt x="471501" y="381003"/>
                  </a:lnTo>
                  <a:cubicBezTo>
                    <a:pt x="470390" y="379119"/>
                    <a:pt x="468506" y="374880"/>
                    <a:pt x="468506" y="374880"/>
                  </a:cubicBezTo>
                  <a:lnTo>
                    <a:pt x="461236" y="376899"/>
                  </a:lnTo>
                  <a:lnTo>
                    <a:pt x="451106" y="378076"/>
                  </a:lnTo>
                  <a:lnTo>
                    <a:pt x="450534" y="372862"/>
                  </a:lnTo>
                  <a:lnTo>
                    <a:pt x="449659" y="364755"/>
                  </a:lnTo>
                  <a:lnTo>
                    <a:pt x="445318" y="364755"/>
                  </a:lnTo>
                  <a:lnTo>
                    <a:pt x="434313" y="367042"/>
                  </a:lnTo>
                  <a:lnTo>
                    <a:pt x="426471" y="369094"/>
                  </a:lnTo>
                  <a:lnTo>
                    <a:pt x="419235" y="369969"/>
                  </a:lnTo>
                  <a:lnTo>
                    <a:pt x="411562" y="373164"/>
                  </a:lnTo>
                  <a:lnTo>
                    <a:pt x="404461" y="375183"/>
                  </a:lnTo>
                  <a:lnTo>
                    <a:pt x="395778" y="375183"/>
                  </a:lnTo>
                  <a:lnTo>
                    <a:pt x="387364" y="370406"/>
                  </a:lnTo>
                  <a:lnTo>
                    <a:pt x="384167" y="367076"/>
                  </a:lnTo>
                  <a:lnTo>
                    <a:pt x="382148" y="361290"/>
                  </a:lnTo>
                  <a:lnTo>
                    <a:pt x="389687" y="354057"/>
                  </a:lnTo>
                  <a:lnTo>
                    <a:pt x="394903" y="349718"/>
                  </a:lnTo>
                  <a:lnTo>
                    <a:pt x="398100" y="341913"/>
                  </a:lnTo>
                  <a:lnTo>
                    <a:pt x="396922" y="336396"/>
                  </a:lnTo>
                  <a:lnTo>
                    <a:pt x="395778" y="330005"/>
                  </a:lnTo>
                  <a:lnTo>
                    <a:pt x="394028" y="324791"/>
                  </a:lnTo>
                  <a:lnTo>
                    <a:pt x="383595" y="324791"/>
                  </a:lnTo>
                  <a:lnTo>
                    <a:pt x="373162" y="323243"/>
                  </a:lnTo>
                  <a:cubicBezTo>
                    <a:pt x="373162" y="323243"/>
                    <a:pt x="365321" y="322167"/>
                    <a:pt x="364177" y="323008"/>
                  </a:cubicBezTo>
                  <a:cubicBezTo>
                    <a:pt x="363032" y="323849"/>
                    <a:pt x="361282" y="317794"/>
                    <a:pt x="361282" y="317794"/>
                  </a:cubicBezTo>
                  <a:lnTo>
                    <a:pt x="358960" y="307365"/>
                  </a:lnTo>
                  <a:lnTo>
                    <a:pt x="354316" y="301579"/>
                  </a:lnTo>
                  <a:lnTo>
                    <a:pt x="349099" y="298686"/>
                  </a:lnTo>
                  <a:lnTo>
                    <a:pt x="343310" y="295221"/>
                  </a:lnTo>
                  <a:lnTo>
                    <a:pt x="345633" y="289436"/>
                  </a:lnTo>
                  <a:lnTo>
                    <a:pt x="350546" y="281328"/>
                  </a:lnTo>
                  <a:lnTo>
                    <a:pt x="352296" y="273221"/>
                  </a:lnTo>
                  <a:lnTo>
                    <a:pt x="356941" y="266830"/>
                  </a:lnTo>
                  <a:lnTo>
                    <a:pt x="362460" y="266258"/>
                  </a:lnTo>
                  <a:lnTo>
                    <a:pt x="366801" y="264811"/>
                  </a:lnTo>
                  <a:lnTo>
                    <a:pt x="368249" y="259597"/>
                  </a:lnTo>
                  <a:cubicBezTo>
                    <a:pt x="368249" y="259597"/>
                    <a:pt x="369696" y="256401"/>
                    <a:pt x="371143" y="255527"/>
                  </a:cubicBezTo>
                  <a:cubicBezTo>
                    <a:pt x="372590" y="254652"/>
                    <a:pt x="372018" y="245670"/>
                    <a:pt x="372018" y="245670"/>
                  </a:cubicBezTo>
                  <a:lnTo>
                    <a:pt x="370874" y="239279"/>
                  </a:lnTo>
                  <a:lnTo>
                    <a:pt x="367979" y="229725"/>
                  </a:lnTo>
                  <a:lnTo>
                    <a:pt x="368551" y="222190"/>
                  </a:lnTo>
                  <a:lnTo>
                    <a:pt x="374037" y="217548"/>
                  </a:lnTo>
                  <a:cubicBezTo>
                    <a:pt x="374037" y="217548"/>
                    <a:pt x="381004" y="219869"/>
                    <a:pt x="382148" y="220743"/>
                  </a:cubicBezTo>
                  <a:cubicBezTo>
                    <a:pt x="383292" y="221618"/>
                    <a:pt x="386489" y="225655"/>
                    <a:pt x="386489" y="225655"/>
                  </a:cubicBezTo>
                  <a:lnTo>
                    <a:pt x="395172" y="227101"/>
                  </a:lnTo>
                  <a:lnTo>
                    <a:pt x="403014" y="227404"/>
                  </a:lnTo>
                  <a:lnTo>
                    <a:pt x="408802" y="232315"/>
                  </a:lnTo>
                  <a:lnTo>
                    <a:pt x="416038" y="228548"/>
                  </a:lnTo>
                  <a:lnTo>
                    <a:pt x="420952" y="223031"/>
                  </a:lnTo>
                  <a:lnTo>
                    <a:pt x="419504" y="217245"/>
                  </a:lnTo>
                  <a:lnTo>
                    <a:pt x="418057" y="209407"/>
                  </a:lnTo>
                  <a:lnTo>
                    <a:pt x="420682" y="205639"/>
                  </a:lnTo>
                  <a:lnTo>
                    <a:pt x="422432" y="194336"/>
                  </a:lnTo>
                  <a:lnTo>
                    <a:pt x="415769" y="189694"/>
                  </a:lnTo>
                  <a:lnTo>
                    <a:pt x="403889" y="183605"/>
                  </a:lnTo>
                  <a:lnTo>
                    <a:pt x="396081" y="176945"/>
                  </a:lnTo>
                  <a:lnTo>
                    <a:pt x="390562" y="170553"/>
                  </a:lnTo>
                  <a:cubicBezTo>
                    <a:pt x="390562" y="170553"/>
                    <a:pt x="384470" y="171730"/>
                    <a:pt x="382451" y="172874"/>
                  </a:cubicBezTo>
                  <a:cubicBezTo>
                    <a:pt x="380432" y="174018"/>
                    <a:pt x="379859" y="178963"/>
                    <a:pt x="379859" y="178963"/>
                  </a:cubicBezTo>
                  <a:lnTo>
                    <a:pt x="379556" y="189694"/>
                  </a:lnTo>
                  <a:lnTo>
                    <a:pt x="375484" y="195211"/>
                  </a:lnTo>
                  <a:lnTo>
                    <a:pt x="373734" y="201300"/>
                  </a:lnTo>
                  <a:lnTo>
                    <a:pt x="368518" y="204193"/>
                  </a:lnTo>
                  <a:lnTo>
                    <a:pt x="361854" y="204495"/>
                  </a:lnTo>
                  <a:lnTo>
                    <a:pt x="354618" y="204193"/>
                  </a:lnTo>
                  <a:lnTo>
                    <a:pt x="345936" y="206211"/>
                  </a:lnTo>
                  <a:lnTo>
                    <a:pt x="340147" y="205336"/>
                  </a:lnTo>
                  <a:cubicBezTo>
                    <a:pt x="340147" y="205336"/>
                    <a:pt x="330286" y="196927"/>
                    <a:pt x="329142" y="196927"/>
                  </a:cubicBezTo>
                  <a:cubicBezTo>
                    <a:pt x="327998" y="196927"/>
                    <a:pt x="326248" y="188819"/>
                    <a:pt x="326248" y="188819"/>
                  </a:cubicBezTo>
                  <a:lnTo>
                    <a:pt x="327123" y="181015"/>
                  </a:lnTo>
                  <a:lnTo>
                    <a:pt x="323925" y="172605"/>
                  </a:lnTo>
                  <a:lnTo>
                    <a:pt x="319853" y="163926"/>
                  </a:lnTo>
                  <a:lnTo>
                    <a:pt x="317531" y="154372"/>
                  </a:lnTo>
                  <a:lnTo>
                    <a:pt x="310565" y="156693"/>
                  </a:lnTo>
                  <a:lnTo>
                    <a:pt x="300132" y="157568"/>
                  </a:lnTo>
                  <a:lnTo>
                    <a:pt x="295790" y="152657"/>
                  </a:lnTo>
                  <a:lnTo>
                    <a:pt x="295521" y="150908"/>
                  </a:lnTo>
                  <a:lnTo>
                    <a:pt x="297271" y="137283"/>
                  </a:lnTo>
                  <a:lnTo>
                    <a:pt x="299290" y="130320"/>
                  </a:lnTo>
                  <a:lnTo>
                    <a:pt x="301882" y="125678"/>
                  </a:lnTo>
                  <a:lnTo>
                    <a:pt x="305954" y="119017"/>
                  </a:lnTo>
                  <a:lnTo>
                    <a:pt x="307973" y="112626"/>
                  </a:lnTo>
                  <a:lnTo>
                    <a:pt x="308545" y="107714"/>
                  </a:lnTo>
                  <a:lnTo>
                    <a:pt x="312617" y="102197"/>
                  </a:lnTo>
                  <a:lnTo>
                    <a:pt x="313493" y="94359"/>
                  </a:lnTo>
                  <a:lnTo>
                    <a:pt x="306257" y="93485"/>
                  </a:lnTo>
                  <a:lnTo>
                    <a:pt x="296699" y="91735"/>
                  </a:lnTo>
                  <a:lnTo>
                    <a:pt x="291482" y="89111"/>
                  </a:lnTo>
                  <a:lnTo>
                    <a:pt x="286838" y="93182"/>
                  </a:lnTo>
                  <a:cubicBezTo>
                    <a:pt x="286838" y="93182"/>
                    <a:pt x="281319" y="96378"/>
                    <a:pt x="280174" y="96647"/>
                  </a:cubicBezTo>
                  <a:cubicBezTo>
                    <a:pt x="279030" y="96949"/>
                    <a:pt x="270919" y="96647"/>
                    <a:pt x="270919" y="96647"/>
                  </a:cubicBezTo>
                  <a:lnTo>
                    <a:pt x="268025" y="92576"/>
                  </a:lnTo>
                  <a:lnTo>
                    <a:pt x="268025" y="82720"/>
                  </a:lnTo>
                  <a:lnTo>
                    <a:pt x="267015" y="78952"/>
                  </a:lnTo>
                  <a:lnTo>
                    <a:pt x="262539" y="73166"/>
                  </a:lnTo>
                  <a:lnTo>
                    <a:pt x="258198" y="68827"/>
                  </a:lnTo>
                  <a:lnTo>
                    <a:pt x="251838" y="61863"/>
                  </a:lnTo>
                  <a:lnTo>
                    <a:pt x="242852" y="60417"/>
                  </a:lnTo>
                  <a:lnTo>
                    <a:pt x="231544" y="60417"/>
                  </a:lnTo>
                  <a:lnTo>
                    <a:pt x="217644" y="60282"/>
                  </a:lnTo>
                  <a:lnTo>
                    <a:pt x="211250" y="57827"/>
                  </a:lnTo>
                  <a:lnTo>
                    <a:pt x="206336" y="52041"/>
                  </a:lnTo>
                  <a:lnTo>
                    <a:pt x="204889" y="47701"/>
                  </a:lnTo>
                  <a:lnTo>
                    <a:pt x="198495" y="47398"/>
                  </a:lnTo>
                  <a:lnTo>
                    <a:pt x="193009" y="37273"/>
                  </a:lnTo>
                  <a:lnTo>
                    <a:pt x="188937" y="29166"/>
                  </a:lnTo>
                  <a:lnTo>
                    <a:pt x="183417" y="29166"/>
                  </a:lnTo>
                  <a:lnTo>
                    <a:pt x="178504" y="24826"/>
                  </a:lnTo>
                  <a:lnTo>
                    <a:pt x="171840" y="19915"/>
                  </a:lnTo>
                  <a:lnTo>
                    <a:pt x="164874" y="19040"/>
                  </a:lnTo>
                  <a:lnTo>
                    <a:pt x="157032" y="14701"/>
                  </a:lnTo>
                  <a:lnTo>
                    <a:pt x="142258" y="5416"/>
                  </a:lnTo>
                  <a:lnTo>
                    <a:pt x="138791" y="1951"/>
                  </a:lnTo>
                  <a:lnTo>
                    <a:pt x="136840" y="0"/>
                  </a:lnTo>
                  <a:lnTo>
                    <a:pt x="135325" y="976"/>
                  </a:lnTo>
                  <a:lnTo>
                    <a:pt x="129166" y="2859"/>
                  </a:lnTo>
                  <a:lnTo>
                    <a:pt x="120248" y="6156"/>
                  </a:lnTo>
                  <a:lnTo>
                    <a:pt x="114594" y="8343"/>
                  </a:lnTo>
                  <a:lnTo>
                    <a:pt x="108570" y="8343"/>
                  </a:lnTo>
                  <a:lnTo>
                    <a:pt x="109108" y="9655"/>
                  </a:lnTo>
                  <a:lnTo>
                    <a:pt x="116647" y="26104"/>
                  </a:lnTo>
                  <a:lnTo>
                    <a:pt x="124825" y="35053"/>
                  </a:lnTo>
                  <a:lnTo>
                    <a:pt x="137647" y="38787"/>
                  </a:lnTo>
                  <a:lnTo>
                    <a:pt x="137647" y="45750"/>
                  </a:lnTo>
                  <a:lnTo>
                    <a:pt x="143167" y="43429"/>
                  </a:lnTo>
                  <a:lnTo>
                    <a:pt x="149393" y="41108"/>
                  </a:lnTo>
                  <a:lnTo>
                    <a:pt x="153297" y="41680"/>
                  </a:lnTo>
                  <a:lnTo>
                    <a:pt x="153297" y="47466"/>
                  </a:lnTo>
                  <a:lnTo>
                    <a:pt x="153297" y="54429"/>
                  </a:lnTo>
                  <a:lnTo>
                    <a:pt x="155922" y="64285"/>
                  </a:lnTo>
                  <a:lnTo>
                    <a:pt x="157941" y="69802"/>
                  </a:lnTo>
                  <a:lnTo>
                    <a:pt x="163730" y="76463"/>
                  </a:lnTo>
                  <a:lnTo>
                    <a:pt x="163730" y="82249"/>
                  </a:lnTo>
                  <a:lnTo>
                    <a:pt x="163730" y="84873"/>
                  </a:lnTo>
                  <a:lnTo>
                    <a:pt x="159388" y="84873"/>
                  </a:lnTo>
                  <a:lnTo>
                    <a:pt x="155922" y="84873"/>
                  </a:lnTo>
                  <a:lnTo>
                    <a:pt x="153600" y="88069"/>
                  </a:lnTo>
                  <a:lnTo>
                    <a:pt x="150403" y="93014"/>
                  </a:lnTo>
                  <a:lnTo>
                    <a:pt x="143739" y="97084"/>
                  </a:lnTo>
                  <a:lnTo>
                    <a:pt x="136200" y="101592"/>
                  </a:lnTo>
                  <a:lnTo>
                    <a:pt x="130412" y="105797"/>
                  </a:lnTo>
                  <a:lnTo>
                    <a:pt x="124623" y="105797"/>
                  </a:lnTo>
                  <a:lnTo>
                    <a:pt x="117657" y="105797"/>
                  </a:lnTo>
                  <a:lnTo>
                    <a:pt x="115032" y="100583"/>
                  </a:lnTo>
                  <a:lnTo>
                    <a:pt x="113012" y="92173"/>
                  </a:lnTo>
                  <a:lnTo>
                    <a:pt x="110993" y="86959"/>
                  </a:lnTo>
                  <a:lnTo>
                    <a:pt x="104632" y="82619"/>
                  </a:lnTo>
                  <a:lnTo>
                    <a:pt x="101132" y="78279"/>
                  </a:lnTo>
                  <a:lnTo>
                    <a:pt x="97935" y="73940"/>
                  </a:lnTo>
                  <a:lnTo>
                    <a:pt x="89521" y="74815"/>
                  </a:lnTo>
                  <a:lnTo>
                    <a:pt x="84305" y="71350"/>
                  </a:lnTo>
                  <a:lnTo>
                    <a:pt x="76194" y="68154"/>
                  </a:lnTo>
                  <a:lnTo>
                    <a:pt x="68083" y="68726"/>
                  </a:lnTo>
                  <a:lnTo>
                    <a:pt x="66064" y="75689"/>
                  </a:lnTo>
                  <a:lnTo>
                    <a:pt x="64617" y="82922"/>
                  </a:lnTo>
                  <a:lnTo>
                    <a:pt x="64617" y="92778"/>
                  </a:lnTo>
                  <a:lnTo>
                    <a:pt x="67511" y="95368"/>
                  </a:lnTo>
                  <a:lnTo>
                    <a:pt x="68386" y="100583"/>
                  </a:lnTo>
                  <a:lnTo>
                    <a:pt x="66939" y="104350"/>
                  </a:lnTo>
                  <a:lnTo>
                    <a:pt x="64617" y="105797"/>
                  </a:lnTo>
                  <a:lnTo>
                    <a:pt x="64617" y="110136"/>
                  </a:lnTo>
                  <a:lnTo>
                    <a:pt x="67511" y="114778"/>
                  </a:lnTo>
                  <a:lnTo>
                    <a:pt x="68386" y="121742"/>
                  </a:lnTo>
                  <a:lnTo>
                    <a:pt x="68083" y="128403"/>
                  </a:lnTo>
                  <a:lnTo>
                    <a:pt x="58525" y="128403"/>
                  </a:lnTo>
                  <a:lnTo>
                    <a:pt x="53309" y="128403"/>
                  </a:lnTo>
                  <a:lnTo>
                    <a:pt x="47520" y="134491"/>
                  </a:lnTo>
                  <a:lnTo>
                    <a:pt x="43751" y="139706"/>
                  </a:lnTo>
                  <a:lnTo>
                    <a:pt x="43751" y="148385"/>
                  </a:lnTo>
                  <a:lnTo>
                    <a:pt x="47823" y="154171"/>
                  </a:lnTo>
                  <a:lnTo>
                    <a:pt x="48698" y="157938"/>
                  </a:lnTo>
                  <a:lnTo>
                    <a:pt x="49270" y="164902"/>
                  </a:lnTo>
                  <a:lnTo>
                    <a:pt x="48395" y="172134"/>
                  </a:lnTo>
                  <a:cubicBezTo>
                    <a:pt x="48395" y="172134"/>
                    <a:pt x="48093" y="175599"/>
                    <a:pt x="46679" y="176171"/>
                  </a:cubicBezTo>
                  <a:cubicBezTo>
                    <a:pt x="45232" y="176743"/>
                    <a:pt x="41463" y="177920"/>
                    <a:pt x="40588" y="178189"/>
                  </a:cubicBezTo>
                  <a:cubicBezTo>
                    <a:pt x="39713" y="178492"/>
                    <a:pt x="31029" y="187171"/>
                    <a:pt x="31029" y="187171"/>
                  </a:cubicBezTo>
                  <a:lnTo>
                    <a:pt x="20294" y="188920"/>
                  </a:lnTo>
                  <a:lnTo>
                    <a:pt x="11611" y="184009"/>
                  </a:lnTo>
                  <a:lnTo>
                    <a:pt x="6967" y="178795"/>
                  </a:lnTo>
                  <a:lnTo>
                    <a:pt x="2322" y="178223"/>
                  </a:lnTo>
                  <a:lnTo>
                    <a:pt x="0" y="182562"/>
                  </a:lnTo>
                  <a:lnTo>
                    <a:pt x="3197" y="188920"/>
                  </a:lnTo>
                  <a:lnTo>
                    <a:pt x="3769" y="192991"/>
                  </a:lnTo>
                  <a:lnTo>
                    <a:pt x="4947" y="201670"/>
                  </a:lnTo>
                  <a:lnTo>
                    <a:pt x="9861" y="208028"/>
                  </a:lnTo>
                  <a:lnTo>
                    <a:pt x="23760" y="209777"/>
                  </a:lnTo>
                  <a:lnTo>
                    <a:pt x="31299" y="211795"/>
                  </a:lnTo>
                  <a:lnTo>
                    <a:pt x="36212" y="224847"/>
                  </a:lnTo>
                  <a:lnTo>
                    <a:pt x="42001" y="240490"/>
                  </a:lnTo>
                  <a:lnTo>
                    <a:pt x="42001" y="250918"/>
                  </a:lnTo>
                  <a:cubicBezTo>
                    <a:pt x="42001" y="250918"/>
                    <a:pt x="46342" y="258756"/>
                    <a:pt x="48968" y="256435"/>
                  </a:cubicBezTo>
                  <a:cubicBezTo>
                    <a:pt x="51559" y="254114"/>
                    <a:pt x="59098" y="252095"/>
                    <a:pt x="60275" y="251793"/>
                  </a:cubicBezTo>
                  <a:cubicBezTo>
                    <a:pt x="61453" y="251490"/>
                    <a:pt x="63472" y="249774"/>
                    <a:pt x="63472" y="249774"/>
                  </a:cubicBezTo>
                  <a:lnTo>
                    <a:pt x="71011" y="252095"/>
                  </a:lnTo>
                  <a:cubicBezTo>
                    <a:pt x="71011" y="252095"/>
                    <a:pt x="77675" y="258453"/>
                    <a:pt x="78819" y="258756"/>
                  </a:cubicBezTo>
                  <a:cubicBezTo>
                    <a:pt x="79963" y="259059"/>
                    <a:pt x="84339" y="257882"/>
                    <a:pt x="85483" y="258756"/>
                  </a:cubicBezTo>
                  <a:cubicBezTo>
                    <a:pt x="86661" y="259631"/>
                    <a:pt x="89252" y="256132"/>
                    <a:pt x="89824" y="255291"/>
                  </a:cubicBezTo>
                  <a:cubicBezTo>
                    <a:pt x="90396" y="254417"/>
                    <a:pt x="95613" y="251254"/>
                    <a:pt x="95613" y="251254"/>
                  </a:cubicBezTo>
                  <a:lnTo>
                    <a:pt x="100526" y="252129"/>
                  </a:lnTo>
                  <a:lnTo>
                    <a:pt x="104868" y="261380"/>
                  </a:lnTo>
                  <a:lnTo>
                    <a:pt x="106315" y="270665"/>
                  </a:lnTo>
                  <a:lnTo>
                    <a:pt x="105743" y="284289"/>
                  </a:lnTo>
                  <a:lnTo>
                    <a:pt x="108065" y="306895"/>
                  </a:lnTo>
                  <a:lnTo>
                    <a:pt x="108368" y="321090"/>
                  </a:lnTo>
                  <a:lnTo>
                    <a:pt x="101704" y="326607"/>
                  </a:lnTo>
                  <a:lnTo>
                    <a:pt x="99685" y="328626"/>
                  </a:lnTo>
                  <a:lnTo>
                    <a:pt x="93896" y="332393"/>
                  </a:lnTo>
                  <a:lnTo>
                    <a:pt x="85214" y="336161"/>
                  </a:lnTo>
                  <a:lnTo>
                    <a:pt x="79122" y="337910"/>
                  </a:lnTo>
                  <a:lnTo>
                    <a:pt x="73031" y="341106"/>
                  </a:lnTo>
                  <a:lnTo>
                    <a:pt x="70406" y="348069"/>
                  </a:lnTo>
                  <a:lnTo>
                    <a:pt x="63439" y="360516"/>
                  </a:lnTo>
                  <a:lnTo>
                    <a:pt x="63136" y="368051"/>
                  </a:lnTo>
                  <a:lnTo>
                    <a:pt x="61386" y="372122"/>
                  </a:lnTo>
                  <a:lnTo>
                    <a:pt x="58189" y="376899"/>
                  </a:lnTo>
                  <a:lnTo>
                    <a:pt x="59064" y="382247"/>
                  </a:lnTo>
                  <a:lnTo>
                    <a:pt x="65458" y="382247"/>
                  </a:lnTo>
                  <a:lnTo>
                    <a:pt x="67208" y="382247"/>
                  </a:lnTo>
                  <a:lnTo>
                    <a:pt x="72862" y="387764"/>
                  </a:lnTo>
                  <a:lnTo>
                    <a:pt x="75016" y="392104"/>
                  </a:lnTo>
                  <a:lnTo>
                    <a:pt x="75016" y="397015"/>
                  </a:lnTo>
                  <a:lnTo>
                    <a:pt x="81814" y="401354"/>
                  </a:lnTo>
                  <a:lnTo>
                    <a:pt x="84574" y="401354"/>
                  </a:lnTo>
                  <a:lnTo>
                    <a:pt x="87199" y="397284"/>
                  </a:lnTo>
                  <a:lnTo>
                    <a:pt x="89824" y="395266"/>
                  </a:lnTo>
                  <a:lnTo>
                    <a:pt x="96488" y="397890"/>
                  </a:lnTo>
                  <a:lnTo>
                    <a:pt x="100257" y="403541"/>
                  </a:lnTo>
                  <a:lnTo>
                    <a:pt x="104599" y="406602"/>
                  </a:lnTo>
                  <a:lnTo>
                    <a:pt x="110690" y="406602"/>
                  </a:lnTo>
                  <a:lnTo>
                    <a:pt x="114156" y="406602"/>
                  </a:lnTo>
                  <a:lnTo>
                    <a:pt x="118229" y="411951"/>
                  </a:lnTo>
                  <a:cubicBezTo>
                    <a:pt x="119979" y="411379"/>
                    <a:pt x="119373" y="417031"/>
                    <a:pt x="119373" y="417031"/>
                  </a:cubicBezTo>
                  <a:lnTo>
                    <a:pt x="124589" y="417031"/>
                  </a:lnTo>
                  <a:lnTo>
                    <a:pt x="128359" y="419352"/>
                  </a:lnTo>
                  <a:lnTo>
                    <a:pt x="127484" y="422245"/>
                  </a:lnTo>
                  <a:lnTo>
                    <a:pt x="122839" y="425710"/>
                  </a:lnTo>
                  <a:lnTo>
                    <a:pt x="117926" y="429780"/>
                  </a:lnTo>
                  <a:lnTo>
                    <a:pt x="113854" y="432673"/>
                  </a:lnTo>
                  <a:lnTo>
                    <a:pt x="108940" y="432673"/>
                  </a:lnTo>
                  <a:lnTo>
                    <a:pt x="110084" y="437584"/>
                  </a:lnTo>
                  <a:lnTo>
                    <a:pt x="109512" y="443101"/>
                  </a:lnTo>
                  <a:lnTo>
                    <a:pt x="107493" y="448887"/>
                  </a:lnTo>
                  <a:lnTo>
                    <a:pt x="103724" y="452083"/>
                  </a:lnTo>
                  <a:lnTo>
                    <a:pt x="103454" y="458744"/>
                  </a:lnTo>
                  <a:lnTo>
                    <a:pt x="108099" y="464832"/>
                  </a:lnTo>
                  <a:lnTo>
                    <a:pt x="112440" y="470047"/>
                  </a:lnTo>
                  <a:lnTo>
                    <a:pt x="115772" y="474117"/>
                  </a:lnTo>
                  <a:lnTo>
                    <a:pt x="118531" y="477582"/>
                  </a:lnTo>
                  <a:lnTo>
                    <a:pt x="118531" y="482224"/>
                  </a:lnTo>
                  <a:lnTo>
                    <a:pt x="120854" y="489457"/>
                  </a:lnTo>
                  <a:lnTo>
                    <a:pt x="116209" y="493527"/>
                  </a:lnTo>
                  <a:lnTo>
                    <a:pt x="119104" y="496723"/>
                  </a:lnTo>
                  <a:lnTo>
                    <a:pt x="124017" y="498169"/>
                  </a:lnTo>
                  <a:lnTo>
                    <a:pt x="128090" y="500793"/>
                  </a:lnTo>
                  <a:lnTo>
                    <a:pt x="132734" y="508026"/>
                  </a:lnTo>
                  <a:lnTo>
                    <a:pt x="134484" y="512096"/>
                  </a:lnTo>
                  <a:lnTo>
                    <a:pt x="136806" y="518454"/>
                  </a:lnTo>
                  <a:lnTo>
                    <a:pt x="138253" y="523668"/>
                  </a:lnTo>
                  <a:lnTo>
                    <a:pt x="138556" y="528580"/>
                  </a:lnTo>
                  <a:lnTo>
                    <a:pt x="138253" y="534097"/>
                  </a:lnTo>
                  <a:lnTo>
                    <a:pt x="138556" y="539614"/>
                  </a:lnTo>
                  <a:lnTo>
                    <a:pt x="144075" y="548023"/>
                  </a:lnTo>
                  <a:lnTo>
                    <a:pt x="144345" y="552497"/>
                  </a:lnTo>
                  <a:lnTo>
                    <a:pt x="145792" y="557846"/>
                  </a:lnTo>
                  <a:lnTo>
                    <a:pt x="152455" y="557846"/>
                  </a:lnTo>
                  <a:lnTo>
                    <a:pt x="161138" y="555256"/>
                  </a:lnTo>
                  <a:cubicBezTo>
                    <a:pt x="161138" y="555256"/>
                    <a:pt x="165210" y="552632"/>
                    <a:pt x="166927" y="552632"/>
                  </a:cubicBezTo>
                  <a:cubicBezTo>
                    <a:pt x="168677" y="552632"/>
                    <a:pt x="173893" y="549436"/>
                    <a:pt x="173893" y="549436"/>
                  </a:cubicBezTo>
                  <a:cubicBezTo>
                    <a:pt x="173893" y="549436"/>
                    <a:pt x="177663" y="545097"/>
                    <a:pt x="177965" y="544222"/>
                  </a:cubicBezTo>
                  <a:cubicBezTo>
                    <a:pt x="178268" y="543347"/>
                    <a:pt x="183754" y="538436"/>
                    <a:pt x="183754" y="538436"/>
                  </a:cubicBezTo>
                  <a:lnTo>
                    <a:pt x="187826" y="534971"/>
                  </a:lnTo>
                  <a:lnTo>
                    <a:pt x="190721" y="531506"/>
                  </a:lnTo>
                  <a:lnTo>
                    <a:pt x="189577" y="524274"/>
                  </a:lnTo>
                  <a:lnTo>
                    <a:pt x="193043" y="521953"/>
                  </a:lnTo>
                  <a:lnTo>
                    <a:pt x="197115" y="521650"/>
                  </a:lnTo>
                  <a:lnTo>
                    <a:pt x="205663" y="520775"/>
                  </a:lnTo>
                  <a:lnTo>
                    <a:pt x="208995" y="524240"/>
                  </a:lnTo>
                  <a:lnTo>
                    <a:pt x="208995" y="527436"/>
                  </a:lnTo>
                  <a:lnTo>
                    <a:pt x="214952" y="532347"/>
                  </a:lnTo>
                  <a:lnTo>
                    <a:pt x="219428" y="536115"/>
                  </a:lnTo>
                  <a:lnTo>
                    <a:pt x="219428" y="543078"/>
                  </a:lnTo>
                  <a:lnTo>
                    <a:pt x="212764" y="547721"/>
                  </a:lnTo>
                  <a:lnTo>
                    <a:pt x="209567" y="551488"/>
                  </a:lnTo>
                  <a:lnTo>
                    <a:pt x="204351" y="554381"/>
                  </a:lnTo>
                  <a:lnTo>
                    <a:pt x="199134" y="557846"/>
                  </a:lnTo>
                  <a:lnTo>
                    <a:pt x="198562" y="562186"/>
                  </a:lnTo>
                  <a:lnTo>
                    <a:pt x="198562" y="565651"/>
                  </a:lnTo>
                  <a:lnTo>
                    <a:pt x="200009" y="570293"/>
                  </a:lnTo>
                  <a:lnTo>
                    <a:pt x="202601" y="573926"/>
                  </a:lnTo>
                  <a:lnTo>
                    <a:pt x="206673" y="576953"/>
                  </a:lnTo>
                  <a:lnTo>
                    <a:pt x="213336" y="576953"/>
                  </a:lnTo>
                  <a:lnTo>
                    <a:pt x="218553" y="576953"/>
                  </a:lnTo>
                  <a:lnTo>
                    <a:pt x="222894" y="572042"/>
                  </a:lnTo>
                  <a:lnTo>
                    <a:pt x="226092" y="568846"/>
                  </a:lnTo>
                  <a:lnTo>
                    <a:pt x="237097" y="565381"/>
                  </a:lnTo>
                  <a:lnTo>
                    <a:pt x="238241" y="562186"/>
                  </a:lnTo>
                  <a:lnTo>
                    <a:pt x="240260" y="557543"/>
                  </a:lnTo>
                  <a:lnTo>
                    <a:pt x="240260" y="553473"/>
                  </a:lnTo>
                  <a:cubicBezTo>
                    <a:pt x="240260" y="553473"/>
                    <a:pt x="242010" y="549133"/>
                    <a:pt x="240260" y="547956"/>
                  </a:cubicBezTo>
                  <a:cubicBezTo>
                    <a:pt x="238510" y="546812"/>
                    <a:pt x="237366" y="543045"/>
                    <a:pt x="237366" y="543045"/>
                  </a:cubicBezTo>
                  <a:lnTo>
                    <a:pt x="241034" y="538705"/>
                  </a:lnTo>
                  <a:lnTo>
                    <a:pt x="244904" y="536384"/>
                  </a:lnTo>
                  <a:lnTo>
                    <a:pt x="246655" y="534635"/>
                  </a:lnTo>
                  <a:lnTo>
                    <a:pt x="251568" y="534938"/>
                  </a:lnTo>
                  <a:lnTo>
                    <a:pt x="256212" y="541026"/>
                  </a:lnTo>
                  <a:lnTo>
                    <a:pt x="258804" y="544794"/>
                  </a:lnTo>
                  <a:lnTo>
                    <a:pt x="265770" y="545669"/>
                  </a:lnTo>
                  <a:lnTo>
                    <a:pt x="269405" y="544794"/>
                  </a:lnTo>
                  <a:lnTo>
                    <a:pt x="271593" y="547384"/>
                  </a:lnTo>
                  <a:lnTo>
                    <a:pt x="271593" y="549974"/>
                  </a:lnTo>
                  <a:lnTo>
                    <a:pt x="271593" y="556938"/>
                  </a:lnTo>
                  <a:lnTo>
                    <a:pt x="273780" y="562152"/>
                  </a:lnTo>
                  <a:lnTo>
                    <a:pt x="278559" y="563599"/>
                  </a:lnTo>
                  <a:lnTo>
                    <a:pt x="278559" y="565617"/>
                  </a:lnTo>
                  <a:lnTo>
                    <a:pt x="284348" y="567938"/>
                  </a:lnTo>
                  <a:lnTo>
                    <a:pt x="289261" y="569956"/>
                  </a:lnTo>
                  <a:lnTo>
                    <a:pt x="297372" y="570259"/>
                  </a:lnTo>
                  <a:lnTo>
                    <a:pt x="308377" y="571134"/>
                  </a:lnTo>
                  <a:lnTo>
                    <a:pt x="320829" y="573152"/>
                  </a:lnTo>
                  <a:lnTo>
                    <a:pt x="328671" y="573724"/>
                  </a:lnTo>
                  <a:lnTo>
                    <a:pt x="337657" y="572277"/>
                  </a:lnTo>
                  <a:lnTo>
                    <a:pt x="342638" y="573051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grpSp>
          <p:nvGrpSpPr>
            <p:cNvPr id="622" name="Graphic 11">
              <a:extLst>
                <a:ext uri="{FF2B5EF4-FFF2-40B4-BE49-F238E27FC236}">
                  <a16:creationId xmlns:a16="http://schemas.microsoft.com/office/drawing/2014/main" id="{F58B258F-31E3-41AF-81CF-95D6771AFA90}"/>
                </a:ext>
              </a:extLst>
            </p:cNvPr>
            <p:cNvGrpSpPr/>
            <p:nvPr/>
          </p:nvGrpSpPr>
          <p:grpSpPr>
            <a:xfrm>
              <a:off x="7727196" y="3385710"/>
              <a:ext cx="413482" cy="314600"/>
              <a:chOff x="5143724" y="3308222"/>
              <a:chExt cx="793844" cy="603999"/>
            </a:xfrm>
            <a:grpFill/>
          </p:grpSpPr>
          <p:sp>
            <p:nvSpPr>
              <p:cNvPr id="668" name="Freeform 934">
                <a:extLst>
                  <a:ext uri="{FF2B5EF4-FFF2-40B4-BE49-F238E27FC236}">
                    <a16:creationId xmlns:a16="http://schemas.microsoft.com/office/drawing/2014/main" id="{C248298E-2BEC-C867-6537-718688D97C78}"/>
                  </a:ext>
                </a:extLst>
              </p:cNvPr>
              <p:cNvSpPr/>
              <p:nvPr/>
            </p:nvSpPr>
            <p:spPr>
              <a:xfrm>
                <a:off x="5143724" y="3308222"/>
                <a:ext cx="787079" cy="603999"/>
              </a:xfrm>
              <a:custGeom>
                <a:avLst/>
                <a:gdLst>
                  <a:gd name="connsiteX0" fmla="*/ 780147 w 787079"/>
                  <a:gd name="connsiteY0" fmla="*/ 183168 h 603999"/>
                  <a:gd name="connsiteX1" fmla="*/ 776007 w 787079"/>
                  <a:gd name="connsiteY1" fmla="*/ 177954 h 603999"/>
                  <a:gd name="connsiteX2" fmla="*/ 773416 w 787079"/>
                  <a:gd name="connsiteY2" fmla="*/ 170116 h 603999"/>
                  <a:gd name="connsiteX3" fmla="*/ 771901 w 787079"/>
                  <a:gd name="connsiteY3" fmla="*/ 162513 h 603999"/>
                  <a:gd name="connsiteX4" fmla="*/ 769276 w 787079"/>
                  <a:gd name="connsiteY4" fmla="*/ 156222 h 603999"/>
                  <a:gd name="connsiteX5" fmla="*/ 769613 w 787079"/>
                  <a:gd name="connsiteY5" fmla="*/ 151210 h 603999"/>
                  <a:gd name="connsiteX6" fmla="*/ 766685 w 787079"/>
                  <a:gd name="connsiteY6" fmla="*/ 143170 h 603999"/>
                  <a:gd name="connsiteX7" fmla="*/ 766685 w 787079"/>
                  <a:gd name="connsiteY7" fmla="*/ 137519 h 603999"/>
                  <a:gd name="connsiteX8" fmla="*/ 766685 w 787079"/>
                  <a:gd name="connsiteY8" fmla="*/ 132305 h 603999"/>
                  <a:gd name="connsiteX9" fmla="*/ 764935 w 787079"/>
                  <a:gd name="connsiteY9" fmla="*/ 124467 h 603999"/>
                  <a:gd name="connsiteX10" fmla="*/ 761031 w 787079"/>
                  <a:gd name="connsiteY10" fmla="*/ 119690 h 603999"/>
                  <a:gd name="connsiteX11" fmla="*/ 759079 w 787079"/>
                  <a:gd name="connsiteY11" fmla="*/ 115989 h 603999"/>
                  <a:gd name="connsiteX12" fmla="*/ 755175 w 787079"/>
                  <a:gd name="connsiteY12" fmla="*/ 107748 h 603999"/>
                  <a:gd name="connsiteX13" fmla="*/ 749319 w 787079"/>
                  <a:gd name="connsiteY13" fmla="*/ 99069 h 603999"/>
                  <a:gd name="connsiteX14" fmla="*/ 742353 w 787079"/>
                  <a:gd name="connsiteY14" fmla="*/ 93855 h 603999"/>
                  <a:gd name="connsiteX15" fmla="*/ 742353 w 787079"/>
                  <a:gd name="connsiteY15" fmla="*/ 85377 h 603999"/>
                  <a:gd name="connsiteX16" fmla="*/ 747569 w 787079"/>
                  <a:gd name="connsiteY16" fmla="*/ 80163 h 603999"/>
                  <a:gd name="connsiteX17" fmla="*/ 747569 w 787079"/>
                  <a:gd name="connsiteY17" fmla="*/ 74949 h 603999"/>
                  <a:gd name="connsiteX18" fmla="*/ 747132 w 787079"/>
                  <a:gd name="connsiteY18" fmla="*/ 72123 h 603999"/>
                  <a:gd name="connsiteX19" fmla="*/ 742353 w 787079"/>
                  <a:gd name="connsiteY19" fmla="*/ 69735 h 603999"/>
                  <a:gd name="connsiteX20" fmla="*/ 739088 w 787079"/>
                  <a:gd name="connsiteY20" fmla="*/ 73637 h 603999"/>
                  <a:gd name="connsiteX21" fmla="*/ 733434 w 787079"/>
                  <a:gd name="connsiteY21" fmla="*/ 77977 h 603999"/>
                  <a:gd name="connsiteX22" fmla="*/ 728420 w 787079"/>
                  <a:gd name="connsiteY22" fmla="*/ 82316 h 603999"/>
                  <a:gd name="connsiteX23" fmla="*/ 722126 w 787079"/>
                  <a:gd name="connsiteY23" fmla="*/ 85344 h 603999"/>
                  <a:gd name="connsiteX24" fmla="*/ 718424 w 787079"/>
                  <a:gd name="connsiteY24" fmla="*/ 82316 h 603999"/>
                  <a:gd name="connsiteX25" fmla="*/ 712131 w 787079"/>
                  <a:gd name="connsiteY25" fmla="*/ 77539 h 603999"/>
                  <a:gd name="connsiteX26" fmla="*/ 708866 w 787079"/>
                  <a:gd name="connsiteY26" fmla="*/ 72123 h 603999"/>
                  <a:gd name="connsiteX27" fmla="*/ 704525 w 787079"/>
                  <a:gd name="connsiteY27" fmla="*/ 67347 h 603999"/>
                  <a:gd name="connsiteX28" fmla="*/ 704525 w 787079"/>
                  <a:gd name="connsiteY28" fmla="*/ 63882 h 603999"/>
                  <a:gd name="connsiteX29" fmla="*/ 696280 w 787079"/>
                  <a:gd name="connsiteY29" fmla="*/ 61695 h 603999"/>
                  <a:gd name="connsiteX30" fmla="*/ 689111 w 787079"/>
                  <a:gd name="connsiteY30" fmla="*/ 63646 h 603999"/>
                  <a:gd name="connsiteX31" fmla="*/ 683222 w 787079"/>
                  <a:gd name="connsiteY31" fmla="*/ 66472 h 603999"/>
                  <a:gd name="connsiteX32" fmla="*/ 674943 w 787079"/>
                  <a:gd name="connsiteY32" fmla="*/ 66035 h 603999"/>
                  <a:gd name="connsiteX33" fmla="*/ 663870 w 787079"/>
                  <a:gd name="connsiteY33" fmla="*/ 61258 h 603999"/>
                  <a:gd name="connsiteX34" fmla="*/ 652125 w 787079"/>
                  <a:gd name="connsiteY34" fmla="*/ 54294 h 603999"/>
                  <a:gd name="connsiteX35" fmla="*/ 648288 w 787079"/>
                  <a:gd name="connsiteY35" fmla="*/ 56986 h 603999"/>
                  <a:gd name="connsiteX36" fmla="*/ 646403 w 787079"/>
                  <a:gd name="connsiteY36" fmla="*/ 59307 h 603999"/>
                  <a:gd name="connsiteX37" fmla="*/ 643206 w 787079"/>
                  <a:gd name="connsiteY37" fmla="*/ 61493 h 603999"/>
                  <a:gd name="connsiteX38" fmla="*/ 641894 w 787079"/>
                  <a:gd name="connsiteY38" fmla="*/ 63680 h 603999"/>
                  <a:gd name="connsiteX39" fmla="*/ 637990 w 787079"/>
                  <a:gd name="connsiteY39" fmla="*/ 66136 h 603999"/>
                  <a:gd name="connsiteX40" fmla="*/ 635668 w 787079"/>
                  <a:gd name="connsiteY40" fmla="*/ 69163 h 603999"/>
                  <a:gd name="connsiteX41" fmla="*/ 634220 w 787079"/>
                  <a:gd name="connsiteY41" fmla="*/ 74512 h 603999"/>
                  <a:gd name="connsiteX42" fmla="*/ 637283 w 787079"/>
                  <a:gd name="connsiteY42" fmla="*/ 78414 h 603999"/>
                  <a:gd name="connsiteX43" fmla="*/ 639033 w 787079"/>
                  <a:gd name="connsiteY43" fmla="*/ 81038 h 603999"/>
                  <a:gd name="connsiteX44" fmla="*/ 643812 w 787079"/>
                  <a:gd name="connsiteY44" fmla="*/ 86252 h 603999"/>
                  <a:gd name="connsiteX45" fmla="*/ 644250 w 787079"/>
                  <a:gd name="connsiteY45" fmla="*/ 91466 h 603999"/>
                  <a:gd name="connsiteX46" fmla="*/ 643947 w 787079"/>
                  <a:gd name="connsiteY46" fmla="*/ 94494 h 603999"/>
                  <a:gd name="connsiteX47" fmla="*/ 642365 w 787079"/>
                  <a:gd name="connsiteY47" fmla="*/ 98833 h 603999"/>
                  <a:gd name="connsiteX48" fmla="*/ 639471 w 787079"/>
                  <a:gd name="connsiteY48" fmla="*/ 100280 h 603999"/>
                  <a:gd name="connsiteX49" fmla="*/ 635701 w 787079"/>
                  <a:gd name="connsiteY49" fmla="*/ 99405 h 603999"/>
                  <a:gd name="connsiteX50" fmla="*/ 630788 w 787079"/>
                  <a:gd name="connsiteY50" fmla="*/ 97387 h 603999"/>
                  <a:gd name="connsiteX51" fmla="*/ 627456 w 787079"/>
                  <a:gd name="connsiteY51" fmla="*/ 96378 h 603999"/>
                  <a:gd name="connsiteX52" fmla="*/ 623821 w 787079"/>
                  <a:gd name="connsiteY52" fmla="*/ 94191 h 603999"/>
                  <a:gd name="connsiteX53" fmla="*/ 620927 w 787079"/>
                  <a:gd name="connsiteY53" fmla="*/ 91433 h 603999"/>
                  <a:gd name="connsiteX54" fmla="*/ 614970 w 787079"/>
                  <a:gd name="connsiteY54" fmla="*/ 85041 h 603999"/>
                  <a:gd name="connsiteX55" fmla="*/ 608879 w 787079"/>
                  <a:gd name="connsiteY55" fmla="*/ 79692 h 603999"/>
                  <a:gd name="connsiteX56" fmla="*/ 604100 w 787079"/>
                  <a:gd name="connsiteY56" fmla="*/ 75790 h 603999"/>
                  <a:gd name="connsiteX57" fmla="*/ 598883 w 787079"/>
                  <a:gd name="connsiteY57" fmla="*/ 75790 h 603999"/>
                  <a:gd name="connsiteX58" fmla="*/ 597571 w 787079"/>
                  <a:gd name="connsiteY58" fmla="*/ 76867 h 603999"/>
                  <a:gd name="connsiteX59" fmla="*/ 591479 w 787079"/>
                  <a:gd name="connsiteY59" fmla="*/ 79558 h 603999"/>
                  <a:gd name="connsiteX60" fmla="*/ 589157 w 787079"/>
                  <a:gd name="connsiteY60" fmla="*/ 81879 h 603999"/>
                  <a:gd name="connsiteX61" fmla="*/ 584681 w 787079"/>
                  <a:gd name="connsiteY61" fmla="*/ 83897 h 603999"/>
                  <a:gd name="connsiteX62" fmla="*/ 581181 w 787079"/>
                  <a:gd name="connsiteY62" fmla="*/ 84032 h 603999"/>
                  <a:gd name="connsiteX63" fmla="*/ 577411 w 787079"/>
                  <a:gd name="connsiteY63" fmla="*/ 83897 h 603999"/>
                  <a:gd name="connsiteX64" fmla="*/ 572330 w 787079"/>
                  <a:gd name="connsiteY64" fmla="*/ 84200 h 603999"/>
                  <a:gd name="connsiteX65" fmla="*/ 570142 w 787079"/>
                  <a:gd name="connsiteY65" fmla="*/ 84503 h 603999"/>
                  <a:gd name="connsiteX66" fmla="*/ 566104 w 787079"/>
                  <a:gd name="connsiteY66" fmla="*/ 85680 h 603999"/>
                  <a:gd name="connsiteX67" fmla="*/ 564084 w 787079"/>
                  <a:gd name="connsiteY67" fmla="*/ 88001 h 603999"/>
                  <a:gd name="connsiteX68" fmla="*/ 561628 w 787079"/>
                  <a:gd name="connsiteY68" fmla="*/ 88001 h 603999"/>
                  <a:gd name="connsiteX69" fmla="*/ 556983 w 787079"/>
                  <a:gd name="connsiteY69" fmla="*/ 88741 h 603999"/>
                  <a:gd name="connsiteX70" fmla="*/ 554224 w 787079"/>
                  <a:gd name="connsiteY70" fmla="*/ 91063 h 603999"/>
                  <a:gd name="connsiteX71" fmla="*/ 552777 w 787079"/>
                  <a:gd name="connsiteY71" fmla="*/ 92375 h 603999"/>
                  <a:gd name="connsiteX72" fmla="*/ 552777 w 787079"/>
                  <a:gd name="connsiteY72" fmla="*/ 95267 h 603999"/>
                  <a:gd name="connsiteX73" fmla="*/ 552272 w 787079"/>
                  <a:gd name="connsiteY73" fmla="*/ 98160 h 603999"/>
                  <a:gd name="connsiteX74" fmla="*/ 549882 w 787079"/>
                  <a:gd name="connsiteY74" fmla="*/ 100616 h 603999"/>
                  <a:gd name="connsiteX75" fmla="*/ 545675 w 787079"/>
                  <a:gd name="connsiteY75" fmla="*/ 100751 h 603999"/>
                  <a:gd name="connsiteX76" fmla="*/ 543656 w 787079"/>
                  <a:gd name="connsiteY76" fmla="*/ 99439 h 603999"/>
                  <a:gd name="connsiteX77" fmla="*/ 539752 w 787079"/>
                  <a:gd name="connsiteY77" fmla="*/ 98732 h 603999"/>
                  <a:gd name="connsiteX78" fmla="*/ 537733 w 787079"/>
                  <a:gd name="connsiteY78" fmla="*/ 99170 h 603999"/>
                  <a:gd name="connsiteX79" fmla="*/ 536151 w 787079"/>
                  <a:gd name="connsiteY79" fmla="*/ 100482 h 603999"/>
                  <a:gd name="connsiteX80" fmla="*/ 533391 w 787079"/>
                  <a:gd name="connsiteY80" fmla="*/ 102500 h 603999"/>
                  <a:gd name="connsiteX81" fmla="*/ 530362 w 787079"/>
                  <a:gd name="connsiteY81" fmla="*/ 102365 h 603999"/>
                  <a:gd name="connsiteX82" fmla="*/ 526459 w 787079"/>
                  <a:gd name="connsiteY82" fmla="*/ 101356 h 603999"/>
                  <a:gd name="connsiteX83" fmla="*/ 524002 w 787079"/>
                  <a:gd name="connsiteY83" fmla="*/ 103543 h 603999"/>
                  <a:gd name="connsiteX84" fmla="*/ 521680 w 787079"/>
                  <a:gd name="connsiteY84" fmla="*/ 104855 h 603999"/>
                  <a:gd name="connsiteX85" fmla="*/ 518348 w 787079"/>
                  <a:gd name="connsiteY85" fmla="*/ 106167 h 603999"/>
                  <a:gd name="connsiteX86" fmla="*/ 510237 w 787079"/>
                  <a:gd name="connsiteY86" fmla="*/ 107041 h 603999"/>
                  <a:gd name="connsiteX87" fmla="*/ 504886 w 787079"/>
                  <a:gd name="connsiteY87" fmla="*/ 107916 h 603999"/>
                  <a:gd name="connsiteX88" fmla="*/ 499535 w 787079"/>
                  <a:gd name="connsiteY88" fmla="*/ 108219 h 603999"/>
                  <a:gd name="connsiteX89" fmla="*/ 492299 w 787079"/>
                  <a:gd name="connsiteY89" fmla="*/ 104148 h 603999"/>
                  <a:gd name="connsiteX90" fmla="*/ 489405 w 787079"/>
                  <a:gd name="connsiteY90" fmla="*/ 103005 h 603999"/>
                  <a:gd name="connsiteX91" fmla="*/ 487655 w 787079"/>
                  <a:gd name="connsiteY91" fmla="*/ 101995 h 603999"/>
                  <a:gd name="connsiteX92" fmla="*/ 481866 w 787079"/>
                  <a:gd name="connsiteY92" fmla="*/ 98968 h 603999"/>
                  <a:gd name="connsiteX93" fmla="*/ 477962 w 787079"/>
                  <a:gd name="connsiteY93" fmla="*/ 96949 h 603999"/>
                  <a:gd name="connsiteX94" fmla="*/ 476246 w 787079"/>
                  <a:gd name="connsiteY94" fmla="*/ 93316 h 603999"/>
                  <a:gd name="connsiteX95" fmla="*/ 478837 w 787079"/>
                  <a:gd name="connsiteY95" fmla="*/ 90423 h 603999"/>
                  <a:gd name="connsiteX96" fmla="*/ 482169 w 787079"/>
                  <a:gd name="connsiteY96" fmla="*/ 89111 h 603999"/>
                  <a:gd name="connsiteX97" fmla="*/ 486241 w 787079"/>
                  <a:gd name="connsiteY97" fmla="*/ 87665 h 603999"/>
                  <a:gd name="connsiteX98" fmla="*/ 489708 w 787079"/>
                  <a:gd name="connsiteY98" fmla="*/ 84469 h 603999"/>
                  <a:gd name="connsiteX99" fmla="*/ 491727 w 787079"/>
                  <a:gd name="connsiteY99" fmla="*/ 81879 h 603999"/>
                  <a:gd name="connsiteX100" fmla="*/ 495631 w 787079"/>
                  <a:gd name="connsiteY100" fmla="*/ 77371 h 603999"/>
                  <a:gd name="connsiteX101" fmla="*/ 498088 w 787079"/>
                  <a:gd name="connsiteY101" fmla="*/ 68524 h 603999"/>
                  <a:gd name="connsiteX102" fmla="*/ 497953 w 787079"/>
                  <a:gd name="connsiteY102" fmla="*/ 66943 h 603999"/>
                  <a:gd name="connsiteX103" fmla="*/ 498391 w 787079"/>
                  <a:gd name="connsiteY103" fmla="*/ 63613 h 603999"/>
                  <a:gd name="connsiteX104" fmla="*/ 499266 w 787079"/>
                  <a:gd name="connsiteY104" fmla="*/ 60282 h 603999"/>
                  <a:gd name="connsiteX105" fmla="*/ 503910 w 787079"/>
                  <a:gd name="connsiteY105" fmla="*/ 56515 h 603999"/>
                  <a:gd name="connsiteX106" fmla="*/ 506064 w 787079"/>
                  <a:gd name="connsiteY106" fmla="*/ 53924 h 603999"/>
                  <a:gd name="connsiteX107" fmla="*/ 509968 w 787079"/>
                  <a:gd name="connsiteY107" fmla="*/ 49854 h 603999"/>
                  <a:gd name="connsiteX108" fmla="*/ 513434 w 787079"/>
                  <a:gd name="connsiteY108" fmla="*/ 47398 h 603999"/>
                  <a:gd name="connsiteX109" fmla="*/ 515184 w 787079"/>
                  <a:gd name="connsiteY109" fmla="*/ 46961 h 603999"/>
                  <a:gd name="connsiteX110" fmla="*/ 522588 w 787079"/>
                  <a:gd name="connsiteY110" fmla="*/ 44068 h 603999"/>
                  <a:gd name="connsiteX111" fmla="*/ 524204 w 787079"/>
                  <a:gd name="connsiteY111" fmla="*/ 42319 h 603999"/>
                  <a:gd name="connsiteX112" fmla="*/ 528545 w 787079"/>
                  <a:gd name="connsiteY112" fmla="*/ 39863 h 603999"/>
                  <a:gd name="connsiteX113" fmla="*/ 529420 w 787079"/>
                  <a:gd name="connsiteY113" fmla="*/ 38551 h 603999"/>
                  <a:gd name="connsiteX114" fmla="*/ 528848 w 787079"/>
                  <a:gd name="connsiteY114" fmla="*/ 35793 h 603999"/>
                  <a:gd name="connsiteX115" fmla="*/ 527536 w 787079"/>
                  <a:gd name="connsiteY115" fmla="*/ 32765 h 603999"/>
                  <a:gd name="connsiteX116" fmla="*/ 527098 w 787079"/>
                  <a:gd name="connsiteY116" fmla="*/ 30444 h 603999"/>
                  <a:gd name="connsiteX117" fmla="*/ 527805 w 787079"/>
                  <a:gd name="connsiteY117" fmla="*/ 28257 h 603999"/>
                  <a:gd name="connsiteX118" fmla="*/ 527233 w 787079"/>
                  <a:gd name="connsiteY118" fmla="*/ 24355 h 603999"/>
                  <a:gd name="connsiteX119" fmla="*/ 524910 w 787079"/>
                  <a:gd name="connsiteY119" fmla="*/ 20722 h 603999"/>
                  <a:gd name="connsiteX120" fmla="*/ 522891 w 787079"/>
                  <a:gd name="connsiteY120" fmla="*/ 17964 h 603999"/>
                  <a:gd name="connsiteX121" fmla="*/ 520132 w 787079"/>
                  <a:gd name="connsiteY121" fmla="*/ 15643 h 603999"/>
                  <a:gd name="connsiteX122" fmla="*/ 516228 w 787079"/>
                  <a:gd name="connsiteY122" fmla="*/ 11572 h 603999"/>
                  <a:gd name="connsiteX123" fmla="*/ 512761 w 787079"/>
                  <a:gd name="connsiteY123" fmla="*/ 9991 h 603999"/>
                  <a:gd name="connsiteX124" fmla="*/ 508554 w 787079"/>
                  <a:gd name="connsiteY124" fmla="*/ 6223 h 603999"/>
                  <a:gd name="connsiteX125" fmla="*/ 506973 w 787079"/>
                  <a:gd name="connsiteY125" fmla="*/ 6795 h 603999"/>
                  <a:gd name="connsiteX126" fmla="*/ 504516 w 787079"/>
                  <a:gd name="connsiteY126" fmla="*/ 8376 h 603999"/>
                  <a:gd name="connsiteX127" fmla="*/ 501756 w 787079"/>
                  <a:gd name="connsiteY127" fmla="*/ 11572 h 603999"/>
                  <a:gd name="connsiteX128" fmla="*/ 496977 w 787079"/>
                  <a:gd name="connsiteY128" fmla="*/ 14465 h 603999"/>
                  <a:gd name="connsiteX129" fmla="*/ 492905 w 787079"/>
                  <a:gd name="connsiteY129" fmla="*/ 17930 h 603999"/>
                  <a:gd name="connsiteX130" fmla="*/ 488698 w 787079"/>
                  <a:gd name="connsiteY130" fmla="*/ 19242 h 603999"/>
                  <a:gd name="connsiteX131" fmla="*/ 486679 w 787079"/>
                  <a:gd name="connsiteY131" fmla="*/ 18098 h 603999"/>
                  <a:gd name="connsiteX132" fmla="*/ 480890 w 787079"/>
                  <a:gd name="connsiteY132" fmla="*/ 12884 h 603999"/>
                  <a:gd name="connsiteX133" fmla="*/ 477255 w 787079"/>
                  <a:gd name="connsiteY133" fmla="*/ 11707 h 603999"/>
                  <a:gd name="connsiteX134" fmla="*/ 474361 w 787079"/>
                  <a:gd name="connsiteY134" fmla="*/ 13725 h 603999"/>
                  <a:gd name="connsiteX135" fmla="*/ 471164 w 787079"/>
                  <a:gd name="connsiteY135" fmla="*/ 17055 h 603999"/>
                  <a:gd name="connsiteX136" fmla="*/ 465948 w 787079"/>
                  <a:gd name="connsiteY136" fmla="*/ 23279 h 603999"/>
                  <a:gd name="connsiteX137" fmla="*/ 460731 w 787079"/>
                  <a:gd name="connsiteY137" fmla="*/ 23144 h 603999"/>
                  <a:gd name="connsiteX138" fmla="*/ 458712 w 787079"/>
                  <a:gd name="connsiteY138" fmla="*/ 19074 h 603999"/>
                  <a:gd name="connsiteX139" fmla="*/ 459722 w 787079"/>
                  <a:gd name="connsiteY139" fmla="*/ 18199 h 603999"/>
                  <a:gd name="connsiteX140" fmla="*/ 458275 w 787079"/>
                  <a:gd name="connsiteY140" fmla="*/ 11101 h 603999"/>
                  <a:gd name="connsiteX141" fmla="*/ 451611 w 787079"/>
                  <a:gd name="connsiteY141" fmla="*/ 6627 h 603999"/>
                  <a:gd name="connsiteX142" fmla="*/ 446697 w 787079"/>
                  <a:gd name="connsiteY142" fmla="*/ 6324 h 603999"/>
                  <a:gd name="connsiteX143" fmla="*/ 444375 w 787079"/>
                  <a:gd name="connsiteY143" fmla="*/ 9217 h 603999"/>
                  <a:gd name="connsiteX144" fmla="*/ 442793 w 787079"/>
                  <a:gd name="connsiteY144" fmla="*/ 10967 h 603999"/>
                  <a:gd name="connsiteX145" fmla="*/ 439461 w 787079"/>
                  <a:gd name="connsiteY145" fmla="*/ 12850 h 603999"/>
                  <a:gd name="connsiteX146" fmla="*/ 435692 w 787079"/>
                  <a:gd name="connsiteY146" fmla="*/ 15441 h 603999"/>
                  <a:gd name="connsiteX147" fmla="*/ 433808 w 787079"/>
                  <a:gd name="connsiteY147" fmla="*/ 16752 h 603999"/>
                  <a:gd name="connsiteX148" fmla="*/ 426437 w 787079"/>
                  <a:gd name="connsiteY148" fmla="*/ 16752 h 603999"/>
                  <a:gd name="connsiteX149" fmla="*/ 422365 w 787079"/>
                  <a:gd name="connsiteY149" fmla="*/ 17762 h 603999"/>
                  <a:gd name="connsiteX150" fmla="*/ 417283 w 787079"/>
                  <a:gd name="connsiteY150" fmla="*/ 19343 h 603999"/>
                  <a:gd name="connsiteX151" fmla="*/ 409879 w 787079"/>
                  <a:gd name="connsiteY151" fmla="*/ 18031 h 603999"/>
                  <a:gd name="connsiteX152" fmla="*/ 403081 w 787079"/>
                  <a:gd name="connsiteY152" fmla="*/ 17593 h 603999"/>
                  <a:gd name="connsiteX153" fmla="*/ 397999 w 787079"/>
                  <a:gd name="connsiteY153" fmla="*/ 17156 h 603999"/>
                  <a:gd name="connsiteX154" fmla="*/ 392042 w 787079"/>
                  <a:gd name="connsiteY154" fmla="*/ 14566 h 603999"/>
                  <a:gd name="connsiteX155" fmla="*/ 388273 w 787079"/>
                  <a:gd name="connsiteY155" fmla="*/ 10933 h 603999"/>
                  <a:gd name="connsiteX156" fmla="*/ 386388 w 787079"/>
                  <a:gd name="connsiteY156" fmla="*/ 7165 h 603999"/>
                  <a:gd name="connsiteX157" fmla="*/ 383931 w 787079"/>
                  <a:gd name="connsiteY157" fmla="*/ 2826 h 603999"/>
                  <a:gd name="connsiteX158" fmla="*/ 381172 w 787079"/>
                  <a:gd name="connsiteY158" fmla="*/ 0 h 603999"/>
                  <a:gd name="connsiteX159" fmla="*/ 377268 w 787079"/>
                  <a:gd name="connsiteY159" fmla="*/ 67 h 603999"/>
                  <a:gd name="connsiteX160" fmla="*/ 371042 w 787079"/>
                  <a:gd name="connsiteY160" fmla="*/ 67 h 603999"/>
                  <a:gd name="connsiteX161" fmla="*/ 368450 w 787079"/>
                  <a:gd name="connsiteY161" fmla="*/ 2388 h 603999"/>
                  <a:gd name="connsiteX162" fmla="*/ 365825 w 787079"/>
                  <a:gd name="connsiteY162" fmla="*/ 9049 h 603999"/>
                  <a:gd name="connsiteX163" fmla="*/ 364378 w 787079"/>
                  <a:gd name="connsiteY163" fmla="*/ 12817 h 603999"/>
                  <a:gd name="connsiteX164" fmla="*/ 359162 w 787079"/>
                  <a:gd name="connsiteY164" fmla="*/ 18031 h 603999"/>
                  <a:gd name="connsiteX165" fmla="*/ 355695 w 787079"/>
                  <a:gd name="connsiteY165" fmla="*/ 19343 h 603999"/>
                  <a:gd name="connsiteX166" fmla="*/ 354113 w 787079"/>
                  <a:gd name="connsiteY166" fmla="*/ 20083 h 603999"/>
                  <a:gd name="connsiteX167" fmla="*/ 351354 w 787079"/>
                  <a:gd name="connsiteY167" fmla="*/ 21832 h 603999"/>
                  <a:gd name="connsiteX168" fmla="*/ 347585 w 787079"/>
                  <a:gd name="connsiteY168" fmla="*/ 23851 h 603999"/>
                  <a:gd name="connsiteX169" fmla="*/ 344690 w 787079"/>
                  <a:gd name="connsiteY169" fmla="*/ 23851 h 603999"/>
                  <a:gd name="connsiteX170" fmla="*/ 342065 w 787079"/>
                  <a:gd name="connsiteY170" fmla="*/ 25162 h 603999"/>
                  <a:gd name="connsiteX171" fmla="*/ 339743 w 787079"/>
                  <a:gd name="connsiteY171" fmla="*/ 26609 h 603999"/>
                  <a:gd name="connsiteX172" fmla="*/ 340618 w 787079"/>
                  <a:gd name="connsiteY172" fmla="*/ 29805 h 603999"/>
                  <a:gd name="connsiteX173" fmla="*/ 342065 w 787079"/>
                  <a:gd name="connsiteY173" fmla="*/ 31251 h 603999"/>
                  <a:gd name="connsiteX174" fmla="*/ 350041 w 787079"/>
                  <a:gd name="connsiteY174" fmla="*/ 35153 h 603999"/>
                  <a:gd name="connsiteX175" fmla="*/ 351791 w 787079"/>
                  <a:gd name="connsiteY175" fmla="*/ 37340 h 603999"/>
                  <a:gd name="connsiteX176" fmla="*/ 350647 w 787079"/>
                  <a:gd name="connsiteY176" fmla="*/ 39089 h 603999"/>
                  <a:gd name="connsiteX177" fmla="*/ 348762 w 787079"/>
                  <a:gd name="connsiteY177" fmla="*/ 41276 h 603999"/>
                  <a:gd name="connsiteX178" fmla="*/ 346878 w 787079"/>
                  <a:gd name="connsiteY178" fmla="*/ 42453 h 603999"/>
                  <a:gd name="connsiteX179" fmla="*/ 347753 w 787079"/>
                  <a:gd name="connsiteY179" fmla="*/ 45481 h 603999"/>
                  <a:gd name="connsiteX180" fmla="*/ 348325 w 787079"/>
                  <a:gd name="connsiteY180" fmla="*/ 46927 h 603999"/>
                  <a:gd name="connsiteX181" fmla="*/ 350344 w 787079"/>
                  <a:gd name="connsiteY181" fmla="*/ 50258 h 603999"/>
                  <a:gd name="connsiteX182" fmla="*/ 349604 w 787079"/>
                  <a:gd name="connsiteY182" fmla="*/ 53016 h 603999"/>
                  <a:gd name="connsiteX183" fmla="*/ 349166 w 787079"/>
                  <a:gd name="connsiteY183" fmla="*/ 55203 h 603999"/>
                  <a:gd name="connsiteX184" fmla="*/ 349604 w 787079"/>
                  <a:gd name="connsiteY184" fmla="*/ 57793 h 603999"/>
                  <a:gd name="connsiteX185" fmla="*/ 352801 w 787079"/>
                  <a:gd name="connsiteY185" fmla="*/ 61998 h 603999"/>
                  <a:gd name="connsiteX186" fmla="*/ 352498 w 787079"/>
                  <a:gd name="connsiteY186" fmla="*/ 65194 h 603999"/>
                  <a:gd name="connsiteX187" fmla="*/ 351185 w 787079"/>
                  <a:gd name="connsiteY187" fmla="*/ 67649 h 603999"/>
                  <a:gd name="connsiteX188" fmla="*/ 347113 w 787079"/>
                  <a:gd name="connsiteY188" fmla="*/ 68221 h 603999"/>
                  <a:gd name="connsiteX189" fmla="*/ 344084 w 787079"/>
                  <a:gd name="connsiteY189" fmla="*/ 68524 h 603999"/>
                  <a:gd name="connsiteX190" fmla="*/ 340618 w 787079"/>
                  <a:gd name="connsiteY190" fmla="*/ 70542 h 603999"/>
                  <a:gd name="connsiteX191" fmla="*/ 336142 w 787079"/>
                  <a:gd name="connsiteY191" fmla="*/ 71552 h 603999"/>
                  <a:gd name="connsiteX192" fmla="*/ 330791 w 787079"/>
                  <a:gd name="connsiteY192" fmla="*/ 68928 h 603999"/>
                  <a:gd name="connsiteX193" fmla="*/ 326315 w 787079"/>
                  <a:gd name="connsiteY193" fmla="*/ 62536 h 603999"/>
                  <a:gd name="connsiteX194" fmla="*/ 322545 w 787079"/>
                  <a:gd name="connsiteY194" fmla="*/ 56750 h 603999"/>
                  <a:gd name="connsiteX195" fmla="*/ 317901 w 787079"/>
                  <a:gd name="connsiteY195" fmla="*/ 52108 h 603999"/>
                  <a:gd name="connsiteX196" fmla="*/ 311675 w 787079"/>
                  <a:gd name="connsiteY196" fmla="*/ 45885 h 603999"/>
                  <a:gd name="connsiteX197" fmla="*/ 304843 w 787079"/>
                  <a:gd name="connsiteY197" fmla="*/ 44573 h 603999"/>
                  <a:gd name="connsiteX198" fmla="*/ 300939 w 787079"/>
                  <a:gd name="connsiteY198" fmla="*/ 42823 h 603999"/>
                  <a:gd name="connsiteX199" fmla="*/ 295420 w 787079"/>
                  <a:gd name="connsiteY199" fmla="*/ 41242 h 603999"/>
                  <a:gd name="connsiteX200" fmla="*/ 293838 w 787079"/>
                  <a:gd name="connsiteY200" fmla="*/ 42823 h 603999"/>
                  <a:gd name="connsiteX201" fmla="*/ 290809 w 787079"/>
                  <a:gd name="connsiteY201" fmla="*/ 44135 h 603999"/>
                  <a:gd name="connsiteX202" fmla="*/ 285155 w 787079"/>
                  <a:gd name="connsiteY202" fmla="*/ 44135 h 603999"/>
                  <a:gd name="connsiteX203" fmla="*/ 284280 w 787079"/>
                  <a:gd name="connsiteY203" fmla="*/ 42823 h 603999"/>
                  <a:gd name="connsiteX204" fmla="*/ 275597 w 787079"/>
                  <a:gd name="connsiteY204" fmla="*/ 42823 h 603999"/>
                  <a:gd name="connsiteX205" fmla="*/ 268227 w 787079"/>
                  <a:gd name="connsiteY205" fmla="*/ 42823 h 603999"/>
                  <a:gd name="connsiteX206" fmla="*/ 266342 w 787079"/>
                  <a:gd name="connsiteY206" fmla="*/ 43900 h 603999"/>
                  <a:gd name="connsiteX207" fmla="*/ 262270 w 787079"/>
                  <a:gd name="connsiteY207" fmla="*/ 44976 h 603999"/>
                  <a:gd name="connsiteX208" fmla="*/ 260688 w 787079"/>
                  <a:gd name="connsiteY208" fmla="*/ 45851 h 603999"/>
                  <a:gd name="connsiteX209" fmla="*/ 259982 w 787079"/>
                  <a:gd name="connsiteY209" fmla="*/ 47432 h 603999"/>
                  <a:gd name="connsiteX210" fmla="*/ 262136 w 787079"/>
                  <a:gd name="connsiteY210" fmla="*/ 49013 h 603999"/>
                  <a:gd name="connsiteX211" fmla="*/ 262573 w 787079"/>
                  <a:gd name="connsiteY211" fmla="*/ 54093 h 603999"/>
                  <a:gd name="connsiteX212" fmla="*/ 262573 w 787079"/>
                  <a:gd name="connsiteY212" fmla="*/ 56548 h 603999"/>
                  <a:gd name="connsiteX213" fmla="*/ 262573 w 787079"/>
                  <a:gd name="connsiteY213" fmla="*/ 59307 h 603999"/>
                  <a:gd name="connsiteX214" fmla="*/ 262573 w 787079"/>
                  <a:gd name="connsiteY214" fmla="*/ 61493 h 603999"/>
                  <a:gd name="connsiteX215" fmla="*/ 261866 w 787079"/>
                  <a:gd name="connsiteY215" fmla="*/ 64083 h 603999"/>
                  <a:gd name="connsiteX216" fmla="*/ 259982 w 787079"/>
                  <a:gd name="connsiteY216" fmla="*/ 65227 h 603999"/>
                  <a:gd name="connsiteX217" fmla="*/ 258972 w 787079"/>
                  <a:gd name="connsiteY217" fmla="*/ 67986 h 603999"/>
                  <a:gd name="connsiteX218" fmla="*/ 260116 w 787079"/>
                  <a:gd name="connsiteY218" fmla="*/ 69870 h 603999"/>
                  <a:gd name="connsiteX219" fmla="*/ 263886 w 787079"/>
                  <a:gd name="connsiteY219" fmla="*/ 72460 h 603999"/>
                  <a:gd name="connsiteX220" fmla="*/ 265333 w 787079"/>
                  <a:gd name="connsiteY220" fmla="*/ 75656 h 603999"/>
                  <a:gd name="connsiteX221" fmla="*/ 265198 w 787079"/>
                  <a:gd name="connsiteY221" fmla="*/ 77842 h 603999"/>
                  <a:gd name="connsiteX222" fmla="*/ 265064 w 787079"/>
                  <a:gd name="connsiteY222" fmla="*/ 79289 h 603999"/>
                  <a:gd name="connsiteX223" fmla="*/ 263919 w 787079"/>
                  <a:gd name="connsiteY223" fmla="*/ 80601 h 603999"/>
                  <a:gd name="connsiteX224" fmla="*/ 263482 w 787079"/>
                  <a:gd name="connsiteY224" fmla="*/ 82754 h 603999"/>
                  <a:gd name="connsiteX225" fmla="*/ 261159 w 787079"/>
                  <a:gd name="connsiteY225" fmla="*/ 82754 h 603999"/>
                  <a:gd name="connsiteX226" fmla="*/ 258400 w 787079"/>
                  <a:gd name="connsiteY226" fmla="*/ 83628 h 603999"/>
                  <a:gd name="connsiteX227" fmla="*/ 254496 w 787079"/>
                  <a:gd name="connsiteY227" fmla="*/ 85815 h 603999"/>
                  <a:gd name="connsiteX228" fmla="*/ 251467 w 787079"/>
                  <a:gd name="connsiteY228" fmla="*/ 87396 h 603999"/>
                  <a:gd name="connsiteX229" fmla="*/ 247832 w 787079"/>
                  <a:gd name="connsiteY229" fmla="*/ 91029 h 603999"/>
                  <a:gd name="connsiteX230" fmla="*/ 244635 w 787079"/>
                  <a:gd name="connsiteY230" fmla="*/ 94225 h 603999"/>
                  <a:gd name="connsiteX231" fmla="*/ 242751 w 787079"/>
                  <a:gd name="connsiteY231" fmla="*/ 97252 h 603999"/>
                  <a:gd name="connsiteX232" fmla="*/ 241606 w 787079"/>
                  <a:gd name="connsiteY232" fmla="*/ 100280 h 603999"/>
                  <a:gd name="connsiteX233" fmla="*/ 242178 w 787079"/>
                  <a:gd name="connsiteY233" fmla="*/ 103913 h 603999"/>
                  <a:gd name="connsiteX234" fmla="*/ 243491 w 787079"/>
                  <a:gd name="connsiteY234" fmla="*/ 106671 h 603999"/>
                  <a:gd name="connsiteX235" fmla="*/ 245376 w 787079"/>
                  <a:gd name="connsiteY235" fmla="*/ 109564 h 603999"/>
                  <a:gd name="connsiteX236" fmla="*/ 251164 w 787079"/>
                  <a:gd name="connsiteY236" fmla="*/ 114038 h 603999"/>
                  <a:gd name="connsiteX237" fmla="*/ 251736 w 787079"/>
                  <a:gd name="connsiteY237" fmla="*/ 119118 h 603999"/>
                  <a:gd name="connsiteX238" fmla="*/ 251433 w 787079"/>
                  <a:gd name="connsiteY238" fmla="*/ 124197 h 603999"/>
                  <a:gd name="connsiteX239" fmla="*/ 253621 w 787079"/>
                  <a:gd name="connsiteY239" fmla="*/ 130286 h 603999"/>
                  <a:gd name="connsiteX240" fmla="*/ 255506 w 787079"/>
                  <a:gd name="connsiteY240" fmla="*/ 135501 h 603999"/>
                  <a:gd name="connsiteX241" fmla="*/ 252611 w 787079"/>
                  <a:gd name="connsiteY241" fmla="*/ 141152 h 603999"/>
                  <a:gd name="connsiteX242" fmla="*/ 247092 w 787079"/>
                  <a:gd name="connsiteY242" fmla="*/ 143170 h 603999"/>
                  <a:gd name="connsiteX243" fmla="*/ 241303 w 787079"/>
                  <a:gd name="connsiteY243" fmla="*/ 144751 h 603999"/>
                  <a:gd name="connsiteX244" fmla="*/ 235649 w 787079"/>
                  <a:gd name="connsiteY244" fmla="*/ 149226 h 603999"/>
                  <a:gd name="connsiteX245" fmla="*/ 235212 w 787079"/>
                  <a:gd name="connsiteY245" fmla="*/ 154877 h 603999"/>
                  <a:gd name="connsiteX246" fmla="*/ 237803 w 787079"/>
                  <a:gd name="connsiteY246" fmla="*/ 163421 h 603999"/>
                  <a:gd name="connsiteX247" fmla="*/ 239116 w 787079"/>
                  <a:gd name="connsiteY247" fmla="*/ 167054 h 603999"/>
                  <a:gd name="connsiteX248" fmla="*/ 244770 w 787079"/>
                  <a:gd name="connsiteY248" fmla="*/ 174455 h 603999"/>
                  <a:gd name="connsiteX249" fmla="*/ 244635 w 787079"/>
                  <a:gd name="connsiteY249" fmla="*/ 178795 h 603999"/>
                  <a:gd name="connsiteX250" fmla="*/ 242010 w 787079"/>
                  <a:gd name="connsiteY250" fmla="*/ 180107 h 603999"/>
                  <a:gd name="connsiteX251" fmla="*/ 236221 w 787079"/>
                  <a:gd name="connsiteY251" fmla="*/ 182428 h 603999"/>
                  <a:gd name="connsiteX252" fmla="*/ 229120 w 787079"/>
                  <a:gd name="connsiteY252" fmla="*/ 187776 h 603999"/>
                  <a:gd name="connsiteX253" fmla="*/ 226226 w 787079"/>
                  <a:gd name="connsiteY253" fmla="*/ 186464 h 603999"/>
                  <a:gd name="connsiteX254" fmla="*/ 220707 w 787079"/>
                  <a:gd name="connsiteY254" fmla="*/ 186464 h 603999"/>
                  <a:gd name="connsiteX255" fmla="*/ 212899 w 787079"/>
                  <a:gd name="connsiteY255" fmla="*/ 191241 h 603999"/>
                  <a:gd name="connsiteX256" fmla="*/ 209399 w 787079"/>
                  <a:gd name="connsiteY256" fmla="*/ 198474 h 603999"/>
                  <a:gd name="connsiteX257" fmla="*/ 216062 w 787079"/>
                  <a:gd name="connsiteY257" fmla="*/ 203823 h 603999"/>
                  <a:gd name="connsiteX258" fmla="*/ 217947 w 787079"/>
                  <a:gd name="connsiteY258" fmla="*/ 207590 h 603999"/>
                  <a:gd name="connsiteX259" fmla="*/ 215625 w 787079"/>
                  <a:gd name="connsiteY259" fmla="*/ 212670 h 603999"/>
                  <a:gd name="connsiteX260" fmla="*/ 212159 w 787079"/>
                  <a:gd name="connsiteY260" fmla="*/ 215698 h 603999"/>
                  <a:gd name="connsiteX261" fmla="*/ 208389 w 787079"/>
                  <a:gd name="connsiteY261" fmla="*/ 216841 h 603999"/>
                  <a:gd name="connsiteX262" fmla="*/ 204048 w 787079"/>
                  <a:gd name="connsiteY262" fmla="*/ 217547 h 603999"/>
                  <a:gd name="connsiteX263" fmla="*/ 198091 w 787079"/>
                  <a:gd name="connsiteY263" fmla="*/ 221181 h 603999"/>
                  <a:gd name="connsiteX264" fmla="*/ 193749 w 787079"/>
                  <a:gd name="connsiteY264" fmla="*/ 226260 h 603999"/>
                  <a:gd name="connsiteX265" fmla="*/ 192740 w 787079"/>
                  <a:gd name="connsiteY265" fmla="*/ 227269 h 603999"/>
                  <a:gd name="connsiteX266" fmla="*/ 187826 w 787079"/>
                  <a:gd name="connsiteY266" fmla="*/ 229591 h 603999"/>
                  <a:gd name="connsiteX267" fmla="*/ 187826 w 787079"/>
                  <a:gd name="connsiteY267" fmla="*/ 234367 h 603999"/>
                  <a:gd name="connsiteX268" fmla="*/ 187557 w 787079"/>
                  <a:gd name="connsiteY268" fmla="*/ 238438 h 603999"/>
                  <a:gd name="connsiteX269" fmla="*/ 188264 w 787079"/>
                  <a:gd name="connsiteY269" fmla="*/ 246107 h 603999"/>
                  <a:gd name="connsiteX270" fmla="*/ 187254 w 787079"/>
                  <a:gd name="connsiteY270" fmla="*/ 248731 h 603999"/>
                  <a:gd name="connsiteX271" fmla="*/ 184360 w 787079"/>
                  <a:gd name="connsiteY271" fmla="*/ 252364 h 603999"/>
                  <a:gd name="connsiteX272" fmla="*/ 184360 w 787079"/>
                  <a:gd name="connsiteY272" fmla="*/ 255998 h 603999"/>
                  <a:gd name="connsiteX273" fmla="*/ 186817 w 787079"/>
                  <a:gd name="connsiteY273" fmla="*/ 259328 h 603999"/>
                  <a:gd name="connsiteX274" fmla="*/ 188398 w 787079"/>
                  <a:gd name="connsiteY274" fmla="*/ 262221 h 603999"/>
                  <a:gd name="connsiteX275" fmla="*/ 188836 w 787079"/>
                  <a:gd name="connsiteY275" fmla="*/ 269756 h 603999"/>
                  <a:gd name="connsiteX276" fmla="*/ 190418 w 787079"/>
                  <a:gd name="connsiteY276" fmla="*/ 274264 h 603999"/>
                  <a:gd name="connsiteX277" fmla="*/ 193043 w 787079"/>
                  <a:gd name="connsiteY277" fmla="*/ 278335 h 603999"/>
                  <a:gd name="connsiteX278" fmla="*/ 192302 w 787079"/>
                  <a:gd name="connsiteY278" fmla="*/ 287013 h 603999"/>
                  <a:gd name="connsiteX279" fmla="*/ 185504 w 787079"/>
                  <a:gd name="connsiteY279" fmla="*/ 293539 h 603999"/>
                  <a:gd name="connsiteX280" fmla="*/ 184629 w 787079"/>
                  <a:gd name="connsiteY280" fmla="*/ 299056 h 603999"/>
                  <a:gd name="connsiteX281" fmla="*/ 182172 w 787079"/>
                  <a:gd name="connsiteY281" fmla="*/ 302252 h 603999"/>
                  <a:gd name="connsiteX282" fmla="*/ 179850 w 787079"/>
                  <a:gd name="connsiteY282" fmla="*/ 304573 h 603999"/>
                  <a:gd name="connsiteX283" fmla="*/ 175509 w 787079"/>
                  <a:gd name="connsiteY283" fmla="*/ 307903 h 603999"/>
                  <a:gd name="connsiteX284" fmla="*/ 175071 w 787079"/>
                  <a:gd name="connsiteY284" fmla="*/ 310090 h 603999"/>
                  <a:gd name="connsiteX285" fmla="*/ 172009 w 787079"/>
                  <a:gd name="connsiteY285" fmla="*/ 312849 h 603999"/>
                  <a:gd name="connsiteX286" fmla="*/ 169989 w 787079"/>
                  <a:gd name="connsiteY286" fmla="*/ 314026 h 603999"/>
                  <a:gd name="connsiteX287" fmla="*/ 167532 w 787079"/>
                  <a:gd name="connsiteY287" fmla="*/ 314732 h 603999"/>
                  <a:gd name="connsiteX288" fmla="*/ 163023 w 787079"/>
                  <a:gd name="connsiteY288" fmla="*/ 316482 h 603999"/>
                  <a:gd name="connsiteX289" fmla="*/ 159994 w 787079"/>
                  <a:gd name="connsiteY289" fmla="*/ 318063 h 603999"/>
                  <a:gd name="connsiteX290" fmla="*/ 157672 w 787079"/>
                  <a:gd name="connsiteY290" fmla="*/ 318937 h 603999"/>
                  <a:gd name="connsiteX291" fmla="*/ 156662 w 787079"/>
                  <a:gd name="connsiteY291" fmla="*/ 321999 h 603999"/>
                  <a:gd name="connsiteX292" fmla="*/ 155215 w 787079"/>
                  <a:gd name="connsiteY292" fmla="*/ 323580 h 603999"/>
                  <a:gd name="connsiteX293" fmla="*/ 152893 w 787079"/>
                  <a:gd name="connsiteY293" fmla="*/ 326204 h 603999"/>
                  <a:gd name="connsiteX294" fmla="*/ 148820 w 787079"/>
                  <a:gd name="connsiteY294" fmla="*/ 327347 h 603999"/>
                  <a:gd name="connsiteX295" fmla="*/ 143604 w 787079"/>
                  <a:gd name="connsiteY295" fmla="*/ 328222 h 603999"/>
                  <a:gd name="connsiteX296" fmla="*/ 139700 w 787079"/>
                  <a:gd name="connsiteY296" fmla="*/ 331115 h 603999"/>
                  <a:gd name="connsiteX297" fmla="*/ 133609 w 787079"/>
                  <a:gd name="connsiteY297" fmla="*/ 332730 h 603999"/>
                  <a:gd name="connsiteX298" fmla="*/ 127652 w 787079"/>
                  <a:gd name="connsiteY298" fmla="*/ 334748 h 603999"/>
                  <a:gd name="connsiteX299" fmla="*/ 123883 w 787079"/>
                  <a:gd name="connsiteY299" fmla="*/ 339390 h 603999"/>
                  <a:gd name="connsiteX300" fmla="*/ 120988 w 787079"/>
                  <a:gd name="connsiteY300" fmla="*/ 347060 h 603999"/>
                  <a:gd name="connsiteX301" fmla="*/ 118969 w 787079"/>
                  <a:gd name="connsiteY301" fmla="*/ 348809 h 603999"/>
                  <a:gd name="connsiteX302" fmla="*/ 118834 w 787079"/>
                  <a:gd name="connsiteY302" fmla="*/ 352846 h 603999"/>
                  <a:gd name="connsiteX303" fmla="*/ 122469 w 787079"/>
                  <a:gd name="connsiteY303" fmla="*/ 359944 h 603999"/>
                  <a:gd name="connsiteX304" fmla="*/ 123916 w 787079"/>
                  <a:gd name="connsiteY304" fmla="*/ 364587 h 603999"/>
                  <a:gd name="connsiteX305" fmla="*/ 122604 w 787079"/>
                  <a:gd name="connsiteY305" fmla="*/ 367042 h 603999"/>
                  <a:gd name="connsiteX306" fmla="*/ 119575 w 787079"/>
                  <a:gd name="connsiteY306" fmla="*/ 366470 h 603999"/>
                  <a:gd name="connsiteX307" fmla="*/ 114796 w 787079"/>
                  <a:gd name="connsiteY307" fmla="*/ 365024 h 603999"/>
                  <a:gd name="connsiteX308" fmla="*/ 111464 w 787079"/>
                  <a:gd name="connsiteY308" fmla="*/ 365024 h 603999"/>
                  <a:gd name="connsiteX309" fmla="*/ 108704 w 787079"/>
                  <a:gd name="connsiteY309" fmla="*/ 367210 h 603999"/>
                  <a:gd name="connsiteX310" fmla="*/ 108839 w 787079"/>
                  <a:gd name="connsiteY310" fmla="*/ 371685 h 603999"/>
                  <a:gd name="connsiteX311" fmla="*/ 115065 w 787079"/>
                  <a:gd name="connsiteY311" fmla="*/ 375755 h 603999"/>
                  <a:gd name="connsiteX312" fmla="*/ 111430 w 787079"/>
                  <a:gd name="connsiteY312" fmla="*/ 377638 h 603999"/>
                  <a:gd name="connsiteX313" fmla="*/ 107089 w 787079"/>
                  <a:gd name="connsiteY313" fmla="*/ 379388 h 603999"/>
                  <a:gd name="connsiteX314" fmla="*/ 99416 w 787079"/>
                  <a:gd name="connsiteY314" fmla="*/ 382146 h 603999"/>
                  <a:gd name="connsiteX315" fmla="*/ 97262 w 787079"/>
                  <a:gd name="connsiteY315" fmla="*/ 385342 h 603999"/>
                  <a:gd name="connsiteX316" fmla="*/ 90733 w 787079"/>
                  <a:gd name="connsiteY316" fmla="*/ 384030 h 603999"/>
                  <a:gd name="connsiteX317" fmla="*/ 84944 w 787079"/>
                  <a:gd name="connsiteY317" fmla="*/ 379825 h 603999"/>
                  <a:gd name="connsiteX318" fmla="*/ 78718 w 787079"/>
                  <a:gd name="connsiteY318" fmla="*/ 379522 h 603999"/>
                  <a:gd name="connsiteX319" fmla="*/ 75386 w 787079"/>
                  <a:gd name="connsiteY319" fmla="*/ 381709 h 603999"/>
                  <a:gd name="connsiteX320" fmla="*/ 75521 w 787079"/>
                  <a:gd name="connsiteY320" fmla="*/ 387495 h 603999"/>
                  <a:gd name="connsiteX321" fmla="*/ 79290 w 787079"/>
                  <a:gd name="connsiteY321" fmla="*/ 394593 h 603999"/>
                  <a:gd name="connsiteX322" fmla="*/ 85516 w 787079"/>
                  <a:gd name="connsiteY322" fmla="*/ 401691 h 603999"/>
                  <a:gd name="connsiteX323" fmla="*/ 84944 w 787079"/>
                  <a:gd name="connsiteY323" fmla="*/ 407780 h 603999"/>
                  <a:gd name="connsiteX324" fmla="*/ 79593 w 787079"/>
                  <a:gd name="connsiteY324" fmla="*/ 410235 h 603999"/>
                  <a:gd name="connsiteX325" fmla="*/ 72054 w 787079"/>
                  <a:gd name="connsiteY325" fmla="*/ 409663 h 603999"/>
                  <a:gd name="connsiteX326" fmla="*/ 64651 w 787079"/>
                  <a:gd name="connsiteY326" fmla="*/ 410807 h 603999"/>
                  <a:gd name="connsiteX327" fmla="*/ 57246 w 787079"/>
                  <a:gd name="connsiteY327" fmla="*/ 412119 h 603999"/>
                  <a:gd name="connsiteX328" fmla="*/ 50145 w 787079"/>
                  <a:gd name="connsiteY328" fmla="*/ 413431 h 603999"/>
                  <a:gd name="connsiteX329" fmla="*/ 44626 w 787079"/>
                  <a:gd name="connsiteY329" fmla="*/ 413566 h 603999"/>
                  <a:gd name="connsiteX330" fmla="*/ 38400 w 787079"/>
                  <a:gd name="connsiteY330" fmla="*/ 415012 h 603999"/>
                  <a:gd name="connsiteX331" fmla="*/ 34058 w 787079"/>
                  <a:gd name="connsiteY331" fmla="*/ 417636 h 603999"/>
                  <a:gd name="connsiteX332" fmla="*/ 31029 w 787079"/>
                  <a:gd name="connsiteY332" fmla="*/ 422985 h 603999"/>
                  <a:gd name="connsiteX333" fmla="*/ 34058 w 787079"/>
                  <a:gd name="connsiteY333" fmla="*/ 426887 h 603999"/>
                  <a:gd name="connsiteX334" fmla="*/ 35203 w 787079"/>
                  <a:gd name="connsiteY334" fmla="*/ 432404 h 603999"/>
                  <a:gd name="connsiteX335" fmla="*/ 31871 w 787079"/>
                  <a:gd name="connsiteY335" fmla="*/ 439199 h 603999"/>
                  <a:gd name="connsiteX336" fmla="*/ 23457 w 787079"/>
                  <a:gd name="connsiteY336" fmla="*/ 440948 h 603999"/>
                  <a:gd name="connsiteX337" fmla="*/ 17097 w 787079"/>
                  <a:gd name="connsiteY337" fmla="*/ 440948 h 603999"/>
                  <a:gd name="connsiteX338" fmla="*/ 12890 w 787079"/>
                  <a:gd name="connsiteY338" fmla="*/ 443034 h 603999"/>
                  <a:gd name="connsiteX339" fmla="*/ 9995 w 787079"/>
                  <a:gd name="connsiteY339" fmla="*/ 446734 h 603999"/>
                  <a:gd name="connsiteX340" fmla="*/ 7539 w 787079"/>
                  <a:gd name="connsiteY340" fmla="*/ 451377 h 603999"/>
                  <a:gd name="connsiteX341" fmla="*/ 5957 w 787079"/>
                  <a:gd name="connsiteY341" fmla="*/ 454270 h 603999"/>
                  <a:gd name="connsiteX342" fmla="*/ 4947 w 787079"/>
                  <a:gd name="connsiteY342" fmla="*/ 457163 h 603999"/>
                  <a:gd name="connsiteX343" fmla="*/ 7404 w 787079"/>
                  <a:gd name="connsiteY343" fmla="*/ 460055 h 603999"/>
                  <a:gd name="connsiteX344" fmla="*/ 11308 w 787079"/>
                  <a:gd name="connsiteY344" fmla="*/ 461805 h 603999"/>
                  <a:gd name="connsiteX345" fmla="*/ 13933 w 787079"/>
                  <a:gd name="connsiteY345" fmla="*/ 461805 h 603999"/>
                  <a:gd name="connsiteX346" fmla="*/ 20462 w 787079"/>
                  <a:gd name="connsiteY346" fmla="*/ 463554 h 603999"/>
                  <a:gd name="connsiteX347" fmla="*/ 23928 w 787079"/>
                  <a:gd name="connsiteY347" fmla="*/ 464563 h 603999"/>
                  <a:gd name="connsiteX348" fmla="*/ 25813 w 787079"/>
                  <a:gd name="connsiteY348" fmla="*/ 468634 h 603999"/>
                  <a:gd name="connsiteX349" fmla="*/ 28001 w 787079"/>
                  <a:gd name="connsiteY349" fmla="*/ 470955 h 603999"/>
                  <a:gd name="connsiteX350" fmla="*/ 27429 w 787079"/>
                  <a:gd name="connsiteY350" fmla="*/ 474151 h 603999"/>
                  <a:gd name="connsiteX351" fmla="*/ 23222 w 787079"/>
                  <a:gd name="connsiteY351" fmla="*/ 475732 h 603999"/>
                  <a:gd name="connsiteX352" fmla="*/ 20630 w 787079"/>
                  <a:gd name="connsiteY352" fmla="*/ 476875 h 603999"/>
                  <a:gd name="connsiteX353" fmla="*/ 15111 w 787079"/>
                  <a:gd name="connsiteY353" fmla="*/ 479062 h 603999"/>
                  <a:gd name="connsiteX354" fmla="*/ 11039 w 787079"/>
                  <a:gd name="connsiteY354" fmla="*/ 482392 h 603999"/>
                  <a:gd name="connsiteX355" fmla="*/ 7842 w 787079"/>
                  <a:gd name="connsiteY355" fmla="*/ 485588 h 603999"/>
                  <a:gd name="connsiteX356" fmla="*/ 6394 w 787079"/>
                  <a:gd name="connsiteY356" fmla="*/ 491239 h 603999"/>
                  <a:gd name="connsiteX357" fmla="*/ 4072 w 787079"/>
                  <a:gd name="connsiteY357" fmla="*/ 497026 h 603999"/>
                  <a:gd name="connsiteX358" fmla="*/ 2760 w 787079"/>
                  <a:gd name="connsiteY358" fmla="*/ 503417 h 603999"/>
                  <a:gd name="connsiteX359" fmla="*/ 1885 w 787079"/>
                  <a:gd name="connsiteY359" fmla="*/ 509943 h 603999"/>
                  <a:gd name="connsiteX360" fmla="*/ 2019 w 787079"/>
                  <a:gd name="connsiteY360" fmla="*/ 516167 h 603999"/>
                  <a:gd name="connsiteX361" fmla="*/ 0 w 787079"/>
                  <a:gd name="connsiteY361" fmla="*/ 525283 h 603999"/>
                  <a:gd name="connsiteX362" fmla="*/ 0 w 787079"/>
                  <a:gd name="connsiteY362" fmla="*/ 530800 h 603999"/>
                  <a:gd name="connsiteX363" fmla="*/ 1649 w 787079"/>
                  <a:gd name="connsiteY363" fmla="*/ 535879 h 603999"/>
                  <a:gd name="connsiteX364" fmla="*/ 4476 w 787079"/>
                  <a:gd name="connsiteY364" fmla="*/ 538772 h 603999"/>
                  <a:gd name="connsiteX365" fmla="*/ 7101 w 787079"/>
                  <a:gd name="connsiteY365" fmla="*/ 543247 h 603999"/>
                  <a:gd name="connsiteX366" fmla="*/ 8111 w 787079"/>
                  <a:gd name="connsiteY366" fmla="*/ 548764 h 603999"/>
                  <a:gd name="connsiteX367" fmla="*/ 12149 w 787079"/>
                  <a:gd name="connsiteY367" fmla="*/ 549033 h 603999"/>
                  <a:gd name="connsiteX368" fmla="*/ 17500 w 787079"/>
                  <a:gd name="connsiteY368" fmla="*/ 550042 h 603999"/>
                  <a:gd name="connsiteX369" fmla="*/ 18241 w 787079"/>
                  <a:gd name="connsiteY369" fmla="*/ 552800 h 603999"/>
                  <a:gd name="connsiteX370" fmla="*/ 14606 w 787079"/>
                  <a:gd name="connsiteY370" fmla="*/ 553675 h 603999"/>
                  <a:gd name="connsiteX371" fmla="*/ 11577 w 787079"/>
                  <a:gd name="connsiteY371" fmla="*/ 555693 h 603999"/>
                  <a:gd name="connsiteX372" fmla="*/ 8683 w 787079"/>
                  <a:gd name="connsiteY372" fmla="*/ 558149 h 603999"/>
                  <a:gd name="connsiteX373" fmla="*/ 8111 w 787079"/>
                  <a:gd name="connsiteY373" fmla="*/ 560167 h 603999"/>
                  <a:gd name="connsiteX374" fmla="*/ 12149 w 787079"/>
                  <a:gd name="connsiteY374" fmla="*/ 562926 h 603999"/>
                  <a:gd name="connsiteX375" fmla="*/ 14034 w 787079"/>
                  <a:gd name="connsiteY375" fmla="*/ 568005 h 603999"/>
                  <a:gd name="connsiteX376" fmla="*/ 16625 w 787079"/>
                  <a:gd name="connsiteY376" fmla="*/ 572782 h 603999"/>
                  <a:gd name="connsiteX377" fmla="*/ 17366 w 787079"/>
                  <a:gd name="connsiteY377" fmla="*/ 574363 h 603999"/>
                  <a:gd name="connsiteX378" fmla="*/ 20428 w 787079"/>
                  <a:gd name="connsiteY378" fmla="*/ 576819 h 603999"/>
                  <a:gd name="connsiteX379" fmla="*/ 23188 w 787079"/>
                  <a:gd name="connsiteY379" fmla="*/ 578568 h 603999"/>
                  <a:gd name="connsiteX380" fmla="*/ 24500 w 787079"/>
                  <a:gd name="connsiteY380" fmla="*/ 578434 h 603999"/>
                  <a:gd name="connsiteX381" fmla="*/ 26654 w 787079"/>
                  <a:gd name="connsiteY381" fmla="*/ 575978 h 603999"/>
                  <a:gd name="connsiteX382" fmla="*/ 28404 w 787079"/>
                  <a:gd name="connsiteY382" fmla="*/ 573960 h 603999"/>
                  <a:gd name="connsiteX383" fmla="*/ 31029 w 787079"/>
                  <a:gd name="connsiteY383" fmla="*/ 577155 h 603999"/>
                  <a:gd name="connsiteX384" fmla="*/ 33924 w 787079"/>
                  <a:gd name="connsiteY384" fmla="*/ 579611 h 603999"/>
                  <a:gd name="connsiteX385" fmla="*/ 34664 w 787079"/>
                  <a:gd name="connsiteY385" fmla="*/ 580620 h 603999"/>
                  <a:gd name="connsiteX386" fmla="*/ 37558 w 787079"/>
                  <a:gd name="connsiteY386" fmla="*/ 583379 h 603999"/>
                  <a:gd name="connsiteX387" fmla="*/ 37693 w 787079"/>
                  <a:gd name="connsiteY387" fmla="*/ 585700 h 603999"/>
                  <a:gd name="connsiteX388" fmla="*/ 37121 w 787079"/>
                  <a:gd name="connsiteY388" fmla="*/ 587752 h 603999"/>
                  <a:gd name="connsiteX389" fmla="*/ 34092 w 787079"/>
                  <a:gd name="connsiteY389" fmla="*/ 589333 h 603999"/>
                  <a:gd name="connsiteX390" fmla="*/ 31904 w 787079"/>
                  <a:gd name="connsiteY390" fmla="*/ 588593 h 603999"/>
                  <a:gd name="connsiteX391" fmla="*/ 29145 w 787079"/>
                  <a:gd name="connsiteY391" fmla="*/ 586271 h 603999"/>
                  <a:gd name="connsiteX392" fmla="*/ 25510 w 787079"/>
                  <a:gd name="connsiteY392" fmla="*/ 586137 h 603999"/>
                  <a:gd name="connsiteX393" fmla="*/ 24063 w 787079"/>
                  <a:gd name="connsiteY393" fmla="*/ 587012 h 603999"/>
                  <a:gd name="connsiteX394" fmla="*/ 22616 w 787079"/>
                  <a:gd name="connsiteY394" fmla="*/ 589635 h 603999"/>
                  <a:gd name="connsiteX395" fmla="*/ 22616 w 787079"/>
                  <a:gd name="connsiteY395" fmla="*/ 592663 h 603999"/>
                  <a:gd name="connsiteX396" fmla="*/ 23154 w 787079"/>
                  <a:gd name="connsiteY396" fmla="*/ 600468 h 603999"/>
                  <a:gd name="connsiteX397" fmla="*/ 23491 w 787079"/>
                  <a:gd name="connsiteY397" fmla="*/ 602351 h 603999"/>
                  <a:gd name="connsiteX398" fmla="*/ 27126 w 787079"/>
                  <a:gd name="connsiteY398" fmla="*/ 603966 h 603999"/>
                  <a:gd name="connsiteX399" fmla="*/ 29313 w 787079"/>
                  <a:gd name="connsiteY399" fmla="*/ 603226 h 603999"/>
                  <a:gd name="connsiteX400" fmla="*/ 33217 w 787079"/>
                  <a:gd name="connsiteY400" fmla="*/ 599761 h 603999"/>
                  <a:gd name="connsiteX401" fmla="*/ 39174 w 787079"/>
                  <a:gd name="connsiteY401" fmla="*/ 599189 h 603999"/>
                  <a:gd name="connsiteX402" fmla="*/ 42943 w 787079"/>
                  <a:gd name="connsiteY402" fmla="*/ 599189 h 603999"/>
                  <a:gd name="connsiteX403" fmla="*/ 45972 w 787079"/>
                  <a:gd name="connsiteY403" fmla="*/ 600501 h 603999"/>
                  <a:gd name="connsiteX404" fmla="*/ 46713 w 787079"/>
                  <a:gd name="connsiteY404" fmla="*/ 601073 h 603999"/>
                  <a:gd name="connsiteX405" fmla="*/ 51054 w 787079"/>
                  <a:gd name="connsiteY405" fmla="*/ 603832 h 603999"/>
                  <a:gd name="connsiteX406" fmla="*/ 54520 w 787079"/>
                  <a:gd name="connsiteY406" fmla="*/ 603832 h 603999"/>
                  <a:gd name="connsiteX407" fmla="*/ 58020 w 787079"/>
                  <a:gd name="connsiteY407" fmla="*/ 601645 h 603999"/>
                  <a:gd name="connsiteX408" fmla="*/ 62497 w 787079"/>
                  <a:gd name="connsiteY408" fmla="*/ 600064 h 603999"/>
                  <a:gd name="connsiteX409" fmla="*/ 69463 w 787079"/>
                  <a:gd name="connsiteY409" fmla="*/ 598752 h 603999"/>
                  <a:gd name="connsiteX410" fmla="*/ 74680 w 787079"/>
                  <a:gd name="connsiteY410" fmla="*/ 597440 h 603999"/>
                  <a:gd name="connsiteX411" fmla="*/ 78449 w 787079"/>
                  <a:gd name="connsiteY411" fmla="*/ 594412 h 603999"/>
                  <a:gd name="connsiteX412" fmla="*/ 83531 w 787079"/>
                  <a:gd name="connsiteY412" fmla="*/ 592528 h 603999"/>
                  <a:gd name="connsiteX413" fmla="*/ 87165 w 787079"/>
                  <a:gd name="connsiteY413" fmla="*/ 587886 h 603999"/>
                  <a:gd name="connsiteX414" fmla="*/ 89622 w 787079"/>
                  <a:gd name="connsiteY414" fmla="*/ 581966 h 603999"/>
                  <a:gd name="connsiteX415" fmla="*/ 90935 w 787079"/>
                  <a:gd name="connsiteY415" fmla="*/ 577761 h 603999"/>
                  <a:gd name="connsiteX416" fmla="*/ 93391 w 787079"/>
                  <a:gd name="connsiteY416" fmla="*/ 572109 h 603999"/>
                  <a:gd name="connsiteX417" fmla="*/ 91069 w 787079"/>
                  <a:gd name="connsiteY417" fmla="*/ 568342 h 603999"/>
                  <a:gd name="connsiteX418" fmla="*/ 87738 w 787079"/>
                  <a:gd name="connsiteY418" fmla="*/ 563868 h 603999"/>
                  <a:gd name="connsiteX419" fmla="*/ 86156 w 787079"/>
                  <a:gd name="connsiteY419" fmla="*/ 559393 h 603999"/>
                  <a:gd name="connsiteX420" fmla="*/ 84406 w 787079"/>
                  <a:gd name="connsiteY420" fmla="*/ 557947 h 603999"/>
                  <a:gd name="connsiteX421" fmla="*/ 81074 w 787079"/>
                  <a:gd name="connsiteY421" fmla="*/ 559393 h 603999"/>
                  <a:gd name="connsiteX422" fmla="*/ 79189 w 787079"/>
                  <a:gd name="connsiteY422" fmla="*/ 556938 h 603999"/>
                  <a:gd name="connsiteX423" fmla="*/ 77742 w 787079"/>
                  <a:gd name="connsiteY423" fmla="*/ 554347 h 603999"/>
                  <a:gd name="connsiteX424" fmla="*/ 76867 w 787079"/>
                  <a:gd name="connsiteY424" fmla="*/ 554617 h 603999"/>
                  <a:gd name="connsiteX425" fmla="*/ 73973 w 787079"/>
                  <a:gd name="connsiteY425" fmla="*/ 555760 h 603999"/>
                  <a:gd name="connsiteX426" fmla="*/ 71078 w 787079"/>
                  <a:gd name="connsiteY426" fmla="*/ 555760 h 603999"/>
                  <a:gd name="connsiteX427" fmla="*/ 70069 w 787079"/>
                  <a:gd name="connsiteY427" fmla="*/ 552935 h 603999"/>
                  <a:gd name="connsiteX428" fmla="*/ 69328 w 787079"/>
                  <a:gd name="connsiteY428" fmla="*/ 550681 h 603999"/>
                  <a:gd name="connsiteX429" fmla="*/ 70473 w 787079"/>
                  <a:gd name="connsiteY429" fmla="*/ 547048 h 603999"/>
                  <a:gd name="connsiteX430" fmla="*/ 72223 w 787079"/>
                  <a:gd name="connsiteY430" fmla="*/ 547048 h 603999"/>
                  <a:gd name="connsiteX431" fmla="*/ 75992 w 787079"/>
                  <a:gd name="connsiteY431" fmla="*/ 547048 h 603999"/>
                  <a:gd name="connsiteX432" fmla="*/ 77574 w 787079"/>
                  <a:gd name="connsiteY432" fmla="*/ 545736 h 603999"/>
                  <a:gd name="connsiteX433" fmla="*/ 77002 w 787079"/>
                  <a:gd name="connsiteY433" fmla="*/ 543549 h 603999"/>
                  <a:gd name="connsiteX434" fmla="*/ 76564 w 787079"/>
                  <a:gd name="connsiteY434" fmla="*/ 540084 h 603999"/>
                  <a:gd name="connsiteX435" fmla="*/ 74982 w 787079"/>
                  <a:gd name="connsiteY435" fmla="*/ 538201 h 603999"/>
                  <a:gd name="connsiteX436" fmla="*/ 72660 w 787079"/>
                  <a:gd name="connsiteY436" fmla="*/ 535005 h 603999"/>
                  <a:gd name="connsiteX437" fmla="*/ 71482 w 787079"/>
                  <a:gd name="connsiteY437" fmla="*/ 534197 h 603999"/>
                  <a:gd name="connsiteX438" fmla="*/ 67578 w 787079"/>
                  <a:gd name="connsiteY438" fmla="*/ 534130 h 603999"/>
                  <a:gd name="connsiteX439" fmla="*/ 63102 w 787079"/>
                  <a:gd name="connsiteY439" fmla="*/ 534130 h 603999"/>
                  <a:gd name="connsiteX440" fmla="*/ 59905 w 787079"/>
                  <a:gd name="connsiteY440" fmla="*/ 531506 h 603999"/>
                  <a:gd name="connsiteX441" fmla="*/ 56439 w 787079"/>
                  <a:gd name="connsiteY441" fmla="*/ 528613 h 603999"/>
                  <a:gd name="connsiteX442" fmla="*/ 53847 w 787079"/>
                  <a:gd name="connsiteY442" fmla="*/ 525417 h 603999"/>
                  <a:gd name="connsiteX443" fmla="*/ 52838 w 787079"/>
                  <a:gd name="connsiteY443" fmla="*/ 522659 h 603999"/>
                  <a:gd name="connsiteX444" fmla="*/ 52265 w 787079"/>
                  <a:gd name="connsiteY444" fmla="*/ 521785 h 603999"/>
                  <a:gd name="connsiteX445" fmla="*/ 52265 w 787079"/>
                  <a:gd name="connsiteY445" fmla="*/ 518892 h 603999"/>
                  <a:gd name="connsiteX446" fmla="*/ 52703 w 787079"/>
                  <a:gd name="connsiteY446" fmla="*/ 517008 h 603999"/>
                  <a:gd name="connsiteX447" fmla="*/ 55025 w 787079"/>
                  <a:gd name="connsiteY447" fmla="*/ 514115 h 603999"/>
                  <a:gd name="connsiteX448" fmla="*/ 58054 w 787079"/>
                  <a:gd name="connsiteY448" fmla="*/ 511356 h 603999"/>
                  <a:gd name="connsiteX449" fmla="*/ 61958 w 787079"/>
                  <a:gd name="connsiteY449" fmla="*/ 509910 h 603999"/>
                  <a:gd name="connsiteX450" fmla="*/ 68487 w 787079"/>
                  <a:gd name="connsiteY450" fmla="*/ 508329 h 603999"/>
                  <a:gd name="connsiteX451" fmla="*/ 68622 w 787079"/>
                  <a:gd name="connsiteY451" fmla="*/ 511524 h 603999"/>
                  <a:gd name="connsiteX452" fmla="*/ 64852 w 787079"/>
                  <a:gd name="connsiteY452" fmla="*/ 515595 h 603999"/>
                  <a:gd name="connsiteX453" fmla="*/ 67006 w 787079"/>
                  <a:gd name="connsiteY453" fmla="*/ 517479 h 603999"/>
                  <a:gd name="connsiteX454" fmla="*/ 71785 w 787079"/>
                  <a:gd name="connsiteY454" fmla="*/ 517479 h 603999"/>
                  <a:gd name="connsiteX455" fmla="*/ 74545 w 787079"/>
                  <a:gd name="connsiteY455" fmla="*/ 516335 h 603999"/>
                  <a:gd name="connsiteX456" fmla="*/ 77742 w 787079"/>
                  <a:gd name="connsiteY456" fmla="*/ 515460 h 603999"/>
                  <a:gd name="connsiteX457" fmla="*/ 82252 w 787079"/>
                  <a:gd name="connsiteY457" fmla="*/ 518051 h 603999"/>
                  <a:gd name="connsiteX458" fmla="*/ 85718 w 787079"/>
                  <a:gd name="connsiteY458" fmla="*/ 520944 h 603999"/>
                  <a:gd name="connsiteX459" fmla="*/ 91372 w 787079"/>
                  <a:gd name="connsiteY459" fmla="*/ 522659 h 603999"/>
                  <a:gd name="connsiteX460" fmla="*/ 95714 w 787079"/>
                  <a:gd name="connsiteY460" fmla="*/ 522659 h 603999"/>
                  <a:gd name="connsiteX461" fmla="*/ 96016 w 787079"/>
                  <a:gd name="connsiteY461" fmla="*/ 519463 h 603999"/>
                  <a:gd name="connsiteX462" fmla="*/ 96891 w 787079"/>
                  <a:gd name="connsiteY462" fmla="*/ 516570 h 603999"/>
                  <a:gd name="connsiteX463" fmla="*/ 97026 w 787079"/>
                  <a:gd name="connsiteY463" fmla="*/ 513946 h 603999"/>
                  <a:gd name="connsiteX464" fmla="*/ 96319 w 787079"/>
                  <a:gd name="connsiteY464" fmla="*/ 511928 h 603999"/>
                  <a:gd name="connsiteX465" fmla="*/ 94267 w 787079"/>
                  <a:gd name="connsiteY465" fmla="*/ 510179 h 603999"/>
                  <a:gd name="connsiteX466" fmla="*/ 91675 w 787079"/>
                  <a:gd name="connsiteY466" fmla="*/ 508295 h 603999"/>
                  <a:gd name="connsiteX467" fmla="*/ 89050 w 787079"/>
                  <a:gd name="connsiteY467" fmla="*/ 507151 h 603999"/>
                  <a:gd name="connsiteX468" fmla="*/ 85415 w 787079"/>
                  <a:gd name="connsiteY468" fmla="*/ 504527 h 603999"/>
                  <a:gd name="connsiteX469" fmla="*/ 83396 w 787079"/>
                  <a:gd name="connsiteY469" fmla="*/ 503383 h 603999"/>
                  <a:gd name="connsiteX470" fmla="*/ 79761 w 787079"/>
                  <a:gd name="connsiteY470" fmla="*/ 502206 h 603999"/>
                  <a:gd name="connsiteX471" fmla="*/ 80636 w 787079"/>
                  <a:gd name="connsiteY471" fmla="*/ 500760 h 603999"/>
                  <a:gd name="connsiteX472" fmla="*/ 81713 w 787079"/>
                  <a:gd name="connsiteY472" fmla="*/ 499448 h 603999"/>
                  <a:gd name="connsiteX473" fmla="*/ 81814 w 787079"/>
                  <a:gd name="connsiteY473" fmla="*/ 495680 h 603999"/>
                  <a:gd name="connsiteX474" fmla="*/ 81814 w 787079"/>
                  <a:gd name="connsiteY474" fmla="*/ 490331 h 603999"/>
                  <a:gd name="connsiteX475" fmla="*/ 81882 w 787079"/>
                  <a:gd name="connsiteY475" fmla="*/ 486698 h 603999"/>
                  <a:gd name="connsiteX476" fmla="*/ 81814 w 787079"/>
                  <a:gd name="connsiteY476" fmla="*/ 481787 h 603999"/>
                  <a:gd name="connsiteX477" fmla="*/ 81814 w 787079"/>
                  <a:gd name="connsiteY477" fmla="*/ 478322 h 603999"/>
                  <a:gd name="connsiteX478" fmla="*/ 84002 w 787079"/>
                  <a:gd name="connsiteY478" fmla="*/ 478457 h 603999"/>
                  <a:gd name="connsiteX479" fmla="*/ 87636 w 787079"/>
                  <a:gd name="connsiteY479" fmla="*/ 482090 h 603999"/>
                  <a:gd name="connsiteX480" fmla="*/ 89959 w 787079"/>
                  <a:gd name="connsiteY480" fmla="*/ 486295 h 603999"/>
                  <a:gd name="connsiteX481" fmla="*/ 89084 w 787079"/>
                  <a:gd name="connsiteY481" fmla="*/ 491643 h 603999"/>
                  <a:gd name="connsiteX482" fmla="*/ 89084 w 787079"/>
                  <a:gd name="connsiteY482" fmla="*/ 495108 h 603999"/>
                  <a:gd name="connsiteX483" fmla="*/ 91271 w 787079"/>
                  <a:gd name="connsiteY483" fmla="*/ 497295 h 603999"/>
                  <a:gd name="connsiteX484" fmla="*/ 94738 w 787079"/>
                  <a:gd name="connsiteY484" fmla="*/ 503653 h 603999"/>
                  <a:gd name="connsiteX485" fmla="*/ 98945 w 787079"/>
                  <a:gd name="connsiteY485" fmla="*/ 505099 h 603999"/>
                  <a:gd name="connsiteX486" fmla="*/ 101267 w 787079"/>
                  <a:gd name="connsiteY486" fmla="*/ 504224 h 603999"/>
                  <a:gd name="connsiteX487" fmla="*/ 102848 w 787079"/>
                  <a:gd name="connsiteY487" fmla="*/ 502475 h 603999"/>
                  <a:gd name="connsiteX488" fmla="*/ 104430 w 787079"/>
                  <a:gd name="connsiteY488" fmla="*/ 500894 h 603999"/>
                  <a:gd name="connsiteX489" fmla="*/ 104430 w 787079"/>
                  <a:gd name="connsiteY489" fmla="*/ 497429 h 603999"/>
                  <a:gd name="connsiteX490" fmla="*/ 104430 w 787079"/>
                  <a:gd name="connsiteY490" fmla="*/ 492215 h 603999"/>
                  <a:gd name="connsiteX491" fmla="*/ 104430 w 787079"/>
                  <a:gd name="connsiteY491" fmla="*/ 488750 h 603999"/>
                  <a:gd name="connsiteX492" fmla="*/ 104430 w 787079"/>
                  <a:gd name="connsiteY492" fmla="*/ 482662 h 603999"/>
                  <a:gd name="connsiteX493" fmla="*/ 107325 w 787079"/>
                  <a:gd name="connsiteY493" fmla="*/ 480206 h 603999"/>
                  <a:gd name="connsiteX494" fmla="*/ 108772 w 787079"/>
                  <a:gd name="connsiteY494" fmla="*/ 482662 h 603999"/>
                  <a:gd name="connsiteX495" fmla="*/ 113719 w 787079"/>
                  <a:gd name="connsiteY495" fmla="*/ 482662 h 603999"/>
                  <a:gd name="connsiteX496" fmla="*/ 115603 w 787079"/>
                  <a:gd name="connsiteY496" fmla="*/ 479634 h 603999"/>
                  <a:gd name="connsiteX497" fmla="*/ 116478 w 787079"/>
                  <a:gd name="connsiteY497" fmla="*/ 476741 h 603999"/>
                  <a:gd name="connsiteX498" fmla="*/ 118060 w 787079"/>
                  <a:gd name="connsiteY498" fmla="*/ 471964 h 603999"/>
                  <a:gd name="connsiteX499" fmla="*/ 124589 w 787079"/>
                  <a:gd name="connsiteY499" fmla="*/ 468499 h 603999"/>
                  <a:gd name="connsiteX500" fmla="*/ 133138 w 787079"/>
                  <a:gd name="connsiteY500" fmla="*/ 468768 h 603999"/>
                  <a:gd name="connsiteX501" fmla="*/ 139094 w 787079"/>
                  <a:gd name="connsiteY501" fmla="*/ 468768 h 603999"/>
                  <a:gd name="connsiteX502" fmla="*/ 144883 w 787079"/>
                  <a:gd name="connsiteY502" fmla="*/ 469273 h 603999"/>
                  <a:gd name="connsiteX503" fmla="*/ 149224 w 787079"/>
                  <a:gd name="connsiteY503" fmla="*/ 467019 h 603999"/>
                  <a:gd name="connsiteX504" fmla="*/ 156898 w 787079"/>
                  <a:gd name="connsiteY504" fmla="*/ 465270 h 603999"/>
                  <a:gd name="connsiteX505" fmla="*/ 160801 w 787079"/>
                  <a:gd name="connsiteY505" fmla="*/ 464260 h 603999"/>
                  <a:gd name="connsiteX506" fmla="*/ 164268 w 787079"/>
                  <a:gd name="connsiteY506" fmla="*/ 463117 h 603999"/>
                  <a:gd name="connsiteX507" fmla="*/ 163561 w 787079"/>
                  <a:gd name="connsiteY507" fmla="*/ 459214 h 603999"/>
                  <a:gd name="connsiteX508" fmla="*/ 163561 w 787079"/>
                  <a:gd name="connsiteY508" fmla="*/ 457903 h 603999"/>
                  <a:gd name="connsiteX509" fmla="*/ 167263 w 787079"/>
                  <a:gd name="connsiteY509" fmla="*/ 457331 h 603999"/>
                  <a:gd name="connsiteX510" fmla="*/ 169787 w 787079"/>
                  <a:gd name="connsiteY510" fmla="*/ 458643 h 603999"/>
                  <a:gd name="connsiteX511" fmla="*/ 170528 w 787079"/>
                  <a:gd name="connsiteY511" fmla="*/ 460964 h 603999"/>
                  <a:gd name="connsiteX512" fmla="*/ 170528 w 787079"/>
                  <a:gd name="connsiteY512" fmla="*/ 465034 h 603999"/>
                  <a:gd name="connsiteX513" fmla="*/ 171470 w 787079"/>
                  <a:gd name="connsiteY513" fmla="*/ 469677 h 603999"/>
                  <a:gd name="connsiteX514" fmla="*/ 175038 w 787079"/>
                  <a:gd name="connsiteY514" fmla="*/ 470686 h 603999"/>
                  <a:gd name="connsiteX515" fmla="*/ 177225 w 787079"/>
                  <a:gd name="connsiteY515" fmla="*/ 466783 h 603999"/>
                  <a:gd name="connsiteX516" fmla="*/ 178235 w 787079"/>
                  <a:gd name="connsiteY516" fmla="*/ 464160 h 603999"/>
                  <a:gd name="connsiteX517" fmla="*/ 181432 w 787079"/>
                  <a:gd name="connsiteY517" fmla="*/ 461838 h 603999"/>
                  <a:gd name="connsiteX518" fmla="*/ 186783 w 787079"/>
                  <a:gd name="connsiteY518" fmla="*/ 460089 h 603999"/>
                  <a:gd name="connsiteX519" fmla="*/ 188398 w 787079"/>
                  <a:gd name="connsiteY519" fmla="*/ 457331 h 603999"/>
                  <a:gd name="connsiteX520" fmla="*/ 189845 w 787079"/>
                  <a:gd name="connsiteY520" fmla="*/ 454135 h 603999"/>
                  <a:gd name="connsiteX521" fmla="*/ 190418 w 787079"/>
                  <a:gd name="connsiteY521" fmla="*/ 452520 h 603999"/>
                  <a:gd name="connsiteX522" fmla="*/ 195197 w 787079"/>
                  <a:gd name="connsiteY522" fmla="*/ 453967 h 603999"/>
                  <a:gd name="connsiteX523" fmla="*/ 200278 w 787079"/>
                  <a:gd name="connsiteY523" fmla="*/ 456423 h 603999"/>
                  <a:gd name="connsiteX524" fmla="*/ 206235 w 787079"/>
                  <a:gd name="connsiteY524" fmla="*/ 460022 h 603999"/>
                  <a:gd name="connsiteX525" fmla="*/ 210005 w 787079"/>
                  <a:gd name="connsiteY525" fmla="*/ 460022 h 603999"/>
                  <a:gd name="connsiteX526" fmla="*/ 217543 w 787079"/>
                  <a:gd name="connsiteY526" fmla="*/ 457196 h 603999"/>
                  <a:gd name="connsiteX527" fmla="*/ 218284 w 787079"/>
                  <a:gd name="connsiteY527" fmla="*/ 453664 h 603999"/>
                  <a:gd name="connsiteX528" fmla="*/ 220740 w 787079"/>
                  <a:gd name="connsiteY528" fmla="*/ 450771 h 603999"/>
                  <a:gd name="connsiteX529" fmla="*/ 223063 w 787079"/>
                  <a:gd name="connsiteY529" fmla="*/ 447575 h 603999"/>
                  <a:gd name="connsiteX530" fmla="*/ 225250 w 787079"/>
                  <a:gd name="connsiteY530" fmla="*/ 444380 h 603999"/>
                  <a:gd name="connsiteX531" fmla="*/ 224947 w 787079"/>
                  <a:gd name="connsiteY531" fmla="*/ 442799 h 603999"/>
                  <a:gd name="connsiteX532" fmla="*/ 223635 w 787079"/>
                  <a:gd name="connsiteY532" fmla="*/ 439165 h 603999"/>
                  <a:gd name="connsiteX533" fmla="*/ 219562 w 787079"/>
                  <a:gd name="connsiteY533" fmla="*/ 434389 h 603999"/>
                  <a:gd name="connsiteX534" fmla="*/ 217543 w 787079"/>
                  <a:gd name="connsiteY534" fmla="*/ 430049 h 603999"/>
                  <a:gd name="connsiteX535" fmla="*/ 220135 w 787079"/>
                  <a:gd name="connsiteY535" fmla="*/ 429747 h 603999"/>
                  <a:gd name="connsiteX536" fmla="*/ 223029 w 787079"/>
                  <a:gd name="connsiteY536" fmla="*/ 429443 h 603999"/>
                  <a:gd name="connsiteX537" fmla="*/ 226664 w 787079"/>
                  <a:gd name="connsiteY537" fmla="*/ 428737 h 603999"/>
                  <a:gd name="connsiteX538" fmla="*/ 228111 w 787079"/>
                  <a:gd name="connsiteY538" fmla="*/ 427156 h 603999"/>
                  <a:gd name="connsiteX539" fmla="*/ 232183 w 787079"/>
                  <a:gd name="connsiteY539" fmla="*/ 426282 h 603999"/>
                  <a:gd name="connsiteX540" fmla="*/ 234774 w 787079"/>
                  <a:gd name="connsiteY540" fmla="*/ 426416 h 603999"/>
                  <a:gd name="connsiteX541" fmla="*/ 236356 w 787079"/>
                  <a:gd name="connsiteY541" fmla="*/ 429006 h 603999"/>
                  <a:gd name="connsiteX542" fmla="*/ 234774 w 787079"/>
                  <a:gd name="connsiteY542" fmla="*/ 432908 h 603999"/>
                  <a:gd name="connsiteX543" fmla="*/ 234337 w 787079"/>
                  <a:gd name="connsiteY543" fmla="*/ 435230 h 603999"/>
                  <a:gd name="connsiteX544" fmla="*/ 234068 w 787079"/>
                  <a:gd name="connsiteY544" fmla="*/ 439435 h 603999"/>
                  <a:gd name="connsiteX545" fmla="*/ 233193 w 787079"/>
                  <a:gd name="connsiteY545" fmla="*/ 441756 h 603999"/>
                  <a:gd name="connsiteX546" fmla="*/ 233193 w 787079"/>
                  <a:gd name="connsiteY546" fmla="*/ 445086 h 603999"/>
                  <a:gd name="connsiteX547" fmla="*/ 234269 w 787079"/>
                  <a:gd name="connsiteY547" fmla="*/ 448988 h 603999"/>
                  <a:gd name="connsiteX548" fmla="*/ 236794 w 787079"/>
                  <a:gd name="connsiteY548" fmla="*/ 451612 h 603999"/>
                  <a:gd name="connsiteX549" fmla="*/ 241000 w 787079"/>
                  <a:gd name="connsiteY549" fmla="*/ 453631 h 603999"/>
                  <a:gd name="connsiteX550" fmla="*/ 245780 w 787079"/>
                  <a:gd name="connsiteY550" fmla="*/ 452756 h 603999"/>
                  <a:gd name="connsiteX551" fmla="*/ 247799 w 787079"/>
                  <a:gd name="connsiteY551" fmla="*/ 448686 h 603999"/>
                  <a:gd name="connsiteX552" fmla="*/ 251265 w 787079"/>
                  <a:gd name="connsiteY552" fmla="*/ 446230 h 603999"/>
                  <a:gd name="connsiteX553" fmla="*/ 251837 w 787079"/>
                  <a:gd name="connsiteY553" fmla="*/ 440578 h 603999"/>
                  <a:gd name="connsiteX554" fmla="*/ 251703 w 787079"/>
                  <a:gd name="connsiteY554" fmla="*/ 434489 h 603999"/>
                  <a:gd name="connsiteX555" fmla="*/ 251130 w 787079"/>
                  <a:gd name="connsiteY555" fmla="*/ 432303 h 603999"/>
                  <a:gd name="connsiteX556" fmla="*/ 247933 w 787079"/>
                  <a:gd name="connsiteY556" fmla="*/ 428266 h 603999"/>
                  <a:gd name="connsiteX557" fmla="*/ 244029 w 787079"/>
                  <a:gd name="connsiteY557" fmla="*/ 422918 h 603999"/>
                  <a:gd name="connsiteX558" fmla="*/ 246049 w 787079"/>
                  <a:gd name="connsiteY558" fmla="*/ 420025 h 603999"/>
                  <a:gd name="connsiteX559" fmla="*/ 249515 w 787079"/>
                  <a:gd name="connsiteY559" fmla="*/ 420159 h 603999"/>
                  <a:gd name="connsiteX560" fmla="*/ 253587 w 787079"/>
                  <a:gd name="connsiteY560" fmla="*/ 420025 h 603999"/>
                  <a:gd name="connsiteX561" fmla="*/ 255035 w 787079"/>
                  <a:gd name="connsiteY561" fmla="*/ 422043 h 603999"/>
                  <a:gd name="connsiteX562" fmla="*/ 262438 w 787079"/>
                  <a:gd name="connsiteY562" fmla="*/ 423355 h 603999"/>
                  <a:gd name="connsiteX563" fmla="*/ 266510 w 787079"/>
                  <a:gd name="connsiteY563" fmla="*/ 420159 h 603999"/>
                  <a:gd name="connsiteX564" fmla="*/ 269270 w 787079"/>
                  <a:gd name="connsiteY564" fmla="*/ 417973 h 603999"/>
                  <a:gd name="connsiteX565" fmla="*/ 273915 w 787079"/>
                  <a:gd name="connsiteY565" fmla="*/ 416829 h 603999"/>
                  <a:gd name="connsiteX566" fmla="*/ 274621 w 787079"/>
                  <a:gd name="connsiteY566" fmla="*/ 419587 h 603999"/>
                  <a:gd name="connsiteX567" fmla="*/ 273040 w 787079"/>
                  <a:gd name="connsiteY567" fmla="*/ 425508 h 603999"/>
                  <a:gd name="connsiteX568" fmla="*/ 271896 w 787079"/>
                  <a:gd name="connsiteY568" fmla="*/ 429410 h 603999"/>
                  <a:gd name="connsiteX569" fmla="*/ 272905 w 787079"/>
                  <a:gd name="connsiteY569" fmla="*/ 432875 h 603999"/>
                  <a:gd name="connsiteX570" fmla="*/ 277549 w 787079"/>
                  <a:gd name="connsiteY570" fmla="*/ 433884 h 603999"/>
                  <a:gd name="connsiteX571" fmla="*/ 283641 w 787079"/>
                  <a:gd name="connsiteY571" fmla="*/ 433884 h 603999"/>
                  <a:gd name="connsiteX572" fmla="*/ 287982 w 787079"/>
                  <a:gd name="connsiteY572" fmla="*/ 432875 h 603999"/>
                  <a:gd name="connsiteX573" fmla="*/ 290877 w 787079"/>
                  <a:gd name="connsiteY573" fmla="*/ 429242 h 603999"/>
                  <a:gd name="connsiteX574" fmla="*/ 293333 w 787079"/>
                  <a:gd name="connsiteY574" fmla="*/ 425037 h 603999"/>
                  <a:gd name="connsiteX575" fmla="*/ 294780 w 787079"/>
                  <a:gd name="connsiteY575" fmla="*/ 423456 h 603999"/>
                  <a:gd name="connsiteX576" fmla="*/ 296228 w 787079"/>
                  <a:gd name="connsiteY576" fmla="*/ 419823 h 603999"/>
                  <a:gd name="connsiteX577" fmla="*/ 296497 w 787079"/>
                  <a:gd name="connsiteY577" fmla="*/ 414777 h 603999"/>
                  <a:gd name="connsiteX578" fmla="*/ 293468 w 787079"/>
                  <a:gd name="connsiteY578" fmla="*/ 409697 h 603999"/>
                  <a:gd name="connsiteX579" fmla="*/ 292761 w 787079"/>
                  <a:gd name="connsiteY579" fmla="*/ 406232 h 603999"/>
                  <a:gd name="connsiteX580" fmla="*/ 289429 w 787079"/>
                  <a:gd name="connsiteY580" fmla="*/ 402902 h 603999"/>
                  <a:gd name="connsiteX581" fmla="*/ 288723 w 787079"/>
                  <a:gd name="connsiteY581" fmla="*/ 397688 h 603999"/>
                  <a:gd name="connsiteX582" fmla="*/ 289598 w 787079"/>
                  <a:gd name="connsiteY582" fmla="*/ 393617 h 603999"/>
                  <a:gd name="connsiteX583" fmla="*/ 294074 w 787079"/>
                  <a:gd name="connsiteY583" fmla="*/ 398259 h 603999"/>
                  <a:gd name="connsiteX584" fmla="*/ 294074 w 787079"/>
                  <a:gd name="connsiteY584" fmla="*/ 401724 h 603999"/>
                  <a:gd name="connsiteX585" fmla="*/ 297103 w 787079"/>
                  <a:gd name="connsiteY585" fmla="*/ 404046 h 603999"/>
                  <a:gd name="connsiteX586" fmla="*/ 300435 w 787079"/>
                  <a:gd name="connsiteY586" fmla="*/ 406064 h 603999"/>
                  <a:gd name="connsiteX587" fmla="*/ 303632 w 787079"/>
                  <a:gd name="connsiteY587" fmla="*/ 408385 h 603999"/>
                  <a:gd name="connsiteX588" fmla="*/ 302319 w 787079"/>
                  <a:gd name="connsiteY588" fmla="*/ 410269 h 603999"/>
                  <a:gd name="connsiteX589" fmla="*/ 300435 w 787079"/>
                  <a:gd name="connsiteY589" fmla="*/ 415046 h 603999"/>
                  <a:gd name="connsiteX590" fmla="*/ 302319 w 787079"/>
                  <a:gd name="connsiteY590" fmla="*/ 420563 h 603999"/>
                  <a:gd name="connsiteX591" fmla="*/ 308848 w 787079"/>
                  <a:gd name="connsiteY591" fmla="*/ 425071 h 603999"/>
                  <a:gd name="connsiteX592" fmla="*/ 314939 w 787079"/>
                  <a:gd name="connsiteY592" fmla="*/ 424330 h 603999"/>
                  <a:gd name="connsiteX593" fmla="*/ 319146 w 787079"/>
                  <a:gd name="connsiteY593" fmla="*/ 420697 h 603999"/>
                  <a:gd name="connsiteX594" fmla="*/ 324094 w 787079"/>
                  <a:gd name="connsiteY594" fmla="*/ 417502 h 603999"/>
                  <a:gd name="connsiteX595" fmla="*/ 326988 w 787079"/>
                  <a:gd name="connsiteY595" fmla="*/ 414609 h 603999"/>
                  <a:gd name="connsiteX596" fmla="*/ 329007 w 787079"/>
                  <a:gd name="connsiteY596" fmla="*/ 410841 h 603999"/>
                  <a:gd name="connsiteX597" fmla="*/ 330454 w 787079"/>
                  <a:gd name="connsiteY597" fmla="*/ 406064 h 603999"/>
                  <a:gd name="connsiteX598" fmla="*/ 332204 w 787079"/>
                  <a:gd name="connsiteY598" fmla="*/ 401287 h 603999"/>
                  <a:gd name="connsiteX599" fmla="*/ 334527 w 787079"/>
                  <a:gd name="connsiteY599" fmla="*/ 397957 h 603999"/>
                  <a:gd name="connsiteX600" fmla="*/ 336411 w 787079"/>
                  <a:gd name="connsiteY600" fmla="*/ 397385 h 603999"/>
                  <a:gd name="connsiteX601" fmla="*/ 341190 w 787079"/>
                  <a:gd name="connsiteY601" fmla="*/ 402464 h 603999"/>
                  <a:gd name="connsiteX602" fmla="*/ 341190 w 787079"/>
                  <a:gd name="connsiteY602" fmla="*/ 407813 h 603999"/>
                  <a:gd name="connsiteX603" fmla="*/ 341930 w 787079"/>
                  <a:gd name="connsiteY603" fmla="*/ 411715 h 603999"/>
                  <a:gd name="connsiteX604" fmla="*/ 348291 w 787079"/>
                  <a:gd name="connsiteY604" fmla="*/ 416055 h 603999"/>
                  <a:gd name="connsiteX605" fmla="*/ 353373 w 787079"/>
                  <a:gd name="connsiteY605" fmla="*/ 415315 h 603999"/>
                  <a:gd name="connsiteX606" fmla="*/ 360474 w 787079"/>
                  <a:gd name="connsiteY606" fmla="*/ 416055 h 603999"/>
                  <a:gd name="connsiteX607" fmla="*/ 362662 w 787079"/>
                  <a:gd name="connsiteY607" fmla="*/ 415315 h 603999"/>
                  <a:gd name="connsiteX608" fmla="*/ 364412 w 787079"/>
                  <a:gd name="connsiteY608" fmla="*/ 412859 h 603999"/>
                  <a:gd name="connsiteX609" fmla="*/ 360508 w 787079"/>
                  <a:gd name="connsiteY609" fmla="*/ 410101 h 603999"/>
                  <a:gd name="connsiteX610" fmla="*/ 361383 w 787079"/>
                  <a:gd name="connsiteY610" fmla="*/ 406905 h 603999"/>
                  <a:gd name="connsiteX611" fmla="*/ 363133 w 787079"/>
                  <a:gd name="connsiteY611" fmla="*/ 403272 h 603999"/>
                  <a:gd name="connsiteX612" fmla="*/ 364446 w 787079"/>
                  <a:gd name="connsiteY612" fmla="*/ 402128 h 603999"/>
                  <a:gd name="connsiteX613" fmla="*/ 366330 w 787079"/>
                  <a:gd name="connsiteY613" fmla="*/ 402868 h 603999"/>
                  <a:gd name="connsiteX614" fmla="*/ 367912 w 787079"/>
                  <a:gd name="connsiteY614" fmla="*/ 405055 h 603999"/>
                  <a:gd name="connsiteX615" fmla="*/ 373297 w 787079"/>
                  <a:gd name="connsiteY615" fmla="*/ 405055 h 603999"/>
                  <a:gd name="connsiteX616" fmla="*/ 374744 w 787079"/>
                  <a:gd name="connsiteY616" fmla="*/ 405055 h 603999"/>
                  <a:gd name="connsiteX617" fmla="*/ 377806 w 787079"/>
                  <a:gd name="connsiteY617" fmla="*/ 401590 h 603999"/>
                  <a:gd name="connsiteX618" fmla="*/ 381576 w 787079"/>
                  <a:gd name="connsiteY618" fmla="*/ 398529 h 603999"/>
                  <a:gd name="connsiteX619" fmla="*/ 382888 w 787079"/>
                  <a:gd name="connsiteY619" fmla="*/ 393752 h 603999"/>
                  <a:gd name="connsiteX620" fmla="*/ 386523 w 787079"/>
                  <a:gd name="connsiteY620" fmla="*/ 390556 h 603999"/>
                  <a:gd name="connsiteX621" fmla="*/ 388980 w 787079"/>
                  <a:gd name="connsiteY621" fmla="*/ 387798 h 603999"/>
                  <a:gd name="connsiteX622" fmla="*/ 391436 w 787079"/>
                  <a:gd name="connsiteY622" fmla="*/ 384165 h 603999"/>
                  <a:gd name="connsiteX623" fmla="*/ 393321 w 787079"/>
                  <a:gd name="connsiteY623" fmla="*/ 380700 h 603999"/>
                  <a:gd name="connsiteX624" fmla="*/ 394903 w 787079"/>
                  <a:gd name="connsiteY624" fmla="*/ 378076 h 603999"/>
                  <a:gd name="connsiteX625" fmla="*/ 394465 w 787079"/>
                  <a:gd name="connsiteY625" fmla="*/ 373433 h 603999"/>
                  <a:gd name="connsiteX626" fmla="*/ 394331 w 787079"/>
                  <a:gd name="connsiteY626" fmla="*/ 370238 h 603999"/>
                  <a:gd name="connsiteX627" fmla="*/ 391706 w 787079"/>
                  <a:gd name="connsiteY627" fmla="*/ 366168 h 603999"/>
                  <a:gd name="connsiteX628" fmla="*/ 390696 w 787079"/>
                  <a:gd name="connsiteY628" fmla="*/ 361256 h 603999"/>
                  <a:gd name="connsiteX629" fmla="*/ 396922 w 787079"/>
                  <a:gd name="connsiteY629" fmla="*/ 363140 h 603999"/>
                  <a:gd name="connsiteX630" fmla="*/ 395913 w 787079"/>
                  <a:gd name="connsiteY630" fmla="*/ 366033 h 603999"/>
                  <a:gd name="connsiteX631" fmla="*/ 399110 w 787079"/>
                  <a:gd name="connsiteY631" fmla="*/ 368926 h 603999"/>
                  <a:gd name="connsiteX632" fmla="*/ 401566 w 787079"/>
                  <a:gd name="connsiteY632" fmla="*/ 370810 h 603999"/>
                  <a:gd name="connsiteX633" fmla="*/ 403451 w 787079"/>
                  <a:gd name="connsiteY633" fmla="*/ 375015 h 603999"/>
                  <a:gd name="connsiteX634" fmla="*/ 407523 w 787079"/>
                  <a:gd name="connsiteY634" fmla="*/ 379522 h 603999"/>
                  <a:gd name="connsiteX635" fmla="*/ 407086 w 787079"/>
                  <a:gd name="connsiteY635" fmla="*/ 381978 h 603999"/>
                  <a:gd name="connsiteX636" fmla="*/ 409846 w 787079"/>
                  <a:gd name="connsiteY636" fmla="*/ 385174 h 603999"/>
                  <a:gd name="connsiteX637" fmla="*/ 414759 w 787079"/>
                  <a:gd name="connsiteY637" fmla="*/ 385174 h 603999"/>
                  <a:gd name="connsiteX638" fmla="*/ 418831 w 787079"/>
                  <a:gd name="connsiteY638" fmla="*/ 383223 h 603999"/>
                  <a:gd name="connsiteX639" fmla="*/ 420851 w 787079"/>
                  <a:gd name="connsiteY639" fmla="*/ 380969 h 603999"/>
                  <a:gd name="connsiteX640" fmla="*/ 419976 w 787079"/>
                  <a:gd name="connsiteY640" fmla="*/ 377773 h 603999"/>
                  <a:gd name="connsiteX641" fmla="*/ 417788 w 787079"/>
                  <a:gd name="connsiteY641" fmla="*/ 375015 h 603999"/>
                  <a:gd name="connsiteX642" fmla="*/ 417519 w 787079"/>
                  <a:gd name="connsiteY642" fmla="*/ 372828 h 603999"/>
                  <a:gd name="connsiteX643" fmla="*/ 421153 w 787079"/>
                  <a:gd name="connsiteY643" fmla="*/ 370810 h 603999"/>
                  <a:gd name="connsiteX644" fmla="*/ 421423 w 787079"/>
                  <a:gd name="connsiteY644" fmla="*/ 367345 h 603999"/>
                  <a:gd name="connsiteX645" fmla="*/ 421557 w 787079"/>
                  <a:gd name="connsiteY645" fmla="*/ 361122 h 603999"/>
                  <a:gd name="connsiteX646" fmla="*/ 420380 w 787079"/>
                  <a:gd name="connsiteY646" fmla="*/ 351265 h 603999"/>
                  <a:gd name="connsiteX647" fmla="*/ 420817 w 787079"/>
                  <a:gd name="connsiteY647" fmla="*/ 347060 h 603999"/>
                  <a:gd name="connsiteX648" fmla="*/ 418797 w 787079"/>
                  <a:gd name="connsiteY648" fmla="*/ 343595 h 603999"/>
                  <a:gd name="connsiteX649" fmla="*/ 415600 w 787079"/>
                  <a:gd name="connsiteY649" fmla="*/ 340131 h 603999"/>
                  <a:gd name="connsiteX650" fmla="*/ 415028 w 787079"/>
                  <a:gd name="connsiteY650" fmla="*/ 335354 h 603999"/>
                  <a:gd name="connsiteX651" fmla="*/ 415466 w 787079"/>
                  <a:gd name="connsiteY651" fmla="*/ 330711 h 603999"/>
                  <a:gd name="connsiteX652" fmla="*/ 414322 w 787079"/>
                  <a:gd name="connsiteY652" fmla="*/ 326944 h 603999"/>
                  <a:gd name="connsiteX653" fmla="*/ 410687 w 787079"/>
                  <a:gd name="connsiteY653" fmla="*/ 324488 h 603999"/>
                  <a:gd name="connsiteX654" fmla="*/ 404730 w 787079"/>
                  <a:gd name="connsiteY654" fmla="*/ 320586 h 603999"/>
                  <a:gd name="connsiteX655" fmla="*/ 401836 w 787079"/>
                  <a:gd name="connsiteY655" fmla="*/ 316515 h 603999"/>
                  <a:gd name="connsiteX656" fmla="*/ 400220 w 787079"/>
                  <a:gd name="connsiteY656" fmla="*/ 313050 h 603999"/>
                  <a:gd name="connsiteX657" fmla="*/ 400220 w 787079"/>
                  <a:gd name="connsiteY657" fmla="*/ 311301 h 603999"/>
                  <a:gd name="connsiteX658" fmla="*/ 405235 w 787079"/>
                  <a:gd name="connsiteY658" fmla="*/ 315069 h 603999"/>
                  <a:gd name="connsiteX659" fmla="*/ 410519 w 787079"/>
                  <a:gd name="connsiteY659" fmla="*/ 317087 h 603999"/>
                  <a:gd name="connsiteX660" fmla="*/ 413548 w 787079"/>
                  <a:gd name="connsiteY660" fmla="*/ 318836 h 603999"/>
                  <a:gd name="connsiteX661" fmla="*/ 417317 w 787079"/>
                  <a:gd name="connsiteY661" fmla="*/ 318971 h 603999"/>
                  <a:gd name="connsiteX662" fmla="*/ 419067 w 787079"/>
                  <a:gd name="connsiteY662" fmla="*/ 317524 h 603999"/>
                  <a:gd name="connsiteX663" fmla="*/ 419336 w 787079"/>
                  <a:gd name="connsiteY663" fmla="*/ 313050 h 603999"/>
                  <a:gd name="connsiteX664" fmla="*/ 419336 w 787079"/>
                  <a:gd name="connsiteY664" fmla="*/ 307265 h 603999"/>
                  <a:gd name="connsiteX665" fmla="*/ 416879 w 787079"/>
                  <a:gd name="connsiteY665" fmla="*/ 303934 h 603999"/>
                  <a:gd name="connsiteX666" fmla="*/ 412538 w 787079"/>
                  <a:gd name="connsiteY666" fmla="*/ 300604 h 603999"/>
                  <a:gd name="connsiteX667" fmla="*/ 408197 w 787079"/>
                  <a:gd name="connsiteY667" fmla="*/ 295962 h 603999"/>
                  <a:gd name="connsiteX668" fmla="*/ 403720 w 787079"/>
                  <a:gd name="connsiteY668" fmla="*/ 290445 h 603999"/>
                  <a:gd name="connsiteX669" fmla="*/ 403720 w 787079"/>
                  <a:gd name="connsiteY669" fmla="*/ 286980 h 603999"/>
                  <a:gd name="connsiteX670" fmla="*/ 403720 w 787079"/>
                  <a:gd name="connsiteY670" fmla="*/ 281765 h 603999"/>
                  <a:gd name="connsiteX671" fmla="*/ 405672 w 787079"/>
                  <a:gd name="connsiteY671" fmla="*/ 280622 h 603999"/>
                  <a:gd name="connsiteX672" fmla="*/ 410687 w 787079"/>
                  <a:gd name="connsiteY672" fmla="*/ 286408 h 603999"/>
                  <a:gd name="connsiteX673" fmla="*/ 413009 w 787079"/>
                  <a:gd name="connsiteY673" fmla="*/ 291487 h 603999"/>
                  <a:gd name="connsiteX674" fmla="*/ 417519 w 787079"/>
                  <a:gd name="connsiteY674" fmla="*/ 296702 h 603999"/>
                  <a:gd name="connsiteX675" fmla="*/ 421725 w 787079"/>
                  <a:gd name="connsiteY675" fmla="*/ 301041 h 603999"/>
                  <a:gd name="connsiteX676" fmla="*/ 425360 w 787079"/>
                  <a:gd name="connsiteY676" fmla="*/ 306390 h 603999"/>
                  <a:gd name="connsiteX677" fmla="*/ 426673 w 787079"/>
                  <a:gd name="connsiteY677" fmla="*/ 308139 h 603999"/>
                  <a:gd name="connsiteX678" fmla="*/ 432327 w 787079"/>
                  <a:gd name="connsiteY678" fmla="*/ 309283 h 603999"/>
                  <a:gd name="connsiteX679" fmla="*/ 433774 w 787079"/>
                  <a:gd name="connsiteY679" fmla="*/ 311032 h 603999"/>
                  <a:gd name="connsiteX680" fmla="*/ 436837 w 787079"/>
                  <a:gd name="connsiteY680" fmla="*/ 316818 h 603999"/>
                  <a:gd name="connsiteX681" fmla="*/ 438586 w 787079"/>
                  <a:gd name="connsiteY681" fmla="*/ 321326 h 603999"/>
                  <a:gd name="connsiteX682" fmla="*/ 442188 w 787079"/>
                  <a:gd name="connsiteY682" fmla="*/ 328424 h 603999"/>
                  <a:gd name="connsiteX683" fmla="*/ 443500 w 787079"/>
                  <a:gd name="connsiteY683" fmla="*/ 331317 h 603999"/>
                  <a:gd name="connsiteX684" fmla="*/ 444813 w 787079"/>
                  <a:gd name="connsiteY684" fmla="*/ 334647 h 603999"/>
                  <a:gd name="connsiteX685" fmla="*/ 446866 w 787079"/>
                  <a:gd name="connsiteY685" fmla="*/ 337406 h 603999"/>
                  <a:gd name="connsiteX686" fmla="*/ 449895 w 787079"/>
                  <a:gd name="connsiteY686" fmla="*/ 338280 h 603999"/>
                  <a:gd name="connsiteX687" fmla="*/ 455246 w 787079"/>
                  <a:gd name="connsiteY687" fmla="*/ 338280 h 603999"/>
                  <a:gd name="connsiteX688" fmla="*/ 458005 w 787079"/>
                  <a:gd name="connsiteY688" fmla="*/ 337406 h 603999"/>
                  <a:gd name="connsiteX689" fmla="*/ 462347 w 787079"/>
                  <a:gd name="connsiteY689" fmla="*/ 336397 h 603999"/>
                  <a:gd name="connsiteX690" fmla="*/ 466116 w 787079"/>
                  <a:gd name="connsiteY690" fmla="*/ 335959 h 603999"/>
                  <a:gd name="connsiteX691" fmla="*/ 468135 w 787079"/>
                  <a:gd name="connsiteY691" fmla="*/ 334647 h 603999"/>
                  <a:gd name="connsiteX692" fmla="*/ 470895 w 787079"/>
                  <a:gd name="connsiteY692" fmla="*/ 331451 h 603999"/>
                  <a:gd name="connsiteX693" fmla="*/ 474227 w 787079"/>
                  <a:gd name="connsiteY693" fmla="*/ 329568 h 603999"/>
                  <a:gd name="connsiteX694" fmla="*/ 480453 w 787079"/>
                  <a:gd name="connsiteY694" fmla="*/ 329568 h 603999"/>
                  <a:gd name="connsiteX695" fmla="*/ 484525 w 787079"/>
                  <a:gd name="connsiteY695" fmla="*/ 329332 h 603999"/>
                  <a:gd name="connsiteX696" fmla="*/ 487116 w 787079"/>
                  <a:gd name="connsiteY696" fmla="*/ 329837 h 603999"/>
                  <a:gd name="connsiteX697" fmla="*/ 491761 w 787079"/>
                  <a:gd name="connsiteY697" fmla="*/ 329971 h 603999"/>
                  <a:gd name="connsiteX698" fmla="*/ 493646 w 787079"/>
                  <a:gd name="connsiteY698" fmla="*/ 327213 h 603999"/>
                  <a:gd name="connsiteX699" fmla="*/ 498997 w 787079"/>
                  <a:gd name="connsiteY699" fmla="*/ 326775 h 603999"/>
                  <a:gd name="connsiteX700" fmla="*/ 504650 w 787079"/>
                  <a:gd name="connsiteY700" fmla="*/ 328087 h 603999"/>
                  <a:gd name="connsiteX701" fmla="*/ 508252 w 787079"/>
                  <a:gd name="connsiteY701" fmla="*/ 331855 h 603999"/>
                  <a:gd name="connsiteX702" fmla="*/ 510877 w 787079"/>
                  <a:gd name="connsiteY702" fmla="*/ 334883 h 603999"/>
                  <a:gd name="connsiteX703" fmla="*/ 514646 w 787079"/>
                  <a:gd name="connsiteY703" fmla="*/ 338785 h 603999"/>
                  <a:gd name="connsiteX704" fmla="*/ 519559 w 787079"/>
                  <a:gd name="connsiteY704" fmla="*/ 337036 h 603999"/>
                  <a:gd name="connsiteX705" fmla="*/ 523194 w 787079"/>
                  <a:gd name="connsiteY705" fmla="*/ 335724 h 603999"/>
                  <a:gd name="connsiteX706" fmla="*/ 525819 w 787079"/>
                  <a:gd name="connsiteY706" fmla="*/ 333537 h 603999"/>
                  <a:gd name="connsiteX707" fmla="*/ 525684 w 787079"/>
                  <a:gd name="connsiteY707" fmla="*/ 329769 h 603999"/>
                  <a:gd name="connsiteX708" fmla="*/ 523362 w 787079"/>
                  <a:gd name="connsiteY708" fmla="*/ 325867 h 603999"/>
                  <a:gd name="connsiteX709" fmla="*/ 519458 w 787079"/>
                  <a:gd name="connsiteY709" fmla="*/ 322537 h 603999"/>
                  <a:gd name="connsiteX710" fmla="*/ 515252 w 787079"/>
                  <a:gd name="connsiteY710" fmla="*/ 319341 h 603999"/>
                  <a:gd name="connsiteX711" fmla="*/ 512357 w 787079"/>
                  <a:gd name="connsiteY711" fmla="*/ 313690 h 603999"/>
                  <a:gd name="connsiteX712" fmla="*/ 514511 w 787079"/>
                  <a:gd name="connsiteY712" fmla="*/ 309182 h 603999"/>
                  <a:gd name="connsiteX713" fmla="*/ 517540 w 787079"/>
                  <a:gd name="connsiteY713" fmla="*/ 306995 h 603999"/>
                  <a:gd name="connsiteX714" fmla="*/ 523194 w 787079"/>
                  <a:gd name="connsiteY714" fmla="*/ 305986 h 603999"/>
                  <a:gd name="connsiteX715" fmla="*/ 528983 w 787079"/>
                  <a:gd name="connsiteY715" fmla="*/ 303362 h 603999"/>
                  <a:gd name="connsiteX716" fmla="*/ 532449 w 787079"/>
                  <a:gd name="connsiteY716" fmla="*/ 299729 h 603999"/>
                  <a:gd name="connsiteX717" fmla="*/ 535343 w 787079"/>
                  <a:gd name="connsiteY717" fmla="*/ 296533 h 603999"/>
                  <a:gd name="connsiteX718" fmla="*/ 543454 w 787079"/>
                  <a:gd name="connsiteY718" fmla="*/ 296971 h 603999"/>
                  <a:gd name="connsiteX719" fmla="*/ 544329 w 787079"/>
                  <a:gd name="connsiteY719" fmla="*/ 302488 h 603999"/>
                  <a:gd name="connsiteX720" fmla="*/ 544901 w 787079"/>
                  <a:gd name="connsiteY720" fmla="*/ 306558 h 603999"/>
                  <a:gd name="connsiteX721" fmla="*/ 542142 w 787079"/>
                  <a:gd name="connsiteY721" fmla="*/ 309148 h 603999"/>
                  <a:gd name="connsiteX722" fmla="*/ 538945 w 787079"/>
                  <a:gd name="connsiteY722" fmla="*/ 312781 h 603999"/>
                  <a:gd name="connsiteX723" fmla="*/ 536488 w 787079"/>
                  <a:gd name="connsiteY723" fmla="*/ 316852 h 603999"/>
                  <a:gd name="connsiteX724" fmla="*/ 536488 w 787079"/>
                  <a:gd name="connsiteY724" fmla="*/ 320922 h 603999"/>
                  <a:gd name="connsiteX725" fmla="*/ 539247 w 787079"/>
                  <a:gd name="connsiteY725" fmla="*/ 323546 h 603999"/>
                  <a:gd name="connsiteX726" fmla="*/ 544026 w 787079"/>
                  <a:gd name="connsiteY726" fmla="*/ 325127 h 603999"/>
                  <a:gd name="connsiteX727" fmla="*/ 549108 w 787079"/>
                  <a:gd name="connsiteY727" fmla="*/ 326271 h 603999"/>
                  <a:gd name="connsiteX728" fmla="*/ 553753 w 787079"/>
                  <a:gd name="connsiteY728" fmla="*/ 328289 h 603999"/>
                  <a:gd name="connsiteX729" fmla="*/ 556815 w 787079"/>
                  <a:gd name="connsiteY729" fmla="*/ 326843 h 603999"/>
                  <a:gd name="connsiteX730" fmla="*/ 558969 w 787079"/>
                  <a:gd name="connsiteY730" fmla="*/ 323815 h 603999"/>
                  <a:gd name="connsiteX731" fmla="*/ 558531 w 787079"/>
                  <a:gd name="connsiteY731" fmla="*/ 318601 h 603999"/>
                  <a:gd name="connsiteX732" fmla="*/ 558094 w 787079"/>
                  <a:gd name="connsiteY732" fmla="*/ 316414 h 603999"/>
                  <a:gd name="connsiteX733" fmla="*/ 554628 w 787079"/>
                  <a:gd name="connsiteY733" fmla="*/ 309889 h 603999"/>
                  <a:gd name="connsiteX734" fmla="*/ 552440 w 787079"/>
                  <a:gd name="connsiteY734" fmla="*/ 308139 h 603999"/>
                  <a:gd name="connsiteX735" fmla="*/ 555032 w 787079"/>
                  <a:gd name="connsiteY735" fmla="*/ 304674 h 603999"/>
                  <a:gd name="connsiteX736" fmla="*/ 557185 w 787079"/>
                  <a:gd name="connsiteY736" fmla="*/ 306424 h 603999"/>
                  <a:gd name="connsiteX737" fmla="*/ 560248 w 787079"/>
                  <a:gd name="connsiteY737" fmla="*/ 309889 h 603999"/>
                  <a:gd name="connsiteX738" fmla="*/ 562839 w 787079"/>
                  <a:gd name="connsiteY738" fmla="*/ 312041 h 603999"/>
                  <a:gd name="connsiteX739" fmla="*/ 564589 w 787079"/>
                  <a:gd name="connsiteY739" fmla="*/ 312041 h 603999"/>
                  <a:gd name="connsiteX740" fmla="*/ 567181 w 787079"/>
                  <a:gd name="connsiteY740" fmla="*/ 312041 h 603999"/>
                  <a:gd name="connsiteX741" fmla="*/ 567181 w 787079"/>
                  <a:gd name="connsiteY741" fmla="*/ 307702 h 603999"/>
                  <a:gd name="connsiteX742" fmla="*/ 567181 w 787079"/>
                  <a:gd name="connsiteY742" fmla="*/ 304237 h 603999"/>
                  <a:gd name="connsiteX743" fmla="*/ 567181 w 787079"/>
                  <a:gd name="connsiteY743" fmla="*/ 300772 h 603999"/>
                  <a:gd name="connsiteX744" fmla="*/ 567181 w 787079"/>
                  <a:gd name="connsiteY744" fmla="*/ 298182 h 603999"/>
                  <a:gd name="connsiteX745" fmla="*/ 573474 w 787079"/>
                  <a:gd name="connsiteY745" fmla="*/ 296870 h 603999"/>
                  <a:gd name="connsiteX746" fmla="*/ 579768 w 787079"/>
                  <a:gd name="connsiteY746" fmla="*/ 295995 h 603999"/>
                  <a:gd name="connsiteX747" fmla="*/ 584984 w 787079"/>
                  <a:gd name="connsiteY747" fmla="*/ 292093 h 603999"/>
                  <a:gd name="connsiteX748" fmla="*/ 588450 w 787079"/>
                  <a:gd name="connsiteY748" fmla="*/ 291218 h 603999"/>
                  <a:gd name="connsiteX749" fmla="*/ 593229 w 787079"/>
                  <a:gd name="connsiteY749" fmla="*/ 286879 h 603999"/>
                  <a:gd name="connsiteX750" fmla="*/ 596696 w 787079"/>
                  <a:gd name="connsiteY750" fmla="*/ 288628 h 603999"/>
                  <a:gd name="connsiteX751" fmla="*/ 596696 w 787079"/>
                  <a:gd name="connsiteY751" fmla="*/ 290377 h 603999"/>
                  <a:gd name="connsiteX752" fmla="*/ 593229 w 787079"/>
                  <a:gd name="connsiteY752" fmla="*/ 292127 h 603999"/>
                  <a:gd name="connsiteX753" fmla="*/ 593229 w 787079"/>
                  <a:gd name="connsiteY753" fmla="*/ 293876 h 603999"/>
                  <a:gd name="connsiteX754" fmla="*/ 593229 w 787079"/>
                  <a:gd name="connsiteY754" fmla="*/ 299090 h 603999"/>
                  <a:gd name="connsiteX755" fmla="*/ 595619 w 787079"/>
                  <a:gd name="connsiteY755" fmla="*/ 305179 h 603999"/>
                  <a:gd name="connsiteX756" fmla="*/ 602350 w 787079"/>
                  <a:gd name="connsiteY756" fmla="*/ 306491 h 603999"/>
                  <a:gd name="connsiteX757" fmla="*/ 609316 w 787079"/>
                  <a:gd name="connsiteY757" fmla="*/ 307668 h 603999"/>
                  <a:gd name="connsiteX758" fmla="*/ 616720 w 787079"/>
                  <a:gd name="connsiteY758" fmla="*/ 310393 h 603999"/>
                  <a:gd name="connsiteX759" fmla="*/ 625403 w 787079"/>
                  <a:gd name="connsiteY759" fmla="*/ 310393 h 603999"/>
                  <a:gd name="connsiteX760" fmla="*/ 630182 w 787079"/>
                  <a:gd name="connsiteY760" fmla="*/ 307769 h 603999"/>
                  <a:gd name="connsiteX761" fmla="*/ 628432 w 787079"/>
                  <a:gd name="connsiteY761" fmla="*/ 299931 h 603999"/>
                  <a:gd name="connsiteX762" fmla="*/ 626682 w 787079"/>
                  <a:gd name="connsiteY762" fmla="*/ 297744 h 603999"/>
                  <a:gd name="connsiteX763" fmla="*/ 621903 w 787079"/>
                  <a:gd name="connsiteY763" fmla="*/ 292093 h 603999"/>
                  <a:gd name="connsiteX764" fmla="*/ 617562 w 787079"/>
                  <a:gd name="connsiteY764" fmla="*/ 288628 h 603999"/>
                  <a:gd name="connsiteX765" fmla="*/ 617562 w 787079"/>
                  <a:gd name="connsiteY765" fmla="*/ 284288 h 603999"/>
                  <a:gd name="connsiteX766" fmla="*/ 621466 w 787079"/>
                  <a:gd name="connsiteY766" fmla="*/ 282977 h 603999"/>
                  <a:gd name="connsiteX767" fmla="*/ 628869 w 787079"/>
                  <a:gd name="connsiteY767" fmla="*/ 284726 h 603999"/>
                  <a:gd name="connsiteX768" fmla="*/ 631057 w 787079"/>
                  <a:gd name="connsiteY768" fmla="*/ 282539 h 603999"/>
                  <a:gd name="connsiteX769" fmla="*/ 633649 w 787079"/>
                  <a:gd name="connsiteY769" fmla="*/ 277762 h 603999"/>
                  <a:gd name="connsiteX770" fmla="*/ 636711 w 787079"/>
                  <a:gd name="connsiteY770" fmla="*/ 278200 h 603999"/>
                  <a:gd name="connsiteX771" fmla="*/ 636711 w 787079"/>
                  <a:gd name="connsiteY771" fmla="*/ 281665 h 603999"/>
                  <a:gd name="connsiteX772" fmla="*/ 636711 w 787079"/>
                  <a:gd name="connsiteY772" fmla="*/ 287316 h 603999"/>
                  <a:gd name="connsiteX773" fmla="*/ 643240 w 787079"/>
                  <a:gd name="connsiteY773" fmla="*/ 293842 h 603999"/>
                  <a:gd name="connsiteX774" fmla="*/ 650610 w 787079"/>
                  <a:gd name="connsiteY774" fmla="*/ 299931 h 603999"/>
                  <a:gd name="connsiteX775" fmla="*/ 659327 w 787079"/>
                  <a:gd name="connsiteY775" fmla="*/ 294280 h 603999"/>
                  <a:gd name="connsiteX776" fmla="*/ 665418 w 787079"/>
                  <a:gd name="connsiteY776" fmla="*/ 289940 h 603999"/>
                  <a:gd name="connsiteX777" fmla="*/ 671072 w 787079"/>
                  <a:gd name="connsiteY777" fmla="*/ 286038 h 603999"/>
                  <a:gd name="connsiteX778" fmla="*/ 673260 w 787079"/>
                  <a:gd name="connsiteY778" fmla="*/ 283447 h 603999"/>
                  <a:gd name="connsiteX779" fmla="*/ 673260 w 787079"/>
                  <a:gd name="connsiteY779" fmla="*/ 279983 h 603999"/>
                  <a:gd name="connsiteX780" fmla="*/ 673260 w 787079"/>
                  <a:gd name="connsiteY780" fmla="*/ 274399 h 603999"/>
                  <a:gd name="connsiteX781" fmla="*/ 678476 w 787079"/>
                  <a:gd name="connsiteY781" fmla="*/ 276585 h 603999"/>
                  <a:gd name="connsiteX782" fmla="*/ 678476 w 787079"/>
                  <a:gd name="connsiteY782" fmla="*/ 282674 h 603999"/>
                  <a:gd name="connsiteX783" fmla="*/ 683491 w 787079"/>
                  <a:gd name="connsiteY783" fmla="*/ 286139 h 603999"/>
                  <a:gd name="connsiteX784" fmla="*/ 688943 w 787079"/>
                  <a:gd name="connsiteY784" fmla="*/ 282674 h 603999"/>
                  <a:gd name="connsiteX785" fmla="*/ 694159 w 787079"/>
                  <a:gd name="connsiteY785" fmla="*/ 276148 h 603999"/>
                  <a:gd name="connsiteX786" fmla="*/ 698501 w 787079"/>
                  <a:gd name="connsiteY786" fmla="*/ 270496 h 603999"/>
                  <a:gd name="connsiteX787" fmla="*/ 700251 w 787079"/>
                  <a:gd name="connsiteY787" fmla="*/ 270496 h 603999"/>
                  <a:gd name="connsiteX788" fmla="*/ 710684 w 787079"/>
                  <a:gd name="connsiteY788" fmla="*/ 268747 h 603999"/>
                  <a:gd name="connsiteX789" fmla="*/ 720242 w 787079"/>
                  <a:gd name="connsiteY789" fmla="*/ 268747 h 603999"/>
                  <a:gd name="connsiteX790" fmla="*/ 727208 w 787079"/>
                  <a:gd name="connsiteY790" fmla="*/ 262658 h 603999"/>
                  <a:gd name="connsiteX791" fmla="*/ 727208 w 787079"/>
                  <a:gd name="connsiteY791" fmla="*/ 257444 h 603999"/>
                  <a:gd name="connsiteX792" fmla="*/ 727208 w 787079"/>
                  <a:gd name="connsiteY792" fmla="*/ 246578 h 603999"/>
                  <a:gd name="connsiteX793" fmla="*/ 733300 w 787079"/>
                  <a:gd name="connsiteY793" fmla="*/ 240927 h 603999"/>
                  <a:gd name="connsiteX794" fmla="*/ 744170 w 787079"/>
                  <a:gd name="connsiteY794" fmla="*/ 240927 h 603999"/>
                  <a:gd name="connsiteX795" fmla="*/ 751574 w 787079"/>
                  <a:gd name="connsiteY795" fmla="*/ 237900 h 603999"/>
                  <a:gd name="connsiteX796" fmla="*/ 748949 w 787079"/>
                  <a:gd name="connsiteY796" fmla="*/ 232248 h 603999"/>
                  <a:gd name="connsiteX797" fmla="*/ 745920 w 787079"/>
                  <a:gd name="connsiteY797" fmla="*/ 232248 h 603999"/>
                  <a:gd name="connsiteX798" fmla="*/ 745483 w 787079"/>
                  <a:gd name="connsiteY798" fmla="*/ 225722 h 603999"/>
                  <a:gd name="connsiteX799" fmla="*/ 740704 w 787079"/>
                  <a:gd name="connsiteY799" fmla="*/ 222257 h 603999"/>
                  <a:gd name="connsiteX800" fmla="*/ 748545 w 787079"/>
                  <a:gd name="connsiteY800" fmla="*/ 217480 h 603999"/>
                  <a:gd name="connsiteX801" fmla="*/ 750699 w 787079"/>
                  <a:gd name="connsiteY801" fmla="*/ 225318 h 603999"/>
                  <a:gd name="connsiteX802" fmla="*/ 756791 w 787079"/>
                  <a:gd name="connsiteY802" fmla="*/ 225318 h 603999"/>
                  <a:gd name="connsiteX803" fmla="*/ 756791 w 787079"/>
                  <a:gd name="connsiteY803" fmla="*/ 218355 h 603999"/>
                  <a:gd name="connsiteX804" fmla="*/ 764598 w 787079"/>
                  <a:gd name="connsiteY804" fmla="*/ 218355 h 603999"/>
                  <a:gd name="connsiteX805" fmla="*/ 767190 w 787079"/>
                  <a:gd name="connsiteY805" fmla="*/ 212266 h 603999"/>
                  <a:gd name="connsiteX806" fmla="*/ 767190 w 787079"/>
                  <a:gd name="connsiteY806" fmla="*/ 205303 h 603999"/>
                  <a:gd name="connsiteX807" fmla="*/ 767190 w 787079"/>
                  <a:gd name="connsiteY807" fmla="*/ 200963 h 603999"/>
                  <a:gd name="connsiteX808" fmla="*/ 769815 w 787079"/>
                  <a:gd name="connsiteY808" fmla="*/ 195749 h 603999"/>
                  <a:gd name="connsiteX809" fmla="*/ 776781 w 787079"/>
                  <a:gd name="connsiteY809" fmla="*/ 195749 h 603999"/>
                  <a:gd name="connsiteX810" fmla="*/ 784623 w 787079"/>
                  <a:gd name="connsiteY810" fmla="*/ 195749 h 603999"/>
                  <a:gd name="connsiteX811" fmla="*/ 784623 w 787079"/>
                  <a:gd name="connsiteY811" fmla="*/ 193159 h 603999"/>
                  <a:gd name="connsiteX812" fmla="*/ 787080 w 787079"/>
                  <a:gd name="connsiteY812" fmla="*/ 188987 h 603999"/>
                  <a:gd name="connsiteX813" fmla="*/ 780147 w 787079"/>
                  <a:gd name="connsiteY813" fmla="*/ 183168 h 603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</a:cxnLst>
                <a:rect l="l" t="t" r="r" b="b"/>
                <a:pathLst>
                  <a:path w="787079" h="603999">
                    <a:moveTo>
                      <a:pt x="780147" y="183168"/>
                    </a:moveTo>
                    <a:lnTo>
                      <a:pt x="776007" y="177954"/>
                    </a:lnTo>
                    <a:cubicBezTo>
                      <a:pt x="776007" y="177954"/>
                      <a:pt x="773416" y="170990"/>
                      <a:pt x="773416" y="170116"/>
                    </a:cubicBezTo>
                    <a:cubicBezTo>
                      <a:pt x="773416" y="169241"/>
                      <a:pt x="771901" y="162513"/>
                      <a:pt x="771901" y="162513"/>
                    </a:cubicBezTo>
                    <a:lnTo>
                      <a:pt x="769276" y="156222"/>
                    </a:lnTo>
                    <a:cubicBezTo>
                      <a:pt x="769276" y="156222"/>
                      <a:pt x="770252" y="152085"/>
                      <a:pt x="769613" y="151210"/>
                    </a:cubicBezTo>
                    <a:cubicBezTo>
                      <a:pt x="768974" y="150336"/>
                      <a:pt x="766685" y="143170"/>
                      <a:pt x="766685" y="143170"/>
                    </a:cubicBezTo>
                    <a:lnTo>
                      <a:pt x="766685" y="137519"/>
                    </a:lnTo>
                    <a:lnTo>
                      <a:pt x="766685" y="132305"/>
                    </a:lnTo>
                    <a:lnTo>
                      <a:pt x="764935" y="124467"/>
                    </a:lnTo>
                    <a:cubicBezTo>
                      <a:pt x="764935" y="124467"/>
                      <a:pt x="761233" y="120329"/>
                      <a:pt x="761031" y="119690"/>
                    </a:cubicBezTo>
                    <a:cubicBezTo>
                      <a:pt x="760795" y="119051"/>
                      <a:pt x="759079" y="117301"/>
                      <a:pt x="759079" y="115989"/>
                    </a:cubicBezTo>
                    <a:cubicBezTo>
                      <a:pt x="759079" y="114678"/>
                      <a:pt x="755175" y="107748"/>
                      <a:pt x="755175" y="107748"/>
                    </a:cubicBezTo>
                    <a:lnTo>
                      <a:pt x="749319" y="99069"/>
                    </a:lnTo>
                    <a:lnTo>
                      <a:pt x="742353" y="93855"/>
                    </a:lnTo>
                    <a:lnTo>
                      <a:pt x="742353" y="85377"/>
                    </a:lnTo>
                    <a:lnTo>
                      <a:pt x="747569" y="80163"/>
                    </a:lnTo>
                    <a:lnTo>
                      <a:pt x="747569" y="74949"/>
                    </a:lnTo>
                    <a:lnTo>
                      <a:pt x="747132" y="72123"/>
                    </a:lnTo>
                    <a:lnTo>
                      <a:pt x="742353" y="69735"/>
                    </a:lnTo>
                    <a:lnTo>
                      <a:pt x="739088" y="73637"/>
                    </a:lnTo>
                    <a:lnTo>
                      <a:pt x="733434" y="77977"/>
                    </a:lnTo>
                    <a:lnTo>
                      <a:pt x="728420" y="82316"/>
                    </a:lnTo>
                    <a:lnTo>
                      <a:pt x="722126" y="85344"/>
                    </a:lnTo>
                    <a:cubicBezTo>
                      <a:pt x="722126" y="85344"/>
                      <a:pt x="719098" y="82720"/>
                      <a:pt x="718424" y="82316"/>
                    </a:cubicBezTo>
                    <a:cubicBezTo>
                      <a:pt x="717785" y="81879"/>
                      <a:pt x="712131" y="77539"/>
                      <a:pt x="712131" y="77539"/>
                    </a:cubicBezTo>
                    <a:cubicBezTo>
                      <a:pt x="712131" y="77539"/>
                      <a:pt x="709742" y="72123"/>
                      <a:pt x="708866" y="72123"/>
                    </a:cubicBezTo>
                    <a:cubicBezTo>
                      <a:pt x="707991" y="72123"/>
                      <a:pt x="704525" y="67347"/>
                      <a:pt x="704525" y="67347"/>
                    </a:cubicBezTo>
                    <a:cubicBezTo>
                      <a:pt x="704525" y="67347"/>
                      <a:pt x="705165" y="64521"/>
                      <a:pt x="704525" y="63882"/>
                    </a:cubicBezTo>
                    <a:cubicBezTo>
                      <a:pt x="703886" y="63242"/>
                      <a:pt x="696280" y="61695"/>
                      <a:pt x="696280" y="61695"/>
                    </a:cubicBezTo>
                    <a:lnTo>
                      <a:pt x="689111" y="63646"/>
                    </a:lnTo>
                    <a:lnTo>
                      <a:pt x="683222" y="66472"/>
                    </a:lnTo>
                    <a:lnTo>
                      <a:pt x="674943" y="66035"/>
                    </a:lnTo>
                    <a:lnTo>
                      <a:pt x="663870" y="61258"/>
                    </a:lnTo>
                    <a:lnTo>
                      <a:pt x="652125" y="54294"/>
                    </a:lnTo>
                    <a:lnTo>
                      <a:pt x="648288" y="56986"/>
                    </a:lnTo>
                    <a:cubicBezTo>
                      <a:pt x="648288" y="56986"/>
                      <a:pt x="646841" y="59172"/>
                      <a:pt x="646403" y="59307"/>
                    </a:cubicBezTo>
                    <a:cubicBezTo>
                      <a:pt x="645966" y="59441"/>
                      <a:pt x="643206" y="61493"/>
                      <a:pt x="643206" y="61493"/>
                    </a:cubicBezTo>
                    <a:lnTo>
                      <a:pt x="641894" y="63680"/>
                    </a:lnTo>
                    <a:lnTo>
                      <a:pt x="637990" y="66136"/>
                    </a:lnTo>
                    <a:cubicBezTo>
                      <a:pt x="637990" y="66136"/>
                      <a:pt x="635971" y="68759"/>
                      <a:pt x="635668" y="69163"/>
                    </a:cubicBezTo>
                    <a:cubicBezTo>
                      <a:pt x="635365" y="69600"/>
                      <a:pt x="634355" y="73368"/>
                      <a:pt x="634220" y="74512"/>
                    </a:cubicBezTo>
                    <a:cubicBezTo>
                      <a:pt x="634086" y="75656"/>
                      <a:pt x="635803" y="76833"/>
                      <a:pt x="637283" y="78414"/>
                    </a:cubicBezTo>
                    <a:cubicBezTo>
                      <a:pt x="638730" y="79995"/>
                      <a:pt x="639033" y="81038"/>
                      <a:pt x="639033" y="81038"/>
                    </a:cubicBezTo>
                    <a:lnTo>
                      <a:pt x="643812" y="86252"/>
                    </a:lnTo>
                    <a:cubicBezTo>
                      <a:pt x="643812" y="86252"/>
                      <a:pt x="644250" y="90592"/>
                      <a:pt x="644250" y="91466"/>
                    </a:cubicBezTo>
                    <a:cubicBezTo>
                      <a:pt x="644250" y="92341"/>
                      <a:pt x="644250" y="93787"/>
                      <a:pt x="643947" y="94494"/>
                    </a:cubicBezTo>
                    <a:cubicBezTo>
                      <a:pt x="643644" y="95234"/>
                      <a:pt x="642365" y="98833"/>
                      <a:pt x="642365" y="98833"/>
                    </a:cubicBezTo>
                    <a:lnTo>
                      <a:pt x="639471" y="100280"/>
                    </a:lnTo>
                    <a:cubicBezTo>
                      <a:pt x="639471" y="100280"/>
                      <a:pt x="636846" y="100414"/>
                      <a:pt x="635701" y="99405"/>
                    </a:cubicBezTo>
                    <a:cubicBezTo>
                      <a:pt x="634557" y="98396"/>
                      <a:pt x="631360" y="97387"/>
                      <a:pt x="630788" y="97387"/>
                    </a:cubicBezTo>
                    <a:cubicBezTo>
                      <a:pt x="630216" y="97387"/>
                      <a:pt x="628028" y="96680"/>
                      <a:pt x="627456" y="96378"/>
                    </a:cubicBezTo>
                    <a:cubicBezTo>
                      <a:pt x="626884" y="96075"/>
                      <a:pt x="623821" y="94191"/>
                      <a:pt x="623821" y="94191"/>
                    </a:cubicBezTo>
                    <a:cubicBezTo>
                      <a:pt x="623821" y="94191"/>
                      <a:pt x="621196" y="92173"/>
                      <a:pt x="620927" y="91433"/>
                    </a:cubicBezTo>
                    <a:cubicBezTo>
                      <a:pt x="620624" y="90726"/>
                      <a:pt x="614970" y="85041"/>
                      <a:pt x="614970" y="85041"/>
                    </a:cubicBezTo>
                    <a:lnTo>
                      <a:pt x="608879" y="79692"/>
                    </a:lnTo>
                    <a:lnTo>
                      <a:pt x="604100" y="75790"/>
                    </a:lnTo>
                    <a:lnTo>
                      <a:pt x="598883" y="75790"/>
                    </a:lnTo>
                    <a:lnTo>
                      <a:pt x="597571" y="76867"/>
                    </a:lnTo>
                    <a:lnTo>
                      <a:pt x="591479" y="79558"/>
                    </a:lnTo>
                    <a:cubicBezTo>
                      <a:pt x="591479" y="79558"/>
                      <a:pt x="590167" y="81744"/>
                      <a:pt x="589157" y="81879"/>
                    </a:cubicBezTo>
                    <a:cubicBezTo>
                      <a:pt x="588148" y="82013"/>
                      <a:pt x="585825" y="83763"/>
                      <a:pt x="584681" y="83897"/>
                    </a:cubicBezTo>
                    <a:cubicBezTo>
                      <a:pt x="583537" y="84032"/>
                      <a:pt x="583368" y="84335"/>
                      <a:pt x="581181" y="84032"/>
                    </a:cubicBezTo>
                    <a:cubicBezTo>
                      <a:pt x="579027" y="83729"/>
                      <a:pt x="578724" y="83897"/>
                      <a:pt x="577411" y="83897"/>
                    </a:cubicBezTo>
                    <a:cubicBezTo>
                      <a:pt x="576099" y="83897"/>
                      <a:pt x="573642" y="84200"/>
                      <a:pt x="572330" y="84200"/>
                    </a:cubicBezTo>
                    <a:cubicBezTo>
                      <a:pt x="571017" y="84200"/>
                      <a:pt x="570748" y="84503"/>
                      <a:pt x="570142" y="84503"/>
                    </a:cubicBezTo>
                    <a:cubicBezTo>
                      <a:pt x="569570" y="84503"/>
                      <a:pt x="567382" y="85680"/>
                      <a:pt x="566104" y="85680"/>
                    </a:cubicBezTo>
                    <a:cubicBezTo>
                      <a:pt x="564791" y="85680"/>
                      <a:pt x="564084" y="88001"/>
                      <a:pt x="564084" y="88001"/>
                    </a:cubicBezTo>
                    <a:lnTo>
                      <a:pt x="561628" y="88001"/>
                    </a:lnTo>
                    <a:lnTo>
                      <a:pt x="556983" y="88741"/>
                    </a:lnTo>
                    <a:lnTo>
                      <a:pt x="554224" y="91063"/>
                    </a:lnTo>
                    <a:lnTo>
                      <a:pt x="552777" y="92375"/>
                    </a:lnTo>
                    <a:lnTo>
                      <a:pt x="552777" y="95267"/>
                    </a:lnTo>
                    <a:lnTo>
                      <a:pt x="552272" y="98160"/>
                    </a:lnTo>
                    <a:lnTo>
                      <a:pt x="549882" y="100616"/>
                    </a:lnTo>
                    <a:lnTo>
                      <a:pt x="545675" y="100751"/>
                    </a:lnTo>
                    <a:cubicBezTo>
                      <a:pt x="545675" y="100751"/>
                      <a:pt x="545675" y="100751"/>
                      <a:pt x="543656" y="99439"/>
                    </a:cubicBezTo>
                    <a:cubicBezTo>
                      <a:pt x="541637" y="98127"/>
                      <a:pt x="540627" y="98867"/>
                      <a:pt x="539752" y="98732"/>
                    </a:cubicBezTo>
                    <a:cubicBezTo>
                      <a:pt x="538877" y="98598"/>
                      <a:pt x="537733" y="99170"/>
                      <a:pt x="537733" y="99170"/>
                    </a:cubicBezTo>
                    <a:lnTo>
                      <a:pt x="536151" y="100482"/>
                    </a:lnTo>
                    <a:lnTo>
                      <a:pt x="533391" y="102500"/>
                    </a:lnTo>
                    <a:lnTo>
                      <a:pt x="530362" y="102365"/>
                    </a:lnTo>
                    <a:lnTo>
                      <a:pt x="526459" y="101356"/>
                    </a:lnTo>
                    <a:cubicBezTo>
                      <a:pt x="526459" y="101356"/>
                      <a:pt x="524574" y="103543"/>
                      <a:pt x="524002" y="103543"/>
                    </a:cubicBezTo>
                    <a:cubicBezTo>
                      <a:pt x="523430" y="103543"/>
                      <a:pt x="521680" y="104855"/>
                      <a:pt x="521680" y="104855"/>
                    </a:cubicBezTo>
                    <a:cubicBezTo>
                      <a:pt x="521680" y="104855"/>
                      <a:pt x="519088" y="105864"/>
                      <a:pt x="518348" y="106167"/>
                    </a:cubicBezTo>
                    <a:cubicBezTo>
                      <a:pt x="517608" y="106470"/>
                      <a:pt x="510237" y="107041"/>
                      <a:pt x="510237" y="107041"/>
                    </a:cubicBezTo>
                    <a:cubicBezTo>
                      <a:pt x="510237" y="107041"/>
                      <a:pt x="506030" y="107613"/>
                      <a:pt x="504886" y="107916"/>
                    </a:cubicBezTo>
                    <a:cubicBezTo>
                      <a:pt x="503708" y="108219"/>
                      <a:pt x="499535" y="108219"/>
                      <a:pt x="499535" y="108219"/>
                    </a:cubicBezTo>
                    <a:lnTo>
                      <a:pt x="492299" y="104148"/>
                    </a:lnTo>
                    <a:lnTo>
                      <a:pt x="489405" y="103005"/>
                    </a:lnTo>
                    <a:lnTo>
                      <a:pt x="487655" y="101995"/>
                    </a:lnTo>
                    <a:cubicBezTo>
                      <a:pt x="487655" y="101995"/>
                      <a:pt x="482304" y="99102"/>
                      <a:pt x="481866" y="98968"/>
                    </a:cubicBezTo>
                    <a:cubicBezTo>
                      <a:pt x="481429" y="98833"/>
                      <a:pt x="478400" y="97084"/>
                      <a:pt x="477962" y="96949"/>
                    </a:cubicBezTo>
                    <a:cubicBezTo>
                      <a:pt x="477525" y="96815"/>
                      <a:pt x="476246" y="93888"/>
                      <a:pt x="476246" y="93316"/>
                    </a:cubicBezTo>
                    <a:cubicBezTo>
                      <a:pt x="476246" y="92744"/>
                      <a:pt x="478703" y="90995"/>
                      <a:pt x="478837" y="90423"/>
                    </a:cubicBezTo>
                    <a:cubicBezTo>
                      <a:pt x="478972" y="89852"/>
                      <a:pt x="482035" y="89549"/>
                      <a:pt x="482169" y="89111"/>
                    </a:cubicBezTo>
                    <a:cubicBezTo>
                      <a:pt x="482304" y="88674"/>
                      <a:pt x="486241" y="87665"/>
                      <a:pt x="486241" y="87665"/>
                    </a:cubicBezTo>
                    <a:lnTo>
                      <a:pt x="489708" y="84469"/>
                    </a:lnTo>
                    <a:lnTo>
                      <a:pt x="491727" y="81879"/>
                    </a:lnTo>
                    <a:lnTo>
                      <a:pt x="495631" y="77371"/>
                    </a:lnTo>
                    <a:cubicBezTo>
                      <a:pt x="495631" y="77371"/>
                      <a:pt x="498391" y="68961"/>
                      <a:pt x="498088" y="68524"/>
                    </a:cubicBezTo>
                    <a:cubicBezTo>
                      <a:pt x="497785" y="68087"/>
                      <a:pt x="497953" y="66943"/>
                      <a:pt x="497953" y="66943"/>
                    </a:cubicBezTo>
                    <a:cubicBezTo>
                      <a:pt x="497953" y="66943"/>
                      <a:pt x="498088" y="64319"/>
                      <a:pt x="498391" y="63613"/>
                    </a:cubicBezTo>
                    <a:cubicBezTo>
                      <a:pt x="498694" y="62872"/>
                      <a:pt x="499266" y="60282"/>
                      <a:pt x="499266" y="60282"/>
                    </a:cubicBezTo>
                    <a:cubicBezTo>
                      <a:pt x="499266" y="60282"/>
                      <a:pt x="502901" y="58398"/>
                      <a:pt x="503910" y="56515"/>
                    </a:cubicBezTo>
                    <a:cubicBezTo>
                      <a:pt x="504920" y="54631"/>
                      <a:pt x="506064" y="54496"/>
                      <a:pt x="506064" y="53924"/>
                    </a:cubicBezTo>
                    <a:cubicBezTo>
                      <a:pt x="506064" y="53352"/>
                      <a:pt x="509530" y="50459"/>
                      <a:pt x="509968" y="49854"/>
                    </a:cubicBezTo>
                    <a:cubicBezTo>
                      <a:pt x="510406" y="49282"/>
                      <a:pt x="513030" y="47667"/>
                      <a:pt x="513434" y="47398"/>
                    </a:cubicBezTo>
                    <a:cubicBezTo>
                      <a:pt x="513872" y="47095"/>
                      <a:pt x="515184" y="46961"/>
                      <a:pt x="515184" y="46961"/>
                    </a:cubicBezTo>
                    <a:cubicBezTo>
                      <a:pt x="515184" y="46961"/>
                      <a:pt x="521982" y="44371"/>
                      <a:pt x="522588" y="44068"/>
                    </a:cubicBezTo>
                    <a:cubicBezTo>
                      <a:pt x="523160" y="43765"/>
                      <a:pt x="524204" y="42319"/>
                      <a:pt x="524204" y="42319"/>
                    </a:cubicBezTo>
                    <a:cubicBezTo>
                      <a:pt x="524204" y="42319"/>
                      <a:pt x="528108" y="40300"/>
                      <a:pt x="528545" y="39863"/>
                    </a:cubicBezTo>
                    <a:cubicBezTo>
                      <a:pt x="528983" y="39426"/>
                      <a:pt x="529420" y="38551"/>
                      <a:pt x="529420" y="38551"/>
                    </a:cubicBezTo>
                    <a:cubicBezTo>
                      <a:pt x="529420" y="38551"/>
                      <a:pt x="528983" y="36533"/>
                      <a:pt x="528848" y="35793"/>
                    </a:cubicBezTo>
                    <a:cubicBezTo>
                      <a:pt x="528713" y="35052"/>
                      <a:pt x="528142" y="34211"/>
                      <a:pt x="527536" y="32765"/>
                    </a:cubicBezTo>
                    <a:cubicBezTo>
                      <a:pt x="526963" y="31318"/>
                      <a:pt x="527098" y="30444"/>
                      <a:pt x="527098" y="30444"/>
                    </a:cubicBezTo>
                    <a:cubicBezTo>
                      <a:pt x="527098" y="30444"/>
                      <a:pt x="527805" y="28695"/>
                      <a:pt x="527805" y="28257"/>
                    </a:cubicBezTo>
                    <a:cubicBezTo>
                      <a:pt x="527805" y="27820"/>
                      <a:pt x="527233" y="24355"/>
                      <a:pt x="527233" y="24355"/>
                    </a:cubicBezTo>
                    <a:cubicBezTo>
                      <a:pt x="527233" y="24355"/>
                      <a:pt x="525213" y="21462"/>
                      <a:pt x="524910" y="20722"/>
                    </a:cubicBezTo>
                    <a:cubicBezTo>
                      <a:pt x="524608" y="20016"/>
                      <a:pt x="523329" y="18704"/>
                      <a:pt x="522891" y="17964"/>
                    </a:cubicBezTo>
                    <a:cubicBezTo>
                      <a:pt x="522454" y="17257"/>
                      <a:pt x="520132" y="15643"/>
                      <a:pt x="520132" y="15643"/>
                    </a:cubicBezTo>
                    <a:lnTo>
                      <a:pt x="516228" y="11572"/>
                    </a:lnTo>
                    <a:lnTo>
                      <a:pt x="512761" y="9991"/>
                    </a:lnTo>
                    <a:cubicBezTo>
                      <a:pt x="512761" y="9991"/>
                      <a:pt x="508992" y="6223"/>
                      <a:pt x="508554" y="6223"/>
                    </a:cubicBezTo>
                    <a:cubicBezTo>
                      <a:pt x="508117" y="6223"/>
                      <a:pt x="506973" y="6795"/>
                      <a:pt x="506973" y="6795"/>
                    </a:cubicBezTo>
                    <a:cubicBezTo>
                      <a:pt x="506973" y="6795"/>
                      <a:pt x="504953" y="8376"/>
                      <a:pt x="504516" y="8376"/>
                    </a:cubicBezTo>
                    <a:cubicBezTo>
                      <a:pt x="504078" y="8376"/>
                      <a:pt x="502328" y="11404"/>
                      <a:pt x="501756" y="11572"/>
                    </a:cubicBezTo>
                    <a:cubicBezTo>
                      <a:pt x="501184" y="11707"/>
                      <a:pt x="497415" y="14331"/>
                      <a:pt x="496977" y="14465"/>
                    </a:cubicBezTo>
                    <a:cubicBezTo>
                      <a:pt x="496540" y="14600"/>
                      <a:pt x="493646" y="17661"/>
                      <a:pt x="492905" y="17930"/>
                    </a:cubicBezTo>
                    <a:cubicBezTo>
                      <a:pt x="492165" y="18233"/>
                      <a:pt x="488698" y="19242"/>
                      <a:pt x="488698" y="19242"/>
                    </a:cubicBezTo>
                    <a:lnTo>
                      <a:pt x="486679" y="18098"/>
                    </a:lnTo>
                    <a:cubicBezTo>
                      <a:pt x="486679" y="18098"/>
                      <a:pt x="481328" y="13321"/>
                      <a:pt x="480890" y="12884"/>
                    </a:cubicBezTo>
                    <a:cubicBezTo>
                      <a:pt x="480453" y="12447"/>
                      <a:pt x="477828" y="11707"/>
                      <a:pt x="477255" y="11707"/>
                    </a:cubicBezTo>
                    <a:cubicBezTo>
                      <a:pt x="476684" y="11707"/>
                      <a:pt x="474361" y="13725"/>
                      <a:pt x="474361" y="13725"/>
                    </a:cubicBezTo>
                    <a:cubicBezTo>
                      <a:pt x="474361" y="13725"/>
                      <a:pt x="471736" y="16921"/>
                      <a:pt x="471164" y="17055"/>
                    </a:cubicBezTo>
                    <a:cubicBezTo>
                      <a:pt x="470592" y="17190"/>
                      <a:pt x="465948" y="23279"/>
                      <a:pt x="465948" y="23279"/>
                    </a:cubicBezTo>
                    <a:lnTo>
                      <a:pt x="460731" y="23144"/>
                    </a:lnTo>
                    <a:lnTo>
                      <a:pt x="458712" y="19074"/>
                    </a:lnTo>
                    <a:lnTo>
                      <a:pt x="459722" y="18199"/>
                    </a:lnTo>
                    <a:lnTo>
                      <a:pt x="458275" y="11101"/>
                    </a:lnTo>
                    <a:lnTo>
                      <a:pt x="451611" y="6627"/>
                    </a:lnTo>
                    <a:lnTo>
                      <a:pt x="446697" y="6324"/>
                    </a:lnTo>
                    <a:cubicBezTo>
                      <a:pt x="446697" y="6324"/>
                      <a:pt x="445116" y="8645"/>
                      <a:pt x="444375" y="9217"/>
                    </a:cubicBezTo>
                    <a:cubicBezTo>
                      <a:pt x="443668" y="9789"/>
                      <a:pt x="442793" y="10967"/>
                      <a:pt x="442793" y="10967"/>
                    </a:cubicBezTo>
                    <a:cubicBezTo>
                      <a:pt x="442793" y="10967"/>
                      <a:pt x="439899" y="12716"/>
                      <a:pt x="439461" y="12850"/>
                    </a:cubicBezTo>
                    <a:cubicBezTo>
                      <a:pt x="439024" y="12985"/>
                      <a:pt x="437139" y="15172"/>
                      <a:pt x="435692" y="15441"/>
                    </a:cubicBezTo>
                    <a:cubicBezTo>
                      <a:pt x="434245" y="15743"/>
                      <a:pt x="433808" y="16752"/>
                      <a:pt x="433808" y="16752"/>
                    </a:cubicBezTo>
                    <a:cubicBezTo>
                      <a:pt x="433808" y="16752"/>
                      <a:pt x="427009" y="16752"/>
                      <a:pt x="426437" y="16752"/>
                    </a:cubicBezTo>
                    <a:cubicBezTo>
                      <a:pt x="425865" y="16752"/>
                      <a:pt x="422365" y="17762"/>
                      <a:pt x="422365" y="17762"/>
                    </a:cubicBezTo>
                    <a:lnTo>
                      <a:pt x="417283" y="19343"/>
                    </a:lnTo>
                    <a:lnTo>
                      <a:pt x="409879" y="18031"/>
                    </a:lnTo>
                    <a:cubicBezTo>
                      <a:pt x="409879" y="18031"/>
                      <a:pt x="404225" y="17896"/>
                      <a:pt x="403081" y="17593"/>
                    </a:cubicBezTo>
                    <a:cubicBezTo>
                      <a:pt x="401937" y="17291"/>
                      <a:pt x="398437" y="17156"/>
                      <a:pt x="397999" y="17156"/>
                    </a:cubicBezTo>
                    <a:cubicBezTo>
                      <a:pt x="397562" y="17156"/>
                      <a:pt x="392042" y="14566"/>
                      <a:pt x="392042" y="14566"/>
                    </a:cubicBezTo>
                    <a:cubicBezTo>
                      <a:pt x="392042" y="14566"/>
                      <a:pt x="388576" y="11370"/>
                      <a:pt x="388273" y="10933"/>
                    </a:cubicBezTo>
                    <a:cubicBezTo>
                      <a:pt x="387970" y="10496"/>
                      <a:pt x="386388" y="7603"/>
                      <a:pt x="386388" y="7165"/>
                    </a:cubicBezTo>
                    <a:cubicBezTo>
                      <a:pt x="386388" y="6728"/>
                      <a:pt x="384201" y="3263"/>
                      <a:pt x="383931" y="2826"/>
                    </a:cubicBezTo>
                    <a:cubicBezTo>
                      <a:pt x="383662" y="2388"/>
                      <a:pt x="381172" y="0"/>
                      <a:pt x="381172" y="0"/>
                    </a:cubicBezTo>
                    <a:cubicBezTo>
                      <a:pt x="381172" y="0"/>
                      <a:pt x="379287" y="202"/>
                      <a:pt x="377268" y="67"/>
                    </a:cubicBezTo>
                    <a:cubicBezTo>
                      <a:pt x="375249" y="-67"/>
                      <a:pt x="371614" y="67"/>
                      <a:pt x="371042" y="67"/>
                    </a:cubicBezTo>
                    <a:cubicBezTo>
                      <a:pt x="370469" y="67"/>
                      <a:pt x="368450" y="2388"/>
                      <a:pt x="368450" y="2388"/>
                    </a:cubicBezTo>
                    <a:cubicBezTo>
                      <a:pt x="368450" y="2388"/>
                      <a:pt x="365825" y="8477"/>
                      <a:pt x="365825" y="9049"/>
                    </a:cubicBezTo>
                    <a:cubicBezTo>
                      <a:pt x="365825" y="9621"/>
                      <a:pt x="364378" y="12817"/>
                      <a:pt x="364378" y="12817"/>
                    </a:cubicBezTo>
                    <a:lnTo>
                      <a:pt x="359162" y="18031"/>
                    </a:lnTo>
                    <a:lnTo>
                      <a:pt x="355695" y="19343"/>
                    </a:lnTo>
                    <a:cubicBezTo>
                      <a:pt x="355695" y="19343"/>
                      <a:pt x="354551" y="19915"/>
                      <a:pt x="354113" y="20083"/>
                    </a:cubicBezTo>
                    <a:cubicBezTo>
                      <a:pt x="353676" y="20217"/>
                      <a:pt x="351354" y="21832"/>
                      <a:pt x="351354" y="21832"/>
                    </a:cubicBezTo>
                    <a:cubicBezTo>
                      <a:pt x="351354" y="21832"/>
                      <a:pt x="348022" y="23716"/>
                      <a:pt x="347585" y="23851"/>
                    </a:cubicBezTo>
                    <a:cubicBezTo>
                      <a:pt x="347147" y="23985"/>
                      <a:pt x="345565" y="23851"/>
                      <a:pt x="344690" y="23851"/>
                    </a:cubicBezTo>
                    <a:cubicBezTo>
                      <a:pt x="343815" y="23851"/>
                      <a:pt x="342503" y="24725"/>
                      <a:pt x="342065" y="25162"/>
                    </a:cubicBezTo>
                    <a:cubicBezTo>
                      <a:pt x="341628" y="25600"/>
                      <a:pt x="339743" y="26609"/>
                      <a:pt x="339743" y="26609"/>
                    </a:cubicBezTo>
                    <a:lnTo>
                      <a:pt x="340618" y="29805"/>
                    </a:lnTo>
                    <a:lnTo>
                      <a:pt x="342065" y="31251"/>
                    </a:lnTo>
                    <a:cubicBezTo>
                      <a:pt x="342065" y="31251"/>
                      <a:pt x="349032" y="35019"/>
                      <a:pt x="350041" y="35153"/>
                    </a:cubicBezTo>
                    <a:cubicBezTo>
                      <a:pt x="351051" y="35288"/>
                      <a:pt x="351791" y="37340"/>
                      <a:pt x="351791" y="37340"/>
                    </a:cubicBezTo>
                    <a:lnTo>
                      <a:pt x="350647" y="39089"/>
                    </a:lnTo>
                    <a:lnTo>
                      <a:pt x="348762" y="41276"/>
                    </a:lnTo>
                    <a:lnTo>
                      <a:pt x="346878" y="42453"/>
                    </a:lnTo>
                    <a:lnTo>
                      <a:pt x="347753" y="45481"/>
                    </a:lnTo>
                    <a:lnTo>
                      <a:pt x="348325" y="46927"/>
                    </a:lnTo>
                    <a:lnTo>
                      <a:pt x="350344" y="50258"/>
                    </a:lnTo>
                    <a:lnTo>
                      <a:pt x="349604" y="53016"/>
                    </a:lnTo>
                    <a:cubicBezTo>
                      <a:pt x="349604" y="53016"/>
                      <a:pt x="349166" y="54765"/>
                      <a:pt x="349166" y="55203"/>
                    </a:cubicBezTo>
                    <a:cubicBezTo>
                      <a:pt x="349166" y="55640"/>
                      <a:pt x="349604" y="57793"/>
                      <a:pt x="349604" y="57793"/>
                    </a:cubicBezTo>
                    <a:cubicBezTo>
                      <a:pt x="349604" y="57793"/>
                      <a:pt x="352363" y="61695"/>
                      <a:pt x="352801" y="61998"/>
                    </a:cubicBezTo>
                    <a:cubicBezTo>
                      <a:pt x="353238" y="62301"/>
                      <a:pt x="352498" y="65194"/>
                      <a:pt x="352498" y="65194"/>
                    </a:cubicBezTo>
                    <a:lnTo>
                      <a:pt x="351185" y="67649"/>
                    </a:lnTo>
                    <a:cubicBezTo>
                      <a:pt x="351185" y="67649"/>
                      <a:pt x="347719" y="68221"/>
                      <a:pt x="347113" y="68221"/>
                    </a:cubicBezTo>
                    <a:cubicBezTo>
                      <a:pt x="346541" y="68221"/>
                      <a:pt x="344084" y="68524"/>
                      <a:pt x="344084" y="68524"/>
                    </a:cubicBezTo>
                    <a:cubicBezTo>
                      <a:pt x="344084" y="68524"/>
                      <a:pt x="341762" y="70273"/>
                      <a:pt x="340618" y="70542"/>
                    </a:cubicBezTo>
                    <a:cubicBezTo>
                      <a:pt x="339474" y="70845"/>
                      <a:pt x="336142" y="71552"/>
                      <a:pt x="336142" y="71552"/>
                    </a:cubicBezTo>
                    <a:lnTo>
                      <a:pt x="330791" y="68928"/>
                    </a:lnTo>
                    <a:lnTo>
                      <a:pt x="326315" y="62536"/>
                    </a:lnTo>
                    <a:lnTo>
                      <a:pt x="322545" y="56750"/>
                    </a:lnTo>
                    <a:lnTo>
                      <a:pt x="317901" y="52108"/>
                    </a:lnTo>
                    <a:lnTo>
                      <a:pt x="311675" y="45885"/>
                    </a:lnTo>
                    <a:lnTo>
                      <a:pt x="304843" y="44573"/>
                    </a:lnTo>
                    <a:lnTo>
                      <a:pt x="300939" y="42823"/>
                    </a:lnTo>
                    <a:lnTo>
                      <a:pt x="295420" y="41242"/>
                    </a:lnTo>
                    <a:lnTo>
                      <a:pt x="293838" y="42823"/>
                    </a:lnTo>
                    <a:cubicBezTo>
                      <a:pt x="293838" y="42823"/>
                      <a:pt x="291381" y="43967"/>
                      <a:pt x="290809" y="44135"/>
                    </a:cubicBezTo>
                    <a:cubicBezTo>
                      <a:pt x="290237" y="44270"/>
                      <a:pt x="285155" y="44135"/>
                      <a:pt x="285155" y="44135"/>
                    </a:cubicBezTo>
                    <a:lnTo>
                      <a:pt x="284280" y="42823"/>
                    </a:lnTo>
                    <a:lnTo>
                      <a:pt x="275597" y="42823"/>
                    </a:lnTo>
                    <a:lnTo>
                      <a:pt x="268227" y="42823"/>
                    </a:lnTo>
                    <a:lnTo>
                      <a:pt x="266342" y="43900"/>
                    </a:lnTo>
                    <a:lnTo>
                      <a:pt x="262270" y="44976"/>
                    </a:lnTo>
                    <a:lnTo>
                      <a:pt x="260688" y="45851"/>
                    </a:lnTo>
                    <a:lnTo>
                      <a:pt x="259982" y="47432"/>
                    </a:lnTo>
                    <a:lnTo>
                      <a:pt x="262136" y="49013"/>
                    </a:lnTo>
                    <a:lnTo>
                      <a:pt x="262573" y="54093"/>
                    </a:lnTo>
                    <a:lnTo>
                      <a:pt x="262573" y="56548"/>
                    </a:lnTo>
                    <a:lnTo>
                      <a:pt x="262573" y="59307"/>
                    </a:lnTo>
                    <a:lnTo>
                      <a:pt x="262573" y="61493"/>
                    </a:lnTo>
                    <a:lnTo>
                      <a:pt x="261866" y="64083"/>
                    </a:lnTo>
                    <a:lnTo>
                      <a:pt x="259982" y="65227"/>
                    </a:lnTo>
                    <a:lnTo>
                      <a:pt x="258972" y="67986"/>
                    </a:lnTo>
                    <a:lnTo>
                      <a:pt x="260116" y="69870"/>
                    </a:lnTo>
                    <a:lnTo>
                      <a:pt x="263886" y="72460"/>
                    </a:lnTo>
                    <a:lnTo>
                      <a:pt x="265333" y="75656"/>
                    </a:lnTo>
                    <a:lnTo>
                      <a:pt x="265198" y="77842"/>
                    </a:lnTo>
                    <a:lnTo>
                      <a:pt x="265064" y="79289"/>
                    </a:lnTo>
                    <a:lnTo>
                      <a:pt x="263919" y="80601"/>
                    </a:lnTo>
                    <a:lnTo>
                      <a:pt x="263482" y="82754"/>
                    </a:lnTo>
                    <a:lnTo>
                      <a:pt x="261159" y="82754"/>
                    </a:lnTo>
                    <a:lnTo>
                      <a:pt x="258400" y="83628"/>
                    </a:lnTo>
                    <a:lnTo>
                      <a:pt x="254496" y="85815"/>
                    </a:lnTo>
                    <a:lnTo>
                      <a:pt x="251467" y="87396"/>
                    </a:lnTo>
                    <a:lnTo>
                      <a:pt x="247832" y="91029"/>
                    </a:lnTo>
                    <a:lnTo>
                      <a:pt x="244635" y="94225"/>
                    </a:lnTo>
                    <a:lnTo>
                      <a:pt x="242751" y="97252"/>
                    </a:lnTo>
                    <a:lnTo>
                      <a:pt x="241606" y="100280"/>
                    </a:lnTo>
                    <a:lnTo>
                      <a:pt x="242178" y="103913"/>
                    </a:lnTo>
                    <a:lnTo>
                      <a:pt x="243491" y="106671"/>
                    </a:lnTo>
                    <a:lnTo>
                      <a:pt x="245376" y="109564"/>
                    </a:lnTo>
                    <a:lnTo>
                      <a:pt x="251164" y="114038"/>
                    </a:lnTo>
                    <a:lnTo>
                      <a:pt x="251736" y="119118"/>
                    </a:lnTo>
                    <a:lnTo>
                      <a:pt x="251433" y="124197"/>
                    </a:lnTo>
                    <a:lnTo>
                      <a:pt x="253621" y="130286"/>
                    </a:lnTo>
                    <a:lnTo>
                      <a:pt x="255506" y="135501"/>
                    </a:lnTo>
                    <a:lnTo>
                      <a:pt x="252611" y="141152"/>
                    </a:lnTo>
                    <a:lnTo>
                      <a:pt x="247092" y="143170"/>
                    </a:lnTo>
                    <a:lnTo>
                      <a:pt x="241303" y="144751"/>
                    </a:lnTo>
                    <a:lnTo>
                      <a:pt x="235649" y="149226"/>
                    </a:lnTo>
                    <a:lnTo>
                      <a:pt x="235212" y="154877"/>
                    </a:lnTo>
                    <a:cubicBezTo>
                      <a:pt x="235212" y="154877"/>
                      <a:pt x="237803" y="162849"/>
                      <a:pt x="237803" y="163421"/>
                    </a:cubicBezTo>
                    <a:cubicBezTo>
                      <a:pt x="237803" y="163993"/>
                      <a:pt x="239116" y="167054"/>
                      <a:pt x="239116" y="167054"/>
                    </a:cubicBezTo>
                    <a:cubicBezTo>
                      <a:pt x="239116" y="167054"/>
                      <a:pt x="243895" y="172841"/>
                      <a:pt x="244770" y="174455"/>
                    </a:cubicBezTo>
                    <a:cubicBezTo>
                      <a:pt x="245645" y="176036"/>
                      <a:pt x="244635" y="178795"/>
                      <a:pt x="244635" y="178795"/>
                    </a:cubicBezTo>
                    <a:cubicBezTo>
                      <a:pt x="244635" y="178795"/>
                      <a:pt x="243626" y="179804"/>
                      <a:pt x="242010" y="180107"/>
                    </a:cubicBezTo>
                    <a:cubicBezTo>
                      <a:pt x="240428" y="180410"/>
                      <a:pt x="236928" y="182428"/>
                      <a:pt x="236221" y="182428"/>
                    </a:cubicBezTo>
                    <a:cubicBezTo>
                      <a:pt x="235481" y="182428"/>
                      <a:pt x="229120" y="187776"/>
                      <a:pt x="229120" y="187776"/>
                    </a:cubicBezTo>
                    <a:lnTo>
                      <a:pt x="226226" y="186464"/>
                    </a:lnTo>
                    <a:cubicBezTo>
                      <a:pt x="226226" y="186464"/>
                      <a:pt x="222322" y="186330"/>
                      <a:pt x="220707" y="186464"/>
                    </a:cubicBezTo>
                    <a:cubicBezTo>
                      <a:pt x="219125" y="186599"/>
                      <a:pt x="213740" y="190938"/>
                      <a:pt x="212899" y="191241"/>
                    </a:cubicBezTo>
                    <a:cubicBezTo>
                      <a:pt x="212024" y="191544"/>
                      <a:pt x="209399" y="198474"/>
                      <a:pt x="209399" y="198474"/>
                    </a:cubicBezTo>
                    <a:lnTo>
                      <a:pt x="216062" y="203823"/>
                    </a:lnTo>
                    <a:lnTo>
                      <a:pt x="217947" y="207590"/>
                    </a:lnTo>
                    <a:cubicBezTo>
                      <a:pt x="217947" y="207590"/>
                      <a:pt x="216365" y="212670"/>
                      <a:pt x="215625" y="212670"/>
                    </a:cubicBezTo>
                    <a:cubicBezTo>
                      <a:pt x="214918" y="212670"/>
                      <a:pt x="213303" y="215428"/>
                      <a:pt x="212159" y="215698"/>
                    </a:cubicBezTo>
                    <a:cubicBezTo>
                      <a:pt x="211014" y="216000"/>
                      <a:pt x="208389" y="216841"/>
                      <a:pt x="208389" y="216841"/>
                    </a:cubicBezTo>
                    <a:lnTo>
                      <a:pt x="204048" y="217547"/>
                    </a:lnTo>
                    <a:cubicBezTo>
                      <a:pt x="204048" y="217547"/>
                      <a:pt x="198831" y="221181"/>
                      <a:pt x="198091" y="221181"/>
                    </a:cubicBezTo>
                    <a:cubicBezTo>
                      <a:pt x="197351" y="221181"/>
                      <a:pt x="194894" y="225823"/>
                      <a:pt x="193749" y="226260"/>
                    </a:cubicBezTo>
                    <a:cubicBezTo>
                      <a:pt x="192571" y="226697"/>
                      <a:pt x="192740" y="227269"/>
                      <a:pt x="192740" y="227269"/>
                    </a:cubicBezTo>
                    <a:lnTo>
                      <a:pt x="187826" y="229591"/>
                    </a:lnTo>
                    <a:lnTo>
                      <a:pt x="187826" y="234367"/>
                    </a:lnTo>
                    <a:lnTo>
                      <a:pt x="187557" y="238438"/>
                    </a:lnTo>
                    <a:cubicBezTo>
                      <a:pt x="187557" y="238438"/>
                      <a:pt x="188432" y="245670"/>
                      <a:pt x="188264" y="246107"/>
                    </a:cubicBezTo>
                    <a:cubicBezTo>
                      <a:pt x="188129" y="246545"/>
                      <a:pt x="187826" y="248429"/>
                      <a:pt x="187254" y="248731"/>
                    </a:cubicBezTo>
                    <a:cubicBezTo>
                      <a:pt x="186682" y="249034"/>
                      <a:pt x="185235" y="251322"/>
                      <a:pt x="184360" y="252364"/>
                    </a:cubicBezTo>
                    <a:cubicBezTo>
                      <a:pt x="183485" y="253374"/>
                      <a:pt x="184360" y="254988"/>
                      <a:pt x="184360" y="255998"/>
                    </a:cubicBezTo>
                    <a:cubicBezTo>
                      <a:pt x="184360" y="257007"/>
                      <a:pt x="186817" y="259328"/>
                      <a:pt x="186817" y="259328"/>
                    </a:cubicBezTo>
                    <a:cubicBezTo>
                      <a:pt x="186817" y="259328"/>
                      <a:pt x="188398" y="261784"/>
                      <a:pt x="188398" y="262221"/>
                    </a:cubicBezTo>
                    <a:cubicBezTo>
                      <a:pt x="188398" y="262658"/>
                      <a:pt x="188836" y="268579"/>
                      <a:pt x="188836" y="269756"/>
                    </a:cubicBezTo>
                    <a:cubicBezTo>
                      <a:pt x="188836" y="270900"/>
                      <a:pt x="190418" y="273827"/>
                      <a:pt x="190418" y="274264"/>
                    </a:cubicBezTo>
                    <a:cubicBezTo>
                      <a:pt x="190418" y="274701"/>
                      <a:pt x="193043" y="278335"/>
                      <a:pt x="193043" y="278335"/>
                    </a:cubicBezTo>
                    <a:lnTo>
                      <a:pt x="192302" y="287013"/>
                    </a:lnTo>
                    <a:lnTo>
                      <a:pt x="185504" y="293539"/>
                    </a:lnTo>
                    <a:lnTo>
                      <a:pt x="184629" y="299056"/>
                    </a:lnTo>
                    <a:lnTo>
                      <a:pt x="182172" y="302252"/>
                    </a:lnTo>
                    <a:lnTo>
                      <a:pt x="179850" y="304573"/>
                    </a:lnTo>
                    <a:lnTo>
                      <a:pt x="175509" y="307903"/>
                    </a:lnTo>
                    <a:lnTo>
                      <a:pt x="175071" y="310090"/>
                    </a:lnTo>
                    <a:lnTo>
                      <a:pt x="172009" y="312849"/>
                    </a:lnTo>
                    <a:cubicBezTo>
                      <a:pt x="172009" y="312849"/>
                      <a:pt x="171133" y="313420"/>
                      <a:pt x="169989" y="314026"/>
                    </a:cubicBezTo>
                    <a:cubicBezTo>
                      <a:pt x="168845" y="314598"/>
                      <a:pt x="167532" y="314732"/>
                      <a:pt x="167532" y="314732"/>
                    </a:cubicBezTo>
                    <a:cubicBezTo>
                      <a:pt x="167532" y="314732"/>
                      <a:pt x="164773" y="316044"/>
                      <a:pt x="163023" y="316482"/>
                    </a:cubicBezTo>
                    <a:cubicBezTo>
                      <a:pt x="161273" y="316919"/>
                      <a:pt x="159994" y="318063"/>
                      <a:pt x="159994" y="318063"/>
                    </a:cubicBezTo>
                    <a:lnTo>
                      <a:pt x="157672" y="318937"/>
                    </a:lnTo>
                    <a:lnTo>
                      <a:pt x="156662" y="321999"/>
                    </a:lnTo>
                    <a:lnTo>
                      <a:pt x="155215" y="323580"/>
                    </a:lnTo>
                    <a:lnTo>
                      <a:pt x="152893" y="326204"/>
                    </a:lnTo>
                    <a:cubicBezTo>
                      <a:pt x="152893" y="326204"/>
                      <a:pt x="149426" y="327347"/>
                      <a:pt x="148820" y="327347"/>
                    </a:cubicBezTo>
                    <a:cubicBezTo>
                      <a:pt x="148248" y="327347"/>
                      <a:pt x="144042" y="328054"/>
                      <a:pt x="143604" y="328222"/>
                    </a:cubicBezTo>
                    <a:cubicBezTo>
                      <a:pt x="143167" y="328357"/>
                      <a:pt x="139700" y="331115"/>
                      <a:pt x="139700" y="331115"/>
                    </a:cubicBezTo>
                    <a:lnTo>
                      <a:pt x="133609" y="332730"/>
                    </a:lnTo>
                    <a:lnTo>
                      <a:pt x="127652" y="334748"/>
                    </a:lnTo>
                    <a:lnTo>
                      <a:pt x="123883" y="339390"/>
                    </a:lnTo>
                    <a:lnTo>
                      <a:pt x="120988" y="347060"/>
                    </a:lnTo>
                    <a:lnTo>
                      <a:pt x="118969" y="348809"/>
                    </a:lnTo>
                    <a:lnTo>
                      <a:pt x="118834" y="352846"/>
                    </a:lnTo>
                    <a:cubicBezTo>
                      <a:pt x="118834" y="352846"/>
                      <a:pt x="122301" y="359372"/>
                      <a:pt x="122469" y="359944"/>
                    </a:cubicBezTo>
                    <a:cubicBezTo>
                      <a:pt x="122604" y="360516"/>
                      <a:pt x="123916" y="364587"/>
                      <a:pt x="123916" y="364587"/>
                    </a:cubicBezTo>
                    <a:lnTo>
                      <a:pt x="122604" y="367042"/>
                    </a:lnTo>
                    <a:lnTo>
                      <a:pt x="119575" y="366470"/>
                    </a:lnTo>
                    <a:cubicBezTo>
                      <a:pt x="119575" y="366470"/>
                      <a:pt x="116512" y="365158"/>
                      <a:pt x="114796" y="365024"/>
                    </a:cubicBezTo>
                    <a:cubicBezTo>
                      <a:pt x="113046" y="364889"/>
                      <a:pt x="112036" y="365024"/>
                      <a:pt x="111464" y="365024"/>
                    </a:cubicBezTo>
                    <a:cubicBezTo>
                      <a:pt x="110892" y="365024"/>
                      <a:pt x="108704" y="367210"/>
                      <a:pt x="108704" y="367210"/>
                    </a:cubicBezTo>
                    <a:lnTo>
                      <a:pt x="108839" y="371685"/>
                    </a:lnTo>
                    <a:lnTo>
                      <a:pt x="115065" y="375755"/>
                    </a:lnTo>
                    <a:lnTo>
                      <a:pt x="111430" y="377638"/>
                    </a:lnTo>
                    <a:lnTo>
                      <a:pt x="107089" y="379388"/>
                    </a:lnTo>
                    <a:lnTo>
                      <a:pt x="99416" y="382146"/>
                    </a:lnTo>
                    <a:lnTo>
                      <a:pt x="97262" y="385342"/>
                    </a:lnTo>
                    <a:lnTo>
                      <a:pt x="90733" y="384030"/>
                    </a:lnTo>
                    <a:lnTo>
                      <a:pt x="84944" y="379825"/>
                    </a:lnTo>
                    <a:lnTo>
                      <a:pt x="78718" y="379522"/>
                    </a:lnTo>
                    <a:lnTo>
                      <a:pt x="75386" y="381709"/>
                    </a:lnTo>
                    <a:cubicBezTo>
                      <a:pt x="75386" y="381709"/>
                      <a:pt x="75521" y="386789"/>
                      <a:pt x="75521" y="387495"/>
                    </a:cubicBezTo>
                    <a:cubicBezTo>
                      <a:pt x="75521" y="388201"/>
                      <a:pt x="79290" y="394593"/>
                      <a:pt x="79290" y="394593"/>
                    </a:cubicBezTo>
                    <a:lnTo>
                      <a:pt x="85516" y="401691"/>
                    </a:lnTo>
                    <a:lnTo>
                      <a:pt x="84944" y="407780"/>
                    </a:lnTo>
                    <a:lnTo>
                      <a:pt x="79593" y="410235"/>
                    </a:lnTo>
                    <a:lnTo>
                      <a:pt x="72054" y="409663"/>
                    </a:lnTo>
                    <a:cubicBezTo>
                      <a:pt x="72054" y="409663"/>
                      <a:pt x="65256" y="410807"/>
                      <a:pt x="64651" y="410807"/>
                    </a:cubicBezTo>
                    <a:cubicBezTo>
                      <a:pt x="64078" y="410807"/>
                      <a:pt x="57246" y="412119"/>
                      <a:pt x="57246" y="412119"/>
                    </a:cubicBezTo>
                    <a:lnTo>
                      <a:pt x="50145" y="413431"/>
                    </a:lnTo>
                    <a:lnTo>
                      <a:pt x="44626" y="413566"/>
                    </a:lnTo>
                    <a:lnTo>
                      <a:pt x="38400" y="415012"/>
                    </a:lnTo>
                    <a:lnTo>
                      <a:pt x="34058" y="417636"/>
                    </a:lnTo>
                    <a:lnTo>
                      <a:pt x="31029" y="422985"/>
                    </a:lnTo>
                    <a:lnTo>
                      <a:pt x="34058" y="426887"/>
                    </a:lnTo>
                    <a:lnTo>
                      <a:pt x="35203" y="432404"/>
                    </a:lnTo>
                    <a:lnTo>
                      <a:pt x="31871" y="439199"/>
                    </a:lnTo>
                    <a:lnTo>
                      <a:pt x="23457" y="440948"/>
                    </a:lnTo>
                    <a:cubicBezTo>
                      <a:pt x="23457" y="440948"/>
                      <a:pt x="17669" y="440948"/>
                      <a:pt x="17097" y="440948"/>
                    </a:cubicBezTo>
                    <a:cubicBezTo>
                      <a:pt x="16524" y="440948"/>
                      <a:pt x="12890" y="443034"/>
                      <a:pt x="12890" y="443034"/>
                    </a:cubicBezTo>
                    <a:lnTo>
                      <a:pt x="9995" y="446734"/>
                    </a:lnTo>
                    <a:lnTo>
                      <a:pt x="7539" y="451377"/>
                    </a:lnTo>
                    <a:lnTo>
                      <a:pt x="5957" y="454270"/>
                    </a:lnTo>
                    <a:lnTo>
                      <a:pt x="4947" y="457163"/>
                    </a:lnTo>
                    <a:lnTo>
                      <a:pt x="7404" y="460055"/>
                    </a:lnTo>
                    <a:lnTo>
                      <a:pt x="11308" y="461805"/>
                    </a:lnTo>
                    <a:lnTo>
                      <a:pt x="13933" y="461805"/>
                    </a:lnTo>
                    <a:lnTo>
                      <a:pt x="20462" y="463554"/>
                    </a:lnTo>
                    <a:lnTo>
                      <a:pt x="23928" y="464563"/>
                    </a:lnTo>
                    <a:lnTo>
                      <a:pt x="25813" y="468634"/>
                    </a:lnTo>
                    <a:lnTo>
                      <a:pt x="28001" y="470955"/>
                    </a:lnTo>
                    <a:lnTo>
                      <a:pt x="27429" y="474151"/>
                    </a:lnTo>
                    <a:lnTo>
                      <a:pt x="23222" y="475732"/>
                    </a:lnTo>
                    <a:lnTo>
                      <a:pt x="20630" y="476875"/>
                    </a:lnTo>
                    <a:lnTo>
                      <a:pt x="15111" y="479062"/>
                    </a:lnTo>
                    <a:lnTo>
                      <a:pt x="11039" y="482392"/>
                    </a:lnTo>
                    <a:lnTo>
                      <a:pt x="7842" y="485588"/>
                    </a:lnTo>
                    <a:lnTo>
                      <a:pt x="6394" y="491239"/>
                    </a:lnTo>
                    <a:lnTo>
                      <a:pt x="4072" y="497026"/>
                    </a:lnTo>
                    <a:lnTo>
                      <a:pt x="2760" y="503417"/>
                    </a:lnTo>
                    <a:lnTo>
                      <a:pt x="1885" y="509943"/>
                    </a:lnTo>
                    <a:lnTo>
                      <a:pt x="2019" y="516167"/>
                    </a:lnTo>
                    <a:lnTo>
                      <a:pt x="0" y="525283"/>
                    </a:lnTo>
                    <a:lnTo>
                      <a:pt x="0" y="530800"/>
                    </a:lnTo>
                    <a:lnTo>
                      <a:pt x="1649" y="535879"/>
                    </a:lnTo>
                    <a:lnTo>
                      <a:pt x="4476" y="538772"/>
                    </a:lnTo>
                    <a:lnTo>
                      <a:pt x="7101" y="543247"/>
                    </a:lnTo>
                    <a:lnTo>
                      <a:pt x="8111" y="548764"/>
                    </a:lnTo>
                    <a:lnTo>
                      <a:pt x="12149" y="549033"/>
                    </a:lnTo>
                    <a:lnTo>
                      <a:pt x="17500" y="550042"/>
                    </a:lnTo>
                    <a:lnTo>
                      <a:pt x="18241" y="552800"/>
                    </a:lnTo>
                    <a:cubicBezTo>
                      <a:pt x="18241" y="552800"/>
                      <a:pt x="15178" y="553405"/>
                      <a:pt x="14606" y="553675"/>
                    </a:cubicBezTo>
                    <a:cubicBezTo>
                      <a:pt x="14034" y="553977"/>
                      <a:pt x="11577" y="555693"/>
                      <a:pt x="11577" y="555693"/>
                    </a:cubicBezTo>
                    <a:lnTo>
                      <a:pt x="8683" y="558149"/>
                    </a:lnTo>
                    <a:lnTo>
                      <a:pt x="8111" y="560167"/>
                    </a:lnTo>
                    <a:lnTo>
                      <a:pt x="12149" y="562926"/>
                    </a:lnTo>
                    <a:lnTo>
                      <a:pt x="14034" y="568005"/>
                    </a:lnTo>
                    <a:cubicBezTo>
                      <a:pt x="14034" y="568005"/>
                      <a:pt x="16053" y="571773"/>
                      <a:pt x="16625" y="572782"/>
                    </a:cubicBezTo>
                    <a:cubicBezTo>
                      <a:pt x="17231" y="573791"/>
                      <a:pt x="17366" y="574363"/>
                      <a:pt x="17366" y="574363"/>
                    </a:cubicBezTo>
                    <a:lnTo>
                      <a:pt x="20428" y="576819"/>
                    </a:lnTo>
                    <a:lnTo>
                      <a:pt x="23188" y="578568"/>
                    </a:lnTo>
                    <a:lnTo>
                      <a:pt x="24500" y="578434"/>
                    </a:lnTo>
                    <a:cubicBezTo>
                      <a:pt x="24500" y="578434"/>
                      <a:pt x="26520" y="576415"/>
                      <a:pt x="26654" y="575978"/>
                    </a:cubicBezTo>
                    <a:cubicBezTo>
                      <a:pt x="26789" y="575541"/>
                      <a:pt x="28404" y="573960"/>
                      <a:pt x="28404" y="573960"/>
                    </a:cubicBezTo>
                    <a:lnTo>
                      <a:pt x="31029" y="577155"/>
                    </a:lnTo>
                    <a:lnTo>
                      <a:pt x="33924" y="579611"/>
                    </a:lnTo>
                    <a:lnTo>
                      <a:pt x="34664" y="580620"/>
                    </a:lnTo>
                    <a:lnTo>
                      <a:pt x="37558" y="583379"/>
                    </a:lnTo>
                    <a:lnTo>
                      <a:pt x="37693" y="585700"/>
                    </a:lnTo>
                    <a:lnTo>
                      <a:pt x="37121" y="587752"/>
                    </a:lnTo>
                    <a:cubicBezTo>
                      <a:pt x="37121" y="587752"/>
                      <a:pt x="34664" y="589333"/>
                      <a:pt x="34092" y="589333"/>
                    </a:cubicBezTo>
                    <a:cubicBezTo>
                      <a:pt x="33520" y="589333"/>
                      <a:pt x="31904" y="588593"/>
                      <a:pt x="31904" y="588593"/>
                    </a:cubicBezTo>
                    <a:lnTo>
                      <a:pt x="29145" y="586271"/>
                    </a:lnTo>
                    <a:lnTo>
                      <a:pt x="25510" y="586137"/>
                    </a:lnTo>
                    <a:lnTo>
                      <a:pt x="24063" y="587012"/>
                    </a:lnTo>
                    <a:lnTo>
                      <a:pt x="22616" y="589635"/>
                    </a:lnTo>
                    <a:lnTo>
                      <a:pt x="22616" y="592663"/>
                    </a:lnTo>
                    <a:cubicBezTo>
                      <a:pt x="22616" y="592663"/>
                      <a:pt x="23592" y="598617"/>
                      <a:pt x="23154" y="600468"/>
                    </a:cubicBezTo>
                    <a:cubicBezTo>
                      <a:pt x="22717" y="602351"/>
                      <a:pt x="23491" y="602351"/>
                      <a:pt x="23491" y="602351"/>
                    </a:cubicBezTo>
                    <a:lnTo>
                      <a:pt x="27126" y="603966"/>
                    </a:lnTo>
                    <a:cubicBezTo>
                      <a:pt x="27126" y="603966"/>
                      <a:pt x="28842" y="603226"/>
                      <a:pt x="29313" y="603226"/>
                    </a:cubicBezTo>
                    <a:cubicBezTo>
                      <a:pt x="29751" y="603226"/>
                      <a:pt x="32948" y="600165"/>
                      <a:pt x="33217" y="599761"/>
                    </a:cubicBezTo>
                    <a:cubicBezTo>
                      <a:pt x="33520" y="599324"/>
                      <a:pt x="39174" y="599189"/>
                      <a:pt x="39174" y="599189"/>
                    </a:cubicBezTo>
                    <a:lnTo>
                      <a:pt x="42943" y="599189"/>
                    </a:lnTo>
                    <a:lnTo>
                      <a:pt x="45972" y="600501"/>
                    </a:lnTo>
                    <a:lnTo>
                      <a:pt x="46713" y="601073"/>
                    </a:lnTo>
                    <a:cubicBezTo>
                      <a:pt x="46713" y="601073"/>
                      <a:pt x="50482" y="603966"/>
                      <a:pt x="51054" y="603832"/>
                    </a:cubicBezTo>
                    <a:cubicBezTo>
                      <a:pt x="51626" y="603697"/>
                      <a:pt x="53948" y="604269"/>
                      <a:pt x="54520" y="603832"/>
                    </a:cubicBezTo>
                    <a:cubicBezTo>
                      <a:pt x="55093" y="603394"/>
                      <a:pt x="58020" y="601645"/>
                      <a:pt x="58020" y="601645"/>
                    </a:cubicBezTo>
                    <a:lnTo>
                      <a:pt x="62497" y="600064"/>
                    </a:lnTo>
                    <a:cubicBezTo>
                      <a:pt x="62497" y="600064"/>
                      <a:pt x="68857" y="598752"/>
                      <a:pt x="69463" y="598752"/>
                    </a:cubicBezTo>
                    <a:cubicBezTo>
                      <a:pt x="70035" y="598752"/>
                      <a:pt x="74107" y="597743"/>
                      <a:pt x="74680" y="597440"/>
                    </a:cubicBezTo>
                    <a:cubicBezTo>
                      <a:pt x="75252" y="597137"/>
                      <a:pt x="78449" y="594412"/>
                      <a:pt x="78449" y="594412"/>
                    </a:cubicBezTo>
                    <a:lnTo>
                      <a:pt x="83531" y="592528"/>
                    </a:lnTo>
                    <a:cubicBezTo>
                      <a:pt x="83531" y="592528"/>
                      <a:pt x="86862" y="588323"/>
                      <a:pt x="87165" y="587886"/>
                    </a:cubicBezTo>
                    <a:cubicBezTo>
                      <a:pt x="87468" y="587449"/>
                      <a:pt x="89622" y="581966"/>
                      <a:pt x="89622" y="581966"/>
                    </a:cubicBezTo>
                    <a:lnTo>
                      <a:pt x="90935" y="577761"/>
                    </a:lnTo>
                    <a:lnTo>
                      <a:pt x="93391" y="572109"/>
                    </a:lnTo>
                    <a:lnTo>
                      <a:pt x="91069" y="568342"/>
                    </a:lnTo>
                    <a:lnTo>
                      <a:pt x="87738" y="563868"/>
                    </a:lnTo>
                    <a:lnTo>
                      <a:pt x="86156" y="559393"/>
                    </a:lnTo>
                    <a:lnTo>
                      <a:pt x="84406" y="557947"/>
                    </a:lnTo>
                    <a:lnTo>
                      <a:pt x="81074" y="559393"/>
                    </a:lnTo>
                    <a:lnTo>
                      <a:pt x="79189" y="556938"/>
                    </a:lnTo>
                    <a:lnTo>
                      <a:pt x="77742" y="554347"/>
                    </a:lnTo>
                    <a:lnTo>
                      <a:pt x="76867" y="554617"/>
                    </a:lnTo>
                    <a:lnTo>
                      <a:pt x="73973" y="555760"/>
                    </a:lnTo>
                    <a:lnTo>
                      <a:pt x="71078" y="555760"/>
                    </a:lnTo>
                    <a:lnTo>
                      <a:pt x="70069" y="552935"/>
                    </a:lnTo>
                    <a:lnTo>
                      <a:pt x="69328" y="550681"/>
                    </a:lnTo>
                    <a:lnTo>
                      <a:pt x="70473" y="547048"/>
                    </a:lnTo>
                    <a:lnTo>
                      <a:pt x="72223" y="547048"/>
                    </a:lnTo>
                    <a:lnTo>
                      <a:pt x="75992" y="547048"/>
                    </a:lnTo>
                    <a:lnTo>
                      <a:pt x="77574" y="545736"/>
                    </a:lnTo>
                    <a:lnTo>
                      <a:pt x="77002" y="543549"/>
                    </a:lnTo>
                    <a:lnTo>
                      <a:pt x="76564" y="540084"/>
                    </a:lnTo>
                    <a:lnTo>
                      <a:pt x="74982" y="538201"/>
                    </a:lnTo>
                    <a:lnTo>
                      <a:pt x="72660" y="535005"/>
                    </a:lnTo>
                    <a:lnTo>
                      <a:pt x="71482" y="534197"/>
                    </a:lnTo>
                    <a:cubicBezTo>
                      <a:pt x="71482" y="534197"/>
                      <a:pt x="68723" y="533996"/>
                      <a:pt x="67578" y="534130"/>
                    </a:cubicBezTo>
                    <a:cubicBezTo>
                      <a:pt x="66434" y="534265"/>
                      <a:pt x="63102" y="534130"/>
                      <a:pt x="63102" y="534130"/>
                    </a:cubicBezTo>
                    <a:lnTo>
                      <a:pt x="59905" y="531506"/>
                    </a:lnTo>
                    <a:lnTo>
                      <a:pt x="56439" y="528613"/>
                    </a:lnTo>
                    <a:cubicBezTo>
                      <a:pt x="56439" y="528613"/>
                      <a:pt x="54117" y="525990"/>
                      <a:pt x="53847" y="525417"/>
                    </a:cubicBezTo>
                    <a:cubicBezTo>
                      <a:pt x="53544" y="524845"/>
                      <a:pt x="52838" y="522659"/>
                      <a:pt x="52838" y="522659"/>
                    </a:cubicBezTo>
                    <a:lnTo>
                      <a:pt x="52265" y="521785"/>
                    </a:lnTo>
                    <a:lnTo>
                      <a:pt x="52265" y="518892"/>
                    </a:lnTo>
                    <a:lnTo>
                      <a:pt x="52703" y="517008"/>
                    </a:lnTo>
                    <a:lnTo>
                      <a:pt x="55025" y="514115"/>
                    </a:lnTo>
                    <a:lnTo>
                      <a:pt x="58054" y="511356"/>
                    </a:lnTo>
                    <a:lnTo>
                      <a:pt x="61958" y="509910"/>
                    </a:lnTo>
                    <a:cubicBezTo>
                      <a:pt x="61958" y="509910"/>
                      <a:pt x="66030" y="508766"/>
                      <a:pt x="68487" y="508329"/>
                    </a:cubicBezTo>
                    <a:cubicBezTo>
                      <a:pt x="70944" y="507891"/>
                      <a:pt x="68622" y="511524"/>
                      <a:pt x="68622" y="511524"/>
                    </a:cubicBezTo>
                    <a:cubicBezTo>
                      <a:pt x="68622" y="511524"/>
                      <a:pt x="65290" y="515292"/>
                      <a:pt x="64852" y="515595"/>
                    </a:cubicBezTo>
                    <a:cubicBezTo>
                      <a:pt x="64415" y="515898"/>
                      <a:pt x="67006" y="517479"/>
                      <a:pt x="67006" y="517479"/>
                    </a:cubicBezTo>
                    <a:lnTo>
                      <a:pt x="71785" y="517479"/>
                    </a:lnTo>
                    <a:lnTo>
                      <a:pt x="74545" y="516335"/>
                    </a:lnTo>
                    <a:lnTo>
                      <a:pt x="77742" y="515460"/>
                    </a:lnTo>
                    <a:lnTo>
                      <a:pt x="82252" y="518051"/>
                    </a:lnTo>
                    <a:lnTo>
                      <a:pt x="85718" y="520944"/>
                    </a:lnTo>
                    <a:lnTo>
                      <a:pt x="91372" y="522659"/>
                    </a:lnTo>
                    <a:lnTo>
                      <a:pt x="95714" y="522659"/>
                    </a:lnTo>
                    <a:lnTo>
                      <a:pt x="96016" y="519463"/>
                    </a:lnTo>
                    <a:lnTo>
                      <a:pt x="96891" y="516570"/>
                    </a:lnTo>
                    <a:lnTo>
                      <a:pt x="97026" y="513946"/>
                    </a:lnTo>
                    <a:lnTo>
                      <a:pt x="96319" y="511928"/>
                    </a:lnTo>
                    <a:lnTo>
                      <a:pt x="94267" y="510179"/>
                    </a:lnTo>
                    <a:cubicBezTo>
                      <a:pt x="94267" y="510179"/>
                      <a:pt x="91944" y="508867"/>
                      <a:pt x="91675" y="508295"/>
                    </a:cubicBezTo>
                    <a:cubicBezTo>
                      <a:pt x="91372" y="507723"/>
                      <a:pt x="90531" y="508160"/>
                      <a:pt x="89050" y="507151"/>
                    </a:cubicBezTo>
                    <a:cubicBezTo>
                      <a:pt x="87603" y="506142"/>
                      <a:pt x="86021" y="504830"/>
                      <a:pt x="85415" y="504527"/>
                    </a:cubicBezTo>
                    <a:cubicBezTo>
                      <a:pt x="84843" y="504258"/>
                      <a:pt x="83396" y="503383"/>
                      <a:pt x="83396" y="503383"/>
                    </a:cubicBezTo>
                    <a:lnTo>
                      <a:pt x="79761" y="502206"/>
                    </a:lnTo>
                    <a:lnTo>
                      <a:pt x="80636" y="500760"/>
                    </a:lnTo>
                    <a:lnTo>
                      <a:pt x="81713" y="499448"/>
                    </a:lnTo>
                    <a:lnTo>
                      <a:pt x="81814" y="495680"/>
                    </a:lnTo>
                    <a:lnTo>
                      <a:pt x="81814" y="490331"/>
                    </a:lnTo>
                    <a:cubicBezTo>
                      <a:pt x="81814" y="490331"/>
                      <a:pt x="82184" y="487270"/>
                      <a:pt x="81882" y="486698"/>
                    </a:cubicBezTo>
                    <a:cubicBezTo>
                      <a:pt x="81579" y="486126"/>
                      <a:pt x="81814" y="481787"/>
                      <a:pt x="81814" y="481787"/>
                    </a:cubicBezTo>
                    <a:lnTo>
                      <a:pt x="81814" y="478322"/>
                    </a:lnTo>
                    <a:lnTo>
                      <a:pt x="84002" y="478457"/>
                    </a:lnTo>
                    <a:lnTo>
                      <a:pt x="87636" y="482090"/>
                    </a:lnTo>
                    <a:cubicBezTo>
                      <a:pt x="87636" y="482090"/>
                      <a:pt x="89959" y="485723"/>
                      <a:pt x="89959" y="486295"/>
                    </a:cubicBezTo>
                    <a:cubicBezTo>
                      <a:pt x="89959" y="486867"/>
                      <a:pt x="89521" y="491206"/>
                      <a:pt x="89084" y="491643"/>
                    </a:cubicBezTo>
                    <a:cubicBezTo>
                      <a:pt x="88646" y="492080"/>
                      <a:pt x="89252" y="494671"/>
                      <a:pt x="89084" y="495108"/>
                    </a:cubicBezTo>
                    <a:cubicBezTo>
                      <a:pt x="88949" y="495545"/>
                      <a:pt x="91271" y="497295"/>
                      <a:pt x="91271" y="497295"/>
                    </a:cubicBezTo>
                    <a:lnTo>
                      <a:pt x="94738" y="503653"/>
                    </a:lnTo>
                    <a:cubicBezTo>
                      <a:pt x="94738" y="503653"/>
                      <a:pt x="98372" y="505099"/>
                      <a:pt x="98945" y="505099"/>
                    </a:cubicBezTo>
                    <a:cubicBezTo>
                      <a:pt x="99517" y="505099"/>
                      <a:pt x="101267" y="504662"/>
                      <a:pt x="101267" y="504224"/>
                    </a:cubicBezTo>
                    <a:cubicBezTo>
                      <a:pt x="101267" y="503787"/>
                      <a:pt x="102848" y="502475"/>
                      <a:pt x="102848" y="502475"/>
                    </a:cubicBezTo>
                    <a:lnTo>
                      <a:pt x="104430" y="500894"/>
                    </a:lnTo>
                    <a:lnTo>
                      <a:pt x="104430" y="497429"/>
                    </a:lnTo>
                    <a:lnTo>
                      <a:pt x="104430" y="492215"/>
                    </a:lnTo>
                    <a:lnTo>
                      <a:pt x="104430" y="488750"/>
                    </a:lnTo>
                    <a:lnTo>
                      <a:pt x="104430" y="482662"/>
                    </a:lnTo>
                    <a:lnTo>
                      <a:pt x="107325" y="480206"/>
                    </a:lnTo>
                    <a:lnTo>
                      <a:pt x="108772" y="482662"/>
                    </a:lnTo>
                    <a:lnTo>
                      <a:pt x="113719" y="482662"/>
                    </a:lnTo>
                    <a:lnTo>
                      <a:pt x="115603" y="479634"/>
                    </a:lnTo>
                    <a:lnTo>
                      <a:pt x="116478" y="476741"/>
                    </a:lnTo>
                    <a:lnTo>
                      <a:pt x="118060" y="471964"/>
                    </a:lnTo>
                    <a:lnTo>
                      <a:pt x="124589" y="468499"/>
                    </a:lnTo>
                    <a:lnTo>
                      <a:pt x="133138" y="468768"/>
                    </a:lnTo>
                    <a:lnTo>
                      <a:pt x="139094" y="468768"/>
                    </a:lnTo>
                    <a:lnTo>
                      <a:pt x="144883" y="469273"/>
                    </a:lnTo>
                    <a:lnTo>
                      <a:pt x="149224" y="467019"/>
                    </a:lnTo>
                    <a:lnTo>
                      <a:pt x="156898" y="465270"/>
                    </a:lnTo>
                    <a:lnTo>
                      <a:pt x="160801" y="464260"/>
                    </a:lnTo>
                    <a:lnTo>
                      <a:pt x="164268" y="463117"/>
                    </a:lnTo>
                    <a:lnTo>
                      <a:pt x="163561" y="459214"/>
                    </a:lnTo>
                    <a:lnTo>
                      <a:pt x="163561" y="457903"/>
                    </a:lnTo>
                    <a:lnTo>
                      <a:pt x="167263" y="457331"/>
                    </a:lnTo>
                    <a:lnTo>
                      <a:pt x="169787" y="458643"/>
                    </a:lnTo>
                    <a:lnTo>
                      <a:pt x="170528" y="460964"/>
                    </a:lnTo>
                    <a:lnTo>
                      <a:pt x="170528" y="465034"/>
                    </a:lnTo>
                    <a:lnTo>
                      <a:pt x="171470" y="469677"/>
                    </a:lnTo>
                    <a:lnTo>
                      <a:pt x="175038" y="470686"/>
                    </a:lnTo>
                    <a:cubicBezTo>
                      <a:pt x="175038" y="470686"/>
                      <a:pt x="177057" y="467221"/>
                      <a:pt x="177225" y="466783"/>
                    </a:cubicBezTo>
                    <a:cubicBezTo>
                      <a:pt x="177360" y="466346"/>
                      <a:pt x="178235" y="464160"/>
                      <a:pt x="178235" y="464160"/>
                    </a:cubicBezTo>
                    <a:lnTo>
                      <a:pt x="181432" y="461838"/>
                    </a:lnTo>
                    <a:lnTo>
                      <a:pt x="186783" y="460089"/>
                    </a:lnTo>
                    <a:lnTo>
                      <a:pt x="188398" y="457331"/>
                    </a:lnTo>
                    <a:lnTo>
                      <a:pt x="189845" y="454135"/>
                    </a:lnTo>
                    <a:lnTo>
                      <a:pt x="190418" y="452520"/>
                    </a:lnTo>
                    <a:lnTo>
                      <a:pt x="195197" y="453967"/>
                    </a:lnTo>
                    <a:lnTo>
                      <a:pt x="200278" y="456423"/>
                    </a:lnTo>
                    <a:lnTo>
                      <a:pt x="206235" y="460022"/>
                    </a:lnTo>
                    <a:lnTo>
                      <a:pt x="210005" y="460022"/>
                    </a:lnTo>
                    <a:lnTo>
                      <a:pt x="217543" y="457196"/>
                    </a:lnTo>
                    <a:lnTo>
                      <a:pt x="218284" y="453664"/>
                    </a:lnTo>
                    <a:cubicBezTo>
                      <a:pt x="218284" y="453664"/>
                      <a:pt x="220740" y="451209"/>
                      <a:pt x="220740" y="450771"/>
                    </a:cubicBezTo>
                    <a:cubicBezTo>
                      <a:pt x="220740" y="450334"/>
                      <a:pt x="223063" y="447575"/>
                      <a:pt x="223063" y="447575"/>
                    </a:cubicBezTo>
                    <a:lnTo>
                      <a:pt x="225250" y="444380"/>
                    </a:lnTo>
                    <a:lnTo>
                      <a:pt x="224947" y="442799"/>
                    </a:lnTo>
                    <a:lnTo>
                      <a:pt x="223635" y="439165"/>
                    </a:lnTo>
                    <a:lnTo>
                      <a:pt x="219562" y="434389"/>
                    </a:lnTo>
                    <a:lnTo>
                      <a:pt x="217543" y="430049"/>
                    </a:lnTo>
                    <a:lnTo>
                      <a:pt x="220135" y="429747"/>
                    </a:lnTo>
                    <a:lnTo>
                      <a:pt x="223029" y="429443"/>
                    </a:lnTo>
                    <a:cubicBezTo>
                      <a:pt x="223029" y="429443"/>
                      <a:pt x="226226" y="429006"/>
                      <a:pt x="226664" y="428737"/>
                    </a:cubicBezTo>
                    <a:cubicBezTo>
                      <a:pt x="227101" y="428435"/>
                      <a:pt x="228111" y="427156"/>
                      <a:pt x="228111" y="427156"/>
                    </a:cubicBezTo>
                    <a:lnTo>
                      <a:pt x="232183" y="426282"/>
                    </a:lnTo>
                    <a:lnTo>
                      <a:pt x="234774" y="426416"/>
                    </a:lnTo>
                    <a:lnTo>
                      <a:pt x="236356" y="429006"/>
                    </a:lnTo>
                    <a:lnTo>
                      <a:pt x="234774" y="432908"/>
                    </a:lnTo>
                    <a:lnTo>
                      <a:pt x="234337" y="435230"/>
                    </a:lnTo>
                    <a:lnTo>
                      <a:pt x="234068" y="439435"/>
                    </a:lnTo>
                    <a:lnTo>
                      <a:pt x="233193" y="441756"/>
                    </a:lnTo>
                    <a:lnTo>
                      <a:pt x="233193" y="445086"/>
                    </a:lnTo>
                    <a:lnTo>
                      <a:pt x="234269" y="448988"/>
                    </a:lnTo>
                    <a:lnTo>
                      <a:pt x="236794" y="451612"/>
                    </a:lnTo>
                    <a:lnTo>
                      <a:pt x="241000" y="453631"/>
                    </a:lnTo>
                    <a:lnTo>
                      <a:pt x="245780" y="452756"/>
                    </a:lnTo>
                    <a:lnTo>
                      <a:pt x="247799" y="448686"/>
                    </a:lnTo>
                    <a:lnTo>
                      <a:pt x="251265" y="446230"/>
                    </a:lnTo>
                    <a:cubicBezTo>
                      <a:pt x="251265" y="446230"/>
                      <a:pt x="251568" y="441150"/>
                      <a:pt x="251837" y="440578"/>
                    </a:cubicBezTo>
                    <a:cubicBezTo>
                      <a:pt x="252107" y="440006"/>
                      <a:pt x="251703" y="434489"/>
                      <a:pt x="251703" y="434489"/>
                    </a:cubicBezTo>
                    <a:lnTo>
                      <a:pt x="251130" y="432303"/>
                    </a:lnTo>
                    <a:lnTo>
                      <a:pt x="247933" y="428266"/>
                    </a:lnTo>
                    <a:lnTo>
                      <a:pt x="244029" y="422918"/>
                    </a:lnTo>
                    <a:lnTo>
                      <a:pt x="246049" y="420025"/>
                    </a:lnTo>
                    <a:lnTo>
                      <a:pt x="249515" y="420159"/>
                    </a:lnTo>
                    <a:lnTo>
                      <a:pt x="253587" y="420025"/>
                    </a:lnTo>
                    <a:lnTo>
                      <a:pt x="255035" y="422043"/>
                    </a:lnTo>
                    <a:lnTo>
                      <a:pt x="262438" y="423355"/>
                    </a:lnTo>
                    <a:lnTo>
                      <a:pt x="266510" y="420159"/>
                    </a:lnTo>
                    <a:lnTo>
                      <a:pt x="269270" y="417973"/>
                    </a:lnTo>
                    <a:lnTo>
                      <a:pt x="273915" y="416829"/>
                    </a:lnTo>
                    <a:lnTo>
                      <a:pt x="274621" y="419587"/>
                    </a:lnTo>
                    <a:lnTo>
                      <a:pt x="273040" y="425508"/>
                    </a:lnTo>
                    <a:lnTo>
                      <a:pt x="271896" y="429410"/>
                    </a:lnTo>
                    <a:lnTo>
                      <a:pt x="272905" y="432875"/>
                    </a:lnTo>
                    <a:lnTo>
                      <a:pt x="277549" y="433884"/>
                    </a:lnTo>
                    <a:lnTo>
                      <a:pt x="283641" y="433884"/>
                    </a:lnTo>
                    <a:lnTo>
                      <a:pt x="287982" y="432875"/>
                    </a:lnTo>
                    <a:lnTo>
                      <a:pt x="290877" y="429242"/>
                    </a:lnTo>
                    <a:lnTo>
                      <a:pt x="293333" y="425037"/>
                    </a:lnTo>
                    <a:lnTo>
                      <a:pt x="294780" y="423456"/>
                    </a:lnTo>
                    <a:lnTo>
                      <a:pt x="296228" y="419823"/>
                    </a:lnTo>
                    <a:lnTo>
                      <a:pt x="296497" y="414777"/>
                    </a:lnTo>
                    <a:lnTo>
                      <a:pt x="293468" y="409697"/>
                    </a:lnTo>
                    <a:lnTo>
                      <a:pt x="292761" y="406232"/>
                    </a:lnTo>
                    <a:lnTo>
                      <a:pt x="289429" y="402902"/>
                    </a:lnTo>
                    <a:lnTo>
                      <a:pt x="288723" y="397688"/>
                    </a:lnTo>
                    <a:lnTo>
                      <a:pt x="289598" y="393617"/>
                    </a:lnTo>
                    <a:lnTo>
                      <a:pt x="294074" y="398259"/>
                    </a:lnTo>
                    <a:lnTo>
                      <a:pt x="294074" y="401724"/>
                    </a:lnTo>
                    <a:lnTo>
                      <a:pt x="297103" y="404046"/>
                    </a:lnTo>
                    <a:lnTo>
                      <a:pt x="300435" y="406064"/>
                    </a:lnTo>
                    <a:lnTo>
                      <a:pt x="303632" y="408385"/>
                    </a:lnTo>
                    <a:lnTo>
                      <a:pt x="302319" y="410269"/>
                    </a:lnTo>
                    <a:lnTo>
                      <a:pt x="300435" y="415046"/>
                    </a:lnTo>
                    <a:lnTo>
                      <a:pt x="302319" y="420563"/>
                    </a:lnTo>
                    <a:lnTo>
                      <a:pt x="308848" y="425071"/>
                    </a:lnTo>
                    <a:lnTo>
                      <a:pt x="314939" y="424330"/>
                    </a:lnTo>
                    <a:lnTo>
                      <a:pt x="319146" y="420697"/>
                    </a:lnTo>
                    <a:cubicBezTo>
                      <a:pt x="319146" y="420697"/>
                      <a:pt x="323623" y="417939"/>
                      <a:pt x="324094" y="417502"/>
                    </a:cubicBezTo>
                    <a:cubicBezTo>
                      <a:pt x="324531" y="417064"/>
                      <a:pt x="326416" y="415450"/>
                      <a:pt x="326988" y="414609"/>
                    </a:cubicBezTo>
                    <a:cubicBezTo>
                      <a:pt x="327560" y="413734"/>
                      <a:pt x="329007" y="410841"/>
                      <a:pt x="329007" y="410841"/>
                    </a:cubicBezTo>
                    <a:lnTo>
                      <a:pt x="330454" y="406064"/>
                    </a:lnTo>
                    <a:lnTo>
                      <a:pt x="332204" y="401287"/>
                    </a:lnTo>
                    <a:lnTo>
                      <a:pt x="334527" y="397957"/>
                    </a:lnTo>
                    <a:lnTo>
                      <a:pt x="336411" y="397385"/>
                    </a:lnTo>
                    <a:cubicBezTo>
                      <a:pt x="336411" y="397385"/>
                      <a:pt x="340618" y="401859"/>
                      <a:pt x="341190" y="402464"/>
                    </a:cubicBezTo>
                    <a:cubicBezTo>
                      <a:pt x="341762" y="403036"/>
                      <a:pt x="341055" y="405492"/>
                      <a:pt x="341190" y="407813"/>
                    </a:cubicBezTo>
                    <a:cubicBezTo>
                      <a:pt x="341325" y="410134"/>
                      <a:pt x="341930" y="411715"/>
                      <a:pt x="341930" y="411715"/>
                    </a:cubicBezTo>
                    <a:cubicBezTo>
                      <a:pt x="341930" y="411715"/>
                      <a:pt x="347416" y="416358"/>
                      <a:pt x="348291" y="416055"/>
                    </a:cubicBezTo>
                    <a:cubicBezTo>
                      <a:pt x="349166" y="415752"/>
                      <a:pt x="353373" y="415315"/>
                      <a:pt x="353373" y="415315"/>
                    </a:cubicBezTo>
                    <a:lnTo>
                      <a:pt x="360474" y="416055"/>
                    </a:lnTo>
                    <a:cubicBezTo>
                      <a:pt x="360474" y="416055"/>
                      <a:pt x="362662" y="415752"/>
                      <a:pt x="362662" y="415315"/>
                    </a:cubicBezTo>
                    <a:cubicBezTo>
                      <a:pt x="362662" y="414878"/>
                      <a:pt x="364412" y="412859"/>
                      <a:pt x="364412" y="412859"/>
                    </a:cubicBezTo>
                    <a:lnTo>
                      <a:pt x="360508" y="410101"/>
                    </a:lnTo>
                    <a:lnTo>
                      <a:pt x="361383" y="406905"/>
                    </a:lnTo>
                    <a:cubicBezTo>
                      <a:pt x="361383" y="406905"/>
                      <a:pt x="363133" y="403877"/>
                      <a:pt x="363133" y="403272"/>
                    </a:cubicBezTo>
                    <a:cubicBezTo>
                      <a:pt x="363133" y="402700"/>
                      <a:pt x="364446" y="402128"/>
                      <a:pt x="364446" y="402128"/>
                    </a:cubicBezTo>
                    <a:lnTo>
                      <a:pt x="366330" y="402868"/>
                    </a:lnTo>
                    <a:lnTo>
                      <a:pt x="367912" y="405055"/>
                    </a:lnTo>
                    <a:cubicBezTo>
                      <a:pt x="367912" y="405055"/>
                      <a:pt x="372691" y="405627"/>
                      <a:pt x="373297" y="405055"/>
                    </a:cubicBezTo>
                    <a:cubicBezTo>
                      <a:pt x="373869" y="404483"/>
                      <a:pt x="374744" y="405055"/>
                      <a:pt x="374744" y="405055"/>
                    </a:cubicBezTo>
                    <a:cubicBezTo>
                      <a:pt x="374744" y="405055"/>
                      <a:pt x="377638" y="402027"/>
                      <a:pt x="377806" y="401590"/>
                    </a:cubicBezTo>
                    <a:cubicBezTo>
                      <a:pt x="377941" y="401153"/>
                      <a:pt x="381138" y="399269"/>
                      <a:pt x="381576" y="398529"/>
                    </a:cubicBezTo>
                    <a:cubicBezTo>
                      <a:pt x="382013" y="397822"/>
                      <a:pt x="382888" y="393752"/>
                      <a:pt x="382888" y="393752"/>
                    </a:cubicBezTo>
                    <a:lnTo>
                      <a:pt x="386523" y="390556"/>
                    </a:lnTo>
                    <a:lnTo>
                      <a:pt x="388980" y="387798"/>
                    </a:lnTo>
                    <a:lnTo>
                      <a:pt x="391436" y="384165"/>
                    </a:lnTo>
                    <a:lnTo>
                      <a:pt x="393321" y="380700"/>
                    </a:lnTo>
                    <a:lnTo>
                      <a:pt x="394903" y="378076"/>
                    </a:lnTo>
                    <a:lnTo>
                      <a:pt x="394465" y="373433"/>
                    </a:lnTo>
                    <a:lnTo>
                      <a:pt x="394331" y="370238"/>
                    </a:lnTo>
                    <a:lnTo>
                      <a:pt x="391706" y="366168"/>
                    </a:lnTo>
                    <a:lnTo>
                      <a:pt x="390696" y="361256"/>
                    </a:lnTo>
                    <a:lnTo>
                      <a:pt x="396922" y="363140"/>
                    </a:lnTo>
                    <a:lnTo>
                      <a:pt x="395913" y="366033"/>
                    </a:lnTo>
                    <a:lnTo>
                      <a:pt x="399110" y="368926"/>
                    </a:lnTo>
                    <a:lnTo>
                      <a:pt x="401566" y="370810"/>
                    </a:lnTo>
                    <a:lnTo>
                      <a:pt x="403451" y="375015"/>
                    </a:lnTo>
                    <a:lnTo>
                      <a:pt x="407523" y="379522"/>
                    </a:lnTo>
                    <a:lnTo>
                      <a:pt x="407086" y="381978"/>
                    </a:lnTo>
                    <a:lnTo>
                      <a:pt x="409846" y="385174"/>
                    </a:lnTo>
                    <a:lnTo>
                      <a:pt x="414759" y="385174"/>
                    </a:lnTo>
                    <a:lnTo>
                      <a:pt x="418831" y="383223"/>
                    </a:lnTo>
                    <a:lnTo>
                      <a:pt x="420851" y="380969"/>
                    </a:lnTo>
                    <a:lnTo>
                      <a:pt x="419976" y="377773"/>
                    </a:lnTo>
                    <a:lnTo>
                      <a:pt x="417788" y="375015"/>
                    </a:lnTo>
                    <a:lnTo>
                      <a:pt x="417519" y="372828"/>
                    </a:lnTo>
                    <a:lnTo>
                      <a:pt x="421153" y="370810"/>
                    </a:lnTo>
                    <a:lnTo>
                      <a:pt x="421423" y="367345"/>
                    </a:lnTo>
                    <a:lnTo>
                      <a:pt x="421557" y="361122"/>
                    </a:lnTo>
                    <a:lnTo>
                      <a:pt x="420380" y="351265"/>
                    </a:lnTo>
                    <a:lnTo>
                      <a:pt x="420817" y="347060"/>
                    </a:lnTo>
                    <a:lnTo>
                      <a:pt x="418797" y="343595"/>
                    </a:lnTo>
                    <a:lnTo>
                      <a:pt x="415600" y="340131"/>
                    </a:lnTo>
                    <a:lnTo>
                      <a:pt x="415028" y="335354"/>
                    </a:lnTo>
                    <a:lnTo>
                      <a:pt x="415466" y="330711"/>
                    </a:lnTo>
                    <a:lnTo>
                      <a:pt x="414322" y="326944"/>
                    </a:lnTo>
                    <a:lnTo>
                      <a:pt x="410687" y="324488"/>
                    </a:lnTo>
                    <a:cubicBezTo>
                      <a:pt x="410687" y="324488"/>
                      <a:pt x="405168" y="320855"/>
                      <a:pt x="404730" y="320586"/>
                    </a:cubicBezTo>
                    <a:cubicBezTo>
                      <a:pt x="404293" y="320283"/>
                      <a:pt x="401836" y="316515"/>
                      <a:pt x="401836" y="316515"/>
                    </a:cubicBezTo>
                    <a:lnTo>
                      <a:pt x="400220" y="313050"/>
                    </a:lnTo>
                    <a:lnTo>
                      <a:pt x="400220" y="311301"/>
                    </a:lnTo>
                    <a:lnTo>
                      <a:pt x="405235" y="315069"/>
                    </a:lnTo>
                    <a:lnTo>
                      <a:pt x="410519" y="317087"/>
                    </a:lnTo>
                    <a:lnTo>
                      <a:pt x="413548" y="318836"/>
                    </a:lnTo>
                    <a:lnTo>
                      <a:pt x="417317" y="318971"/>
                    </a:lnTo>
                    <a:lnTo>
                      <a:pt x="419067" y="317524"/>
                    </a:lnTo>
                    <a:lnTo>
                      <a:pt x="419336" y="313050"/>
                    </a:lnTo>
                    <a:lnTo>
                      <a:pt x="419336" y="307265"/>
                    </a:lnTo>
                    <a:lnTo>
                      <a:pt x="416879" y="303934"/>
                    </a:lnTo>
                    <a:lnTo>
                      <a:pt x="412538" y="300604"/>
                    </a:lnTo>
                    <a:lnTo>
                      <a:pt x="408197" y="295962"/>
                    </a:lnTo>
                    <a:lnTo>
                      <a:pt x="403720" y="290445"/>
                    </a:lnTo>
                    <a:lnTo>
                      <a:pt x="403720" y="286980"/>
                    </a:lnTo>
                    <a:lnTo>
                      <a:pt x="403720" y="281765"/>
                    </a:lnTo>
                    <a:lnTo>
                      <a:pt x="405672" y="280622"/>
                    </a:lnTo>
                    <a:cubicBezTo>
                      <a:pt x="405672" y="280622"/>
                      <a:pt x="410081" y="285970"/>
                      <a:pt x="410687" y="286408"/>
                    </a:cubicBezTo>
                    <a:cubicBezTo>
                      <a:pt x="411259" y="286845"/>
                      <a:pt x="413009" y="291487"/>
                      <a:pt x="413009" y="291487"/>
                    </a:cubicBezTo>
                    <a:lnTo>
                      <a:pt x="417519" y="296702"/>
                    </a:lnTo>
                    <a:lnTo>
                      <a:pt x="421725" y="301041"/>
                    </a:lnTo>
                    <a:lnTo>
                      <a:pt x="425360" y="306390"/>
                    </a:lnTo>
                    <a:lnTo>
                      <a:pt x="426673" y="308139"/>
                    </a:lnTo>
                    <a:lnTo>
                      <a:pt x="432327" y="309283"/>
                    </a:lnTo>
                    <a:lnTo>
                      <a:pt x="433774" y="311032"/>
                    </a:lnTo>
                    <a:cubicBezTo>
                      <a:pt x="433774" y="311032"/>
                      <a:pt x="436533" y="316246"/>
                      <a:pt x="436837" y="316818"/>
                    </a:cubicBezTo>
                    <a:cubicBezTo>
                      <a:pt x="437106" y="317390"/>
                      <a:pt x="438586" y="321326"/>
                      <a:pt x="438586" y="321326"/>
                    </a:cubicBezTo>
                    <a:cubicBezTo>
                      <a:pt x="438586" y="321326"/>
                      <a:pt x="441918" y="326977"/>
                      <a:pt x="442188" y="328424"/>
                    </a:cubicBezTo>
                    <a:cubicBezTo>
                      <a:pt x="442490" y="329870"/>
                      <a:pt x="443500" y="331317"/>
                      <a:pt x="443500" y="331317"/>
                    </a:cubicBezTo>
                    <a:cubicBezTo>
                      <a:pt x="443500" y="331317"/>
                      <a:pt x="444678" y="334210"/>
                      <a:pt x="444813" y="334647"/>
                    </a:cubicBezTo>
                    <a:cubicBezTo>
                      <a:pt x="444947" y="335085"/>
                      <a:pt x="446866" y="337406"/>
                      <a:pt x="446866" y="337406"/>
                    </a:cubicBezTo>
                    <a:lnTo>
                      <a:pt x="449895" y="338280"/>
                    </a:lnTo>
                    <a:lnTo>
                      <a:pt x="455246" y="338280"/>
                    </a:lnTo>
                    <a:cubicBezTo>
                      <a:pt x="455246" y="338280"/>
                      <a:pt x="457568" y="337708"/>
                      <a:pt x="458005" y="337406"/>
                    </a:cubicBezTo>
                    <a:cubicBezTo>
                      <a:pt x="458443" y="337103"/>
                      <a:pt x="462347" y="336397"/>
                      <a:pt x="462347" y="336397"/>
                    </a:cubicBezTo>
                    <a:lnTo>
                      <a:pt x="466116" y="335959"/>
                    </a:lnTo>
                    <a:lnTo>
                      <a:pt x="468135" y="334647"/>
                    </a:lnTo>
                    <a:lnTo>
                      <a:pt x="470895" y="331451"/>
                    </a:lnTo>
                    <a:lnTo>
                      <a:pt x="474227" y="329568"/>
                    </a:lnTo>
                    <a:lnTo>
                      <a:pt x="480453" y="329568"/>
                    </a:lnTo>
                    <a:lnTo>
                      <a:pt x="484525" y="329332"/>
                    </a:lnTo>
                    <a:lnTo>
                      <a:pt x="487116" y="329837"/>
                    </a:lnTo>
                    <a:lnTo>
                      <a:pt x="491761" y="329971"/>
                    </a:lnTo>
                    <a:lnTo>
                      <a:pt x="493646" y="327213"/>
                    </a:lnTo>
                    <a:lnTo>
                      <a:pt x="498997" y="326775"/>
                    </a:lnTo>
                    <a:lnTo>
                      <a:pt x="504650" y="328087"/>
                    </a:lnTo>
                    <a:lnTo>
                      <a:pt x="508252" y="331855"/>
                    </a:lnTo>
                    <a:lnTo>
                      <a:pt x="510877" y="334883"/>
                    </a:lnTo>
                    <a:lnTo>
                      <a:pt x="514646" y="338785"/>
                    </a:lnTo>
                    <a:lnTo>
                      <a:pt x="519559" y="337036"/>
                    </a:lnTo>
                    <a:lnTo>
                      <a:pt x="523194" y="335724"/>
                    </a:lnTo>
                    <a:lnTo>
                      <a:pt x="525819" y="333537"/>
                    </a:lnTo>
                    <a:lnTo>
                      <a:pt x="525684" y="329769"/>
                    </a:lnTo>
                    <a:lnTo>
                      <a:pt x="523362" y="325867"/>
                    </a:lnTo>
                    <a:lnTo>
                      <a:pt x="519458" y="322537"/>
                    </a:lnTo>
                    <a:lnTo>
                      <a:pt x="515252" y="319341"/>
                    </a:lnTo>
                    <a:lnTo>
                      <a:pt x="512357" y="313690"/>
                    </a:lnTo>
                    <a:lnTo>
                      <a:pt x="514511" y="309182"/>
                    </a:lnTo>
                    <a:lnTo>
                      <a:pt x="517540" y="306995"/>
                    </a:lnTo>
                    <a:lnTo>
                      <a:pt x="523194" y="305986"/>
                    </a:lnTo>
                    <a:lnTo>
                      <a:pt x="528983" y="303362"/>
                    </a:lnTo>
                    <a:lnTo>
                      <a:pt x="532449" y="299729"/>
                    </a:lnTo>
                    <a:lnTo>
                      <a:pt x="535343" y="296533"/>
                    </a:lnTo>
                    <a:lnTo>
                      <a:pt x="543454" y="296971"/>
                    </a:lnTo>
                    <a:lnTo>
                      <a:pt x="544329" y="302488"/>
                    </a:lnTo>
                    <a:lnTo>
                      <a:pt x="544901" y="306558"/>
                    </a:lnTo>
                    <a:lnTo>
                      <a:pt x="542142" y="309148"/>
                    </a:lnTo>
                    <a:lnTo>
                      <a:pt x="538945" y="312781"/>
                    </a:lnTo>
                    <a:cubicBezTo>
                      <a:pt x="538945" y="312781"/>
                      <a:pt x="537060" y="316246"/>
                      <a:pt x="536488" y="316852"/>
                    </a:cubicBezTo>
                    <a:cubicBezTo>
                      <a:pt x="535916" y="317457"/>
                      <a:pt x="536488" y="320922"/>
                      <a:pt x="536488" y="320922"/>
                    </a:cubicBezTo>
                    <a:lnTo>
                      <a:pt x="539247" y="323546"/>
                    </a:lnTo>
                    <a:lnTo>
                      <a:pt x="544026" y="325127"/>
                    </a:lnTo>
                    <a:lnTo>
                      <a:pt x="549108" y="326271"/>
                    </a:lnTo>
                    <a:lnTo>
                      <a:pt x="553753" y="328289"/>
                    </a:lnTo>
                    <a:lnTo>
                      <a:pt x="556815" y="326843"/>
                    </a:lnTo>
                    <a:lnTo>
                      <a:pt x="558969" y="323815"/>
                    </a:lnTo>
                    <a:lnTo>
                      <a:pt x="558531" y="318601"/>
                    </a:lnTo>
                    <a:lnTo>
                      <a:pt x="558094" y="316414"/>
                    </a:lnTo>
                    <a:lnTo>
                      <a:pt x="554628" y="309889"/>
                    </a:lnTo>
                    <a:lnTo>
                      <a:pt x="552440" y="308139"/>
                    </a:lnTo>
                    <a:lnTo>
                      <a:pt x="555032" y="304674"/>
                    </a:lnTo>
                    <a:lnTo>
                      <a:pt x="557185" y="306424"/>
                    </a:lnTo>
                    <a:lnTo>
                      <a:pt x="560248" y="309889"/>
                    </a:lnTo>
                    <a:lnTo>
                      <a:pt x="562839" y="312041"/>
                    </a:lnTo>
                    <a:lnTo>
                      <a:pt x="564589" y="312041"/>
                    </a:lnTo>
                    <a:lnTo>
                      <a:pt x="567181" y="312041"/>
                    </a:lnTo>
                    <a:lnTo>
                      <a:pt x="567181" y="307702"/>
                    </a:lnTo>
                    <a:lnTo>
                      <a:pt x="567181" y="304237"/>
                    </a:lnTo>
                    <a:lnTo>
                      <a:pt x="567181" y="300772"/>
                    </a:lnTo>
                    <a:lnTo>
                      <a:pt x="567181" y="298182"/>
                    </a:lnTo>
                    <a:lnTo>
                      <a:pt x="573474" y="296870"/>
                    </a:lnTo>
                    <a:lnTo>
                      <a:pt x="579768" y="295995"/>
                    </a:lnTo>
                    <a:lnTo>
                      <a:pt x="584984" y="292093"/>
                    </a:lnTo>
                    <a:lnTo>
                      <a:pt x="588450" y="291218"/>
                    </a:lnTo>
                    <a:lnTo>
                      <a:pt x="593229" y="286879"/>
                    </a:lnTo>
                    <a:lnTo>
                      <a:pt x="596696" y="288628"/>
                    </a:lnTo>
                    <a:lnTo>
                      <a:pt x="596696" y="290377"/>
                    </a:lnTo>
                    <a:lnTo>
                      <a:pt x="593229" y="292127"/>
                    </a:lnTo>
                    <a:lnTo>
                      <a:pt x="593229" y="293876"/>
                    </a:lnTo>
                    <a:lnTo>
                      <a:pt x="593229" y="299090"/>
                    </a:lnTo>
                    <a:lnTo>
                      <a:pt x="595619" y="305179"/>
                    </a:lnTo>
                    <a:lnTo>
                      <a:pt x="602350" y="306491"/>
                    </a:lnTo>
                    <a:lnTo>
                      <a:pt x="609316" y="307668"/>
                    </a:lnTo>
                    <a:lnTo>
                      <a:pt x="616720" y="310393"/>
                    </a:lnTo>
                    <a:lnTo>
                      <a:pt x="625403" y="310393"/>
                    </a:lnTo>
                    <a:lnTo>
                      <a:pt x="630182" y="307769"/>
                    </a:lnTo>
                    <a:lnTo>
                      <a:pt x="628432" y="299931"/>
                    </a:lnTo>
                    <a:lnTo>
                      <a:pt x="626682" y="297744"/>
                    </a:lnTo>
                    <a:lnTo>
                      <a:pt x="621903" y="292093"/>
                    </a:lnTo>
                    <a:lnTo>
                      <a:pt x="617562" y="288628"/>
                    </a:lnTo>
                    <a:lnTo>
                      <a:pt x="617562" y="284288"/>
                    </a:lnTo>
                    <a:lnTo>
                      <a:pt x="621466" y="282977"/>
                    </a:lnTo>
                    <a:lnTo>
                      <a:pt x="628869" y="284726"/>
                    </a:lnTo>
                    <a:lnTo>
                      <a:pt x="631057" y="282539"/>
                    </a:lnTo>
                    <a:lnTo>
                      <a:pt x="633649" y="277762"/>
                    </a:lnTo>
                    <a:lnTo>
                      <a:pt x="636711" y="278200"/>
                    </a:lnTo>
                    <a:lnTo>
                      <a:pt x="636711" y="281665"/>
                    </a:lnTo>
                    <a:lnTo>
                      <a:pt x="636711" y="287316"/>
                    </a:lnTo>
                    <a:lnTo>
                      <a:pt x="643240" y="293842"/>
                    </a:lnTo>
                    <a:lnTo>
                      <a:pt x="650610" y="299931"/>
                    </a:lnTo>
                    <a:lnTo>
                      <a:pt x="659327" y="294280"/>
                    </a:lnTo>
                    <a:lnTo>
                      <a:pt x="665418" y="289940"/>
                    </a:lnTo>
                    <a:lnTo>
                      <a:pt x="671072" y="286038"/>
                    </a:lnTo>
                    <a:lnTo>
                      <a:pt x="673260" y="283447"/>
                    </a:lnTo>
                    <a:lnTo>
                      <a:pt x="673260" y="279983"/>
                    </a:lnTo>
                    <a:lnTo>
                      <a:pt x="673260" y="274399"/>
                    </a:lnTo>
                    <a:lnTo>
                      <a:pt x="678476" y="276585"/>
                    </a:lnTo>
                    <a:lnTo>
                      <a:pt x="678476" y="282674"/>
                    </a:lnTo>
                    <a:lnTo>
                      <a:pt x="683491" y="286139"/>
                    </a:lnTo>
                    <a:lnTo>
                      <a:pt x="688943" y="282674"/>
                    </a:lnTo>
                    <a:lnTo>
                      <a:pt x="694159" y="276148"/>
                    </a:lnTo>
                    <a:lnTo>
                      <a:pt x="698501" y="270496"/>
                    </a:lnTo>
                    <a:lnTo>
                      <a:pt x="700251" y="270496"/>
                    </a:lnTo>
                    <a:lnTo>
                      <a:pt x="710684" y="268747"/>
                    </a:lnTo>
                    <a:lnTo>
                      <a:pt x="720242" y="268747"/>
                    </a:lnTo>
                    <a:lnTo>
                      <a:pt x="727208" y="262658"/>
                    </a:lnTo>
                    <a:lnTo>
                      <a:pt x="727208" y="257444"/>
                    </a:lnTo>
                    <a:lnTo>
                      <a:pt x="727208" y="246578"/>
                    </a:lnTo>
                    <a:lnTo>
                      <a:pt x="733300" y="240927"/>
                    </a:lnTo>
                    <a:lnTo>
                      <a:pt x="744170" y="240927"/>
                    </a:lnTo>
                    <a:lnTo>
                      <a:pt x="751574" y="237900"/>
                    </a:lnTo>
                    <a:lnTo>
                      <a:pt x="748949" y="232248"/>
                    </a:lnTo>
                    <a:lnTo>
                      <a:pt x="745920" y="232248"/>
                    </a:lnTo>
                    <a:lnTo>
                      <a:pt x="745483" y="225722"/>
                    </a:lnTo>
                    <a:lnTo>
                      <a:pt x="740704" y="222257"/>
                    </a:lnTo>
                    <a:lnTo>
                      <a:pt x="748545" y="217480"/>
                    </a:lnTo>
                    <a:lnTo>
                      <a:pt x="750699" y="225318"/>
                    </a:lnTo>
                    <a:lnTo>
                      <a:pt x="756791" y="225318"/>
                    </a:lnTo>
                    <a:lnTo>
                      <a:pt x="756791" y="218355"/>
                    </a:lnTo>
                    <a:lnTo>
                      <a:pt x="764598" y="218355"/>
                    </a:lnTo>
                    <a:lnTo>
                      <a:pt x="767190" y="212266"/>
                    </a:lnTo>
                    <a:lnTo>
                      <a:pt x="767190" y="205303"/>
                    </a:lnTo>
                    <a:lnTo>
                      <a:pt x="767190" y="200963"/>
                    </a:lnTo>
                    <a:lnTo>
                      <a:pt x="769815" y="195749"/>
                    </a:lnTo>
                    <a:lnTo>
                      <a:pt x="776781" y="195749"/>
                    </a:lnTo>
                    <a:lnTo>
                      <a:pt x="784623" y="195749"/>
                    </a:lnTo>
                    <a:lnTo>
                      <a:pt x="784623" y="193159"/>
                    </a:lnTo>
                    <a:lnTo>
                      <a:pt x="787080" y="188987"/>
                    </a:lnTo>
                    <a:lnTo>
                      <a:pt x="780147" y="18316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69" name="Freeform 935">
                <a:extLst>
                  <a:ext uri="{FF2B5EF4-FFF2-40B4-BE49-F238E27FC236}">
                    <a16:creationId xmlns:a16="http://schemas.microsoft.com/office/drawing/2014/main" id="{2FF3BB90-72FC-A1F1-AC36-9D2D66F1C765}"/>
                  </a:ext>
                </a:extLst>
              </p:cNvPr>
              <p:cNvSpPr/>
              <p:nvPr/>
            </p:nvSpPr>
            <p:spPr>
              <a:xfrm>
                <a:off x="5379137" y="3766461"/>
                <a:ext cx="7841" cy="6761"/>
              </a:xfrm>
              <a:custGeom>
                <a:avLst/>
                <a:gdLst>
                  <a:gd name="connsiteX0" fmla="*/ 1414 w 7841"/>
                  <a:gd name="connsiteY0" fmla="*/ 4878 h 6761"/>
                  <a:gd name="connsiteX1" fmla="*/ 4846 w 7841"/>
                  <a:gd name="connsiteY1" fmla="*/ 6762 h 6761"/>
                  <a:gd name="connsiteX2" fmla="*/ 7842 w 7841"/>
                  <a:gd name="connsiteY2" fmla="*/ 5416 h 6761"/>
                  <a:gd name="connsiteX3" fmla="*/ 7842 w 7841"/>
                  <a:gd name="connsiteY3" fmla="*/ 2590 h 6761"/>
                  <a:gd name="connsiteX4" fmla="*/ 6092 w 7841"/>
                  <a:gd name="connsiteY4" fmla="*/ 0 h 6761"/>
                  <a:gd name="connsiteX5" fmla="*/ 1750 w 7841"/>
                  <a:gd name="connsiteY5" fmla="*/ 0 h 6761"/>
                  <a:gd name="connsiteX6" fmla="*/ 0 w 7841"/>
                  <a:gd name="connsiteY6" fmla="*/ 2153 h 6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841" h="6761">
                    <a:moveTo>
                      <a:pt x="1414" y="4878"/>
                    </a:moveTo>
                    <a:lnTo>
                      <a:pt x="4846" y="6762"/>
                    </a:lnTo>
                    <a:lnTo>
                      <a:pt x="7842" y="5416"/>
                    </a:lnTo>
                    <a:lnTo>
                      <a:pt x="7842" y="2590"/>
                    </a:lnTo>
                    <a:lnTo>
                      <a:pt x="6092" y="0"/>
                    </a:lnTo>
                    <a:lnTo>
                      <a:pt x="1750" y="0"/>
                    </a:lnTo>
                    <a:lnTo>
                      <a:pt x="0" y="2153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0" name="Freeform 936">
                <a:extLst>
                  <a:ext uri="{FF2B5EF4-FFF2-40B4-BE49-F238E27FC236}">
                    <a16:creationId xmlns:a16="http://schemas.microsoft.com/office/drawing/2014/main" id="{4E1E782E-CE72-BB43-94D2-072F69284655}"/>
                  </a:ext>
                </a:extLst>
              </p:cNvPr>
              <p:cNvSpPr/>
              <p:nvPr/>
            </p:nvSpPr>
            <p:spPr>
              <a:xfrm>
                <a:off x="5440658" y="3744730"/>
                <a:ext cx="3701" cy="3902"/>
              </a:xfrm>
              <a:custGeom>
                <a:avLst/>
                <a:gdLst>
                  <a:gd name="connsiteX0" fmla="*/ 3702 w 3701"/>
                  <a:gd name="connsiteY0" fmla="*/ 1716 h 3902"/>
                  <a:gd name="connsiteX1" fmla="*/ 3702 w 3701"/>
                  <a:gd name="connsiteY1" fmla="*/ 0 h 3902"/>
                  <a:gd name="connsiteX2" fmla="*/ 0 w 3701"/>
                  <a:gd name="connsiteY2" fmla="*/ 1716 h 3902"/>
                  <a:gd name="connsiteX3" fmla="*/ 1851 w 3701"/>
                  <a:gd name="connsiteY3" fmla="*/ 3902 h 3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01" h="3902">
                    <a:moveTo>
                      <a:pt x="3702" y="1716"/>
                    </a:moveTo>
                    <a:lnTo>
                      <a:pt x="3702" y="0"/>
                    </a:lnTo>
                    <a:lnTo>
                      <a:pt x="0" y="1716"/>
                    </a:lnTo>
                    <a:lnTo>
                      <a:pt x="1851" y="390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1" name="Freeform 937">
                <a:extLst>
                  <a:ext uri="{FF2B5EF4-FFF2-40B4-BE49-F238E27FC236}">
                    <a16:creationId xmlns:a16="http://schemas.microsoft.com/office/drawing/2014/main" id="{26F47BF6-B164-C9B5-B6B9-3573494286AE}"/>
                  </a:ext>
                </a:extLst>
              </p:cNvPr>
              <p:cNvSpPr/>
              <p:nvPr/>
            </p:nvSpPr>
            <p:spPr>
              <a:xfrm>
                <a:off x="5451326" y="3743822"/>
                <a:ext cx="10466" cy="8712"/>
              </a:xfrm>
              <a:custGeom>
                <a:avLst/>
                <a:gdLst>
                  <a:gd name="connsiteX0" fmla="*/ 0 w 10466"/>
                  <a:gd name="connsiteY0" fmla="*/ 4373 h 8712"/>
                  <a:gd name="connsiteX1" fmla="*/ 0 w 10466"/>
                  <a:gd name="connsiteY1" fmla="*/ 8713 h 8712"/>
                  <a:gd name="connsiteX2" fmla="*/ 3062 w 10466"/>
                  <a:gd name="connsiteY2" fmla="*/ 8713 h 8712"/>
                  <a:gd name="connsiteX3" fmla="*/ 6327 w 10466"/>
                  <a:gd name="connsiteY3" fmla="*/ 6526 h 8712"/>
                  <a:gd name="connsiteX4" fmla="*/ 8615 w 10466"/>
                  <a:gd name="connsiteY4" fmla="*/ 4777 h 8712"/>
                  <a:gd name="connsiteX5" fmla="*/ 10467 w 10466"/>
                  <a:gd name="connsiteY5" fmla="*/ 2826 h 8712"/>
                  <a:gd name="connsiteX6" fmla="*/ 10467 w 10466"/>
                  <a:gd name="connsiteY6" fmla="*/ 875 h 8712"/>
                  <a:gd name="connsiteX7" fmla="*/ 10467 w 10466"/>
                  <a:gd name="connsiteY7" fmla="*/ 0 h 8712"/>
                  <a:gd name="connsiteX8" fmla="*/ 4375 w 10466"/>
                  <a:gd name="connsiteY8" fmla="*/ 0 h 8712"/>
                  <a:gd name="connsiteX9" fmla="*/ 2625 w 10466"/>
                  <a:gd name="connsiteY9" fmla="*/ 0 h 8712"/>
                  <a:gd name="connsiteX10" fmla="*/ 2423 w 10466"/>
                  <a:gd name="connsiteY10" fmla="*/ 2826 h 8712"/>
                  <a:gd name="connsiteX11" fmla="*/ 0 w 10466"/>
                  <a:gd name="connsiteY11" fmla="*/ 4373 h 8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466" h="8712">
                    <a:moveTo>
                      <a:pt x="0" y="4373"/>
                    </a:moveTo>
                    <a:lnTo>
                      <a:pt x="0" y="8713"/>
                    </a:lnTo>
                    <a:lnTo>
                      <a:pt x="3062" y="8713"/>
                    </a:lnTo>
                    <a:cubicBezTo>
                      <a:pt x="3062" y="8713"/>
                      <a:pt x="5452" y="5887"/>
                      <a:pt x="6327" y="6526"/>
                    </a:cubicBezTo>
                    <a:cubicBezTo>
                      <a:pt x="7202" y="7199"/>
                      <a:pt x="8615" y="4777"/>
                      <a:pt x="8615" y="4777"/>
                    </a:cubicBezTo>
                    <a:lnTo>
                      <a:pt x="10467" y="2826"/>
                    </a:lnTo>
                    <a:lnTo>
                      <a:pt x="10467" y="875"/>
                    </a:lnTo>
                    <a:lnTo>
                      <a:pt x="10467" y="0"/>
                    </a:lnTo>
                    <a:lnTo>
                      <a:pt x="4375" y="0"/>
                    </a:lnTo>
                    <a:lnTo>
                      <a:pt x="2625" y="0"/>
                    </a:lnTo>
                    <a:lnTo>
                      <a:pt x="2423" y="2826"/>
                    </a:lnTo>
                    <a:lnTo>
                      <a:pt x="0" y="4373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2" name="Freeform 938">
                <a:extLst>
                  <a:ext uri="{FF2B5EF4-FFF2-40B4-BE49-F238E27FC236}">
                    <a16:creationId xmlns:a16="http://schemas.microsoft.com/office/drawing/2014/main" id="{D276C8B3-9AB6-170D-153A-6159625D5090}"/>
                  </a:ext>
                </a:extLst>
              </p:cNvPr>
              <p:cNvSpPr/>
              <p:nvPr/>
            </p:nvSpPr>
            <p:spPr>
              <a:xfrm>
                <a:off x="5469803" y="3733427"/>
                <a:ext cx="18038" cy="22572"/>
              </a:xfrm>
              <a:custGeom>
                <a:avLst/>
                <a:gdLst>
                  <a:gd name="connsiteX0" fmla="*/ 2692 w 18038"/>
                  <a:gd name="connsiteY0" fmla="*/ 17257 h 22572"/>
                  <a:gd name="connsiteX1" fmla="*/ 6226 w 18038"/>
                  <a:gd name="connsiteY1" fmla="*/ 20789 h 22572"/>
                  <a:gd name="connsiteX2" fmla="*/ 7808 w 18038"/>
                  <a:gd name="connsiteY2" fmla="*/ 22572 h 22572"/>
                  <a:gd name="connsiteX3" fmla="*/ 10197 w 18038"/>
                  <a:gd name="connsiteY3" fmla="*/ 22572 h 22572"/>
                  <a:gd name="connsiteX4" fmla="*/ 11510 w 18038"/>
                  <a:gd name="connsiteY4" fmla="*/ 19713 h 22572"/>
                  <a:gd name="connsiteX5" fmla="*/ 10197 w 18038"/>
                  <a:gd name="connsiteY5" fmla="*/ 15205 h 22572"/>
                  <a:gd name="connsiteX6" fmla="*/ 11510 w 18038"/>
                  <a:gd name="connsiteY6" fmla="*/ 13254 h 22572"/>
                  <a:gd name="connsiteX7" fmla="*/ 13899 w 18038"/>
                  <a:gd name="connsiteY7" fmla="*/ 10866 h 22572"/>
                  <a:gd name="connsiteX8" fmla="*/ 16962 w 18038"/>
                  <a:gd name="connsiteY8" fmla="*/ 6930 h 22572"/>
                  <a:gd name="connsiteX9" fmla="*/ 18039 w 18038"/>
                  <a:gd name="connsiteY9" fmla="*/ 6930 h 22572"/>
                  <a:gd name="connsiteX10" fmla="*/ 18039 w 18038"/>
                  <a:gd name="connsiteY10" fmla="*/ 2590 h 22572"/>
                  <a:gd name="connsiteX11" fmla="*/ 16087 w 18038"/>
                  <a:gd name="connsiteY11" fmla="*/ 0 h 22572"/>
                  <a:gd name="connsiteX12" fmla="*/ 11947 w 18038"/>
                  <a:gd name="connsiteY12" fmla="*/ 0 h 22572"/>
                  <a:gd name="connsiteX13" fmla="*/ 8481 w 18038"/>
                  <a:gd name="connsiteY13" fmla="*/ 0 h 22572"/>
                  <a:gd name="connsiteX14" fmla="*/ 6091 w 18038"/>
                  <a:gd name="connsiteY14" fmla="*/ 2590 h 22572"/>
                  <a:gd name="connsiteX15" fmla="*/ 4981 w 18038"/>
                  <a:gd name="connsiteY15" fmla="*/ 6291 h 22572"/>
                  <a:gd name="connsiteX16" fmla="*/ 2692 w 18038"/>
                  <a:gd name="connsiteY16" fmla="*/ 10429 h 22572"/>
                  <a:gd name="connsiteX17" fmla="*/ 0 w 18038"/>
                  <a:gd name="connsiteY17" fmla="*/ 11303 h 22572"/>
                  <a:gd name="connsiteX18" fmla="*/ 1313 w 18038"/>
                  <a:gd name="connsiteY18" fmla="*/ 13254 h 22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8038" h="22572">
                    <a:moveTo>
                      <a:pt x="2692" y="17257"/>
                    </a:moveTo>
                    <a:lnTo>
                      <a:pt x="6226" y="20789"/>
                    </a:lnTo>
                    <a:lnTo>
                      <a:pt x="7808" y="22572"/>
                    </a:lnTo>
                    <a:lnTo>
                      <a:pt x="10197" y="22572"/>
                    </a:lnTo>
                    <a:lnTo>
                      <a:pt x="11510" y="19713"/>
                    </a:lnTo>
                    <a:lnTo>
                      <a:pt x="10197" y="15205"/>
                    </a:lnTo>
                    <a:lnTo>
                      <a:pt x="11510" y="13254"/>
                    </a:lnTo>
                    <a:lnTo>
                      <a:pt x="13899" y="10866"/>
                    </a:lnTo>
                    <a:lnTo>
                      <a:pt x="16962" y="6930"/>
                    </a:lnTo>
                    <a:lnTo>
                      <a:pt x="18039" y="6930"/>
                    </a:lnTo>
                    <a:lnTo>
                      <a:pt x="18039" y="2590"/>
                    </a:lnTo>
                    <a:lnTo>
                      <a:pt x="16087" y="0"/>
                    </a:lnTo>
                    <a:lnTo>
                      <a:pt x="11947" y="0"/>
                    </a:lnTo>
                    <a:lnTo>
                      <a:pt x="8481" y="0"/>
                    </a:lnTo>
                    <a:lnTo>
                      <a:pt x="6091" y="2590"/>
                    </a:lnTo>
                    <a:lnTo>
                      <a:pt x="4981" y="6291"/>
                    </a:lnTo>
                    <a:lnTo>
                      <a:pt x="2692" y="10429"/>
                    </a:lnTo>
                    <a:lnTo>
                      <a:pt x="0" y="11303"/>
                    </a:lnTo>
                    <a:lnTo>
                      <a:pt x="1313" y="1325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3" name="Freeform 939">
                <a:extLst>
                  <a:ext uri="{FF2B5EF4-FFF2-40B4-BE49-F238E27FC236}">
                    <a16:creationId xmlns:a16="http://schemas.microsoft.com/office/drawing/2014/main" id="{0B3F6AFB-0508-9E90-6D04-24A751C7C6F3}"/>
                  </a:ext>
                </a:extLst>
              </p:cNvPr>
              <p:cNvSpPr/>
              <p:nvPr/>
            </p:nvSpPr>
            <p:spPr>
              <a:xfrm>
                <a:off x="5489592" y="3748632"/>
                <a:ext cx="3668" cy="5920"/>
              </a:xfrm>
              <a:custGeom>
                <a:avLst/>
                <a:gdLst>
                  <a:gd name="connsiteX0" fmla="*/ 0 w 3668"/>
                  <a:gd name="connsiteY0" fmla="*/ 5921 h 5920"/>
                  <a:gd name="connsiteX1" fmla="*/ 3668 w 3668"/>
                  <a:gd name="connsiteY1" fmla="*/ 3936 h 5920"/>
                  <a:gd name="connsiteX2" fmla="*/ 0 w 3668"/>
                  <a:gd name="connsiteY2" fmla="*/ 0 h 5920"/>
                  <a:gd name="connsiteX3" fmla="*/ 0 w 3668"/>
                  <a:gd name="connsiteY3" fmla="*/ 3028 h 5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68" h="5920">
                    <a:moveTo>
                      <a:pt x="0" y="5921"/>
                    </a:moveTo>
                    <a:lnTo>
                      <a:pt x="3668" y="3936"/>
                    </a:lnTo>
                    <a:lnTo>
                      <a:pt x="0" y="0"/>
                    </a:lnTo>
                    <a:lnTo>
                      <a:pt x="0" y="302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4" name="Freeform 940">
                <a:extLst>
                  <a:ext uri="{FF2B5EF4-FFF2-40B4-BE49-F238E27FC236}">
                    <a16:creationId xmlns:a16="http://schemas.microsoft.com/office/drawing/2014/main" id="{9193A277-D04B-FC3C-CAB5-D83D3FE471AA}"/>
                  </a:ext>
                </a:extLst>
              </p:cNvPr>
              <p:cNvSpPr/>
              <p:nvPr/>
            </p:nvSpPr>
            <p:spPr>
              <a:xfrm>
                <a:off x="5514799" y="3717852"/>
                <a:ext cx="7740" cy="5146"/>
              </a:xfrm>
              <a:custGeom>
                <a:avLst/>
                <a:gdLst>
                  <a:gd name="connsiteX0" fmla="*/ 0 w 7740"/>
                  <a:gd name="connsiteY0" fmla="*/ 5147 h 5146"/>
                  <a:gd name="connsiteX1" fmla="*/ 3467 w 7740"/>
                  <a:gd name="connsiteY1" fmla="*/ 5147 h 5146"/>
                  <a:gd name="connsiteX2" fmla="*/ 5216 w 7740"/>
                  <a:gd name="connsiteY2" fmla="*/ 5147 h 5146"/>
                  <a:gd name="connsiteX3" fmla="*/ 6933 w 7740"/>
                  <a:gd name="connsiteY3" fmla="*/ 3667 h 5146"/>
                  <a:gd name="connsiteX4" fmla="*/ 7740 w 7740"/>
                  <a:gd name="connsiteY4" fmla="*/ 1817 h 5146"/>
                  <a:gd name="connsiteX5" fmla="*/ 6798 w 7740"/>
                  <a:gd name="connsiteY5" fmla="*/ 404 h 5146"/>
                  <a:gd name="connsiteX6" fmla="*/ 3837 w 7740"/>
                  <a:gd name="connsiteY6" fmla="*/ 0 h 5146"/>
                  <a:gd name="connsiteX7" fmla="*/ 2457 w 7740"/>
                  <a:gd name="connsiteY7" fmla="*/ 505 h 5146"/>
                  <a:gd name="connsiteX8" fmla="*/ 1380 w 7740"/>
                  <a:gd name="connsiteY8" fmla="*/ 1985 h 5146"/>
                  <a:gd name="connsiteX9" fmla="*/ 774 w 7740"/>
                  <a:gd name="connsiteY9" fmla="*/ 3230 h 5146"/>
                  <a:gd name="connsiteX10" fmla="*/ 0 w 7740"/>
                  <a:gd name="connsiteY10" fmla="*/ 5147 h 5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740" h="5146">
                    <a:moveTo>
                      <a:pt x="0" y="5147"/>
                    </a:moveTo>
                    <a:lnTo>
                      <a:pt x="3467" y="5147"/>
                    </a:lnTo>
                    <a:lnTo>
                      <a:pt x="5216" y="5147"/>
                    </a:lnTo>
                    <a:cubicBezTo>
                      <a:pt x="5216" y="5147"/>
                      <a:pt x="6798" y="3734"/>
                      <a:pt x="6933" y="3667"/>
                    </a:cubicBezTo>
                    <a:cubicBezTo>
                      <a:pt x="7101" y="3633"/>
                      <a:pt x="7740" y="1817"/>
                      <a:pt x="7740" y="1817"/>
                    </a:cubicBezTo>
                    <a:lnTo>
                      <a:pt x="6798" y="404"/>
                    </a:lnTo>
                    <a:lnTo>
                      <a:pt x="3837" y="0"/>
                    </a:lnTo>
                    <a:lnTo>
                      <a:pt x="2457" y="505"/>
                    </a:lnTo>
                    <a:lnTo>
                      <a:pt x="1380" y="1985"/>
                    </a:lnTo>
                    <a:lnTo>
                      <a:pt x="774" y="3230"/>
                    </a:lnTo>
                    <a:lnTo>
                      <a:pt x="0" y="5147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5" name="Freeform 941">
                <a:extLst>
                  <a:ext uri="{FF2B5EF4-FFF2-40B4-BE49-F238E27FC236}">
                    <a16:creationId xmlns:a16="http://schemas.microsoft.com/office/drawing/2014/main" id="{FED7AEFD-5DA9-B957-86E9-0E7F96E9FBA7}"/>
                  </a:ext>
                </a:extLst>
              </p:cNvPr>
              <p:cNvSpPr/>
              <p:nvPr/>
            </p:nvSpPr>
            <p:spPr>
              <a:xfrm>
                <a:off x="5920808" y="3516149"/>
                <a:ext cx="16759" cy="13994"/>
              </a:xfrm>
              <a:custGeom>
                <a:avLst/>
                <a:gdLst>
                  <a:gd name="connsiteX0" fmla="*/ 34 w 16759"/>
                  <a:gd name="connsiteY0" fmla="*/ 9621 h 13994"/>
                  <a:gd name="connsiteX1" fmla="*/ 7707 w 16759"/>
                  <a:gd name="connsiteY1" fmla="*/ 13994 h 13994"/>
                  <a:gd name="connsiteX2" fmla="*/ 12486 w 16759"/>
                  <a:gd name="connsiteY2" fmla="*/ 11841 h 13994"/>
                  <a:gd name="connsiteX3" fmla="*/ 16760 w 16759"/>
                  <a:gd name="connsiteY3" fmla="*/ 5853 h 13994"/>
                  <a:gd name="connsiteX4" fmla="*/ 14942 w 16759"/>
                  <a:gd name="connsiteY4" fmla="*/ 0 h 13994"/>
                  <a:gd name="connsiteX5" fmla="*/ 6091 w 16759"/>
                  <a:gd name="connsiteY5" fmla="*/ 0 h 13994"/>
                  <a:gd name="connsiteX6" fmla="*/ 1548 w 16759"/>
                  <a:gd name="connsiteY6" fmla="*/ 4205 h 13994"/>
                  <a:gd name="connsiteX7" fmla="*/ 0 w 16759"/>
                  <a:gd name="connsiteY7" fmla="*/ 8275 h 13994"/>
                  <a:gd name="connsiteX8" fmla="*/ 0 w 16759"/>
                  <a:gd name="connsiteY8" fmla="*/ 9621 h 13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759" h="13994">
                    <a:moveTo>
                      <a:pt x="34" y="9621"/>
                    </a:moveTo>
                    <a:lnTo>
                      <a:pt x="7707" y="13994"/>
                    </a:lnTo>
                    <a:cubicBezTo>
                      <a:pt x="7707" y="13994"/>
                      <a:pt x="12217" y="12413"/>
                      <a:pt x="12486" y="11841"/>
                    </a:cubicBezTo>
                    <a:cubicBezTo>
                      <a:pt x="12755" y="11269"/>
                      <a:pt x="16760" y="6560"/>
                      <a:pt x="16760" y="5853"/>
                    </a:cubicBezTo>
                    <a:cubicBezTo>
                      <a:pt x="16760" y="5113"/>
                      <a:pt x="14942" y="0"/>
                      <a:pt x="14942" y="0"/>
                    </a:cubicBezTo>
                    <a:lnTo>
                      <a:pt x="6091" y="0"/>
                    </a:lnTo>
                    <a:lnTo>
                      <a:pt x="1548" y="4205"/>
                    </a:lnTo>
                    <a:lnTo>
                      <a:pt x="0" y="8275"/>
                    </a:lnTo>
                    <a:lnTo>
                      <a:pt x="0" y="962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6" name="Freeform 942">
                <a:extLst>
                  <a:ext uri="{FF2B5EF4-FFF2-40B4-BE49-F238E27FC236}">
                    <a16:creationId xmlns:a16="http://schemas.microsoft.com/office/drawing/2014/main" id="{CF9B6A12-AA80-E332-72D2-365C583EC9E3}"/>
                  </a:ext>
                </a:extLst>
              </p:cNvPr>
              <p:cNvSpPr/>
              <p:nvPr/>
            </p:nvSpPr>
            <p:spPr>
              <a:xfrm>
                <a:off x="5238865" y="3831621"/>
                <a:ext cx="8985" cy="11235"/>
              </a:xfrm>
              <a:custGeom>
                <a:avLst/>
                <a:gdLst>
                  <a:gd name="connsiteX0" fmla="*/ 1615 w 8985"/>
                  <a:gd name="connsiteY0" fmla="*/ 5651 h 11235"/>
                  <a:gd name="connsiteX1" fmla="*/ 6899 w 8985"/>
                  <a:gd name="connsiteY1" fmla="*/ 11236 h 11235"/>
                  <a:gd name="connsiteX2" fmla="*/ 8986 w 8985"/>
                  <a:gd name="connsiteY2" fmla="*/ 8107 h 11235"/>
                  <a:gd name="connsiteX3" fmla="*/ 8986 w 8985"/>
                  <a:gd name="connsiteY3" fmla="*/ 1749 h 11235"/>
                  <a:gd name="connsiteX4" fmla="*/ 2894 w 8985"/>
                  <a:gd name="connsiteY4" fmla="*/ 0 h 11235"/>
                  <a:gd name="connsiteX5" fmla="*/ 0 w 8985"/>
                  <a:gd name="connsiteY5" fmla="*/ 5618 h 11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85" h="11235">
                    <a:moveTo>
                      <a:pt x="1615" y="5651"/>
                    </a:moveTo>
                    <a:lnTo>
                      <a:pt x="6899" y="11236"/>
                    </a:lnTo>
                    <a:lnTo>
                      <a:pt x="8986" y="8107"/>
                    </a:lnTo>
                    <a:lnTo>
                      <a:pt x="8986" y="1749"/>
                    </a:lnTo>
                    <a:lnTo>
                      <a:pt x="2894" y="0"/>
                    </a:lnTo>
                    <a:lnTo>
                      <a:pt x="0" y="561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7" name="Freeform 943">
                <a:extLst>
                  <a:ext uri="{FF2B5EF4-FFF2-40B4-BE49-F238E27FC236}">
                    <a16:creationId xmlns:a16="http://schemas.microsoft.com/office/drawing/2014/main" id="{295E3B7D-E8DE-B50E-00F7-7227938CA422}"/>
                  </a:ext>
                </a:extLst>
              </p:cNvPr>
              <p:cNvSpPr/>
              <p:nvPr/>
            </p:nvSpPr>
            <p:spPr>
              <a:xfrm>
                <a:off x="5235668" y="3866404"/>
                <a:ext cx="3870" cy="6088"/>
              </a:xfrm>
              <a:custGeom>
                <a:avLst/>
                <a:gdLst>
                  <a:gd name="connsiteX0" fmla="*/ 0 w 3870"/>
                  <a:gd name="connsiteY0" fmla="*/ 0 h 6088"/>
                  <a:gd name="connsiteX1" fmla="*/ 0 w 3870"/>
                  <a:gd name="connsiteY1" fmla="*/ 3465 h 6088"/>
                  <a:gd name="connsiteX2" fmla="*/ 740 w 3870"/>
                  <a:gd name="connsiteY2" fmla="*/ 6089 h 6088"/>
                  <a:gd name="connsiteX3" fmla="*/ 2625 w 3870"/>
                  <a:gd name="connsiteY3" fmla="*/ 6089 h 6088"/>
                  <a:gd name="connsiteX4" fmla="*/ 3500 w 3870"/>
                  <a:gd name="connsiteY4" fmla="*/ 4171 h 6088"/>
                  <a:gd name="connsiteX5" fmla="*/ 3870 w 3870"/>
                  <a:gd name="connsiteY5" fmla="*/ 3028 h 6088"/>
                  <a:gd name="connsiteX6" fmla="*/ 3197 w 3870"/>
                  <a:gd name="connsiteY6" fmla="*/ 1077 h 6088"/>
                  <a:gd name="connsiteX7" fmla="*/ 2255 w 3870"/>
                  <a:gd name="connsiteY7" fmla="*/ 572 h 6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70" h="6088">
                    <a:moveTo>
                      <a:pt x="0" y="0"/>
                    </a:moveTo>
                    <a:lnTo>
                      <a:pt x="0" y="3465"/>
                    </a:lnTo>
                    <a:lnTo>
                      <a:pt x="740" y="6089"/>
                    </a:lnTo>
                    <a:lnTo>
                      <a:pt x="2625" y="6089"/>
                    </a:lnTo>
                    <a:lnTo>
                      <a:pt x="3500" y="4171"/>
                    </a:lnTo>
                    <a:lnTo>
                      <a:pt x="3870" y="3028"/>
                    </a:lnTo>
                    <a:lnTo>
                      <a:pt x="3197" y="1077"/>
                    </a:lnTo>
                    <a:lnTo>
                      <a:pt x="2255" y="57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sp>
          <p:nvSpPr>
            <p:cNvPr id="623" name="Freeform 889">
              <a:extLst>
                <a:ext uri="{FF2B5EF4-FFF2-40B4-BE49-F238E27FC236}">
                  <a16:creationId xmlns:a16="http://schemas.microsoft.com/office/drawing/2014/main" id="{055453DA-0EB4-FEC3-CBF1-09FAB2BCCFC9}"/>
                </a:ext>
              </a:extLst>
            </p:cNvPr>
            <p:cNvSpPr/>
            <p:nvPr/>
          </p:nvSpPr>
          <p:spPr>
            <a:xfrm>
              <a:off x="7450776" y="3336519"/>
              <a:ext cx="409397" cy="292566"/>
            </a:xfrm>
            <a:custGeom>
              <a:avLst/>
              <a:gdLst>
                <a:gd name="connsiteX0" fmla="*/ 537464 w 786002"/>
                <a:gd name="connsiteY0" fmla="*/ 558770 h 561696"/>
                <a:gd name="connsiteX1" fmla="*/ 537464 w 786002"/>
                <a:gd name="connsiteY1" fmla="*/ 555305 h 561696"/>
                <a:gd name="connsiteX2" fmla="*/ 538877 w 786002"/>
                <a:gd name="connsiteY2" fmla="*/ 554868 h 561696"/>
                <a:gd name="connsiteX3" fmla="*/ 537901 w 786002"/>
                <a:gd name="connsiteY3" fmla="*/ 554430 h 561696"/>
                <a:gd name="connsiteX4" fmla="*/ 535444 w 786002"/>
                <a:gd name="connsiteY4" fmla="*/ 551537 h 561696"/>
                <a:gd name="connsiteX5" fmla="*/ 536454 w 786002"/>
                <a:gd name="connsiteY5" fmla="*/ 548644 h 561696"/>
                <a:gd name="connsiteX6" fmla="*/ 538036 w 786002"/>
                <a:gd name="connsiteY6" fmla="*/ 545751 h 561696"/>
                <a:gd name="connsiteX7" fmla="*/ 540493 w 786002"/>
                <a:gd name="connsiteY7" fmla="*/ 541109 h 561696"/>
                <a:gd name="connsiteX8" fmla="*/ 543387 w 786002"/>
                <a:gd name="connsiteY8" fmla="*/ 537408 h 561696"/>
                <a:gd name="connsiteX9" fmla="*/ 547594 w 786002"/>
                <a:gd name="connsiteY9" fmla="*/ 535323 h 561696"/>
                <a:gd name="connsiteX10" fmla="*/ 553954 w 786002"/>
                <a:gd name="connsiteY10" fmla="*/ 535323 h 561696"/>
                <a:gd name="connsiteX11" fmla="*/ 562368 w 786002"/>
                <a:gd name="connsiteY11" fmla="*/ 533573 h 561696"/>
                <a:gd name="connsiteX12" fmla="*/ 565700 w 786002"/>
                <a:gd name="connsiteY12" fmla="*/ 526778 h 561696"/>
                <a:gd name="connsiteX13" fmla="*/ 564556 w 786002"/>
                <a:gd name="connsiteY13" fmla="*/ 521262 h 561696"/>
                <a:gd name="connsiteX14" fmla="*/ 561527 w 786002"/>
                <a:gd name="connsiteY14" fmla="*/ 517359 h 561696"/>
                <a:gd name="connsiteX15" fmla="*/ 564556 w 786002"/>
                <a:gd name="connsiteY15" fmla="*/ 512011 h 561696"/>
                <a:gd name="connsiteX16" fmla="*/ 568897 w 786002"/>
                <a:gd name="connsiteY16" fmla="*/ 509387 h 561696"/>
                <a:gd name="connsiteX17" fmla="*/ 575123 w 786002"/>
                <a:gd name="connsiteY17" fmla="*/ 507940 h 561696"/>
                <a:gd name="connsiteX18" fmla="*/ 580642 w 786002"/>
                <a:gd name="connsiteY18" fmla="*/ 507806 h 561696"/>
                <a:gd name="connsiteX19" fmla="*/ 587744 w 786002"/>
                <a:gd name="connsiteY19" fmla="*/ 506494 h 561696"/>
                <a:gd name="connsiteX20" fmla="*/ 595148 w 786002"/>
                <a:gd name="connsiteY20" fmla="*/ 505182 h 561696"/>
                <a:gd name="connsiteX21" fmla="*/ 602552 w 786002"/>
                <a:gd name="connsiteY21" fmla="*/ 504038 h 561696"/>
                <a:gd name="connsiteX22" fmla="*/ 610090 w 786002"/>
                <a:gd name="connsiteY22" fmla="*/ 504610 h 561696"/>
                <a:gd name="connsiteX23" fmla="*/ 615441 w 786002"/>
                <a:gd name="connsiteY23" fmla="*/ 502154 h 561696"/>
                <a:gd name="connsiteX24" fmla="*/ 616013 w 786002"/>
                <a:gd name="connsiteY24" fmla="*/ 496065 h 561696"/>
                <a:gd name="connsiteX25" fmla="*/ 609787 w 786002"/>
                <a:gd name="connsiteY25" fmla="*/ 488967 h 561696"/>
                <a:gd name="connsiteX26" fmla="*/ 606018 w 786002"/>
                <a:gd name="connsiteY26" fmla="*/ 481869 h 561696"/>
                <a:gd name="connsiteX27" fmla="*/ 605883 w 786002"/>
                <a:gd name="connsiteY27" fmla="*/ 476083 h 561696"/>
                <a:gd name="connsiteX28" fmla="*/ 609215 w 786002"/>
                <a:gd name="connsiteY28" fmla="*/ 473897 h 561696"/>
                <a:gd name="connsiteX29" fmla="*/ 615441 w 786002"/>
                <a:gd name="connsiteY29" fmla="*/ 474199 h 561696"/>
                <a:gd name="connsiteX30" fmla="*/ 621230 w 786002"/>
                <a:gd name="connsiteY30" fmla="*/ 478404 h 561696"/>
                <a:gd name="connsiteX31" fmla="*/ 627759 w 786002"/>
                <a:gd name="connsiteY31" fmla="*/ 479716 h 561696"/>
                <a:gd name="connsiteX32" fmla="*/ 629913 w 786002"/>
                <a:gd name="connsiteY32" fmla="*/ 476521 h 561696"/>
                <a:gd name="connsiteX33" fmla="*/ 637586 w 786002"/>
                <a:gd name="connsiteY33" fmla="*/ 473762 h 561696"/>
                <a:gd name="connsiteX34" fmla="*/ 641927 w 786002"/>
                <a:gd name="connsiteY34" fmla="*/ 472013 h 561696"/>
                <a:gd name="connsiteX35" fmla="*/ 645562 w 786002"/>
                <a:gd name="connsiteY35" fmla="*/ 470129 h 561696"/>
                <a:gd name="connsiteX36" fmla="*/ 639336 w 786002"/>
                <a:gd name="connsiteY36" fmla="*/ 466059 h 561696"/>
                <a:gd name="connsiteX37" fmla="*/ 639201 w 786002"/>
                <a:gd name="connsiteY37" fmla="*/ 461585 h 561696"/>
                <a:gd name="connsiteX38" fmla="*/ 641961 w 786002"/>
                <a:gd name="connsiteY38" fmla="*/ 459398 h 561696"/>
                <a:gd name="connsiteX39" fmla="*/ 645293 w 786002"/>
                <a:gd name="connsiteY39" fmla="*/ 459398 h 561696"/>
                <a:gd name="connsiteX40" fmla="*/ 650072 w 786002"/>
                <a:gd name="connsiteY40" fmla="*/ 460845 h 561696"/>
                <a:gd name="connsiteX41" fmla="*/ 653101 w 786002"/>
                <a:gd name="connsiteY41" fmla="*/ 461417 h 561696"/>
                <a:gd name="connsiteX42" fmla="*/ 654413 w 786002"/>
                <a:gd name="connsiteY42" fmla="*/ 458961 h 561696"/>
                <a:gd name="connsiteX43" fmla="*/ 652966 w 786002"/>
                <a:gd name="connsiteY43" fmla="*/ 454319 h 561696"/>
                <a:gd name="connsiteX44" fmla="*/ 649332 w 786002"/>
                <a:gd name="connsiteY44" fmla="*/ 447221 h 561696"/>
                <a:gd name="connsiteX45" fmla="*/ 649466 w 786002"/>
                <a:gd name="connsiteY45" fmla="*/ 443184 h 561696"/>
                <a:gd name="connsiteX46" fmla="*/ 651485 w 786002"/>
                <a:gd name="connsiteY46" fmla="*/ 441434 h 561696"/>
                <a:gd name="connsiteX47" fmla="*/ 654380 w 786002"/>
                <a:gd name="connsiteY47" fmla="*/ 433765 h 561696"/>
                <a:gd name="connsiteX48" fmla="*/ 658149 w 786002"/>
                <a:gd name="connsiteY48" fmla="*/ 429123 h 561696"/>
                <a:gd name="connsiteX49" fmla="*/ 664106 w 786002"/>
                <a:gd name="connsiteY49" fmla="*/ 427104 h 561696"/>
                <a:gd name="connsiteX50" fmla="*/ 670197 w 786002"/>
                <a:gd name="connsiteY50" fmla="*/ 425489 h 561696"/>
                <a:gd name="connsiteX51" fmla="*/ 674101 w 786002"/>
                <a:gd name="connsiteY51" fmla="*/ 422596 h 561696"/>
                <a:gd name="connsiteX52" fmla="*/ 679318 w 786002"/>
                <a:gd name="connsiteY52" fmla="*/ 421722 h 561696"/>
                <a:gd name="connsiteX53" fmla="*/ 683390 w 786002"/>
                <a:gd name="connsiteY53" fmla="*/ 420578 h 561696"/>
                <a:gd name="connsiteX54" fmla="*/ 685712 w 786002"/>
                <a:gd name="connsiteY54" fmla="*/ 417954 h 561696"/>
                <a:gd name="connsiteX55" fmla="*/ 687159 w 786002"/>
                <a:gd name="connsiteY55" fmla="*/ 416373 h 561696"/>
                <a:gd name="connsiteX56" fmla="*/ 688169 w 786002"/>
                <a:gd name="connsiteY56" fmla="*/ 413312 h 561696"/>
                <a:gd name="connsiteX57" fmla="*/ 690491 w 786002"/>
                <a:gd name="connsiteY57" fmla="*/ 412437 h 561696"/>
                <a:gd name="connsiteX58" fmla="*/ 693520 w 786002"/>
                <a:gd name="connsiteY58" fmla="*/ 410856 h 561696"/>
                <a:gd name="connsiteX59" fmla="*/ 698030 w 786002"/>
                <a:gd name="connsiteY59" fmla="*/ 409107 h 561696"/>
                <a:gd name="connsiteX60" fmla="*/ 700487 w 786002"/>
                <a:gd name="connsiteY60" fmla="*/ 408401 h 561696"/>
                <a:gd name="connsiteX61" fmla="*/ 702506 w 786002"/>
                <a:gd name="connsiteY61" fmla="*/ 407223 h 561696"/>
                <a:gd name="connsiteX62" fmla="*/ 705568 w 786002"/>
                <a:gd name="connsiteY62" fmla="*/ 404465 h 561696"/>
                <a:gd name="connsiteX63" fmla="*/ 706006 w 786002"/>
                <a:gd name="connsiteY63" fmla="*/ 402278 h 561696"/>
                <a:gd name="connsiteX64" fmla="*/ 710347 w 786002"/>
                <a:gd name="connsiteY64" fmla="*/ 398948 h 561696"/>
                <a:gd name="connsiteX65" fmla="*/ 712669 w 786002"/>
                <a:gd name="connsiteY65" fmla="*/ 396627 h 561696"/>
                <a:gd name="connsiteX66" fmla="*/ 715126 w 786002"/>
                <a:gd name="connsiteY66" fmla="*/ 393431 h 561696"/>
                <a:gd name="connsiteX67" fmla="*/ 716001 w 786002"/>
                <a:gd name="connsiteY67" fmla="*/ 387914 h 561696"/>
                <a:gd name="connsiteX68" fmla="*/ 722800 w 786002"/>
                <a:gd name="connsiteY68" fmla="*/ 381388 h 561696"/>
                <a:gd name="connsiteX69" fmla="*/ 723540 w 786002"/>
                <a:gd name="connsiteY69" fmla="*/ 372709 h 561696"/>
                <a:gd name="connsiteX70" fmla="*/ 720915 w 786002"/>
                <a:gd name="connsiteY70" fmla="*/ 368638 h 561696"/>
                <a:gd name="connsiteX71" fmla="*/ 719333 w 786002"/>
                <a:gd name="connsiteY71" fmla="*/ 364131 h 561696"/>
                <a:gd name="connsiteX72" fmla="*/ 718895 w 786002"/>
                <a:gd name="connsiteY72" fmla="*/ 356595 h 561696"/>
                <a:gd name="connsiteX73" fmla="*/ 717314 w 786002"/>
                <a:gd name="connsiteY73" fmla="*/ 353702 h 561696"/>
                <a:gd name="connsiteX74" fmla="*/ 714857 w 786002"/>
                <a:gd name="connsiteY74" fmla="*/ 350372 h 561696"/>
                <a:gd name="connsiteX75" fmla="*/ 714857 w 786002"/>
                <a:gd name="connsiteY75" fmla="*/ 346739 h 561696"/>
                <a:gd name="connsiteX76" fmla="*/ 717751 w 786002"/>
                <a:gd name="connsiteY76" fmla="*/ 343106 h 561696"/>
                <a:gd name="connsiteX77" fmla="*/ 718761 w 786002"/>
                <a:gd name="connsiteY77" fmla="*/ 340482 h 561696"/>
                <a:gd name="connsiteX78" fmla="*/ 718054 w 786002"/>
                <a:gd name="connsiteY78" fmla="*/ 332812 h 561696"/>
                <a:gd name="connsiteX79" fmla="*/ 718323 w 786002"/>
                <a:gd name="connsiteY79" fmla="*/ 328742 h 561696"/>
                <a:gd name="connsiteX80" fmla="*/ 718323 w 786002"/>
                <a:gd name="connsiteY80" fmla="*/ 323965 h 561696"/>
                <a:gd name="connsiteX81" fmla="*/ 723237 w 786002"/>
                <a:gd name="connsiteY81" fmla="*/ 321644 h 561696"/>
                <a:gd name="connsiteX82" fmla="*/ 724247 w 786002"/>
                <a:gd name="connsiteY82" fmla="*/ 320635 h 561696"/>
                <a:gd name="connsiteX83" fmla="*/ 728588 w 786002"/>
                <a:gd name="connsiteY83" fmla="*/ 315555 h 561696"/>
                <a:gd name="connsiteX84" fmla="*/ 734545 w 786002"/>
                <a:gd name="connsiteY84" fmla="*/ 311922 h 561696"/>
                <a:gd name="connsiteX85" fmla="*/ 738886 w 786002"/>
                <a:gd name="connsiteY85" fmla="*/ 311216 h 561696"/>
                <a:gd name="connsiteX86" fmla="*/ 742656 w 786002"/>
                <a:gd name="connsiteY86" fmla="*/ 310072 h 561696"/>
                <a:gd name="connsiteX87" fmla="*/ 746122 w 786002"/>
                <a:gd name="connsiteY87" fmla="*/ 307044 h 561696"/>
                <a:gd name="connsiteX88" fmla="*/ 748444 w 786002"/>
                <a:gd name="connsiteY88" fmla="*/ 301965 h 561696"/>
                <a:gd name="connsiteX89" fmla="*/ 746560 w 786002"/>
                <a:gd name="connsiteY89" fmla="*/ 298197 h 561696"/>
                <a:gd name="connsiteX90" fmla="*/ 739896 w 786002"/>
                <a:gd name="connsiteY90" fmla="*/ 292848 h 561696"/>
                <a:gd name="connsiteX91" fmla="*/ 743396 w 786002"/>
                <a:gd name="connsiteY91" fmla="*/ 285616 h 561696"/>
                <a:gd name="connsiteX92" fmla="*/ 751204 w 786002"/>
                <a:gd name="connsiteY92" fmla="*/ 280839 h 561696"/>
                <a:gd name="connsiteX93" fmla="*/ 756723 w 786002"/>
                <a:gd name="connsiteY93" fmla="*/ 280839 h 561696"/>
                <a:gd name="connsiteX94" fmla="*/ 759618 w 786002"/>
                <a:gd name="connsiteY94" fmla="*/ 282151 h 561696"/>
                <a:gd name="connsiteX95" fmla="*/ 766719 w 786002"/>
                <a:gd name="connsiteY95" fmla="*/ 276802 h 561696"/>
                <a:gd name="connsiteX96" fmla="*/ 772507 w 786002"/>
                <a:gd name="connsiteY96" fmla="*/ 274481 h 561696"/>
                <a:gd name="connsiteX97" fmla="*/ 775132 w 786002"/>
                <a:gd name="connsiteY97" fmla="*/ 273169 h 561696"/>
                <a:gd name="connsiteX98" fmla="*/ 775267 w 786002"/>
                <a:gd name="connsiteY98" fmla="*/ 268830 h 561696"/>
                <a:gd name="connsiteX99" fmla="*/ 769613 w 786002"/>
                <a:gd name="connsiteY99" fmla="*/ 261429 h 561696"/>
                <a:gd name="connsiteX100" fmla="*/ 768300 w 786002"/>
                <a:gd name="connsiteY100" fmla="*/ 257796 h 561696"/>
                <a:gd name="connsiteX101" fmla="*/ 765709 w 786002"/>
                <a:gd name="connsiteY101" fmla="*/ 249251 h 561696"/>
                <a:gd name="connsiteX102" fmla="*/ 766146 w 786002"/>
                <a:gd name="connsiteY102" fmla="*/ 243600 h 561696"/>
                <a:gd name="connsiteX103" fmla="*/ 771801 w 786002"/>
                <a:gd name="connsiteY103" fmla="*/ 239126 h 561696"/>
                <a:gd name="connsiteX104" fmla="*/ 777589 w 786002"/>
                <a:gd name="connsiteY104" fmla="*/ 237545 h 561696"/>
                <a:gd name="connsiteX105" fmla="*/ 783108 w 786002"/>
                <a:gd name="connsiteY105" fmla="*/ 235526 h 561696"/>
                <a:gd name="connsiteX106" fmla="*/ 786003 w 786002"/>
                <a:gd name="connsiteY106" fmla="*/ 229875 h 561696"/>
                <a:gd name="connsiteX107" fmla="*/ 784118 w 786002"/>
                <a:gd name="connsiteY107" fmla="*/ 224661 h 561696"/>
                <a:gd name="connsiteX108" fmla="*/ 781931 w 786002"/>
                <a:gd name="connsiteY108" fmla="*/ 218572 h 561696"/>
                <a:gd name="connsiteX109" fmla="*/ 782233 w 786002"/>
                <a:gd name="connsiteY109" fmla="*/ 213492 h 561696"/>
                <a:gd name="connsiteX110" fmla="*/ 781661 w 786002"/>
                <a:gd name="connsiteY110" fmla="*/ 208413 h 561696"/>
                <a:gd name="connsiteX111" fmla="*/ 775873 w 786002"/>
                <a:gd name="connsiteY111" fmla="*/ 203939 h 561696"/>
                <a:gd name="connsiteX112" fmla="*/ 773988 w 786002"/>
                <a:gd name="connsiteY112" fmla="*/ 201046 h 561696"/>
                <a:gd name="connsiteX113" fmla="*/ 772676 w 786002"/>
                <a:gd name="connsiteY113" fmla="*/ 198287 h 561696"/>
                <a:gd name="connsiteX114" fmla="*/ 772103 w 786002"/>
                <a:gd name="connsiteY114" fmla="*/ 194654 h 561696"/>
                <a:gd name="connsiteX115" fmla="*/ 773248 w 786002"/>
                <a:gd name="connsiteY115" fmla="*/ 191627 h 561696"/>
                <a:gd name="connsiteX116" fmla="*/ 775132 w 786002"/>
                <a:gd name="connsiteY116" fmla="*/ 188599 h 561696"/>
                <a:gd name="connsiteX117" fmla="*/ 778329 w 786002"/>
                <a:gd name="connsiteY117" fmla="*/ 185403 h 561696"/>
                <a:gd name="connsiteX118" fmla="*/ 781964 w 786002"/>
                <a:gd name="connsiteY118" fmla="*/ 181770 h 561696"/>
                <a:gd name="connsiteX119" fmla="*/ 778633 w 786002"/>
                <a:gd name="connsiteY119" fmla="*/ 181030 h 561696"/>
                <a:gd name="connsiteX120" fmla="*/ 774863 w 786002"/>
                <a:gd name="connsiteY120" fmla="*/ 181602 h 561696"/>
                <a:gd name="connsiteX121" fmla="*/ 770219 w 786002"/>
                <a:gd name="connsiteY121" fmla="*/ 182174 h 561696"/>
                <a:gd name="connsiteX122" fmla="*/ 765575 w 786002"/>
                <a:gd name="connsiteY122" fmla="*/ 181165 h 561696"/>
                <a:gd name="connsiteX123" fmla="*/ 761368 w 786002"/>
                <a:gd name="connsiteY123" fmla="*/ 180862 h 561696"/>
                <a:gd name="connsiteX124" fmla="*/ 757733 w 786002"/>
                <a:gd name="connsiteY124" fmla="*/ 180727 h 561696"/>
                <a:gd name="connsiteX125" fmla="*/ 754401 w 786002"/>
                <a:gd name="connsiteY125" fmla="*/ 180727 h 561696"/>
                <a:gd name="connsiteX126" fmla="*/ 750766 w 786002"/>
                <a:gd name="connsiteY126" fmla="*/ 181737 h 561696"/>
                <a:gd name="connsiteX127" fmla="*/ 746122 w 786002"/>
                <a:gd name="connsiteY127" fmla="*/ 183318 h 561696"/>
                <a:gd name="connsiteX128" fmla="*/ 742218 w 786002"/>
                <a:gd name="connsiteY128" fmla="*/ 186345 h 561696"/>
                <a:gd name="connsiteX129" fmla="*/ 738314 w 786002"/>
                <a:gd name="connsiteY129" fmla="*/ 187926 h 561696"/>
                <a:gd name="connsiteX130" fmla="*/ 733098 w 786002"/>
                <a:gd name="connsiteY130" fmla="*/ 191694 h 561696"/>
                <a:gd name="connsiteX131" fmla="*/ 729631 w 786002"/>
                <a:gd name="connsiteY131" fmla="*/ 191694 h 561696"/>
                <a:gd name="connsiteX132" fmla="*/ 728050 w 786002"/>
                <a:gd name="connsiteY132" fmla="*/ 190819 h 561696"/>
                <a:gd name="connsiteX133" fmla="*/ 723708 w 786002"/>
                <a:gd name="connsiteY133" fmla="*/ 188633 h 561696"/>
                <a:gd name="connsiteX134" fmla="*/ 719939 w 786002"/>
                <a:gd name="connsiteY134" fmla="*/ 186312 h 561696"/>
                <a:gd name="connsiteX135" fmla="*/ 719064 w 786002"/>
                <a:gd name="connsiteY135" fmla="*/ 183856 h 561696"/>
                <a:gd name="connsiteX136" fmla="*/ 719501 w 786002"/>
                <a:gd name="connsiteY136" fmla="*/ 181097 h 561696"/>
                <a:gd name="connsiteX137" fmla="*/ 719636 w 786002"/>
                <a:gd name="connsiteY137" fmla="*/ 175177 h 561696"/>
                <a:gd name="connsiteX138" fmla="*/ 720074 w 786002"/>
                <a:gd name="connsiteY138" fmla="*/ 170669 h 561696"/>
                <a:gd name="connsiteX139" fmla="*/ 719939 w 786002"/>
                <a:gd name="connsiteY139" fmla="*/ 167339 h 561696"/>
                <a:gd name="connsiteX140" fmla="*/ 720074 w 786002"/>
                <a:gd name="connsiteY140" fmla="*/ 164143 h 561696"/>
                <a:gd name="connsiteX141" fmla="*/ 720074 w 786002"/>
                <a:gd name="connsiteY141" fmla="*/ 161519 h 561696"/>
                <a:gd name="connsiteX142" fmla="*/ 720646 w 786002"/>
                <a:gd name="connsiteY142" fmla="*/ 155565 h 561696"/>
                <a:gd name="connsiteX143" fmla="*/ 720074 w 786002"/>
                <a:gd name="connsiteY143" fmla="*/ 151797 h 561696"/>
                <a:gd name="connsiteX144" fmla="*/ 720074 w 786002"/>
                <a:gd name="connsiteY144" fmla="*/ 148602 h 561696"/>
                <a:gd name="connsiteX145" fmla="*/ 718761 w 786002"/>
                <a:gd name="connsiteY145" fmla="*/ 144094 h 561696"/>
                <a:gd name="connsiteX146" fmla="*/ 717011 w 786002"/>
                <a:gd name="connsiteY146" fmla="*/ 143219 h 561696"/>
                <a:gd name="connsiteX147" fmla="*/ 713107 w 786002"/>
                <a:gd name="connsiteY147" fmla="*/ 142076 h 561696"/>
                <a:gd name="connsiteX148" fmla="*/ 708765 w 786002"/>
                <a:gd name="connsiteY148" fmla="*/ 141504 h 561696"/>
                <a:gd name="connsiteX149" fmla="*/ 705299 w 786002"/>
                <a:gd name="connsiteY149" fmla="*/ 142244 h 561696"/>
                <a:gd name="connsiteX150" fmla="*/ 702539 w 786002"/>
                <a:gd name="connsiteY150" fmla="*/ 142244 h 561696"/>
                <a:gd name="connsiteX151" fmla="*/ 700352 w 786002"/>
                <a:gd name="connsiteY151" fmla="*/ 143993 h 561696"/>
                <a:gd name="connsiteX152" fmla="*/ 699208 w 786002"/>
                <a:gd name="connsiteY152" fmla="*/ 145170 h 561696"/>
                <a:gd name="connsiteX153" fmla="*/ 697054 w 786002"/>
                <a:gd name="connsiteY153" fmla="*/ 147626 h 561696"/>
                <a:gd name="connsiteX154" fmla="*/ 693587 w 786002"/>
                <a:gd name="connsiteY154" fmla="*/ 149813 h 561696"/>
                <a:gd name="connsiteX155" fmla="*/ 690693 w 786002"/>
                <a:gd name="connsiteY155" fmla="*/ 151562 h 561696"/>
                <a:gd name="connsiteX156" fmla="*/ 688068 w 786002"/>
                <a:gd name="connsiteY156" fmla="*/ 154589 h 561696"/>
                <a:gd name="connsiteX157" fmla="*/ 688203 w 786002"/>
                <a:gd name="connsiteY157" fmla="*/ 159501 h 561696"/>
                <a:gd name="connsiteX158" fmla="*/ 688068 w 786002"/>
                <a:gd name="connsiteY158" fmla="*/ 162091 h 561696"/>
                <a:gd name="connsiteX159" fmla="*/ 685746 w 786002"/>
                <a:gd name="connsiteY159" fmla="*/ 166565 h 561696"/>
                <a:gd name="connsiteX160" fmla="*/ 680529 w 786002"/>
                <a:gd name="connsiteY160" fmla="*/ 167742 h 561696"/>
                <a:gd name="connsiteX161" fmla="*/ 675178 w 786002"/>
                <a:gd name="connsiteY161" fmla="*/ 165724 h 561696"/>
                <a:gd name="connsiteX162" fmla="*/ 672284 w 786002"/>
                <a:gd name="connsiteY162" fmla="*/ 162394 h 561696"/>
                <a:gd name="connsiteX163" fmla="*/ 671409 w 786002"/>
                <a:gd name="connsiteY163" fmla="*/ 158929 h 561696"/>
                <a:gd name="connsiteX164" fmla="*/ 671274 w 786002"/>
                <a:gd name="connsiteY164" fmla="*/ 155027 h 561696"/>
                <a:gd name="connsiteX165" fmla="*/ 670837 w 786002"/>
                <a:gd name="connsiteY165" fmla="*/ 151999 h 561696"/>
                <a:gd name="connsiteX166" fmla="*/ 670702 w 786002"/>
                <a:gd name="connsiteY166" fmla="*/ 148097 h 561696"/>
                <a:gd name="connsiteX167" fmla="*/ 671005 w 786002"/>
                <a:gd name="connsiteY167" fmla="*/ 143758 h 561696"/>
                <a:gd name="connsiteX168" fmla="*/ 676087 w 786002"/>
                <a:gd name="connsiteY168" fmla="*/ 137534 h 561696"/>
                <a:gd name="connsiteX169" fmla="*/ 676524 w 786002"/>
                <a:gd name="connsiteY169" fmla="*/ 137400 h 561696"/>
                <a:gd name="connsiteX170" fmla="*/ 677669 w 786002"/>
                <a:gd name="connsiteY170" fmla="*/ 134069 h 561696"/>
                <a:gd name="connsiteX171" fmla="*/ 681741 w 786002"/>
                <a:gd name="connsiteY171" fmla="*/ 131311 h 561696"/>
                <a:gd name="connsiteX172" fmla="*/ 683053 w 786002"/>
                <a:gd name="connsiteY172" fmla="*/ 130167 h 561696"/>
                <a:gd name="connsiteX173" fmla="*/ 688842 w 786002"/>
                <a:gd name="connsiteY173" fmla="*/ 128283 h 561696"/>
                <a:gd name="connsiteX174" fmla="*/ 688707 w 786002"/>
                <a:gd name="connsiteY174" fmla="*/ 125828 h 561696"/>
                <a:gd name="connsiteX175" fmla="*/ 688842 w 786002"/>
                <a:gd name="connsiteY175" fmla="*/ 123237 h 561696"/>
                <a:gd name="connsiteX176" fmla="*/ 689145 w 786002"/>
                <a:gd name="connsiteY176" fmla="*/ 121353 h 561696"/>
                <a:gd name="connsiteX177" fmla="*/ 691030 w 786002"/>
                <a:gd name="connsiteY177" fmla="*/ 118326 h 561696"/>
                <a:gd name="connsiteX178" fmla="*/ 691332 w 786002"/>
                <a:gd name="connsiteY178" fmla="*/ 117889 h 561696"/>
                <a:gd name="connsiteX179" fmla="*/ 695236 w 786002"/>
                <a:gd name="connsiteY179" fmla="*/ 116005 h 561696"/>
                <a:gd name="connsiteX180" fmla="*/ 697693 w 786002"/>
                <a:gd name="connsiteY180" fmla="*/ 113684 h 561696"/>
                <a:gd name="connsiteX181" fmla="*/ 699578 w 786002"/>
                <a:gd name="connsiteY181" fmla="*/ 111800 h 561696"/>
                <a:gd name="connsiteX182" fmla="*/ 701765 w 786002"/>
                <a:gd name="connsiteY182" fmla="*/ 111228 h 561696"/>
                <a:gd name="connsiteX183" fmla="*/ 704660 w 786002"/>
                <a:gd name="connsiteY183" fmla="*/ 109647 h 561696"/>
                <a:gd name="connsiteX184" fmla="*/ 706241 w 786002"/>
                <a:gd name="connsiteY184" fmla="*/ 107628 h 561696"/>
                <a:gd name="connsiteX185" fmla="*/ 706814 w 786002"/>
                <a:gd name="connsiteY185" fmla="*/ 106047 h 561696"/>
                <a:gd name="connsiteX186" fmla="*/ 707823 w 786002"/>
                <a:gd name="connsiteY186" fmla="*/ 101405 h 561696"/>
                <a:gd name="connsiteX187" fmla="*/ 708530 w 786002"/>
                <a:gd name="connsiteY187" fmla="*/ 95888 h 561696"/>
                <a:gd name="connsiteX188" fmla="*/ 705636 w 786002"/>
                <a:gd name="connsiteY188" fmla="*/ 85157 h 561696"/>
                <a:gd name="connsiteX189" fmla="*/ 706208 w 786002"/>
                <a:gd name="connsiteY189" fmla="*/ 80818 h 561696"/>
                <a:gd name="connsiteX190" fmla="*/ 706645 w 786002"/>
                <a:gd name="connsiteY190" fmla="*/ 77050 h 561696"/>
                <a:gd name="connsiteX191" fmla="*/ 708833 w 786002"/>
                <a:gd name="connsiteY191" fmla="*/ 74022 h 561696"/>
                <a:gd name="connsiteX192" fmla="*/ 710583 w 786002"/>
                <a:gd name="connsiteY192" fmla="*/ 71399 h 561696"/>
                <a:gd name="connsiteX193" fmla="*/ 712468 w 786002"/>
                <a:gd name="connsiteY193" fmla="*/ 69380 h 561696"/>
                <a:gd name="connsiteX194" fmla="*/ 714790 w 786002"/>
                <a:gd name="connsiteY194" fmla="*/ 67799 h 561696"/>
                <a:gd name="connsiteX195" fmla="*/ 716371 w 786002"/>
                <a:gd name="connsiteY195" fmla="*/ 67059 h 561696"/>
                <a:gd name="connsiteX196" fmla="*/ 717987 w 786002"/>
                <a:gd name="connsiteY196" fmla="*/ 66353 h 561696"/>
                <a:gd name="connsiteX197" fmla="*/ 719434 w 786002"/>
                <a:gd name="connsiteY197" fmla="*/ 64166 h 561696"/>
                <a:gd name="connsiteX198" fmla="*/ 721891 w 786002"/>
                <a:gd name="connsiteY198" fmla="*/ 61542 h 561696"/>
                <a:gd name="connsiteX199" fmla="*/ 721891 w 786002"/>
                <a:gd name="connsiteY199" fmla="*/ 57472 h 561696"/>
                <a:gd name="connsiteX200" fmla="*/ 719939 w 786002"/>
                <a:gd name="connsiteY200" fmla="*/ 55722 h 561696"/>
                <a:gd name="connsiteX201" fmla="*/ 717549 w 786002"/>
                <a:gd name="connsiteY201" fmla="*/ 54579 h 561696"/>
                <a:gd name="connsiteX202" fmla="*/ 715227 w 786002"/>
                <a:gd name="connsiteY202" fmla="*/ 54007 h 561696"/>
                <a:gd name="connsiteX203" fmla="*/ 712468 w 786002"/>
                <a:gd name="connsiteY203" fmla="*/ 54007 h 561696"/>
                <a:gd name="connsiteX204" fmla="*/ 710145 w 786002"/>
                <a:gd name="connsiteY204" fmla="*/ 53872 h 561696"/>
                <a:gd name="connsiteX205" fmla="*/ 706241 w 786002"/>
                <a:gd name="connsiteY205" fmla="*/ 54310 h 561696"/>
                <a:gd name="connsiteX206" fmla="*/ 704222 w 786002"/>
                <a:gd name="connsiteY206" fmla="*/ 54747 h 561696"/>
                <a:gd name="connsiteX207" fmla="*/ 701025 w 786002"/>
                <a:gd name="connsiteY207" fmla="*/ 55891 h 561696"/>
                <a:gd name="connsiteX208" fmla="*/ 698265 w 786002"/>
                <a:gd name="connsiteY208" fmla="*/ 55016 h 561696"/>
                <a:gd name="connsiteX209" fmla="*/ 696381 w 786002"/>
                <a:gd name="connsiteY209" fmla="*/ 52392 h 561696"/>
                <a:gd name="connsiteX210" fmla="*/ 694933 w 786002"/>
                <a:gd name="connsiteY210" fmla="*/ 50206 h 561696"/>
                <a:gd name="connsiteX211" fmla="*/ 693789 w 786002"/>
                <a:gd name="connsiteY211" fmla="*/ 48456 h 561696"/>
                <a:gd name="connsiteX212" fmla="*/ 693520 w 786002"/>
                <a:gd name="connsiteY212" fmla="*/ 44823 h 561696"/>
                <a:gd name="connsiteX213" fmla="*/ 695102 w 786002"/>
                <a:gd name="connsiteY213" fmla="*/ 40484 h 561696"/>
                <a:gd name="connsiteX214" fmla="*/ 697121 w 786002"/>
                <a:gd name="connsiteY214" fmla="*/ 37591 h 561696"/>
                <a:gd name="connsiteX215" fmla="*/ 698131 w 786002"/>
                <a:gd name="connsiteY215" fmla="*/ 35572 h 561696"/>
                <a:gd name="connsiteX216" fmla="*/ 700285 w 786002"/>
                <a:gd name="connsiteY216" fmla="*/ 32511 h 561696"/>
                <a:gd name="connsiteX217" fmla="*/ 700015 w 786002"/>
                <a:gd name="connsiteY217" fmla="*/ 31065 h 561696"/>
                <a:gd name="connsiteX218" fmla="*/ 699578 w 786002"/>
                <a:gd name="connsiteY218" fmla="*/ 28037 h 561696"/>
                <a:gd name="connsiteX219" fmla="*/ 699275 w 786002"/>
                <a:gd name="connsiteY219" fmla="*/ 25279 h 561696"/>
                <a:gd name="connsiteX220" fmla="*/ 700150 w 786002"/>
                <a:gd name="connsiteY220" fmla="*/ 22251 h 561696"/>
                <a:gd name="connsiteX221" fmla="*/ 701025 w 786002"/>
                <a:gd name="connsiteY221" fmla="*/ 18046 h 561696"/>
                <a:gd name="connsiteX222" fmla="*/ 701025 w 786002"/>
                <a:gd name="connsiteY222" fmla="*/ 14144 h 561696"/>
                <a:gd name="connsiteX223" fmla="*/ 699510 w 786002"/>
                <a:gd name="connsiteY223" fmla="*/ 11957 h 561696"/>
                <a:gd name="connsiteX224" fmla="*/ 696852 w 786002"/>
                <a:gd name="connsiteY224" fmla="*/ 8930 h 561696"/>
                <a:gd name="connsiteX225" fmla="*/ 693789 w 786002"/>
                <a:gd name="connsiteY225" fmla="*/ 6306 h 561696"/>
                <a:gd name="connsiteX226" fmla="*/ 690020 w 786002"/>
                <a:gd name="connsiteY226" fmla="*/ 7181 h 561696"/>
                <a:gd name="connsiteX227" fmla="*/ 688270 w 786002"/>
                <a:gd name="connsiteY227" fmla="*/ 8930 h 561696"/>
                <a:gd name="connsiteX228" fmla="*/ 684669 w 786002"/>
                <a:gd name="connsiteY228" fmla="*/ 9064 h 561696"/>
                <a:gd name="connsiteX229" fmla="*/ 678712 w 786002"/>
                <a:gd name="connsiteY229" fmla="*/ 6609 h 561696"/>
                <a:gd name="connsiteX230" fmla="*/ 676524 w 786002"/>
                <a:gd name="connsiteY230" fmla="*/ 4590 h 561696"/>
                <a:gd name="connsiteX231" fmla="*/ 673495 w 786002"/>
                <a:gd name="connsiteY231" fmla="*/ 2572 h 561696"/>
                <a:gd name="connsiteX232" fmla="*/ 670601 w 786002"/>
                <a:gd name="connsiteY232" fmla="*/ 116 h 561696"/>
                <a:gd name="connsiteX233" fmla="*/ 668582 w 786002"/>
                <a:gd name="connsiteY233" fmla="*/ 1428 h 561696"/>
                <a:gd name="connsiteX234" fmla="*/ 668010 w 786002"/>
                <a:gd name="connsiteY234" fmla="*/ 2303 h 561696"/>
                <a:gd name="connsiteX235" fmla="*/ 666697 w 786002"/>
                <a:gd name="connsiteY235" fmla="*/ 4759 h 561696"/>
                <a:gd name="connsiteX236" fmla="*/ 665519 w 786002"/>
                <a:gd name="connsiteY236" fmla="*/ 8089 h 561696"/>
                <a:gd name="connsiteX237" fmla="*/ 664813 w 786002"/>
                <a:gd name="connsiteY237" fmla="*/ 10107 h 561696"/>
                <a:gd name="connsiteX238" fmla="*/ 663063 w 786002"/>
                <a:gd name="connsiteY238" fmla="*/ 12294 h 561696"/>
                <a:gd name="connsiteX239" fmla="*/ 659865 w 786002"/>
                <a:gd name="connsiteY239" fmla="*/ 14312 h 561696"/>
                <a:gd name="connsiteX240" fmla="*/ 654077 w 786002"/>
                <a:gd name="connsiteY240" fmla="*/ 14615 h 561696"/>
                <a:gd name="connsiteX241" fmla="*/ 651889 w 786002"/>
                <a:gd name="connsiteY241" fmla="*/ 13606 h 561696"/>
                <a:gd name="connsiteX242" fmla="*/ 646538 w 786002"/>
                <a:gd name="connsiteY242" fmla="*/ 8257 h 561696"/>
                <a:gd name="connsiteX243" fmla="*/ 644519 w 786002"/>
                <a:gd name="connsiteY243" fmla="*/ 6811 h 561696"/>
                <a:gd name="connsiteX244" fmla="*/ 641322 w 786002"/>
                <a:gd name="connsiteY244" fmla="*/ 6811 h 561696"/>
                <a:gd name="connsiteX245" fmla="*/ 637687 w 786002"/>
                <a:gd name="connsiteY245" fmla="*/ 8627 h 561696"/>
                <a:gd name="connsiteX246" fmla="*/ 629711 w 786002"/>
                <a:gd name="connsiteY246" fmla="*/ 9569 h 561696"/>
                <a:gd name="connsiteX247" fmla="*/ 628836 w 786002"/>
                <a:gd name="connsiteY247" fmla="*/ 14346 h 561696"/>
                <a:gd name="connsiteX248" fmla="*/ 627389 w 786002"/>
                <a:gd name="connsiteY248" fmla="*/ 17811 h 561696"/>
                <a:gd name="connsiteX249" fmla="*/ 623922 w 786002"/>
                <a:gd name="connsiteY249" fmla="*/ 20838 h 561696"/>
                <a:gd name="connsiteX250" fmla="*/ 620288 w 786002"/>
                <a:gd name="connsiteY250" fmla="*/ 22857 h 561696"/>
                <a:gd name="connsiteX251" fmla="*/ 617965 w 786002"/>
                <a:gd name="connsiteY251" fmla="*/ 25480 h 561696"/>
                <a:gd name="connsiteX252" fmla="*/ 616081 w 786002"/>
                <a:gd name="connsiteY252" fmla="*/ 26490 h 561696"/>
                <a:gd name="connsiteX253" fmla="*/ 613893 w 786002"/>
                <a:gd name="connsiteY253" fmla="*/ 27936 h 561696"/>
                <a:gd name="connsiteX254" fmla="*/ 612143 w 786002"/>
                <a:gd name="connsiteY254" fmla="*/ 29685 h 561696"/>
                <a:gd name="connsiteX255" fmla="*/ 610561 w 786002"/>
                <a:gd name="connsiteY255" fmla="*/ 32444 h 561696"/>
                <a:gd name="connsiteX256" fmla="*/ 609686 w 786002"/>
                <a:gd name="connsiteY256" fmla="*/ 35640 h 561696"/>
                <a:gd name="connsiteX257" fmla="*/ 608239 w 786002"/>
                <a:gd name="connsiteY257" fmla="*/ 38095 h 561696"/>
                <a:gd name="connsiteX258" fmla="*/ 607364 w 786002"/>
                <a:gd name="connsiteY258" fmla="*/ 43007 h 561696"/>
                <a:gd name="connsiteX259" fmla="*/ 605648 w 786002"/>
                <a:gd name="connsiteY259" fmla="*/ 45328 h 561696"/>
                <a:gd name="connsiteX260" fmla="*/ 602451 w 786002"/>
                <a:gd name="connsiteY260" fmla="*/ 45631 h 561696"/>
                <a:gd name="connsiteX261" fmla="*/ 600566 w 786002"/>
                <a:gd name="connsiteY261" fmla="*/ 43040 h 561696"/>
                <a:gd name="connsiteX262" fmla="*/ 599388 w 786002"/>
                <a:gd name="connsiteY262" fmla="*/ 40585 h 561696"/>
                <a:gd name="connsiteX263" fmla="*/ 598076 w 786002"/>
                <a:gd name="connsiteY263" fmla="*/ 38701 h 561696"/>
                <a:gd name="connsiteX264" fmla="*/ 594609 w 786002"/>
                <a:gd name="connsiteY264" fmla="*/ 37254 h 561696"/>
                <a:gd name="connsiteX265" fmla="*/ 592724 w 786002"/>
                <a:gd name="connsiteY265" fmla="*/ 37389 h 561696"/>
                <a:gd name="connsiteX266" fmla="*/ 591580 w 786002"/>
                <a:gd name="connsiteY266" fmla="*/ 38970 h 561696"/>
                <a:gd name="connsiteX267" fmla="*/ 586061 w 786002"/>
                <a:gd name="connsiteY267" fmla="*/ 41426 h 561696"/>
                <a:gd name="connsiteX268" fmla="*/ 583604 w 786002"/>
                <a:gd name="connsiteY268" fmla="*/ 38230 h 561696"/>
                <a:gd name="connsiteX269" fmla="*/ 582729 w 786002"/>
                <a:gd name="connsiteY269" fmla="*/ 33722 h 561696"/>
                <a:gd name="connsiteX270" fmla="*/ 582729 w 786002"/>
                <a:gd name="connsiteY270" fmla="*/ 27062 h 561696"/>
                <a:gd name="connsiteX271" fmla="*/ 574181 w 786002"/>
                <a:gd name="connsiteY271" fmla="*/ 23866 h 561696"/>
                <a:gd name="connsiteX272" fmla="*/ 571859 w 786002"/>
                <a:gd name="connsiteY272" fmla="*/ 22857 h 561696"/>
                <a:gd name="connsiteX273" fmla="*/ 567080 w 786002"/>
                <a:gd name="connsiteY273" fmla="*/ 24606 h 561696"/>
                <a:gd name="connsiteX274" fmla="*/ 561863 w 786002"/>
                <a:gd name="connsiteY274" fmla="*/ 29080 h 561696"/>
                <a:gd name="connsiteX275" fmla="*/ 560281 w 786002"/>
                <a:gd name="connsiteY275" fmla="*/ 31401 h 561696"/>
                <a:gd name="connsiteX276" fmla="*/ 560281 w 786002"/>
                <a:gd name="connsiteY276" fmla="*/ 37860 h 561696"/>
                <a:gd name="connsiteX277" fmla="*/ 559272 w 786002"/>
                <a:gd name="connsiteY277" fmla="*/ 40215 h 561696"/>
                <a:gd name="connsiteX278" fmla="*/ 557690 w 786002"/>
                <a:gd name="connsiteY278" fmla="*/ 41527 h 561696"/>
                <a:gd name="connsiteX279" fmla="*/ 554055 w 786002"/>
                <a:gd name="connsiteY279" fmla="*/ 45429 h 561696"/>
                <a:gd name="connsiteX280" fmla="*/ 553483 w 786002"/>
                <a:gd name="connsiteY280" fmla="*/ 46001 h 561696"/>
                <a:gd name="connsiteX281" fmla="*/ 553887 w 786002"/>
                <a:gd name="connsiteY281" fmla="*/ 50643 h 561696"/>
                <a:gd name="connsiteX282" fmla="*/ 554156 w 786002"/>
                <a:gd name="connsiteY282" fmla="*/ 51518 h 561696"/>
                <a:gd name="connsiteX283" fmla="*/ 555334 w 786002"/>
                <a:gd name="connsiteY283" fmla="*/ 53704 h 561696"/>
                <a:gd name="connsiteX284" fmla="*/ 556007 w 786002"/>
                <a:gd name="connsiteY284" fmla="*/ 54377 h 561696"/>
                <a:gd name="connsiteX285" fmla="*/ 554459 w 786002"/>
                <a:gd name="connsiteY285" fmla="*/ 57304 h 561696"/>
                <a:gd name="connsiteX286" fmla="*/ 552272 w 786002"/>
                <a:gd name="connsiteY286" fmla="*/ 58178 h 561696"/>
                <a:gd name="connsiteX287" fmla="*/ 547190 w 786002"/>
                <a:gd name="connsiteY287" fmla="*/ 58616 h 561696"/>
                <a:gd name="connsiteX288" fmla="*/ 540829 w 786002"/>
                <a:gd name="connsiteY288" fmla="*/ 57304 h 561696"/>
                <a:gd name="connsiteX289" fmla="*/ 538069 w 786002"/>
                <a:gd name="connsiteY289" fmla="*/ 53671 h 561696"/>
                <a:gd name="connsiteX290" fmla="*/ 539954 w 786002"/>
                <a:gd name="connsiteY290" fmla="*/ 50912 h 561696"/>
                <a:gd name="connsiteX291" fmla="*/ 544868 w 786002"/>
                <a:gd name="connsiteY291" fmla="*/ 47010 h 561696"/>
                <a:gd name="connsiteX292" fmla="*/ 543993 w 786002"/>
                <a:gd name="connsiteY292" fmla="*/ 43680 h 561696"/>
                <a:gd name="connsiteX293" fmla="*/ 538473 w 786002"/>
                <a:gd name="connsiteY293" fmla="*/ 41493 h 561696"/>
                <a:gd name="connsiteX294" fmla="*/ 535848 w 786002"/>
                <a:gd name="connsiteY294" fmla="*/ 39306 h 561696"/>
                <a:gd name="connsiteX295" fmla="*/ 531507 w 786002"/>
                <a:gd name="connsiteY295" fmla="*/ 41493 h 561696"/>
                <a:gd name="connsiteX296" fmla="*/ 526997 w 786002"/>
                <a:gd name="connsiteY296" fmla="*/ 41627 h 561696"/>
                <a:gd name="connsiteX297" fmla="*/ 524540 w 786002"/>
                <a:gd name="connsiteY297" fmla="*/ 40753 h 561696"/>
                <a:gd name="connsiteX298" fmla="*/ 523665 w 786002"/>
                <a:gd name="connsiteY298" fmla="*/ 37995 h 561696"/>
                <a:gd name="connsiteX299" fmla="*/ 519189 w 786002"/>
                <a:gd name="connsiteY299" fmla="*/ 37995 h 561696"/>
                <a:gd name="connsiteX300" fmla="*/ 516598 w 786002"/>
                <a:gd name="connsiteY300" fmla="*/ 37995 h 561696"/>
                <a:gd name="connsiteX301" fmla="*/ 514276 w 786002"/>
                <a:gd name="connsiteY301" fmla="*/ 39138 h 561696"/>
                <a:gd name="connsiteX302" fmla="*/ 513973 w 786002"/>
                <a:gd name="connsiteY302" fmla="*/ 46371 h 561696"/>
                <a:gd name="connsiteX303" fmla="*/ 511785 w 786002"/>
                <a:gd name="connsiteY303" fmla="*/ 49129 h 561696"/>
                <a:gd name="connsiteX304" fmla="*/ 508891 w 786002"/>
                <a:gd name="connsiteY304" fmla="*/ 52325 h 561696"/>
                <a:gd name="connsiteX305" fmla="*/ 506737 w 786002"/>
                <a:gd name="connsiteY305" fmla="*/ 55790 h 561696"/>
                <a:gd name="connsiteX306" fmla="*/ 505593 w 786002"/>
                <a:gd name="connsiteY306" fmla="*/ 58986 h 561696"/>
                <a:gd name="connsiteX307" fmla="*/ 505021 w 786002"/>
                <a:gd name="connsiteY307" fmla="*/ 60869 h 561696"/>
                <a:gd name="connsiteX308" fmla="*/ 502698 w 786002"/>
                <a:gd name="connsiteY308" fmla="*/ 62181 h 561696"/>
                <a:gd name="connsiteX309" fmla="*/ 501386 w 786002"/>
                <a:gd name="connsiteY309" fmla="*/ 64065 h 561696"/>
                <a:gd name="connsiteX310" fmla="*/ 501689 w 786002"/>
                <a:gd name="connsiteY310" fmla="*/ 64940 h 561696"/>
                <a:gd name="connsiteX311" fmla="*/ 503439 w 786002"/>
                <a:gd name="connsiteY311" fmla="*/ 66958 h 561696"/>
                <a:gd name="connsiteX312" fmla="*/ 503574 w 786002"/>
                <a:gd name="connsiteY312" fmla="*/ 67967 h 561696"/>
                <a:gd name="connsiteX313" fmla="*/ 503708 w 786002"/>
                <a:gd name="connsiteY313" fmla="*/ 70154 h 561696"/>
                <a:gd name="connsiteX314" fmla="*/ 502698 w 786002"/>
                <a:gd name="connsiteY314" fmla="*/ 70591 h 561696"/>
                <a:gd name="connsiteX315" fmla="*/ 501386 w 786002"/>
                <a:gd name="connsiteY315" fmla="*/ 73350 h 561696"/>
                <a:gd name="connsiteX316" fmla="*/ 498357 w 786002"/>
                <a:gd name="connsiteY316" fmla="*/ 73787 h 561696"/>
                <a:gd name="connsiteX317" fmla="*/ 494722 w 786002"/>
                <a:gd name="connsiteY317" fmla="*/ 73215 h 561696"/>
                <a:gd name="connsiteX318" fmla="*/ 491088 w 786002"/>
                <a:gd name="connsiteY318" fmla="*/ 72778 h 561696"/>
                <a:gd name="connsiteX319" fmla="*/ 488765 w 786002"/>
                <a:gd name="connsiteY319" fmla="*/ 72038 h 561696"/>
                <a:gd name="connsiteX320" fmla="*/ 486881 w 786002"/>
                <a:gd name="connsiteY320" fmla="*/ 71028 h 561696"/>
                <a:gd name="connsiteX321" fmla="*/ 484996 w 786002"/>
                <a:gd name="connsiteY321" fmla="*/ 69145 h 561696"/>
                <a:gd name="connsiteX322" fmla="*/ 482809 w 786002"/>
                <a:gd name="connsiteY322" fmla="*/ 66386 h 561696"/>
                <a:gd name="connsiteX323" fmla="*/ 482102 w 786002"/>
                <a:gd name="connsiteY323" fmla="*/ 64940 h 561696"/>
                <a:gd name="connsiteX324" fmla="*/ 480924 w 786002"/>
                <a:gd name="connsiteY324" fmla="*/ 64065 h 561696"/>
                <a:gd name="connsiteX325" fmla="*/ 478770 w 786002"/>
                <a:gd name="connsiteY325" fmla="*/ 64065 h 561696"/>
                <a:gd name="connsiteX326" fmla="*/ 476717 w 786002"/>
                <a:gd name="connsiteY326" fmla="*/ 64637 h 561696"/>
                <a:gd name="connsiteX327" fmla="*/ 475135 w 786002"/>
                <a:gd name="connsiteY327" fmla="*/ 65512 h 561696"/>
                <a:gd name="connsiteX328" fmla="*/ 472376 w 786002"/>
                <a:gd name="connsiteY328" fmla="*/ 67261 h 561696"/>
                <a:gd name="connsiteX329" fmla="*/ 470929 w 786002"/>
                <a:gd name="connsiteY329" fmla="*/ 68136 h 561696"/>
                <a:gd name="connsiteX330" fmla="*/ 466587 w 786002"/>
                <a:gd name="connsiteY330" fmla="*/ 70457 h 561696"/>
                <a:gd name="connsiteX331" fmla="*/ 464433 w 786002"/>
                <a:gd name="connsiteY331" fmla="*/ 71769 h 561696"/>
                <a:gd name="connsiteX332" fmla="*/ 462851 w 786002"/>
                <a:gd name="connsiteY332" fmla="*/ 72778 h 561696"/>
                <a:gd name="connsiteX333" fmla="*/ 461404 w 786002"/>
                <a:gd name="connsiteY333" fmla="*/ 74090 h 561696"/>
                <a:gd name="connsiteX334" fmla="*/ 459957 w 786002"/>
                <a:gd name="connsiteY334" fmla="*/ 75402 h 561696"/>
                <a:gd name="connsiteX335" fmla="*/ 459217 w 786002"/>
                <a:gd name="connsiteY335" fmla="*/ 77151 h 561696"/>
                <a:gd name="connsiteX336" fmla="*/ 459217 w 786002"/>
                <a:gd name="connsiteY336" fmla="*/ 78463 h 561696"/>
                <a:gd name="connsiteX337" fmla="*/ 461034 w 786002"/>
                <a:gd name="connsiteY337" fmla="*/ 79035 h 561696"/>
                <a:gd name="connsiteX338" fmla="*/ 462986 w 786002"/>
                <a:gd name="connsiteY338" fmla="*/ 78732 h 561696"/>
                <a:gd name="connsiteX339" fmla="*/ 466621 w 786002"/>
                <a:gd name="connsiteY339" fmla="*/ 77857 h 561696"/>
                <a:gd name="connsiteX340" fmla="*/ 470828 w 786002"/>
                <a:gd name="connsiteY340" fmla="*/ 78867 h 561696"/>
                <a:gd name="connsiteX341" fmla="*/ 471703 w 786002"/>
                <a:gd name="connsiteY341" fmla="*/ 81457 h 561696"/>
                <a:gd name="connsiteX342" fmla="*/ 471837 w 786002"/>
                <a:gd name="connsiteY342" fmla="*/ 84484 h 561696"/>
                <a:gd name="connsiteX343" fmla="*/ 470659 w 786002"/>
                <a:gd name="connsiteY343" fmla="*/ 88689 h 561696"/>
                <a:gd name="connsiteX344" fmla="*/ 468909 w 786002"/>
                <a:gd name="connsiteY344" fmla="*/ 91717 h 561696"/>
                <a:gd name="connsiteX345" fmla="*/ 467765 w 786002"/>
                <a:gd name="connsiteY345" fmla="*/ 92289 h 561696"/>
                <a:gd name="connsiteX346" fmla="*/ 463861 w 786002"/>
                <a:gd name="connsiteY346" fmla="*/ 96494 h 561696"/>
                <a:gd name="connsiteX347" fmla="*/ 458510 w 786002"/>
                <a:gd name="connsiteY347" fmla="*/ 96931 h 561696"/>
                <a:gd name="connsiteX348" fmla="*/ 454034 w 786002"/>
                <a:gd name="connsiteY348" fmla="*/ 96797 h 561696"/>
                <a:gd name="connsiteX349" fmla="*/ 449390 w 786002"/>
                <a:gd name="connsiteY349" fmla="*/ 92322 h 561696"/>
                <a:gd name="connsiteX350" fmla="*/ 449524 w 786002"/>
                <a:gd name="connsiteY350" fmla="*/ 88252 h 561696"/>
                <a:gd name="connsiteX351" fmla="*/ 448212 w 786002"/>
                <a:gd name="connsiteY351" fmla="*/ 85796 h 561696"/>
                <a:gd name="connsiteX352" fmla="*/ 445317 w 786002"/>
                <a:gd name="connsiteY352" fmla="*/ 84484 h 561696"/>
                <a:gd name="connsiteX353" fmla="*/ 443433 w 786002"/>
                <a:gd name="connsiteY353" fmla="*/ 85359 h 561696"/>
                <a:gd name="connsiteX354" fmla="*/ 442120 w 786002"/>
                <a:gd name="connsiteY354" fmla="*/ 86099 h 561696"/>
                <a:gd name="connsiteX355" fmla="*/ 436769 w 786002"/>
                <a:gd name="connsiteY355" fmla="*/ 92020 h 561696"/>
                <a:gd name="connsiteX356" fmla="*/ 436635 w 786002"/>
                <a:gd name="connsiteY356" fmla="*/ 95922 h 561696"/>
                <a:gd name="connsiteX357" fmla="*/ 433875 w 786002"/>
                <a:gd name="connsiteY357" fmla="*/ 98243 h 561696"/>
                <a:gd name="connsiteX358" fmla="*/ 431687 w 786002"/>
                <a:gd name="connsiteY358" fmla="*/ 100261 h 561696"/>
                <a:gd name="connsiteX359" fmla="*/ 429937 w 786002"/>
                <a:gd name="connsiteY359" fmla="*/ 102448 h 561696"/>
                <a:gd name="connsiteX360" fmla="*/ 429634 w 786002"/>
                <a:gd name="connsiteY360" fmla="*/ 106653 h 561696"/>
                <a:gd name="connsiteX361" fmla="*/ 429634 w 786002"/>
                <a:gd name="connsiteY361" fmla="*/ 109714 h 561696"/>
                <a:gd name="connsiteX362" fmla="*/ 429769 w 786002"/>
                <a:gd name="connsiteY362" fmla="*/ 112035 h 561696"/>
                <a:gd name="connsiteX363" fmla="*/ 429197 w 786002"/>
                <a:gd name="connsiteY363" fmla="*/ 115803 h 561696"/>
                <a:gd name="connsiteX364" fmla="*/ 428322 w 786002"/>
                <a:gd name="connsiteY364" fmla="*/ 118427 h 561696"/>
                <a:gd name="connsiteX365" fmla="*/ 425562 w 786002"/>
                <a:gd name="connsiteY365" fmla="*/ 118999 h 561696"/>
                <a:gd name="connsiteX366" fmla="*/ 424250 w 786002"/>
                <a:gd name="connsiteY366" fmla="*/ 118427 h 561696"/>
                <a:gd name="connsiteX367" fmla="*/ 421793 w 786002"/>
                <a:gd name="connsiteY367" fmla="*/ 114659 h 561696"/>
                <a:gd name="connsiteX368" fmla="*/ 420783 w 786002"/>
                <a:gd name="connsiteY368" fmla="*/ 111463 h 561696"/>
                <a:gd name="connsiteX369" fmla="*/ 417149 w 786002"/>
                <a:gd name="connsiteY369" fmla="*/ 109580 h 561696"/>
                <a:gd name="connsiteX370" fmla="*/ 414389 w 786002"/>
                <a:gd name="connsiteY370" fmla="*/ 106821 h 561696"/>
                <a:gd name="connsiteX371" fmla="*/ 408735 w 786002"/>
                <a:gd name="connsiteY371" fmla="*/ 102919 h 561696"/>
                <a:gd name="connsiteX372" fmla="*/ 403216 w 786002"/>
                <a:gd name="connsiteY372" fmla="*/ 99017 h 561696"/>
                <a:gd name="connsiteX373" fmla="*/ 398302 w 786002"/>
                <a:gd name="connsiteY373" fmla="*/ 96258 h 561696"/>
                <a:gd name="connsiteX374" fmla="*/ 390898 w 786002"/>
                <a:gd name="connsiteY374" fmla="*/ 99454 h 561696"/>
                <a:gd name="connsiteX375" fmla="*/ 385681 w 786002"/>
                <a:gd name="connsiteY375" fmla="*/ 103962 h 561696"/>
                <a:gd name="connsiteX376" fmla="*/ 382484 w 786002"/>
                <a:gd name="connsiteY376" fmla="*/ 108739 h 561696"/>
                <a:gd name="connsiteX377" fmla="*/ 381172 w 786002"/>
                <a:gd name="connsiteY377" fmla="*/ 110925 h 561696"/>
                <a:gd name="connsiteX378" fmla="*/ 379994 w 786002"/>
                <a:gd name="connsiteY378" fmla="*/ 116005 h 561696"/>
                <a:gd name="connsiteX379" fmla="*/ 380129 w 786002"/>
                <a:gd name="connsiteY379" fmla="*/ 119772 h 561696"/>
                <a:gd name="connsiteX380" fmla="*/ 381138 w 786002"/>
                <a:gd name="connsiteY380" fmla="*/ 124280 h 561696"/>
                <a:gd name="connsiteX381" fmla="*/ 380263 w 786002"/>
                <a:gd name="connsiteY381" fmla="*/ 127913 h 561696"/>
                <a:gd name="connsiteX382" fmla="*/ 376359 w 786002"/>
                <a:gd name="connsiteY382" fmla="*/ 131378 h 561696"/>
                <a:gd name="connsiteX383" fmla="*/ 373027 w 786002"/>
                <a:gd name="connsiteY383" fmla="*/ 134574 h 561696"/>
                <a:gd name="connsiteX384" fmla="*/ 367373 w 786002"/>
                <a:gd name="connsiteY384" fmla="*/ 136458 h 561696"/>
                <a:gd name="connsiteX385" fmla="*/ 361585 w 786002"/>
                <a:gd name="connsiteY385" fmla="*/ 137198 h 561696"/>
                <a:gd name="connsiteX386" fmla="*/ 354921 w 786002"/>
                <a:gd name="connsiteY386" fmla="*/ 138510 h 561696"/>
                <a:gd name="connsiteX387" fmla="*/ 351455 w 786002"/>
                <a:gd name="connsiteY387" fmla="*/ 139216 h 561696"/>
                <a:gd name="connsiteX388" fmla="*/ 348258 w 786002"/>
                <a:gd name="connsiteY388" fmla="*/ 138644 h 561696"/>
                <a:gd name="connsiteX389" fmla="*/ 343613 w 786002"/>
                <a:gd name="connsiteY389" fmla="*/ 137063 h 561696"/>
                <a:gd name="connsiteX390" fmla="*/ 340281 w 786002"/>
                <a:gd name="connsiteY390" fmla="*/ 135751 h 561696"/>
                <a:gd name="connsiteX391" fmla="*/ 337690 w 786002"/>
                <a:gd name="connsiteY391" fmla="*/ 131849 h 561696"/>
                <a:gd name="connsiteX392" fmla="*/ 336108 w 786002"/>
                <a:gd name="connsiteY392" fmla="*/ 128216 h 561696"/>
                <a:gd name="connsiteX393" fmla="*/ 335233 w 786002"/>
                <a:gd name="connsiteY393" fmla="*/ 124314 h 561696"/>
                <a:gd name="connsiteX394" fmla="*/ 329579 w 786002"/>
                <a:gd name="connsiteY394" fmla="*/ 121993 h 561696"/>
                <a:gd name="connsiteX395" fmla="*/ 328132 w 786002"/>
                <a:gd name="connsiteY395" fmla="*/ 122867 h 561696"/>
                <a:gd name="connsiteX396" fmla="*/ 325541 w 786002"/>
                <a:gd name="connsiteY396" fmla="*/ 125626 h 561696"/>
                <a:gd name="connsiteX397" fmla="*/ 321637 w 786002"/>
                <a:gd name="connsiteY397" fmla="*/ 127644 h 561696"/>
                <a:gd name="connsiteX398" fmla="*/ 318743 w 786002"/>
                <a:gd name="connsiteY398" fmla="*/ 128081 h 561696"/>
                <a:gd name="connsiteX399" fmla="*/ 315108 w 786002"/>
                <a:gd name="connsiteY399" fmla="*/ 128519 h 561696"/>
                <a:gd name="connsiteX400" fmla="*/ 311473 w 786002"/>
                <a:gd name="connsiteY400" fmla="*/ 127644 h 561696"/>
                <a:gd name="connsiteX401" fmla="*/ 308579 w 786002"/>
                <a:gd name="connsiteY401" fmla="*/ 122733 h 561696"/>
                <a:gd name="connsiteX402" fmla="*/ 308713 w 786002"/>
                <a:gd name="connsiteY402" fmla="*/ 116779 h 561696"/>
                <a:gd name="connsiteX403" fmla="*/ 301747 w 786002"/>
                <a:gd name="connsiteY403" fmla="*/ 111127 h 561696"/>
                <a:gd name="connsiteX404" fmla="*/ 300569 w 786002"/>
                <a:gd name="connsiteY404" fmla="*/ 105038 h 561696"/>
                <a:gd name="connsiteX405" fmla="*/ 298112 w 786002"/>
                <a:gd name="connsiteY405" fmla="*/ 99118 h 561696"/>
                <a:gd name="connsiteX406" fmla="*/ 293199 w 786002"/>
                <a:gd name="connsiteY406" fmla="*/ 93769 h 561696"/>
                <a:gd name="connsiteX407" fmla="*/ 289732 w 786002"/>
                <a:gd name="connsiteY407" fmla="*/ 90001 h 561696"/>
                <a:gd name="connsiteX408" fmla="*/ 287107 w 786002"/>
                <a:gd name="connsiteY408" fmla="*/ 89261 h 561696"/>
                <a:gd name="connsiteX409" fmla="*/ 280578 w 786002"/>
                <a:gd name="connsiteY409" fmla="*/ 89261 h 561696"/>
                <a:gd name="connsiteX410" fmla="*/ 273612 w 786002"/>
                <a:gd name="connsiteY410" fmla="*/ 92020 h 561696"/>
                <a:gd name="connsiteX411" fmla="*/ 268698 w 786002"/>
                <a:gd name="connsiteY411" fmla="*/ 95350 h 561696"/>
                <a:gd name="connsiteX412" fmla="*/ 266073 w 786002"/>
                <a:gd name="connsiteY412" fmla="*/ 98680 h 561696"/>
                <a:gd name="connsiteX413" fmla="*/ 261563 w 786002"/>
                <a:gd name="connsiteY413" fmla="*/ 102145 h 561696"/>
                <a:gd name="connsiteX414" fmla="*/ 260823 w 786002"/>
                <a:gd name="connsiteY414" fmla="*/ 106485 h 561696"/>
                <a:gd name="connsiteX415" fmla="*/ 262573 w 786002"/>
                <a:gd name="connsiteY415" fmla="*/ 110824 h 561696"/>
                <a:gd name="connsiteX416" fmla="*/ 263885 w 786002"/>
                <a:gd name="connsiteY416" fmla="*/ 113583 h 561696"/>
                <a:gd name="connsiteX417" fmla="*/ 264020 w 786002"/>
                <a:gd name="connsiteY417" fmla="*/ 118057 h 561696"/>
                <a:gd name="connsiteX418" fmla="*/ 263583 w 786002"/>
                <a:gd name="connsiteY418" fmla="*/ 122396 h 561696"/>
                <a:gd name="connsiteX419" fmla="*/ 261261 w 786002"/>
                <a:gd name="connsiteY419" fmla="*/ 125424 h 561696"/>
                <a:gd name="connsiteX420" fmla="*/ 256044 w 786002"/>
                <a:gd name="connsiteY420" fmla="*/ 130504 h 561696"/>
                <a:gd name="connsiteX421" fmla="*/ 254597 w 786002"/>
                <a:gd name="connsiteY421" fmla="*/ 131244 h 561696"/>
                <a:gd name="connsiteX422" fmla="*/ 252140 w 786002"/>
                <a:gd name="connsiteY422" fmla="*/ 133262 h 561696"/>
                <a:gd name="connsiteX423" fmla="*/ 243592 w 786002"/>
                <a:gd name="connsiteY423" fmla="*/ 134002 h 561696"/>
                <a:gd name="connsiteX424" fmla="*/ 235481 w 786002"/>
                <a:gd name="connsiteY424" fmla="*/ 135146 h 561696"/>
                <a:gd name="connsiteX425" fmla="*/ 231274 w 786002"/>
                <a:gd name="connsiteY425" fmla="*/ 135146 h 561696"/>
                <a:gd name="connsiteX426" fmla="*/ 228952 w 786002"/>
                <a:gd name="connsiteY426" fmla="*/ 136895 h 561696"/>
                <a:gd name="connsiteX427" fmla="*/ 223298 w 786002"/>
                <a:gd name="connsiteY427" fmla="*/ 140663 h 561696"/>
                <a:gd name="connsiteX428" fmla="*/ 219966 w 786002"/>
                <a:gd name="connsiteY428" fmla="*/ 142546 h 561696"/>
                <a:gd name="connsiteX429" fmla="*/ 217375 w 786002"/>
                <a:gd name="connsiteY429" fmla="*/ 143556 h 561696"/>
                <a:gd name="connsiteX430" fmla="*/ 212731 w 786002"/>
                <a:gd name="connsiteY430" fmla="*/ 145305 h 561696"/>
                <a:gd name="connsiteX431" fmla="*/ 206639 w 786002"/>
                <a:gd name="connsiteY431" fmla="*/ 148770 h 561696"/>
                <a:gd name="connsiteX432" fmla="*/ 204317 w 786002"/>
                <a:gd name="connsiteY432" fmla="*/ 150216 h 561696"/>
                <a:gd name="connsiteX433" fmla="*/ 201995 w 786002"/>
                <a:gd name="connsiteY433" fmla="*/ 152672 h 561696"/>
                <a:gd name="connsiteX434" fmla="*/ 198528 w 786002"/>
                <a:gd name="connsiteY434" fmla="*/ 155128 h 561696"/>
                <a:gd name="connsiteX435" fmla="*/ 187086 w 786002"/>
                <a:gd name="connsiteY435" fmla="*/ 155430 h 561696"/>
                <a:gd name="connsiteX436" fmla="*/ 182307 w 786002"/>
                <a:gd name="connsiteY436" fmla="*/ 156002 h 561696"/>
                <a:gd name="connsiteX437" fmla="*/ 179985 w 786002"/>
                <a:gd name="connsiteY437" fmla="*/ 157449 h 561696"/>
                <a:gd name="connsiteX438" fmla="*/ 178538 w 786002"/>
                <a:gd name="connsiteY438" fmla="*/ 161217 h 561696"/>
                <a:gd name="connsiteX439" fmla="*/ 179985 w 786002"/>
                <a:gd name="connsiteY439" fmla="*/ 162663 h 561696"/>
                <a:gd name="connsiteX440" fmla="*/ 183889 w 786002"/>
                <a:gd name="connsiteY440" fmla="*/ 166868 h 561696"/>
                <a:gd name="connsiteX441" fmla="*/ 185201 w 786002"/>
                <a:gd name="connsiteY441" fmla="*/ 172385 h 561696"/>
                <a:gd name="connsiteX442" fmla="*/ 181163 w 786002"/>
                <a:gd name="connsiteY442" fmla="*/ 174841 h 561696"/>
                <a:gd name="connsiteX443" fmla="*/ 177662 w 786002"/>
                <a:gd name="connsiteY443" fmla="*/ 182241 h 561696"/>
                <a:gd name="connsiteX444" fmla="*/ 175340 w 786002"/>
                <a:gd name="connsiteY444" fmla="*/ 185000 h 561696"/>
                <a:gd name="connsiteX445" fmla="*/ 170124 w 786002"/>
                <a:gd name="connsiteY445" fmla="*/ 192535 h 561696"/>
                <a:gd name="connsiteX446" fmla="*/ 164907 w 786002"/>
                <a:gd name="connsiteY446" fmla="*/ 193982 h 561696"/>
                <a:gd name="connsiteX447" fmla="*/ 160398 w 786002"/>
                <a:gd name="connsiteY447" fmla="*/ 193107 h 561696"/>
                <a:gd name="connsiteX448" fmla="*/ 156628 w 786002"/>
                <a:gd name="connsiteY448" fmla="*/ 191223 h 561696"/>
                <a:gd name="connsiteX449" fmla="*/ 155181 w 786002"/>
                <a:gd name="connsiteY449" fmla="*/ 187758 h 561696"/>
                <a:gd name="connsiteX450" fmla="*/ 152994 w 786002"/>
                <a:gd name="connsiteY450" fmla="*/ 183116 h 561696"/>
                <a:gd name="connsiteX451" fmla="*/ 150974 w 786002"/>
                <a:gd name="connsiteY451" fmla="*/ 182981 h 561696"/>
                <a:gd name="connsiteX452" fmla="*/ 148080 w 786002"/>
                <a:gd name="connsiteY452" fmla="*/ 183553 h 561696"/>
                <a:gd name="connsiteX453" fmla="*/ 143301 w 786002"/>
                <a:gd name="connsiteY453" fmla="*/ 184428 h 561696"/>
                <a:gd name="connsiteX454" fmla="*/ 138219 w 786002"/>
                <a:gd name="connsiteY454" fmla="*/ 184125 h 561696"/>
                <a:gd name="connsiteX455" fmla="*/ 137075 w 786002"/>
                <a:gd name="connsiteY455" fmla="*/ 182678 h 561696"/>
                <a:gd name="connsiteX456" fmla="*/ 135190 w 786002"/>
                <a:gd name="connsiteY456" fmla="*/ 180088 h 561696"/>
                <a:gd name="connsiteX457" fmla="*/ 133878 w 786002"/>
                <a:gd name="connsiteY457" fmla="*/ 179214 h 561696"/>
                <a:gd name="connsiteX458" fmla="*/ 127786 w 786002"/>
                <a:gd name="connsiteY458" fmla="*/ 175143 h 561696"/>
                <a:gd name="connsiteX459" fmla="*/ 125902 w 786002"/>
                <a:gd name="connsiteY459" fmla="*/ 174269 h 561696"/>
                <a:gd name="connsiteX460" fmla="*/ 121695 w 786002"/>
                <a:gd name="connsiteY460" fmla="*/ 174000 h 561696"/>
                <a:gd name="connsiteX461" fmla="*/ 115906 w 786002"/>
                <a:gd name="connsiteY461" fmla="*/ 172990 h 561696"/>
                <a:gd name="connsiteX462" fmla="*/ 111868 w 786002"/>
                <a:gd name="connsiteY462" fmla="*/ 170232 h 561696"/>
                <a:gd name="connsiteX463" fmla="*/ 109849 w 786002"/>
                <a:gd name="connsiteY463" fmla="*/ 167911 h 561696"/>
                <a:gd name="connsiteX464" fmla="*/ 106820 w 786002"/>
                <a:gd name="connsiteY464" fmla="*/ 164278 h 561696"/>
                <a:gd name="connsiteX465" fmla="*/ 105238 w 786002"/>
                <a:gd name="connsiteY465" fmla="*/ 161519 h 561696"/>
                <a:gd name="connsiteX466" fmla="*/ 104800 w 786002"/>
                <a:gd name="connsiteY466" fmla="*/ 157886 h 561696"/>
                <a:gd name="connsiteX467" fmla="*/ 105507 w 786002"/>
                <a:gd name="connsiteY467" fmla="*/ 156742 h 561696"/>
                <a:gd name="connsiteX468" fmla="*/ 106820 w 786002"/>
                <a:gd name="connsiteY468" fmla="*/ 154118 h 561696"/>
                <a:gd name="connsiteX469" fmla="*/ 105238 w 786002"/>
                <a:gd name="connsiteY469" fmla="*/ 152672 h 561696"/>
                <a:gd name="connsiteX470" fmla="*/ 100762 w 786002"/>
                <a:gd name="connsiteY470" fmla="*/ 152975 h 561696"/>
                <a:gd name="connsiteX471" fmla="*/ 98574 w 786002"/>
                <a:gd name="connsiteY471" fmla="*/ 154118 h 561696"/>
                <a:gd name="connsiteX472" fmla="*/ 93795 w 786002"/>
                <a:gd name="connsiteY472" fmla="*/ 155868 h 561696"/>
                <a:gd name="connsiteX473" fmla="*/ 88579 w 786002"/>
                <a:gd name="connsiteY473" fmla="*/ 156002 h 561696"/>
                <a:gd name="connsiteX474" fmla="*/ 84810 w 786002"/>
                <a:gd name="connsiteY474" fmla="*/ 154993 h 561696"/>
                <a:gd name="connsiteX475" fmla="*/ 84675 w 786002"/>
                <a:gd name="connsiteY475" fmla="*/ 152235 h 561696"/>
                <a:gd name="connsiteX476" fmla="*/ 84810 w 786002"/>
                <a:gd name="connsiteY476" fmla="*/ 149207 h 561696"/>
                <a:gd name="connsiteX477" fmla="*/ 84237 w 786002"/>
                <a:gd name="connsiteY477" fmla="*/ 145742 h 561696"/>
                <a:gd name="connsiteX478" fmla="*/ 81781 w 786002"/>
                <a:gd name="connsiteY478" fmla="*/ 143152 h 561696"/>
                <a:gd name="connsiteX479" fmla="*/ 78583 w 786002"/>
                <a:gd name="connsiteY479" fmla="*/ 141403 h 561696"/>
                <a:gd name="connsiteX480" fmla="*/ 77439 w 786002"/>
                <a:gd name="connsiteY480" fmla="*/ 142546 h 561696"/>
                <a:gd name="connsiteX481" fmla="*/ 72795 w 786002"/>
                <a:gd name="connsiteY481" fmla="*/ 146449 h 561696"/>
                <a:gd name="connsiteX482" fmla="*/ 69901 w 786002"/>
                <a:gd name="connsiteY482" fmla="*/ 148333 h 561696"/>
                <a:gd name="connsiteX483" fmla="*/ 67309 w 786002"/>
                <a:gd name="connsiteY483" fmla="*/ 150351 h 561696"/>
                <a:gd name="connsiteX484" fmla="*/ 61083 w 786002"/>
                <a:gd name="connsiteY484" fmla="*/ 152369 h 561696"/>
                <a:gd name="connsiteX485" fmla="*/ 59064 w 786002"/>
                <a:gd name="connsiteY485" fmla="*/ 153378 h 561696"/>
                <a:gd name="connsiteX486" fmla="*/ 60208 w 786002"/>
                <a:gd name="connsiteY486" fmla="*/ 155700 h 561696"/>
                <a:gd name="connsiteX487" fmla="*/ 62362 w 786002"/>
                <a:gd name="connsiteY487" fmla="*/ 157449 h 561696"/>
                <a:gd name="connsiteX488" fmla="*/ 62665 w 786002"/>
                <a:gd name="connsiteY488" fmla="*/ 158155 h 561696"/>
                <a:gd name="connsiteX489" fmla="*/ 59905 w 786002"/>
                <a:gd name="connsiteY489" fmla="*/ 161923 h 561696"/>
                <a:gd name="connsiteX490" fmla="*/ 51794 w 786002"/>
                <a:gd name="connsiteY490" fmla="*/ 169895 h 561696"/>
                <a:gd name="connsiteX491" fmla="*/ 50482 w 786002"/>
                <a:gd name="connsiteY491" fmla="*/ 171577 h 561696"/>
                <a:gd name="connsiteX492" fmla="*/ 47722 w 786002"/>
                <a:gd name="connsiteY492" fmla="*/ 173831 h 561696"/>
                <a:gd name="connsiteX493" fmla="*/ 46477 w 786002"/>
                <a:gd name="connsiteY493" fmla="*/ 175211 h 561696"/>
                <a:gd name="connsiteX494" fmla="*/ 45232 w 786002"/>
                <a:gd name="connsiteY494" fmla="*/ 177229 h 561696"/>
                <a:gd name="connsiteX495" fmla="*/ 44491 w 786002"/>
                <a:gd name="connsiteY495" fmla="*/ 179415 h 561696"/>
                <a:gd name="connsiteX496" fmla="*/ 43785 w 786002"/>
                <a:gd name="connsiteY496" fmla="*/ 183049 h 561696"/>
                <a:gd name="connsiteX497" fmla="*/ 42640 w 786002"/>
                <a:gd name="connsiteY497" fmla="*/ 184125 h 561696"/>
                <a:gd name="connsiteX498" fmla="*/ 40015 w 786002"/>
                <a:gd name="connsiteY498" fmla="*/ 184125 h 561696"/>
                <a:gd name="connsiteX499" fmla="*/ 37323 w 786002"/>
                <a:gd name="connsiteY499" fmla="*/ 184293 h 561696"/>
                <a:gd name="connsiteX500" fmla="*/ 34630 w 786002"/>
                <a:gd name="connsiteY500" fmla="*/ 184630 h 561696"/>
                <a:gd name="connsiteX501" fmla="*/ 30861 w 786002"/>
                <a:gd name="connsiteY501" fmla="*/ 186076 h 561696"/>
                <a:gd name="connsiteX502" fmla="*/ 27529 w 786002"/>
                <a:gd name="connsiteY502" fmla="*/ 188162 h 561696"/>
                <a:gd name="connsiteX503" fmla="*/ 24770 w 786002"/>
                <a:gd name="connsiteY503" fmla="*/ 188801 h 561696"/>
                <a:gd name="connsiteX504" fmla="*/ 23525 w 786002"/>
                <a:gd name="connsiteY504" fmla="*/ 188734 h 561696"/>
                <a:gd name="connsiteX505" fmla="*/ 20327 w 786002"/>
                <a:gd name="connsiteY505" fmla="*/ 185841 h 561696"/>
                <a:gd name="connsiteX506" fmla="*/ 17702 w 786002"/>
                <a:gd name="connsiteY506" fmla="*/ 183452 h 561696"/>
                <a:gd name="connsiteX507" fmla="*/ 14303 w 786002"/>
                <a:gd name="connsiteY507" fmla="*/ 179113 h 561696"/>
                <a:gd name="connsiteX508" fmla="*/ 12351 w 786002"/>
                <a:gd name="connsiteY508" fmla="*/ 176926 h 561696"/>
                <a:gd name="connsiteX509" fmla="*/ 10197 w 786002"/>
                <a:gd name="connsiteY509" fmla="*/ 175850 h 561696"/>
                <a:gd name="connsiteX510" fmla="*/ 6058 w 786002"/>
                <a:gd name="connsiteY510" fmla="*/ 177431 h 561696"/>
                <a:gd name="connsiteX511" fmla="*/ 4745 w 786002"/>
                <a:gd name="connsiteY511" fmla="*/ 178440 h 561696"/>
                <a:gd name="connsiteX512" fmla="*/ 2423 w 786002"/>
                <a:gd name="connsiteY512" fmla="*/ 179886 h 561696"/>
                <a:gd name="connsiteX513" fmla="*/ 1716 w 786002"/>
                <a:gd name="connsiteY513" fmla="*/ 181467 h 561696"/>
                <a:gd name="connsiteX514" fmla="*/ 1716 w 786002"/>
                <a:gd name="connsiteY514" fmla="*/ 184663 h 561696"/>
                <a:gd name="connsiteX515" fmla="*/ 639 w 786002"/>
                <a:gd name="connsiteY515" fmla="*/ 187254 h 561696"/>
                <a:gd name="connsiteX516" fmla="*/ 0 w 786002"/>
                <a:gd name="connsiteY516" fmla="*/ 190147 h 561696"/>
                <a:gd name="connsiteX517" fmla="*/ 0 w 786002"/>
                <a:gd name="connsiteY517" fmla="*/ 192165 h 561696"/>
                <a:gd name="connsiteX518" fmla="*/ 1750 w 786002"/>
                <a:gd name="connsiteY518" fmla="*/ 193611 h 561696"/>
                <a:gd name="connsiteX519" fmla="*/ 1750 w 786002"/>
                <a:gd name="connsiteY519" fmla="*/ 195495 h 561696"/>
                <a:gd name="connsiteX520" fmla="*/ 3500 w 786002"/>
                <a:gd name="connsiteY520" fmla="*/ 198691 h 561696"/>
                <a:gd name="connsiteX521" fmla="*/ 2322 w 786002"/>
                <a:gd name="connsiteY521" fmla="*/ 201584 h 561696"/>
                <a:gd name="connsiteX522" fmla="*/ 3500 w 786002"/>
                <a:gd name="connsiteY522" fmla="*/ 205486 h 561696"/>
                <a:gd name="connsiteX523" fmla="*/ 5688 w 786002"/>
                <a:gd name="connsiteY523" fmla="*/ 209119 h 561696"/>
                <a:gd name="connsiteX524" fmla="*/ 7707 w 786002"/>
                <a:gd name="connsiteY524" fmla="*/ 211743 h 561696"/>
                <a:gd name="connsiteX525" fmla="*/ 10904 w 786002"/>
                <a:gd name="connsiteY525" fmla="*/ 214199 h 561696"/>
                <a:gd name="connsiteX526" fmla="*/ 14539 w 786002"/>
                <a:gd name="connsiteY526" fmla="*/ 217664 h 561696"/>
                <a:gd name="connsiteX527" fmla="*/ 16693 w 786002"/>
                <a:gd name="connsiteY527" fmla="*/ 222306 h 561696"/>
                <a:gd name="connsiteX528" fmla="*/ 22649 w 786002"/>
                <a:gd name="connsiteY528" fmla="*/ 223181 h 561696"/>
                <a:gd name="connsiteX529" fmla="*/ 22649 w 786002"/>
                <a:gd name="connsiteY529" fmla="*/ 215780 h 561696"/>
                <a:gd name="connsiteX530" fmla="*/ 23726 w 786002"/>
                <a:gd name="connsiteY530" fmla="*/ 211709 h 561696"/>
                <a:gd name="connsiteX531" fmla="*/ 27698 w 786002"/>
                <a:gd name="connsiteY531" fmla="*/ 208951 h 561696"/>
                <a:gd name="connsiteX532" fmla="*/ 31770 w 786002"/>
                <a:gd name="connsiteY532" fmla="*/ 208379 h 561696"/>
                <a:gd name="connsiteX533" fmla="*/ 35102 w 786002"/>
                <a:gd name="connsiteY533" fmla="*/ 208379 h 561696"/>
                <a:gd name="connsiteX534" fmla="*/ 37727 w 786002"/>
                <a:gd name="connsiteY534" fmla="*/ 209523 h 561696"/>
                <a:gd name="connsiteX535" fmla="*/ 41193 w 786002"/>
                <a:gd name="connsiteY535" fmla="*/ 212147 h 561696"/>
                <a:gd name="connsiteX536" fmla="*/ 43515 w 786002"/>
                <a:gd name="connsiteY536" fmla="*/ 212281 h 561696"/>
                <a:gd name="connsiteX537" fmla="*/ 47991 w 786002"/>
                <a:gd name="connsiteY537" fmla="*/ 211272 h 561696"/>
                <a:gd name="connsiteX538" fmla="*/ 52333 w 786002"/>
                <a:gd name="connsiteY538" fmla="*/ 211138 h 561696"/>
                <a:gd name="connsiteX539" fmla="*/ 59131 w 786002"/>
                <a:gd name="connsiteY539" fmla="*/ 209557 h 561696"/>
                <a:gd name="connsiteX540" fmla="*/ 64785 w 786002"/>
                <a:gd name="connsiteY540" fmla="*/ 211878 h 561696"/>
                <a:gd name="connsiteX541" fmla="*/ 70001 w 786002"/>
                <a:gd name="connsiteY541" fmla="*/ 214905 h 561696"/>
                <a:gd name="connsiteX542" fmla="*/ 73636 w 786002"/>
                <a:gd name="connsiteY542" fmla="*/ 220422 h 561696"/>
                <a:gd name="connsiteX543" fmla="*/ 72929 w 786002"/>
                <a:gd name="connsiteY543" fmla="*/ 224190 h 561696"/>
                <a:gd name="connsiteX544" fmla="*/ 72627 w 786002"/>
                <a:gd name="connsiteY544" fmla="*/ 229976 h 561696"/>
                <a:gd name="connsiteX545" fmla="*/ 74949 w 786002"/>
                <a:gd name="connsiteY545" fmla="*/ 231725 h 561696"/>
                <a:gd name="connsiteX546" fmla="*/ 75958 w 786002"/>
                <a:gd name="connsiteY546" fmla="*/ 234046 h 561696"/>
                <a:gd name="connsiteX547" fmla="*/ 75655 w 786002"/>
                <a:gd name="connsiteY547" fmla="*/ 236367 h 561696"/>
                <a:gd name="connsiteX548" fmla="*/ 74208 w 786002"/>
                <a:gd name="connsiteY548" fmla="*/ 239126 h 561696"/>
                <a:gd name="connsiteX549" fmla="*/ 72324 w 786002"/>
                <a:gd name="connsiteY549" fmla="*/ 240135 h 561696"/>
                <a:gd name="connsiteX550" fmla="*/ 71011 w 786002"/>
                <a:gd name="connsiteY550" fmla="*/ 241279 h 561696"/>
                <a:gd name="connsiteX551" fmla="*/ 69564 w 786002"/>
                <a:gd name="connsiteY551" fmla="*/ 242860 h 561696"/>
                <a:gd name="connsiteX552" fmla="*/ 67814 w 786002"/>
                <a:gd name="connsiteY552" fmla="*/ 244004 h 561696"/>
                <a:gd name="connsiteX553" fmla="*/ 67814 w 786002"/>
                <a:gd name="connsiteY553" fmla="*/ 245719 h 561696"/>
                <a:gd name="connsiteX554" fmla="*/ 69631 w 786002"/>
                <a:gd name="connsiteY554" fmla="*/ 247469 h 561696"/>
                <a:gd name="connsiteX555" fmla="*/ 73030 w 786002"/>
                <a:gd name="connsiteY555" fmla="*/ 250227 h 561696"/>
                <a:gd name="connsiteX556" fmla="*/ 76059 w 786002"/>
                <a:gd name="connsiteY556" fmla="*/ 252548 h 561696"/>
                <a:gd name="connsiteX557" fmla="*/ 79122 w 786002"/>
                <a:gd name="connsiteY557" fmla="*/ 253557 h 561696"/>
                <a:gd name="connsiteX558" fmla="*/ 83194 w 786002"/>
                <a:gd name="connsiteY558" fmla="*/ 253557 h 561696"/>
                <a:gd name="connsiteX559" fmla="*/ 87536 w 786002"/>
                <a:gd name="connsiteY559" fmla="*/ 253625 h 561696"/>
                <a:gd name="connsiteX560" fmla="*/ 90161 w 786002"/>
                <a:gd name="connsiteY560" fmla="*/ 253995 h 561696"/>
                <a:gd name="connsiteX561" fmla="*/ 92752 w 786002"/>
                <a:gd name="connsiteY561" fmla="*/ 255441 h 561696"/>
                <a:gd name="connsiteX562" fmla="*/ 96656 w 786002"/>
                <a:gd name="connsiteY562" fmla="*/ 258906 h 561696"/>
                <a:gd name="connsiteX563" fmla="*/ 97800 w 786002"/>
                <a:gd name="connsiteY563" fmla="*/ 260218 h 561696"/>
                <a:gd name="connsiteX564" fmla="*/ 100122 w 786002"/>
                <a:gd name="connsiteY564" fmla="*/ 262539 h 561696"/>
                <a:gd name="connsiteX565" fmla="*/ 102142 w 786002"/>
                <a:gd name="connsiteY565" fmla="*/ 260218 h 561696"/>
                <a:gd name="connsiteX566" fmla="*/ 103723 w 786002"/>
                <a:gd name="connsiteY566" fmla="*/ 257459 h 561696"/>
                <a:gd name="connsiteX567" fmla="*/ 106348 w 786002"/>
                <a:gd name="connsiteY567" fmla="*/ 255138 h 561696"/>
                <a:gd name="connsiteX568" fmla="*/ 108805 w 786002"/>
                <a:gd name="connsiteY568" fmla="*/ 251808 h 561696"/>
                <a:gd name="connsiteX569" fmla="*/ 112440 w 786002"/>
                <a:gd name="connsiteY569" fmla="*/ 250664 h 561696"/>
                <a:gd name="connsiteX570" fmla="*/ 114762 w 786002"/>
                <a:gd name="connsiteY570" fmla="*/ 251976 h 561696"/>
                <a:gd name="connsiteX571" fmla="*/ 117387 w 786002"/>
                <a:gd name="connsiteY571" fmla="*/ 257056 h 561696"/>
                <a:gd name="connsiteX572" fmla="*/ 119137 w 786002"/>
                <a:gd name="connsiteY572" fmla="*/ 257056 h 561696"/>
                <a:gd name="connsiteX573" fmla="*/ 122907 w 786002"/>
                <a:gd name="connsiteY573" fmla="*/ 256114 h 561696"/>
                <a:gd name="connsiteX574" fmla="*/ 126979 w 786002"/>
                <a:gd name="connsiteY574" fmla="*/ 254869 h 561696"/>
                <a:gd name="connsiteX575" fmla="*/ 131185 w 786002"/>
                <a:gd name="connsiteY575" fmla="*/ 255172 h 561696"/>
                <a:gd name="connsiteX576" fmla="*/ 133945 w 786002"/>
                <a:gd name="connsiteY576" fmla="*/ 255744 h 561696"/>
                <a:gd name="connsiteX577" fmla="*/ 136402 w 786002"/>
                <a:gd name="connsiteY577" fmla="*/ 258502 h 561696"/>
                <a:gd name="connsiteX578" fmla="*/ 138590 w 786002"/>
                <a:gd name="connsiteY578" fmla="*/ 259209 h 561696"/>
                <a:gd name="connsiteX579" fmla="*/ 141215 w 786002"/>
                <a:gd name="connsiteY579" fmla="*/ 258637 h 561696"/>
                <a:gd name="connsiteX580" fmla="*/ 142359 w 786002"/>
                <a:gd name="connsiteY580" fmla="*/ 254869 h 561696"/>
                <a:gd name="connsiteX581" fmla="*/ 143368 w 786002"/>
                <a:gd name="connsiteY581" fmla="*/ 252851 h 561696"/>
                <a:gd name="connsiteX582" fmla="*/ 144378 w 786002"/>
                <a:gd name="connsiteY582" fmla="*/ 249958 h 561696"/>
                <a:gd name="connsiteX583" fmla="*/ 147575 w 786002"/>
                <a:gd name="connsiteY583" fmla="*/ 248377 h 561696"/>
                <a:gd name="connsiteX584" fmla="*/ 150200 w 786002"/>
                <a:gd name="connsiteY584" fmla="*/ 246190 h 561696"/>
                <a:gd name="connsiteX585" fmla="*/ 152220 w 786002"/>
                <a:gd name="connsiteY585" fmla="*/ 246190 h 561696"/>
                <a:gd name="connsiteX586" fmla="*/ 156292 w 786002"/>
                <a:gd name="connsiteY586" fmla="*/ 248949 h 561696"/>
                <a:gd name="connsiteX587" fmla="*/ 157604 w 786002"/>
                <a:gd name="connsiteY587" fmla="*/ 252414 h 561696"/>
                <a:gd name="connsiteX588" fmla="*/ 159354 w 786002"/>
                <a:gd name="connsiteY588" fmla="*/ 256753 h 561696"/>
                <a:gd name="connsiteX589" fmla="*/ 162552 w 786002"/>
                <a:gd name="connsiteY589" fmla="*/ 260958 h 561696"/>
                <a:gd name="connsiteX590" fmla="*/ 165008 w 786002"/>
                <a:gd name="connsiteY590" fmla="*/ 262404 h 561696"/>
                <a:gd name="connsiteX591" fmla="*/ 165883 w 786002"/>
                <a:gd name="connsiteY591" fmla="*/ 264591 h 561696"/>
                <a:gd name="connsiteX592" fmla="*/ 165446 w 786002"/>
                <a:gd name="connsiteY592" fmla="*/ 267619 h 561696"/>
                <a:gd name="connsiteX593" fmla="*/ 164739 w 786002"/>
                <a:gd name="connsiteY593" fmla="*/ 270074 h 561696"/>
                <a:gd name="connsiteX594" fmla="*/ 165042 w 786002"/>
                <a:gd name="connsiteY594" fmla="*/ 272967 h 561696"/>
                <a:gd name="connsiteX595" fmla="*/ 167364 w 786002"/>
                <a:gd name="connsiteY595" fmla="*/ 273674 h 561696"/>
                <a:gd name="connsiteX596" fmla="*/ 171706 w 786002"/>
                <a:gd name="connsiteY596" fmla="*/ 277139 h 561696"/>
                <a:gd name="connsiteX597" fmla="*/ 174903 w 786002"/>
                <a:gd name="connsiteY597" fmla="*/ 279897 h 561696"/>
                <a:gd name="connsiteX598" fmla="*/ 173590 w 786002"/>
                <a:gd name="connsiteY598" fmla="*/ 282218 h 561696"/>
                <a:gd name="connsiteX599" fmla="*/ 170831 w 786002"/>
                <a:gd name="connsiteY599" fmla="*/ 286121 h 561696"/>
                <a:gd name="connsiteX600" fmla="*/ 169821 w 786002"/>
                <a:gd name="connsiteY600" fmla="*/ 289888 h 561696"/>
                <a:gd name="connsiteX601" fmla="*/ 170393 w 786002"/>
                <a:gd name="connsiteY601" fmla="*/ 294227 h 561696"/>
                <a:gd name="connsiteX602" fmla="*/ 170528 w 786002"/>
                <a:gd name="connsiteY602" fmla="*/ 298298 h 561696"/>
                <a:gd name="connsiteX603" fmla="*/ 167061 w 786002"/>
                <a:gd name="connsiteY603" fmla="*/ 301326 h 561696"/>
                <a:gd name="connsiteX604" fmla="*/ 167061 w 786002"/>
                <a:gd name="connsiteY604" fmla="*/ 304219 h 561696"/>
                <a:gd name="connsiteX605" fmla="*/ 167061 w 786002"/>
                <a:gd name="connsiteY605" fmla="*/ 308289 h 561696"/>
                <a:gd name="connsiteX606" fmla="*/ 167061 w 786002"/>
                <a:gd name="connsiteY606" fmla="*/ 311047 h 561696"/>
                <a:gd name="connsiteX607" fmla="*/ 166254 w 786002"/>
                <a:gd name="connsiteY607" fmla="*/ 314950 h 561696"/>
                <a:gd name="connsiteX608" fmla="*/ 164436 w 786002"/>
                <a:gd name="connsiteY608" fmla="*/ 316968 h 561696"/>
                <a:gd name="connsiteX609" fmla="*/ 160801 w 786002"/>
                <a:gd name="connsiteY609" fmla="*/ 320735 h 561696"/>
                <a:gd name="connsiteX610" fmla="*/ 156898 w 786002"/>
                <a:gd name="connsiteY610" fmla="*/ 323629 h 561696"/>
                <a:gd name="connsiteX611" fmla="*/ 154575 w 786002"/>
                <a:gd name="connsiteY611" fmla="*/ 323326 h 561696"/>
                <a:gd name="connsiteX612" fmla="*/ 151681 w 786002"/>
                <a:gd name="connsiteY612" fmla="*/ 322317 h 561696"/>
                <a:gd name="connsiteX613" fmla="*/ 149225 w 786002"/>
                <a:gd name="connsiteY613" fmla="*/ 320298 h 561696"/>
                <a:gd name="connsiteX614" fmla="*/ 145893 w 786002"/>
                <a:gd name="connsiteY614" fmla="*/ 317540 h 561696"/>
                <a:gd name="connsiteX615" fmla="*/ 141854 w 786002"/>
                <a:gd name="connsiteY615" fmla="*/ 316093 h 561696"/>
                <a:gd name="connsiteX616" fmla="*/ 140844 w 786002"/>
                <a:gd name="connsiteY616" fmla="*/ 316093 h 561696"/>
                <a:gd name="connsiteX617" fmla="*/ 139835 w 786002"/>
                <a:gd name="connsiteY617" fmla="*/ 319424 h 561696"/>
                <a:gd name="connsiteX618" fmla="*/ 135628 w 786002"/>
                <a:gd name="connsiteY618" fmla="*/ 322047 h 561696"/>
                <a:gd name="connsiteX619" fmla="*/ 130546 w 786002"/>
                <a:gd name="connsiteY619" fmla="*/ 325512 h 561696"/>
                <a:gd name="connsiteX620" fmla="*/ 124758 w 786002"/>
                <a:gd name="connsiteY620" fmla="*/ 328271 h 561696"/>
                <a:gd name="connsiteX621" fmla="*/ 120854 w 786002"/>
                <a:gd name="connsiteY621" fmla="*/ 329415 h 561696"/>
                <a:gd name="connsiteX622" fmla="*/ 119406 w 786002"/>
                <a:gd name="connsiteY622" fmla="*/ 330558 h 561696"/>
                <a:gd name="connsiteX623" fmla="*/ 118969 w 786002"/>
                <a:gd name="connsiteY623" fmla="*/ 332880 h 561696"/>
                <a:gd name="connsiteX624" fmla="*/ 120416 w 786002"/>
                <a:gd name="connsiteY624" fmla="*/ 334629 h 561696"/>
                <a:gd name="connsiteX625" fmla="*/ 121998 w 786002"/>
                <a:gd name="connsiteY625" fmla="*/ 335773 h 561696"/>
                <a:gd name="connsiteX626" fmla="*/ 120248 w 786002"/>
                <a:gd name="connsiteY626" fmla="*/ 338666 h 561696"/>
                <a:gd name="connsiteX627" fmla="*/ 118229 w 786002"/>
                <a:gd name="connsiteY627" fmla="*/ 338968 h 561696"/>
                <a:gd name="connsiteX628" fmla="*/ 117219 w 786002"/>
                <a:gd name="connsiteY628" fmla="*/ 337219 h 561696"/>
                <a:gd name="connsiteX629" fmla="*/ 110252 w 786002"/>
                <a:gd name="connsiteY629" fmla="*/ 339540 h 561696"/>
                <a:gd name="connsiteX630" fmla="*/ 107358 w 786002"/>
                <a:gd name="connsiteY630" fmla="*/ 344183 h 561696"/>
                <a:gd name="connsiteX631" fmla="*/ 103454 w 786002"/>
                <a:gd name="connsiteY631" fmla="*/ 347950 h 561696"/>
                <a:gd name="connsiteX632" fmla="*/ 99954 w 786002"/>
                <a:gd name="connsiteY632" fmla="*/ 350541 h 561696"/>
                <a:gd name="connsiteX633" fmla="*/ 96757 w 786002"/>
                <a:gd name="connsiteY633" fmla="*/ 354308 h 561696"/>
                <a:gd name="connsiteX634" fmla="*/ 95444 w 786002"/>
                <a:gd name="connsiteY634" fmla="*/ 359387 h 561696"/>
                <a:gd name="connsiteX635" fmla="*/ 97026 w 786002"/>
                <a:gd name="connsiteY635" fmla="*/ 363727 h 561696"/>
                <a:gd name="connsiteX636" fmla="*/ 99483 w 786002"/>
                <a:gd name="connsiteY636" fmla="*/ 364736 h 561696"/>
                <a:gd name="connsiteX637" fmla="*/ 100930 w 786002"/>
                <a:gd name="connsiteY637" fmla="*/ 365611 h 561696"/>
                <a:gd name="connsiteX638" fmla="*/ 100930 w 786002"/>
                <a:gd name="connsiteY638" fmla="*/ 369816 h 561696"/>
                <a:gd name="connsiteX639" fmla="*/ 105002 w 786002"/>
                <a:gd name="connsiteY639" fmla="*/ 371834 h 561696"/>
                <a:gd name="connsiteX640" fmla="*/ 109647 w 786002"/>
                <a:gd name="connsiteY640" fmla="*/ 372709 h 561696"/>
                <a:gd name="connsiteX641" fmla="*/ 117623 w 786002"/>
                <a:gd name="connsiteY641" fmla="*/ 374155 h 561696"/>
                <a:gd name="connsiteX642" fmla="*/ 120214 w 786002"/>
                <a:gd name="connsiteY642" fmla="*/ 376477 h 561696"/>
                <a:gd name="connsiteX643" fmla="*/ 122671 w 786002"/>
                <a:gd name="connsiteY643" fmla="*/ 378663 h 561696"/>
                <a:gd name="connsiteX644" fmla="*/ 127450 w 786002"/>
                <a:gd name="connsiteY644" fmla="*/ 383743 h 561696"/>
                <a:gd name="connsiteX645" fmla="*/ 132532 w 786002"/>
                <a:gd name="connsiteY645" fmla="*/ 385626 h 561696"/>
                <a:gd name="connsiteX646" fmla="*/ 137748 w 786002"/>
                <a:gd name="connsiteY646" fmla="*/ 386366 h 561696"/>
                <a:gd name="connsiteX647" fmla="*/ 143402 w 786002"/>
                <a:gd name="connsiteY647" fmla="*/ 388385 h 561696"/>
                <a:gd name="connsiteX648" fmla="*/ 147744 w 786002"/>
                <a:gd name="connsiteY648" fmla="*/ 387376 h 561696"/>
                <a:gd name="connsiteX649" fmla="*/ 153970 w 786002"/>
                <a:gd name="connsiteY649" fmla="*/ 385626 h 561696"/>
                <a:gd name="connsiteX650" fmla="*/ 161508 w 786002"/>
                <a:gd name="connsiteY650" fmla="*/ 385626 h 561696"/>
                <a:gd name="connsiteX651" fmla="*/ 164537 w 786002"/>
                <a:gd name="connsiteY651" fmla="*/ 387006 h 561696"/>
                <a:gd name="connsiteX652" fmla="*/ 168609 w 786002"/>
                <a:gd name="connsiteY652" fmla="*/ 391412 h 561696"/>
                <a:gd name="connsiteX653" fmla="*/ 174836 w 786002"/>
                <a:gd name="connsiteY653" fmla="*/ 395483 h 561696"/>
                <a:gd name="connsiteX654" fmla="*/ 181062 w 786002"/>
                <a:gd name="connsiteY654" fmla="*/ 401404 h 561696"/>
                <a:gd name="connsiteX655" fmla="*/ 185841 w 786002"/>
                <a:gd name="connsiteY655" fmla="*/ 399822 h 561696"/>
                <a:gd name="connsiteX656" fmla="*/ 190620 w 786002"/>
                <a:gd name="connsiteY656" fmla="*/ 395786 h 561696"/>
                <a:gd name="connsiteX657" fmla="*/ 195398 w 786002"/>
                <a:gd name="connsiteY657" fmla="*/ 395920 h 561696"/>
                <a:gd name="connsiteX658" fmla="*/ 196980 w 786002"/>
                <a:gd name="connsiteY658" fmla="*/ 394911 h 561696"/>
                <a:gd name="connsiteX659" fmla="*/ 199168 w 786002"/>
                <a:gd name="connsiteY659" fmla="*/ 390841 h 561696"/>
                <a:gd name="connsiteX660" fmla="*/ 202803 w 786002"/>
                <a:gd name="connsiteY660" fmla="*/ 390841 h 561696"/>
                <a:gd name="connsiteX661" fmla="*/ 210207 w 786002"/>
                <a:gd name="connsiteY661" fmla="*/ 392859 h 561696"/>
                <a:gd name="connsiteX662" fmla="*/ 215995 w 786002"/>
                <a:gd name="connsiteY662" fmla="*/ 394743 h 561696"/>
                <a:gd name="connsiteX663" fmla="*/ 221514 w 786002"/>
                <a:gd name="connsiteY663" fmla="*/ 396492 h 561696"/>
                <a:gd name="connsiteX664" fmla="*/ 224543 w 786002"/>
                <a:gd name="connsiteY664" fmla="*/ 398948 h 561696"/>
                <a:gd name="connsiteX665" fmla="*/ 229322 w 786002"/>
                <a:gd name="connsiteY665" fmla="*/ 402884 h 561696"/>
                <a:gd name="connsiteX666" fmla="*/ 228010 w 786002"/>
                <a:gd name="connsiteY666" fmla="*/ 410284 h 561696"/>
                <a:gd name="connsiteX667" fmla="*/ 226125 w 786002"/>
                <a:gd name="connsiteY667" fmla="*/ 411596 h 561696"/>
                <a:gd name="connsiteX668" fmla="*/ 222221 w 786002"/>
                <a:gd name="connsiteY668" fmla="*/ 416238 h 561696"/>
                <a:gd name="connsiteX669" fmla="*/ 221514 w 786002"/>
                <a:gd name="connsiteY669" fmla="*/ 420141 h 561696"/>
                <a:gd name="connsiteX670" fmla="*/ 221380 w 786002"/>
                <a:gd name="connsiteY670" fmla="*/ 425052 h 561696"/>
                <a:gd name="connsiteX671" fmla="*/ 219058 w 786002"/>
                <a:gd name="connsiteY671" fmla="*/ 427945 h 561696"/>
                <a:gd name="connsiteX672" fmla="*/ 215591 w 786002"/>
                <a:gd name="connsiteY672" fmla="*/ 429694 h 561696"/>
                <a:gd name="connsiteX673" fmla="*/ 211384 w 786002"/>
                <a:gd name="connsiteY673" fmla="*/ 430569 h 561696"/>
                <a:gd name="connsiteX674" fmla="*/ 207750 w 786002"/>
                <a:gd name="connsiteY674" fmla="*/ 431713 h 561696"/>
                <a:gd name="connsiteX675" fmla="*/ 207312 w 786002"/>
                <a:gd name="connsiteY675" fmla="*/ 434034 h 561696"/>
                <a:gd name="connsiteX676" fmla="*/ 206606 w 786002"/>
                <a:gd name="connsiteY676" fmla="*/ 438104 h 561696"/>
                <a:gd name="connsiteX677" fmla="*/ 204014 w 786002"/>
                <a:gd name="connsiteY677" fmla="*/ 442444 h 561696"/>
                <a:gd name="connsiteX678" fmla="*/ 201995 w 786002"/>
                <a:gd name="connsiteY678" fmla="*/ 448532 h 561696"/>
                <a:gd name="connsiteX679" fmla="*/ 203004 w 786002"/>
                <a:gd name="connsiteY679" fmla="*/ 451863 h 561696"/>
                <a:gd name="connsiteX680" fmla="*/ 204755 w 786002"/>
                <a:gd name="connsiteY680" fmla="*/ 454890 h 561696"/>
                <a:gd name="connsiteX681" fmla="*/ 207952 w 786002"/>
                <a:gd name="connsiteY681" fmla="*/ 456640 h 561696"/>
                <a:gd name="connsiteX682" fmla="*/ 211418 w 786002"/>
                <a:gd name="connsiteY682" fmla="*/ 460407 h 561696"/>
                <a:gd name="connsiteX683" fmla="*/ 213740 w 786002"/>
                <a:gd name="connsiteY683" fmla="*/ 465050 h 561696"/>
                <a:gd name="connsiteX684" fmla="*/ 215759 w 786002"/>
                <a:gd name="connsiteY684" fmla="*/ 469827 h 561696"/>
                <a:gd name="connsiteX685" fmla="*/ 216466 w 786002"/>
                <a:gd name="connsiteY685" fmla="*/ 476218 h 561696"/>
                <a:gd name="connsiteX686" fmla="*/ 216601 w 786002"/>
                <a:gd name="connsiteY686" fmla="*/ 482441 h 561696"/>
                <a:gd name="connsiteX687" fmla="*/ 215726 w 786002"/>
                <a:gd name="connsiteY687" fmla="*/ 489102 h 561696"/>
                <a:gd name="connsiteX688" fmla="*/ 215726 w 786002"/>
                <a:gd name="connsiteY688" fmla="*/ 493744 h 561696"/>
                <a:gd name="connsiteX689" fmla="*/ 222894 w 786002"/>
                <a:gd name="connsiteY689" fmla="*/ 496335 h 561696"/>
                <a:gd name="connsiteX690" fmla="*/ 229188 w 786002"/>
                <a:gd name="connsiteY690" fmla="*/ 497781 h 561696"/>
                <a:gd name="connsiteX691" fmla="*/ 232520 w 786002"/>
                <a:gd name="connsiteY691" fmla="*/ 502995 h 561696"/>
                <a:gd name="connsiteX692" fmla="*/ 234842 w 786002"/>
                <a:gd name="connsiteY692" fmla="*/ 502558 h 561696"/>
                <a:gd name="connsiteX693" fmla="*/ 236861 w 786002"/>
                <a:gd name="connsiteY693" fmla="*/ 500237 h 561696"/>
                <a:gd name="connsiteX694" fmla="*/ 239183 w 786002"/>
                <a:gd name="connsiteY694" fmla="*/ 498622 h 561696"/>
                <a:gd name="connsiteX695" fmla="*/ 242515 w 786002"/>
                <a:gd name="connsiteY695" fmla="*/ 498622 h 561696"/>
                <a:gd name="connsiteX696" fmla="*/ 249044 w 786002"/>
                <a:gd name="connsiteY696" fmla="*/ 501178 h 561696"/>
                <a:gd name="connsiteX697" fmla="*/ 251938 w 786002"/>
                <a:gd name="connsiteY697" fmla="*/ 502558 h 561696"/>
                <a:gd name="connsiteX698" fmla="*/ 254126 w 786002"/>
                <a:gd name="connsiteY698" fmla="*/ 507032 h 561696"/>
                <a:gd name="connsiteX699" fmla="*/ 252679 w 786002"/>
                <a:gd name="connsiteY699" fmla="*/ 508041 h 561696"/>
                <a:gd name="connsiteX700" fmla="*/ 249784 w 786002"/>
                <a:gd name="connsiteY700" fmla="*/ 510059 h 561696"/>
                <a:gd name="connsiteX701" fmla="*/ 249784 w 786002"/>
                <a:gd name="connsiteY701" fmla="*/ 513827 h 561696"/>
                <a:gd name="connsiteX702" fmla="*/ 252847 w 786002"/>
                <a:gd name="connsiteY702" fmla="*/ 518032 h 561696"/>
                <a:gd name="connsiteX703" fmla="*/ 257491 w 786002"/>
                <a:gd name="connsiteY703" fmla="*/ 520219 h 561696"/>
                <a:gd name="connsiteX704" fmla="*/ 261126 w 786002"/>
                <a:gd name="connsiteY704" fmla="*/ 523986 h 561696"/>
                <a:gd name="connsiteX705" fmla="*/ 265333 w 786002"/>
                <a:gd name="connsiteY705" fmla="*/ 527317 h 561696"/>
                <a:gd name="connsiteX706" fmla="*/ 269102 w 786002"/>
                <a:gd name="connsiteY706" fmla="*/ 532094 h 561696"/>
                <a:gd name="connsiteX707" fmla="*/ 271424 w 786002"/>
                <a:gd name="connsiteY707" fmla="*/ 534247 h 561696"/>
                <a:gd name="connsiteX708" fmla="*/ 271424 w 786002"/>
                <a:gd name="connsiteY708" fmla="*/ 530647 h 561696"/>
                <a:gd name="connsiteX709" fmla="*/ 276068 w 786002"/>
                <a:gd name="connsiteY709" fmla="*/ 528898 h 561696"/>
                <a:gd name="connsiteX710" fmla="*/ 280275 w 786002"/>
                <a:gd name="connsiteY710" fmla="*/ 532800 h 561696"/>
                <a:gd name="connsiteX711" fmla="*/ 287377 w 786002"/>
                <a:gd name="connsiteY711" fmla="*/ 538720 h 561696"/>
                <a:gd name="connsiteX712" fmla="*/ 293333 w 786002"/>
                <a:gd name="connsiteY712" fmla="*/ 539595 h 561696"/>
                <a:gd name="connsiteX713" fmla="*/ 295353 w 786002"/>
                <a:gd name="connsiteY713" fmla="*/ 539292 h 561696"/>
                <a:gd name="connsiteX714" fmla="*/ 302891 w 786002"/>
                <a:gd name="connsiteY714" fmla="*/ 538418 h 561696"/>
                <a:gd name="connsiteX715" fmla="*/ 308411 w 786002"/>
                <a:gd name="connsiteY715" fmla="*/ 540301 h 561696"/>
                <a:gd name="connsiteX716" fmla="*/ 313190 w 786002"/>
                <a:gd name="connsiteY716" fmla="*/ 544776 h 561696"/>
                <a:gd name="connsiteX717" fmla="*/ 317968 w 786002"/>
                <a:gd name="connsiteY717" fmla="*/ 546357 h 561696"/>
                <a:gd name="connsiteX718" fmla="*/ 320863 w 786002"/>
                <a:gd name="connsiteY718" fmla="*/ 541580 h 561696"/>
                <a:gd name="connsiteX719" fmla="*/ 323185 w 786002"/>
                <a:gd name="connsiteY719" fmla="*/ 539999 h 561696"/>
                <a:gd name="connsiteX720" fmla="*/ 331430 w 786002"/>
                <a:gd name="connsiteY720" fmla="*/ 538552 h 561696"/>
                <a:gd name="connsiteX721" fmla="*/ 336075 w 786002"/>
                <a:gd name="connsiteY721" fmla="*/ 538552 h 561696"/>
                <a:gd name="connsiteX722" fmla="*/ 340281 w 786002"/>
                <a:gd name="connsiteY722" fmla="*/ 539124 h 561696"/>
                <a:gd name="connsiteX723" fmla="*/ 344185 w 786002"/>
                <a:gd name="connsiteY723" fmla="*/ 541142 h 561696"/>
                <a:gd name="connsiteX724" fmla="*/ 348392 w 786002"/>
                <a:gd name="connsiteY724" fmla="*/ 544170 h 561696"/>
                <a:gd name="connsiteX725" fmla="*/ 349133 w 786002"/>
                <a:gd name="connsiteY725" fmla="*/ 546491 h 561696"/>
                <a:gd name="connsiteX726" fmla="*/ 354046 w 786002"/>
                <a:gd name="connsiteY726" fmla="*/ 547231 h 561696"/>
                <a:gd name="connsiteX727" fmla="*/ 357311 w 786002"/>
                <a:gd name="connsiteY727" fmla="*/ 547231 h 561696"/>
                <a:gd name="connsiteX728" fmla="*/ 360407 w 786002"/>
                <a:gd name="connsiteY728" fmla="*/ 546424 h 561696"/>
                <a:gd name="connsiteX729" fmla="*/ 362494 w 786002"/>
                <a:gd name="connsiteY729" fmla="*/ 548005 h 561696"/>
                <a:gd name="connsiteX730" fmla="*/ 365018 w 786002"/>
                <a:gd name="connsiteY730" fmla="*/ 550663 h 561696"/>
                <a:gd name="connsiteX731" fmla="*/ 367609 w 786002"/>
                <a:gd name="connsiteY731" fmla="*/ 551403 h 561696"/>
                <a:gd name="connsiteX732" fmla="*/ 368922 w 786002"/>
                <a:gd name="connsiteY732" fmla="*/ 549384 h 561696"/>
                <a:gd name="connsiteX733" fmla="*/ 371614 w 786002"/>
                <a:gd name="connsiteY733" fmla="*/ 546188 h 561696"/>
                <a:gd name="connsiteX734" fmla="*/ 374508 w 786002"/>
                <a:gd name="connsiteY734" fmla="*/ 542723 h 561696"/>
                <a:gd name="connsiteX735" fmla="*/ 376696 w 786002"/>
                <a:gd name="connsiteY735" fmla="*/ 540470 h 561696"/>
                <a:gd name="connsiteX736" fmla="*/ 379321 w 786002"/>
                <a:gd name="connsiteY736" fmla="*/ 537072 h 561696"/>
                <a:gd name="connsiteX737" fmla="*/ 380768 w 786002"/>
                <a:gd name="connsiteY737" fmla="*/ 537005 h 561696"/>
                <a:gd name="connsiteX738" fmla="*/ 381912 w 786002"/>
                <a:gd name="connsiteY738" fmla="*/ 540705 h 561696"/>
                <a:gd name="connsiteX739" fmla="*/ 381845 w 786002"/>
                <a:gd name="connsiteY739" fmla="*/ 544540 h 561696"/>
                <a:gd name="connsiteX740" fmla="*/ 380229 w 786002"/>
                <a:gd name="connsiteY740" fmla="*/ 546794 h 561696"/>
                <a:gd name="connsiteX741" fmla="*/ 383292 w 786002"/>
                <a:gd name="connsiteY741" fmla="*/ 551571 h 561696"/>
                <a:gd name="connsiteX742" fmla="*/ 387936 w 786002"/>
                <a:gd name="connsiteY742" fmla="*/ 555473 h 561696"/>
                <a:gd name="connsiteX743" fmla="*/ 390898 w 786002"/>
                <a:gd name="connsiteY743" fmla="*/ 556785 h 561696"/>
                <a:gd name="connsiteX744" fmla="*/ 391201 w 786002"/>
                <a:gd name="connsiteY744" fmla="*/ 555776 h 561696"/>
                <a:gd name="connsiteX745" fmla="*/ 392480 w 786002"/>
                <a:gd name="connsiteY745" fmla="*/ 550259 h 561696"/>
                <a:gd name="connsiteX746" fmla="*/ 393489 w 786002"/>
                <a:gd name="connsiteY746" fmla="*/ 546928 h 561696"/>
                <a:gd name="connsiteX747" fmla="*/ 392547 w 786002"/>
                <a:gd name="connsiteY747" fmla="*/ 543531 h 561696"/>
                <a:gd name="connsiteX748" fmla="*/ 391235 w 786002"/>
                <a:gd name="connsiteY748" fmla="*/ 538956 h 561696"/>
                <a:gd name="connsiteX749" fmla="*/ 391235 w 786002"/>
                <a:gd name="connsiteY749" fmla="*/ 536197 h 561696"/>
                <a:gd name="connsiteX750" fmla="*/ 392749 w 786002"/>
                <a:gd name="connsiteY750" fmla="*/ 532867 h 561696"/>
                <a:gd name="connsiteX751" fmla="*/ 393826 w 786002"/>
                <a:gd name="connsiteY751" fmla="*/ 531050 h 561696"/>
                <a:gd name="connsiteX752" fmla="*/ 395340 w 786002"/>
                <a:gd name="connsiteY752" fmla="*/ 530681 h 561696"/>
                <a:gd name="connsiteX753" fmla="*/ 397326 w 786002"/>
                <a:gd name="connsiteY753" fmla="*/ 532127 h 561696"/>
                <a:gd name="connsiteX754" fmla="*/ 398437 w 786002"/>
                <a:gd name="connsiteY754" fmla="*/ 537038 h 561696"/>
                <a:gd name="connsiteX755" fmla="*/ 398066 w 786002"/>
                <a:gd name="connsiteY755" fmla="*/ 539292 h 561696"/>
                <a:gd name="connsiteX756" fmla="*/ 397326 w 786002"/>
                <a:gd name="connsiteY756" fmla="*/ 542488 h 561696"/>
                <a:gd name="connsiteX757" fmla="*/ 397629 w 786002"/>
                <a:gd name="connsiteY757" fmla="*/ 547769 h 561696"/>
                <a:gd name="connsiteX758" fmla="*/ 401465 w 786002"/>
                <a:gd name="connsiteY758" fmla="*/ 550091 h 561696"/>
                <a:gd name="connsiteX759" fmla="*/ 403485 w 786002"/>
                <a:gd name="connsiteY759" fmla="*/ 550091 h 561696"/>
                <a:gd name="connsiteX760" fmla="*/ 408331 w 786002"/>
                <a:gd name="connsiteY760" fmla="*/ 546188 h 561696"/>
                <a:gd name="connsiteX761" fmla="*/ 410283 w 786002"/>
                <a:gd name="connsiteY761" fmla="*/ 543127 h 561696"/>
                <a:gd name="connsiteX762" fmla="*/ 412672 w 786002"/>
                <a:gd name="connsiteY762" fmla="*/ 538586 h 561696"/>
                <a:gd name="connsiteX763" fmla="*/ 412740 w 786002"/>
                <a:gd name="connsiteY763" fmla="*/ 535390 h 561696"/>
                <a:gd name="connsiteX764" fmla="*/ 411360 w 786002"/>
                <a:gd name="connsiteY764" fmla="*/ 531623 h 561696"/>
                <a:gd name="connsiteX765" fmla="*/ 410620 w 786002"/>
                <a:gd name="connsiteY765" fmla="*/ 529234 h 561696"/>
                <a:gd name="connsiteX766" fmla="*/ 408668 w 786002"/>
                <a:gd name="connsiteY766" fmla="*/ 527216 h 561696"/>
                <a:gd name="connsiteX767" fmla="*/ 408668 w 786002"/>
                <a:gd name="connsiteY767" fmla="*/ 523751 h 561696"/>
                <a:gd name="connsiteX768" fmla="*/ 408668 w 786002"/>
                <a:gd name="connsiteY768" fmla="*/ 518537 h 561696"/>
                <a:gd name="connsiteX769" fmla="*/ 408668 w 786002"/>
                <a:gd name="connsiteY769" fmla="*/ 513322 h 561696"/>
                <a:gd name="connsiteX770" fmla="*/ 408668 w 786002"/>
                <a:gd name="connsiteY770" fmla="*/ 510699 h 561696"/>
                <a:gd name="connsiteX771" fmla="*/ 416475 w 786002"/>
                <a:gd name="connsiteY771" fmla="*/ 510699 h 561696"/>
                <a:gd name="connsiteX772" fmla="*/ 418226 w 786002"/>
                <a:gd name="connsiteY772" fmla="*/ 510699 h 561696"/>
                <a:gd name="connsiteX773" fmla="*/ 421120 w 786002"/>
                <a:gd name="connsiteY773" fmla="*/ 510699 h 561696"/>
                <a:gd name="connsiteX774" fmla="*/ 420817 w 786002"/>
                <a:gd name="connsiteY774" fmla="*/ 513322 h 561696"/>
                <a:gd name="connsiteX775" fmla="*/ 419067 w 786002"/>
                <a:gd name="connsiteY775" fmla="*/ 518537 h 561696"/>
                <a:gd name="connsiteX776" fmla="*/ 419067 w 786002"/>
                <a:gd name="connsiteY776" fmla="*/ 521127 h 561696"/>
                <a:gd name="connsiteX777" fmla="*/ 421827 w 786002"/>
                <a:gd name="connsiteY777" fmla="*/ 527788 h 561696"/>
                <a:gd name="connsiteX778" fmla="*/ 426606 w 786002"/>
                <a:gd name="connsiteY778" fmla="*/ 531858 h 561696"/>
                <a:gd name="connsiteX779" fmla="*/ 430947 w 786002"/>
                <a:gd name="connsiteY779" fmla="*/ 538249 h 561696"/>
                <a:gd name="connsiteX780" fmla="*/ 437038 w 786002"/>
                <a:gd name="connsiteY780" fmla="*/ 539696 h 561696"/>
                <a:gd name="connsiteX781" fmla="*/ 440808 w 786002"/>
                <a:gd name="connsiteY781" fmla="*/ 540268 h 561696"/>
                <a:gd name="connsiteX782" fmla="*/ 444577 w 786002"/>
                <a:gd name="connsiteY782" fmla="*/ 540268 h 561696"/>
                <a:gd name="connsiteX783" fmla="*/ 441986 w 786002"/>
                <a:gd name="connsiteY783" fmla="*/ 533305 h 561696"/>
                <a:gd name="connsiteX784" fmla="*/ 438216 w 786002"/>
                <a:gd name="connsiteY784" fmla="*/ 527788 h 561696"/>
                <a:gd name="connsiteX785" fmla="*/ 439966 w 786002"/>
                <a:gd name="connsiteY785" fmla="*/ 520252 h 561696"/>
                <a:gd name="connsiteX786" fmla="*/ 439966 w 786002"/>
                <a:gd name="connsiteY786" fmla="*/ 519378 h 561696"/>
                <a:gd name="connsiteX787" fmla="*/ 442591 w 786002"/>
                <a:gd name="connsiteY787" fmla="*/ 517628 h 561696"/>
                <a:gd name="connsiteX788" fmla="*/ 444341 w 786002"/>
                <a:gd name="connsiteY788" fmla="*/ 517628 h 561696"/>
                <a:gd name="connsiteX789" fmla="*/ 445519 w 786002"/>
                <a:gd name="connsiteY789" fmla="*/ 517628 h 561696"/>
                <a:gd name="connsiteX790" fmla="*/ 448717 w 786002"/>
                <a:gd name="connsiteY790" fmla="*/ 519075 h 561696"/>
                <a:gd name="connsiteX791" fmla="*/ 448717 w 786002"/>
                <a:gd name="connsiteY791" fmla="*/ 523717 h 561696"/>
                <a:gd name="connsiteX792" fmla="*/ 448717 w 786002"/>
                <a:gd name="connsiteY792" fmla="*/ 529806 h 561696"/>
                <a:gd name="connsiteX793" fmla="*/ 450601 w 786002"/>
                <a:gd name="connsiteY793" fmla="*/ 534718 h 561696"/>
                <a:gd name="connsiteX794" fmla="*/ 453933 w 786002"/>
                <a:gd name="connsiteY794" fmla="*/ 537038 h 561696"/>
                <a:gd name="connsiteX795" fmla="*/ 457130 w 786002"/>
                <a:gd name="connsiteY795" fmla="*/ 539931 h 561696"/>
                <a:gd name="connsiteX796" fmla="*/ 461775 w 786002"/>
                <a:gd name="connsiteY796" fmla="*/ 543699 h 561696"/>
                <a:gd name="connsiteX797" fmla="*/ 467866 w 786002"/>
                <a:gd name="connsiteY797" fmla="*/ 543699 h 561696"/>
                <a:gd name="connsiteX798" fmla="*/ 471332 w 786002"/>
                <a:gd name="connsiteY798" fmla="*/ 546458 h 561696"/>
                <a:gd name="connsiteX799" fmla="*/ 474799 w 786002"/>
                <a:gd name="connsiteY799" fmla="*/ 548072 h 561696"/>
                <a:gd name="connsiteX800" fmla="*/ 474799 w 786002"/>
                <a:gd name="connsiteY800" fmla="*/ 549822 h 561696"/>
                <a:gd name="connsiteX801" fmla="*/ 474799 w 786002"/>
                <a:gd name="connsiteY801" fmla="*/ 554464 h 561696"/>
                <a:gd name="connsiteX802" fmla="*/ 477559 w 786002"/>
                <a:gd name="connsiteY802" fmla="*/ 557929 h 561696"/>
                <a:gd name="connsiteX803" fmla="*/ 483213 w 786002"/>
                <a:gd name="connsiteY803" fmla="*/ 561696 h 561696"/>
                <a:gd name="connsiteX804" fmla="*/ 492198 w 786002"/>
                <a:gd name="connsiteY804" fmla="*/ 560250 h 561696"/>
                <a:gd name="connsiteX805" fmla="*/ 500309 w 786002"/>
                <a:gd name="connsiteY805" fmla="*/ 561696 h 561696"/>
                <a:gd name="connsiteX806" fmla="*/ 508420 w 786002"/>
                <a:gd name="connsiteY806" fmla="*/ 556785 h 561696"/>
                <a:gd name="connsiteX807" fmla="*/ 515083 w 786002"/>
                <a:gd name="connsiteY807" fmla="*/ 554767 h 561696"/>
                <a:gd name="connsiteX808" fmla="*/ 518281 w 786002"/>
                <a:gd name="connsiteY808" fmla="*/ 551571 h 561696"/>
                <a:gd name="connsiteX809" fmla="*/ 518281 w 786002"/>
                <a:gd name="connsiteY809" fmla="*/ 534179 h 561696"/>
                <a:gd name="connsiteX810" fmla="*/ 518281 w 786002"/>
                <a:gd name="connsiteY810" fmla="*/ 528864 h 561696"/>
                <a:gd name="connsiteX811" fmla="*/ 518819 w 786002"/>
                <a:gd name="connsiteY811" fmla="*/ 526913 h 561696"/>
                <a:gd name="connsiteX812" fmla="*/ 519896 w 786002"/>
                <a:gd name="connsiteY812" fmla="*/ 524626 h 561696"/>
                <a:gd name="connsiteX813" fmla="*/ 521949 w 786002"/>
                <a:gd name="connsiteY813" fmla="*/ 524087 h 561696"/>
                <a:gd name="connsiteX814" fmla="*/ 523463 w 786002"/>
                <a:gd name="connsiteY814" fmla="*/ 526913 h 561696"/>
                <a:gd name="connsiteX815" fmla="*/ 524103 w 786002"/>
                <a:gd name="connsiteY815" fmla="*/ 533843 h 561696"/>
                <a:gd name="connsiteX816" fmla="*/ 523463 w 786002"/>
                <a:gd name="connsiteY816" fmla="*/ 541142 h 561696"/>
                <a:gd name="connsiteX817" fmla="*/ 523463 w 786002"/>
                <a:gd name="connsiteY817" fmla="*/ 546020 h 561696"/>
                <a:gd name="connsiteX818" fmla="*/ 525079 w 786002"/>
                <a:gd name="connsiteY818" fmla="*/ 550057 h 561696"/>
                <a:gd name="connsiteX819" fmla="*/ 528444 w 786002"/>
                <a:gd name="connsiteY819" fmla="*/ 555069 h 561696"/>
                <a:gd name="connsiteX820" fmla="*/ 533762 w 786002"/>
                <a:gd name="connsiteY820" fmla="*/ 560485 h 561696"/>
                <a:gd name="connsiteX821" fmla="*/ 537464 w 786002"/>
                <a:gd name="connsiteY821" fmla="*/ 558770 h 56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</a:cxnLst>
              <a:rect l="l" t="t" r="r" b="b"/>
              <a:pathLst>
                <a:path w="786002" h="561696">
                  <a:moveTo>
                    <a:pt x="537464" y="558770"/>
                  </a:moveTo>
                  <a:lnTo>
                    <a:pt x="537464" y="555305"/>
                  </a:lnTo>
                  <a:lnTo>
                    <a:pt x="538877" y="554868"/>
                  </a:lnTo>
                  <a:lnTo>
                    <a:pt x="537901" y="554430"/>
                  </a:lnTo>
                  <a:lnTo>
                    <a:pt x="535444" y="551537"/>
                  </a:lnTo>
                  <a:lnTo>
                    <a:pt x="536454" y="548644"/>
                  </a:lnTo>
                  <a:lnTo>
                    <a:pt x="538036" y="545751"/>
                  </a:lnTo>
                  <a:lnTo>
                    <a:pt x="540493" y="541109"/>
                  </a:lnTo>
                  <a:lnTo>
                    <a:pt x="543387" y="537408"/>
                  </a:lnTo>
                  <a:cubicBezTo>
                    <a:pt x="543387" y="537408"/>
                    <a:pt x="547022" y="535323"/>
                    <a:pt x="547594" y="535323"/>
                  </a:cubicBezTo>
                  <a:cubicBezTo>
                    <a:pt x="548166" y="535323"/>
                    <a:pt x="553954" y="535323"/>
                    <a:pt x="553954" y="535323"/>
                  </a:cubicBezTo>
                  <a:lnTo>
                    <a:pt x="562368" y="533573"/>
                  </a:lnTo>
                  <a:lnTo>
                    <a:pt x="565700" y="526778"/>
                  </a:lnTo>
                  <a:lnTo>
                    <a:pt x="564556" y="521262"/>
                  </a:lnTo>
                  <a:lnTo>
                    <a:pt x="561527" y="517359"/>
                  </a:lnTo>
                  <a:lnTo>
                    <a:pt x="564556" y="512011"/>
                  </a:lnTo>
                  <a:lnTo>
                    <a:pt x="568897" y="509387"/>
                  </a:lnTo>
                  <a:lnTo>
                    <a:pt x="575123" y="507940"/>
                  </a:lnTo>
                  <a:lnTo>
                    <a:pt x="580642" y="507806"/>
                  </a:lnTo>
                  <a:lnTo>
                    <a:pt x="587744" y="506494"/>
                  </a:lnTo>
                  <a:cubicBezTo>
                    <a:pt x="587744" y="506494"/>
                    <a:pt x="594575" y="505182"/>
                    <a:pt x="595148" y="505182"/>
                  </a:cubicBezTo>
                  <a:cubicBezTo>
                    <a:pt x="595720" y="505182"/>
                    <a:pt x="602552" y="504038"/>
                    <a:pt x="602552" y="504038"/>
                  </a:cubicBezTo>
                  <a:lnTo>
                    <a:pt x="610090" y="504610"/>
                  </a:lnTo>
                  <a:lnTo>
                    <a:pt x="615441" y="502154"/>
                  </a:lnTo>
                  <a:lnTo>
                    <a:pt x="616013" y="496065"/>
                  </a:lnTo>
                  <a:lnTo>
                    <a:pt x="609787" y="488967"/>
                  </a:lnTo>
                  <a:cubicBezTo>
                    <a:pt x="609787" y="488967"/>
                    <a:pt x="606018" y="482609"/>
                    <a:pt x="606018" y="481869"/>
                  </a:cubicBezTo>
                  <a:cubicBezTo>
                    <a:pt x="606018" y="481129"/>
                    <a:pt x="605883" y="476083"/>
                    <a:pt x="605883" y="476083"/>
                  </a:cubicBezTo>
                  <a:lnTo>
                    <a:pt x="609215" y="473897"/>
                  </a:lnTo>
                  <a:lnTo>
                    <a:pt x="615441" y="474199"/>
                  </a:lnTo>
                  <a:lnTo>
                    <a:pt x="621230" y="478404"/>
                  </a:lnTo>
                  <a:lnTo>
                    <a:pt x="627759" y="479716"/>
                  </a:lnTo>
                  <a:lnTo>
                    <a:pt x="629913" y="476521"/>
                  </a:lnTo>
                  <a:lnTo>
                    <a:pt x="637586" y="473762"/>
                  </a:lnTo>
                  <a:lnTo>
                    <a:pt x="641927" y="472013"/>
                  </a:lnTo>
                  <a:lnTo>
                    <a:pt x="645562" y="470129"/>
                  </a:lnTo>
                  <a:lnTo>
                    <a:pt x="639336" y="466059"/>
                  </a:lnTo>
                  <a:lnTo>
                    <a:pt x="639201" y="461585"/>
                  </a:lnTo>
                  <a:cubicBezTo>
                    <a:pt x="639201" y="461585"/>
                    <a:pt x="641389" y="459398"/>
                    <a:pt x="641961" y="459398"/>
                  </a:cubicBezTo>
                  <a:cubicBezTo>
                    <a:pt x="642533" y="459398"/>
                    <a:pt x="643543" y="459264"/>
                    <a:pt x="645293" y="459398"/>
                  </a:cubicBezTo>
                  <a:cubicBezTo>
                    <a:pt x="647043" y="459533"/>
                    <a:pt x="650072" y="460845"/>
                    <a:pt x="650072" y="460845"/>
                  </a:cubicBezTo>
                  <a:lnTo>
                    <a:pt x="653101" y="461417"/>
                  </a:lnTo>
                  <a:lnTo>
                    <a:pt x="654413" y="458961"/>
                  </a:lnTo>
                  <a:cubicBezTo>
                    <a:pt x="654413" y="458961"/>
                    <a:pt x="653101" y="454890"/>
                    <a:pt x="652966" y="454319"/>
                  </a:cubicBezTo>
                  <a:cubicBezTo>
                    <a:pt x="652832" y="453747"/>
                    <a:pt x="649332" y="447221"/>
                    <a:pt x="649332" y="447221"/>
                  </a:cubicBezTo>
                  <a:lnTo>
                    <a:pt x="649466" y="443184"/>
                  </a:lnTo>
                  <a:lnTo>
                    <a:pt x="651485" y="441434"/>
                  </a:lnTo>
                  <a:lnTo>
                    <a:pt x="654380" y="433765"/>
                  </a:lnTo>
                  <a:lnTo>
                    <a:pt x="658149" y="429123"/>
                  </a:lnTo>
                  <a:lnTo>
                    <a:pt x="664106" y="427104"/>
                  </a:lnTo>
                  <a:lnTo>
                    <a:pt x="670197" y="425489"/>
                  </a:lnTo>
                  <a:cubicBezTo>
                    <a:pt x="670197" y="425489"/>
                    <a:pt x="673664" y="422731"/>
                    <a:pt x="674101" y="422596"/>
                  </a:cubicBezTo>
                  <a:cubicBezTo>
                    <a:pt x="674539" y="422462"/>
                    <a:pt x="678746" y="421722"/>
                    <a:pt x="679318" y="421722"/>
                  </a:cubicBezTo>
                  <a:cubicBezTo>
                    <a:pt x="679890" y="421722"/>
                    <a:pt x="683390" y="420578"/>
                    <a:pt x="683390" y="420578"/>
                  </a:cubicBezTo>
                  <a:lnTo>
                    <a:pt x="685712" y="417954"/>
                  </a:lnTo>
                  <a:lnTo>
                    <a:pt x="687159" y="416373"/>
                  </a:lnTo>
                  <a:lnTo>
                    <a:pt x="688169" y="413312"/>
                  </a:lnTo>
                  <a:lnTo>
                    <a:pt x="690491" y="412437"/>
                  </a:lnTo>
                  <a:cubicBezTo>
                    <a:pt x="690491" y="412437"/>
                    <a:pt x="691804" y="411260"/>
                    <a:pt x="693520" y="410856"/>
                  </a:cubicBezTo>
                  <a:cubicBezTo>
                    <a:pt x="695270" y="410419"/>
                    <a:pt x="698030" y="409107"/>
                    <a:pt x="698030" y="409107"/>
                  </a:cubicBezTo>
                  <a:cubicBezTo>
                    <a:pt x="698030" y="409107"/>
                    <a:pt x="699342" y="408973"/>
                    <a:pt x="700487" y="408401"/>
                  </a:cubicBezTo>
                  <a:cubicBezTo>
                    <a:pt x="701631" y="407828"/>
                    <a:pt x="702506" y="407223"/>
                    <a:pt x="702506" y="407223"/>
                  </a:cubicBezTo>
                  <a:lnTo>
                    <a:pt x="705568" y="404465"/>
                  </a:lnTo>
                  <a:lnTo>
                    <a:pt x="706006" y="402278"/>
                  </a:lnTo>
                  <a:lnTo>
                    <a:pt x="710347" y="398948"/>
                  </a:lnTo>
                  <a:lnTo>
                    <a:pt x="712669" y="396627"/>
                  </a:lnTo>
                  <a:lnTo>
                    <a:pt x="715126" y="393431"/>
                  </a:lnTo>
                  <a:lnTo>
                    <a:pt x="716001" y="387914"/>
                  </a:lnTo>
                  <a:lnTo>
                    <a:pt x="722800" y="381388"/>
                  </a:lnTo>
                  <a:lnTo>
                    <a:pt x="723540" y="372709"/>
                  </a:lnTo>
                  <a:cubicBezTo>
                    <a:pt x="723540" y="372709"/>
                    <a:pt x="720915" y="369076"/>
                    <a:pt x="720915" y="368638"/>
                  </a:cubicBezTo>
                  <a:cubicBezTo>
                    <a:pt x="720915" y="368201"/>
                    <a:pt x="719333" y="365308"/>
                    <a:pt x="719333" y="364131"/>
                  </a:cubicBezTo>
                  <a:cubicBezTo>
                    <a:pt x="719333" y="362987"/>
                    <a:pt x="718895" y="357033"/>
                    <a:pt x="718895" y="356595"/>
                  </a:cubicBezTo>
                  <a:cubicBezTo>
                    <a:pt x="718895" y="356158"/>
                    <a:pt x="717314" y="353702"/>
                    <a:pt x="717314" y="353702"/>
                  </a:cubicBezTo>
                  <a:cubicBezTo>
                    <a:pt x="717314" y="353702"/>
                    <a:pt x="714857" y="351381"/>
                    <a:pt x="714857" y="350372"/>
                  </a:cubicBezTo>
                  <a:cubicBezTo>
                    <a:pt x="714857" y="349363"/>
                    <a:pt x="713982" y="347748"/>
                    <a:pt x="714857" y="346739"/>
                  </a:cubicBezTo>
                  <a:cubicBezTo>
                    <a:pt x="715732" y="345730"/>
                    <a:pt x="717179" y="343409"/>
                    <a:pt x="717751" y="343106"/>
                  </a:cubicBezTo>
                  <a:cubicBezTo>
                    <a:pt x="718323" y="342803"/>
                    <a:pt x="718626" y="340919"/>
                    <a:pt x="718761" y="340482"/>
                  </a:cubicBezTo>
                  <a:cubicBezTo>
                    <a:pt x="718895" y="340045"/>
                    <a:pt x="718054" y="332812"/>
                    <a:pt x="718054" y="332812"/>
                  </a:cubicBezTo>
                  <a:lnTo>
                    <a:pt x="718323" y="328742"/>
                  </a:lnTo>
                  <a:lnTo>
                    <a:pt x="718323" y="323965"/>
                  </a:lnTo>
                  <a:lnTo>
                    <a:pt x="723237" y="321644"/>
                  </a:lnTo>
                  <a:cubicBezTo>
                    <a:pt x="723237" y="321644"/>
                    <a:pt x="723102" y="321072"/>
                    <a:pt x="724247" y="320635"/>
                  </a:cubicBezTo>
                  <a:cubicBezTo>
                    <a:pt x="725391" y="320197"/>
                    <a:pt x="727881" y="315555"/>
                    <a:pt x="728588" y="315555"/>
                  </a:cubicBezTo>
                  <a:cubicBezTo>
                    <a:pt x="729295" y="315555"/>
                    <a:pt x="734545" y="311922"/>
                    <a:pt x="734545" y="311922"/>
                  </a:cubicBezTo>
                  <a:lnTo>
                    <a:pt x="738886" y="311216"/>
                  </a:lnTo>
                  <a:cubicBezTo>
                    <a:pt x="738886" y="311216"/>
                    <a:pt x="741511" y="310341"/>
                    <a:pt x="742656" y="310072"/>
                  </a:cubicBezTo>
                  <a:cubicBezTo>
                    <a:pt x="743800" y="309769"/>
                    <a:pt x="745416" y="307044"/>
                    <a:pt x="746122" y="307044"/>
                  </a:cubicBezTo>
                  <a:cubicBezTo>
                    <a:pt x="746862" y="307044"/>
                    <a:pt x="748444" y="301965"/>
                    <a:pt x="748444" y="301965"/>
                  </a:cubicBezTo>
                  <a:lnTo>
                    <a:pt x="746560" y="298197"/>
                  </a:lnTo>
                  <a:lnTo>
                    <a:pt x="739896" y="292848"/>
                  </a:lnTo>
                  <a:cubicBezTo>
                    <a:pt x="739896" y="292848"/>
                    <a:pt x="742521" y="285885"/>
                    <a:pt x="743396" y="285616"/>
                  </a:cubicBezTo>
                  <a:cubicBezTo>
                    <a:pt x="744271" y="285313"/>
                    <a:pt x="749622" y="280974"/>
                    <a:pt x="751204" y="280839"/>
                  </a:cubicBezTo>
                  <a:cubicBezTo>
                    <a:pt x="752786" y="280705"/>
                    <a:pt x="756723" y="280839"/>
                    <a:pt x="756723" y="280839"/>
                  </a:cubicBezTo>
                  <a:lnTo>
                    <a:pt x="759618" y="282151"/>
                  </a:lnTo>
                  <a:cubicBezTo>
                    <a:pt x="759618" y="282151"/>
                    <a:pt x="765978" y="276802"/>
                    <a:pt x="766719" y="276802"/>
                  </a:cubicBezTo>
                  <a:cubicBezTo>
                    <a:pt x="767425" y="276802"/>
                    <a:pt x="770926" y="274784"/>
                    <a:pt x="772507" y="274481"/>
                  </a:cubicBezTo>
                  <a:cubicBezTo>
                    <a:pt x="774089" y="274178"/>
                    <a:pt x="775132" y="273169"/>
                    <a:pt x="775132" y="273169"/>
                  </a:cubicBezTo>
                  <a:cubicBezTo>
                    <a:pt x="775132" y="273169"/>
                    <a:pt x="776142" y="270411"/>
                    <a:pt x="775267" y="268830"/>
                  </a:cubicBezTo>
                  <a:cubicBezTo>
                    <a:pt x="774392" y="267249"/>
                    <a:pt x="769613" y="261429"/>
                    <a:pt x="769613" y="261429"/>
                  </a:cubicBezTo>
                  <a:cubicBezTo>
                    <a:pt x="769613" y="261429"/>
                    <a:pt x="768300" y="258401"/>
                    <a:pt x="768300" y="257796"/>
                  </a:cubicBezTo>
                  <a:cubicBezTo>
                    <a:pt x="768300" y="257224"/>
                    <a:pt x="765709" y="249251"/>
                    <a:pt x="765709" y="249251"/>
                  </a:cubicBezTo>
                  <a:lnTo>
                    <a:pt x="766146" y="243600"/>
                  </a:lnTo>
                  <a:lnTo>
                    <a:pt x="771801" y="239126"/>
                  </a:lnTo>
                  <a:lnTo>
                    <a:pt x="777589" y="237545"/>
                  </a:lnTo>
                  <a:lnTo>
                    <a:pt x="783108" y="235526"/>
                  </a:lnTo>
                  <a:lnTo>
                    <a:pt x="786003" y="229875"/>
                  </a:lnTo>
                  <a:lnTo>
                    <a:pt x="784118" y="224661"/>
                  </a:lnTo>
                  <a:lnTo>
                    <a:pt x="781931" y="218572"/>
                  </a:lnTo>
                  <a:lnTo>
                    <a:pt x="782233" y="213492"/>
                  </a:lnTo>
                  <a:lnTo>
                    <a:pt x="781661" y="208413"/>
                  </a:lnTo>
                  <a:lnTo>
                    <a:pt x="775873" y="203939"/>
                  </a:lnTo>
                  <a:lnTo>
                    <a:pt x="773988" y="201046"/>
                  </a:lnTo>
                  <a:lnTo>
                    <a:pt x="772676" y="198287"/>
                  </a:lnTo>
                  <a:lnTo>
                    <a:pt x="772103" y="194654"/>
                  </a:lnTo>
                  <a:lnTo>
                    <a:pt x="773248" y="191627"/>
                  </a:lnTo>
                  <a:lnTo>
                    <a:pt x="775132" y="188599"/>
                  </a:lnTo>
                  <a:lnTo>
                    <a:pt x="778329" y="185403"/>
                  </a:lnTo>
                  <a:lnTo>
                    <a:pt x="781964" y="181770"/>
                  </a:lnTo>
                  <a:lnTo>
                    <a:pt x="778633" y="181030"/>
                  </a:lnTo>
                  <a:cubicBezTo>
                    <a:pt x="778633" y="181030"/>
                    <a:pt x="776310" y="181333"/>
                    <a:pt x="774863" y="181602"/>
                  </a:cubicBezTo>
                  <a:cubicBezTo>
                    <a:pt x="773416" y="181905"/>
                    <a:pt x="771666" y="182174"/>
                    <a:pt x="770219" y="182174"/>
                  </a:cubicBezTo>
                  <a:cubicBezTo>
                    <a:pt x="768772" y="182174"/>
                    <a:pt x="766584" y="181467"/>
                    <a:pt x="765575" y="181165"/>
                  </a:cubicBezTo>
                  <a:cubicBezTo>
                    <a:pt x="764565" y="180862"/>
                    <a:pt x="761940" y="180862"/>
                    <a:pt x="761368" y="180862"/>
                  </a:cubicBezTo>
                  <a:cubicBezTo>
                    <a:pt x="760795" y="180862"/>
                    <a:pt x="757733" y="180727"/>
                    <a:pt x="757733" y="180727"/>
                  </a:cubicBezTo>
                  <a:cubicBezTo>
                    <a:pt x="757733" y="180727"/>
                    <a:pt x="755411" y="180862"/>
                    <a:pt x="754401" y="180727"/>
                  </a:cubicBezTo>
                  <a:cubicBezTo>
                    <a:pt x="753392" y="180593"/>
                    <a:pt x="751372" y="181165"/>
                    <a:pt x="750766" y="181737"/>
                  </a:cubicBezTo>
                  <a:cubicBezTo>
                    <a:pt x="750194" y="182308"/>
                    <a:pt x="748310" y="182746"/>
                    <a:pt x="746122" y="183318"/>
                  </a:cubicBezTo>
                  <a:cubicBezTo>
                    <a:pt x="743968" y="183890"/>
                    <a:pt x="743800" y="185639"/>
                    <a:pt x="742218" y="186345"/>
                  </a:cubicBezTo>
                  <a:cubicBezTo>
                    <a:pt x="740603" y="187052"/>
                    <a:pt x="740165" y="186783"/>
                    <a:pt x="738314" y="187926"/>
                  </a:cubicBezTo>
                  <a:cubicBezTo>
                    <a:pt x="736430" y="189104"/>
                    <a:pt x="735555" y="190247"/>
                    <a:pt x="733098" y="191694"/>
                  </a:cubicBezTo>
                  <a:cubicBezTo>
                    <a:pt x="730641" y="193141"/>
                    <a:pt x="730641" y="191829"/>
                    <a:pt x="729631" y="191694"/>
                  </a:cubicBezTo>
                  <a:cubicBezTo>
                    <a:pt x="728622" y="191559"/>
                    <a:pt x="728319" y="191257"/>
                    <a:pt x="728050" y="190819"/>
                  </a:cubicBezTo>
                  <a:cubicBezTo>
                    <a:pt x="727780" y="190382"/>
                    <a:pt x="725021" y="189373"/>
                    <a:pt x="723708" y="188633"/>
                  </a:cubicBezTo>
                  <a:cubicBezTo>
                    <a:pt x="722429" y="187926"/>
                    <a:pt x="721251" y="187186"/>
                    <a:pt x="719939" y="186312"/>
                  </a:cubicBezTo>
                  <a:cubicBezTo>
                    <a:pt x="718626" y="185437"/>
                    <a:pt x="719064" y="184428"/>
                    <a:pt x="719064" y="183856"/>
                  </a:cubicBezTo>
                  <a:cubicBezTo>
                    <a:pt x="719064" y="183284"/>
                    <a:pt x="719198" y="181535"/>
                    <a:pt x="719501" y="181097"/>
                  </a:cubicBezTo>
                  <a:cubicBezTo>
                    <a:pt x="719804" y="180660"/>
                    <a:pt x="719636" y="176455"/>
                    <a:pt x="719636" y="175177"/>
                  </a:cubicBezTo>
                  <a:cubicBezTo>
                    <a:pt x="719636" y="173865"/>
                    <a:pt x="719636" y="172116"/>
                    <a:pt x="720074" y="170669"/>
                  </a:cubicBezTo>
                  <a:cubicBezTo>
                    <a:pt x="720511" y="169223"/>
                    <a:pt x="719939" y="167339"/>
                    <a:pt x="719939" y="167339"/>
                  </a:cubicBezTo>
                  <a:cubicBezTo>
                    <a:pt x="719939" y="167339"/>
                    <a:pt x="719939" y="165018"/>
                    <a:pt x="720074" y="164143"/>
                  </a:cubicBezTo>
                  <a:cubicBezTo>
                    <a:pt x="720208" y="163269"/>
                    <a:pt x="720074" y="161519"/>
                    <a:pt x="720074" y="161519"/>
                  </a:cubicBezTo>
                  <a:lnTo>
                    <a:pt x="720646" y="155565"/>
                  </a:lnTo>
                  <a:lnTo>
                    <a:pt x="720074" y="151797"/>
                  </a:lnTo>
                  <a:lnTo>
                    <a:pt x="720074" y="148602"/>
                  </a:lnTo>
                  <a:lnTo>
                    <a:pt x="718761" y="144094"/>
                  </a:lnTo>
                  <a:lnTo>
                    <a:pt x="717011" y="143219"/>
                  </a:lnTo>
                  <a:lnTo>
                    <a:pt x="713107" y="142076"/>
                  </a:lnTo>
                  <a:cubicBezTo>
                    <a:pt x="713107" y="142076"/>
                    <a:pt x="709338" y="141504"/>
                    <a:pt x="708765" y="141504"/>
                  </a:cubicBezTo>
                  <a:cubicBezTo>
                    <a:pt x="708193" y="141504"/>
                    <a:pt x="705299" y="142244"/>
                    <a:pt x="705299" y="142244"/>
                  </a:cubicBezTo>
                  <a:lnTo>
                    <a:pt x="702539" y="142244"/>
                  </a:lnTo>
                  <a:cubicBezTo>
                    <a:pt x="702539" y="142244"/>
                    <a:pt x="701395" y="143118"/>
                    <a:pt x="700352" y="143993"/>
                  </a:cubicBezTo>
                  <a:cubicBezTo>
                    <a:pt x="699342" y="144868"/>
                    <a:pt x="700352" y="143690"/>
                    <a:pt x="699208" y="145170"/>
                  </a:cubicBezTo>
                  <a:cubicBezTo>
                    <a:pt x="698063" y="146617"/>
                    <a:pt x="697895" y="146314"/>
                    <a:pt x="697054" y="147626"/>
                  </a:cubicBezTo>
                  <a:cubicBezTo>
                    <a:pt x="696179" y="148938"/>
                    <a:pt x="693587" y="149813"/>
                    <a:pt x="693587" y="149813"/>
                  </a:cubicBezTo>
                  <a:lnTo>
                    <a:pt x="690693" y="151562"/>
                  </a:lnTo>
                  <a:cubicBezTo>
                    <a:pt x="690693" y="151562"/>
                    <a:pt x="689549" y="151562"/>
                    <a:pt x="688068" y="154589"/>
                  </a:cubicBezTo>
                  <a:cubicBezTo>
                    <a:pt x="686621" y="157617"/>
                    <a:pt x="687799" y="157348"/>
                    <a:pt x="688203" y="159501"/>
                  </a:cubicBezTo>
                  <a:cubicBezTo>
                    <a:pt x="688640" y="161687"/>
                    <a:pt x="688068" y="161519"/>
                    <a:pt x="688068" y="162091"/>
                  </a:cubicBezTo>
                  <a:cubicBezTo>
                    <a:pt x="688068" y="162663"/>
                    <a:pt x="687058" y="163975"/>
                    <a:pt x="685746" y="166565"/>
                  </a:cubicBezTo>
                  <a:cubicBezTo>
                    <a:pt x="684433" y="169189"/>
                    <a:pt x="681977" y="167742"/>
                    <a:pt x="680529" y="167742"/>
                  </a:cubicBezTo>
                  <a:cubicBezTo>
                    <a:pt x="679082" y="167742"/>
                    <a:pt x="677063" y="166565"/>
                    <a:pt x="675178" y="165724"/>
                  </a:cubicBezTo>
                  <a:cubicBezTo>
                    <a:pt x="673294" y="164849"/>
                    <a:pt x="673597" y="163975"/>
                    <a:pt x="672284" y="162394"/>
                  </a:cubicBezTo>
                  <a:cubicBezTo>
                    <a:pt x="670971" y="160813"/>
                    <a:pt x="671409" y="158929"/>
                    <a:pt x="671409" y="158929"/>
                  </a:cubicBezTo>
                  <a:cubicBezTo>
                    <a:pt x="671409" y="158929"/>
                    <a:pt x="671409" y="155901"/>
                    <a:pt x="671274" y="155027"/>
                  </a:cubicBezTo>
                  <a:cubicBezTo>
                    <a:pt x="671140" y="154152"/>
                    <a:pt x="670837" y="151999"/>
                    <a:pt x="670837" y="151999"/>
                  </a:cubicBezTo>
                  <a:lnTo>
                    <a:pt x="670702" y="148097"/>
                  </a:lnTo>
                  <a:lnTo>
                    <a:pt x="671005" y="143758"/>
                  </a:lnTo>
                  <a:lnTo>
                    <a:pt x="676087" y="137534"/>
                  </a:lnTo>
                  <a:cubicBezTo>
                    <a:pt x="676087" y="137534"/>
                    <a:pt x="676087" y="137534"/>
                    <a:pt x="676524" y="137400"/>
                  </a:cubicBezTo>
                  <a:cubicBezTo>
                    <a:pt x="676962" y="137265"/>
                    <a:pt x="676962" y="134809"/>
                    <a:pt x="677669" y="134069"/>
                  </a:cubicBezTo>
                  <a:cubicBezTo>
                    <a:pt x="678409" y="133363"/>
                    <a:pt x="680260" y="131883"/>
                    <a:pt x="681741" y="131311"/>
                  </a:cubicBezTo>
                  <a:cubicBezTo>
                    <a:pt x="683188" y="130739"/>
                    <a:pt x="683053" y="130167"/>
                    <a:pt x="683053" y="130167"/>
                  </a:cubicBezTo>
                  <a:lnTo>
                    <a:pt x="688842" y="128283"/>
                  </a:lnTo>
                  <a:cubicBezTo>
                    <a:pt x="688842" y="128283"/>
                    <a:pt x="688539" y="126265"/>
                    <a:pt x="688707" y="125828"/>
                  </a:cubicBezTo>
                  <a:cubicBezTo>
                    <a:pt x="688842" y="125390"/>
                    <a:pt x="688842" y="123237"/>
                    <a:pt x="688842" y="123237"/>
                  </a:cubicBezTo>
                  <a:lnTo>
                    <a:pt x="689145" y="121353"/>
                  </a:lnTo>
                  <a:lnTo>
                    <a:pt x="691030" y="118326"/>
                  </a:lnTo>
                  <a:cubicBezTo>
                    <a:pt x="691030" y="118326"/>
                    <a:pt x="691030" y="118326"/>
                    <a:pt x="691332" y="117889"/>
                  </a:cubicBezTo>
                  <a:cubicBezTo>
                    <a:pt x="691635" y="117451"/>
                    <a:pt x="694530" y="116442"/>
                    <a:pt x="695236" y="116005"/>
                  </a:cubicBezTo>
                  <a:cubicBezTo>
                    <a:pt x="695943" y="115568"/>
                    <a:pt x="696852" y="114558"/>
                    <a:pt x="697693" y="113684"/>
                  </a:cubicBezTo>
                  <a:cubicBezTo>
                    <a:pt x="698568" y="112809"/>
                    <a:pt x="699578" y="111800"/>
                    <a:pt x="699578" y="111800"/>
                  </a:cubicBezTo>
                  <a:lnTo>
                    <a:pt x="701765" y="111228"/>
                  </a:lnTo>
                  <a:cubicBezTo>
                    <a:pt x="701765" y="111228"/>
                    <a:pt x="704222" y="109781"/>
                    <a:pt x="704660" y="109647"/>
                  </a:cubicBezTo>
                  <a:cubicBezTo>
                    <a:pt x="705097" y="109512"/>
                    <a:pt x="706241" y="107628"/>
                    <a:pt x="706241" y="107628"/>
                  </a:cubicBezTo>
                  <a:lnTo>
                    <a:pt x="706814" y="106047"/>
                  </a:lnTo>
                  <a:lnTo>
                    <a:pt x="707823" y="101405"/>
                  </a:lnTo>
                  <a:lnTo>
                    <a:pt x="708530" y="95888"/>
                  </a:lnTo>
                  <a:lnTo>
                    <a:pt x="705636" y="85157"/>
                  </a:lnTo>
                  <a:lnTo>
                    <a:pt x="706208" y="80818"/>
                  </a:lnTo>
                  <a:lnTo>
                    <a:pt x="706645" y="77050"/>
                  </a:lnTo>
                  <a:cubicBezTo>
                    <a:pt x="706645" y="77050"/>
                    <a:pt x="708665" y="74460"/>
                    <a:pt x="708833" y="74022"/>
                  </a:cubicBezTo>
                  <a:cubicBezTo>
                    <a:pt x="708967" y="73585"/>
                    <a:pt x="710583" y="71399"/>
                    <a:pt x="710583" y="71399"/>
                  </a:cubicBezTo>
                  <a:lnTo>
                    <a:pt x="712468" y="69380"/>
                  </a:lnTo>
                  <a:lnTo>
                    <a:pt x="714790" y="67799"/>
                  </a:lnTo>
                  <a:lnTo>
                    <a:pt x="716371" y="67059"/>
                  </a:lnTo>
                  <a:lnTo>
                    <a:pt x="717987" y="66353"/>
                  </a:lnTo>
                  <a:lnTo>
                    <a:pt x="719434" y="64166"/>
                  </a:lnTo>
                  <a:lnTo>
                    <a:pt x="721891" y="61542"/>
                  </a:lnTo>
                  <a:cubicBezTo>
                    <a:pt x="721891" y="61542"/>
                    <a:pt x="721891" y="58077"/>
                    <a:pt x="721891" y="57472"/>
                  </a:cubicBezTo>
                  <a:cubicBezTo>
                    <a:pt x="721891" y="56900"/>
                    <a:pt x="720511" y="55891"/>
                    <a:pt x="719939" y="55722"/>
                  </a:cubicBezTo>
                  <a:cubicBezTo>
                    <a:pt x="719367" y="55588"/>
                    <a:pt x="717549" y="54579"/>
                    <a:pt x="717549" y="54579"/>
                  </a:cubicBezTo>
                  <a:cubicBezTo>
                    <a:pt x="717549" y="54579"/>
                    <a:pt x="715833" y="54142"/>
                    <a:pt x="715227" y="54007"/>
                  </a:cubicBezTo>
                  <a:cubicBezTo>
                    <a:pt x="714655" y="53872"/>
                    <a:pt x="713040" y="54007"/>
                    <a:pt x="712468" y="54007"/>
                  </a:cubicBezTo>
                  <a:cubicBezTo>
                    <a:pt x="711895" y="54007"/>
                    <a:pt x="710145" y="53872"/>
                    <a:pt x="710145" y="53872"/>
                  </a:cubicBezTo>
                  <a:cubicBezTo>
                    <a:pt x="710145" y="53872"/>
                    <a:pt x="706814" y="54175"/>
                    <a:pt x="706241" y="54310"/>
                  </a:cubicBezTo>
                  <a:cubicBezTo>
                    <a:pt x="705669" y="54444"/>
                    <a:pt x="704222" y="54747"/>
                    <a:pt x="704222" y="54747"/>
                  </a:cubicBezTo>
                  <a:cubicBezTo>
                    <a:pt x="704222" y="54747"/>
                    <a:pt x="702472" y="55622"/>
                    <a:pt x="701025" y="55891"/>
                  </a:cubicBezTo>
                  <a:cubicBezTo>
                    <a:pt x="699578" y="56193"/>
                    <a:pt x="698703" y="55151"/>
                    <a:pt x="698265" y="55016"/>
                  </a:cubicBezTo>
                  <a:cubicBezTo>
                    <a:pt x="697828" y="54881"/>
                    <a:pt x="696953" y="52560"/>
                    <a:pt x="696381" y="52392"/>
                  </a:cubicBezTo>
                  <a:cubicBezTo>
                    <a:pt x="695808" y="52258"/>
                    <a:pt x="694933" y="50206"/>
                    <a:pt x="694933" y="50206"/>
                  </a:cubicBezTo>
                  <a:lnTo>
                    <a:pt x="693789" y="48456"/>
                  </a:lnTo>
                  <a:lnTo>
                    <a:pt x="693520" y="44823"/>
                  </a:lnTo>
                  <a:cubicBezTo>
                    <a:pt x="693520" y="44823"/>
                    <a:pt x="694664" y="41056"/>
                    <a:pt x="695102" y="40484"/>
                  </a:cubicBezTo>
                  <a:cubicBezTo>
                    <a:pt x="695539" y="39912"/>
                    <a:pt x="696549" y="38600"/>
                    <a:pt x="697121" y="37591"/>
                  </a:cubicBezTo>
                  <a:cubicBezTo>
                    <a:pt x="697693" y="36582"/>
                    <a:pt x="697559" y="36413"/>
                    <a:pt x="698131" y="35572"/>
                  </a:cubicBezTo>
                  <a:cubicBezTo>
                    <a:pt x="698703" y="34698"/>
                    <a:pt x="700285" y="33251"/>
                    <a:pt x="700285" y="32511"/>
                  </a:cubicBezTo>
                  <a:cubicBezTo>
                    <a:pt x="700285" y="31805"/>
                    <a:pt x="700285" y="31637"/>
                    <a:pt x="700015" y="31065"/>
                  </a:cubicBezTo>
                  <a:cubicBezTo>
                    <a:pt x="699712" y="30493"/>
                    <a:pt x="699712" y="28474"/>
                    <a:pt x="699578" y="28037"/>
                  </a:cubicBezTo>
                  <a:cubicBezTo>
                    <a:pt x="699443" y="27600"/>
                    <a:pt x="699140" y="26153"/>
                    <a:pt x="699275" y="25279"/>
                  </a:cubicBezTo>
                  <a:cubicBezTo>
                    <a:pt x="699410" y="24404"/>
                    <a:pt x="700150" y="22251"/>
                    <a:pt x="700150" y="22251"/>
                  </a:cubicBezTo>
                  <a:lnTo>
                    <a:pt x="701025" y="18046"/>
                  </a:lnTo>
                  <a:lnTo>
                    <a:pt x="701025" y="14144"/>
                  </a:lnTo>
                  <a:cubicBezTo>
                    <a:pt x="701025" y="14144"/>
                    <a:pt x="700217" y="12126"/>
                    <a:pt x="699510" y="11957"/>
                  </a:cubicBezTo>
                  <a:cubicBezTo>
                    <a:pt x="698770" y="11823"/>
                    <a:pt x="697996" y="9367"/>
                    <a:pt x="696852" y="8930"/>
                  </a:cubicBezTo>
                  <a:cubicBezTo>
                    <a:pt x="695707" y="8493"/>
                    <a:pt x="693789" y="6306"/>
                    <a:pt x="693789" y="6306"/>
                  </a:cubicBezTo>
                  <a:cubicBezTo>
                    <a:pt x="693789" y="6306"/>
                    <a:pt x="690592" y="7046"/>
                    <a:pt x="690020" y="7181"/>
                  </a:cubicBezTo>
                  <a:cubicBezTo>
                    <a:pt x="689448" y="7315"/>
                    <a:pt x="688573" y="8324"/>
                    <a:pt x="688270" y="8930"/>
                  </a:cubicBezTo>
                  <a:cubicBezTo>
                    <a:pt x="687967" y="9502"/>
                    <a:pt x="684669" y="9064"/>
                    <a:pt x="684669" y="9064"/>
                  </a:cubicBezTo>
                  <a:lnTo>
                    <a:pt x="678712" y="6609"/>
                  </a:lnTo>
                  <a:cubicBezTo>
                    <a:pt x="678712" y="6609"/>
                    <a:pt x="677399" y="4859"/>
                    <a:pt x="676524" y="4590"/>
                  </a:cubicBezTo>
                  <a:cubicBezTo>
                    <a:pt x="675649" y="4288"/>
                    <a:pt x="673495" y="2572"/>
                    <a:pt x="673495" y="2572"/>
                  </a:cubicBezTo>
                  <a:cubicBezTo>
                    <a:pt x="673495" y="2572"/>
                    <a:pt x="671611" y="688"/>
                    <a:pt x="670601" y="116"/>
                  </a:cubicBezTo>
                  <a:cubicBezTo>
                    <a:pt x="669592" y="-456"/>
                    <a:pt x="669289" y="1260"/>
                    <a:pt x="668582" y="1428"/>
                  </a:cubicBezTo>
                  <a:cubicBezTo>
                    <a:pt x="667875" y="1563"/>
                    <a:pt x="668582" y="1428"/>
                    <a:pt x="668010" y="2303"/>
                  </a:cubicBezTo>
                  <a:cubicBezTo>
                    <a:pt x="667438" y="3177"/>
                    <a:pt x="666697" y="3615"/>
                    <a:pt x="666697" y="4759"/>
                  </a:cubicBezTo>
                  <a:cubicBezTo>
                    <a:pt x="666697" y="5902"/>
                    <a:pt x="665822" y="6777"/>
                    <a:pt x="665519" y="8089"/>
                  </a:cubicBezTo>
                  <a:cubicBezTo>
                    <a:pt x="665216" y="9401"/>
                    <a:pt x="664947" y="9535"/>
                    <a:pt x="664813" y="10107"/>
                  </a:cubicBezTo>
                  <a:cubicBezTo>
                    <a:pt x="664678" y="10679"/>
                    <a:pt x="663500" y="11856"/>
                    <a:pt x="663063" y="12294"/>
                  </a:cubicBezTo>
                  <a:cubicBezTo>
                    <a:pt x="662625" y="12731"/>
                    <a:pt x="661043" y="14178"/>
                    <a:pt x="659865" y="14312"/>
                  </a:cubicBezTo>
                  <a:cubicBezTo>
                    <a:pt x="658721" y="14447"/>
                    <a:pt x="654514" y="14749"/>
                    <a:pt x="654077" y="14615"/>
                  </a:cubicBezTo>
                  <a:cubicBezTo>
                    <a:pt x="653639" y="14480"/>
                    <a:pt x="652461" y="13740"/>
                    <a:pt x="651889" y="13606"/>
                  </a:cubicBezTo>
                  <a:cubicBezTo>
                    <a:pt x="651317" y="13471"/>
                    <a:pt x="646538" y="8257"/>
                    <a:pt x="646538" y="8257"/>
                  </a:cubicBezTo>
                  <a:lnTo>
                    <a:pt x="644519" y="6811"/>
                  </a:lnTo>
                  <a:lnTo>
                    <a:pt x="641322" y="6811"/>
                  </a:lnTo>
                  <a:lnTo>
                    <a:pt x="637687" y="8627"/>
                  </a:lnTo>
                  <a:lnTo>
                    <a:pt x="629711" y="9569"/>
                  </a:lnTo>
                  <a:cubicBezTo>
                    <a:pt x="629711" y="9569"/>
                    <a:pt x="628971" y="12462"/>
                    <a:pt x="628836" y="14346"/>
                  </a:cubicBezTo>
                  <a:cubicBezTo>
                    <a:pt x="628701" y="16230"/>
                    <a:pt x="627523" y="16936"/>
                    <a:pt x="627389" y="17811"/>
                  </a:cubicBezTo>
                  <a:cubicBezTo>
                    <a:pt x="627254" y="18685"/>
                    <a:pt x="624494" y="20266"/>
                    <a:pt x="623922" y="20838"/>
                  </a:cubicBezTo>
                  <a:cubicBezTo>
                    <a:pt x="623350" y="21410"/>
                    <a:pt x="621600" y="22722"/>
                    <a:pt x="620288" y="22857"/>
                  </a:cubicBezTo>
                  <a:cubicBezTo>
                    <a:pt x="618975" y="22991"/>
                    <a:pt x="618840" y="24741"/>
                    <a:pt x="617965" y="25480"/>
                  </a:cubicBezTo>
                  <a:cubicBezTo>
                    <a:pt x="617090" y="26221"/>
                    <a:pt x="616821" y="26221"/>
                    <a:pt x="616081" y="26490"/>
                  </a:cubicBezTo>
                  <a:cubicBezTo>
                    <a:pt x="615374" y="26792"/>
                    <a:pt x="614499" y="27633"/>
                    <a:pt x="613893" y="27936"/>
                  </a:cubicBezTo>
                  <a:cubicBezTo>
                    <a:pt x="613321" y="28239"/>
                    <a:pt x="612749" y="29248"/>
                    <a:pt x="612143" y="29685"/>
                  </a:cubicBezTo>
                  <a:cubicBezTo>
                    <a:pt x="611571" y="30123"/>
                    <a:pt x="610831" y="31267"/>
                    <a:pt x="610561" y="32444"/>
                  </a:cubicBezTo>
                  <a:cubicBezTo>
                    <a:pt x="610259" y="33588"/>
                    <a:pt x="609686" y="35202"/>
                    <a:pt x="609686" y="35640"/>
                  </a:cubicBezTo>
                  <a:cubicBezTo>
                    <a:pt x="609686" y="36077"/>
                    <a:pt x="608239" y="37658"/>
                    <a:pt x="608239" y="38095"/>
                  </a:cubicBezTo>
                  <a:cubicBezTo>
                    <a:pt x="608239" y="38533"/>
                    <a:pt x="607667" y="41998"/>
                    <a:pt x="607364" y="43007"/>
                  </a:cubicBezTo>
                  <a:cubicBezTo>
                    <a:pt x="607061" y="44016"/>
                    <a:pt x="605648" y="45328"/>
                    <a:pt x="605648" y="45328"/>
                  </a:cubicBezTo>
                  <a:cubicBezTo>
                    <a:pt x="605648" y="45328"/>
                    <a:pt x="603629" y="45900"/>
                    <a:pt x="602451" y="45631"/>
                  </a:cubicBezTo>
                  <a:cubicBezTo>
                    <a:pt x="601306" y="45328"/>
                    <a:pt x="601004" y="43612"/>
                    <a:pt x="600566" y="43040"/>
                  </a:cubicBezTo>
                  <a:cubicBezTo>
                    <a:pt x="600129" y="42468"/>
                    <a:pt x="599556" y="41022"/>
                    <a:pt x="599388" y="40585"/>
                  </a:cubicBezTo>
                  <a:cubicBezTo>
                    <a:pt x="599220" y="40147"/>
                    <a:pt x="598076" y="38701"/>
                    <a:pt x="598076" y="38701"/>
                  </a:cubicBezTo>
                  <a:lnTo>
                    <a:pt x="594609" y="37254"/>
                  </a:lnTo>
                  <a:lnTo>
                    <a:pt x="592724" y="37389"/>
                  </a:lnTo>
                  <a:lnTo>
                    <a:pt x="591580" y="38970"/>
                  </a:lnTo>
                  <a:cubicBezTo>
                    <a:pt x="591580" y="38970"/>
                    <a:pt x="586667" y="41426"/>
                    <a:pt x="586061" y="41426"/>
                  </a:cubicBezTo>
                  <a:cubicBezTo>
                    <a:pt x="585489" y="41426"/>
                    <a:pt x="583873" y="38667"/>
                    <a:pt x="583604" y="38230"/>
                  </a:cubicBezTo>
                  <a:cubicBezTo>
                    <a:pt x="583301" y="37793"/>
                    <a:pt x="582729" y="33722"/>
                    <a:pt x="582729" y="33722"/>
                  </a:cubicBezTo>
                  <a:lnTo>
                    <a:pt x="582729" y="27062"/>
                  </a:lnTo>
                  <a:lnTo>
                    <a:pt x="574181" y="23866"/>
                  </a:lnTo>
                  <a:lnTo>
                    <a:pt x="571859" y="22857"/>
                  </a:lnTo>
                  <a:lnTo>
                    <a:pt x="567080" y="24606"/>
                  </a:lnTo>
                  <a:cubicBezTo>
                    <a:pt x="567080" y="24606"/>
                    <a:pt x="562301" y="28811"/>
                    <a:pt x="561863" y="29080"/>
                  </a:cubicBezTo>
                  <a:cubicBezTo>
                    <a:pt x="561426" y="29383"/>
                    <a:pt x="560685" y="29955"/>
                    <a:pt x="560281" y="31401"/>
                  </a:cubicBezTo>
                  <a:cubicBezTo>
                    <a:pt x="559844" y="32848"/>
                    <a:pt x="560113" y="36313"/>
                    <a:pt x="560281" y="37860"/>
                  </a:cubicBezTo>
                  <a:cubicBezTo>
                    <a:pt x="560416" y="39407"/>
                    <a:pt x="559272" y="40215"/>
                    <a:pt x="559272" y="40215"/>
                  </a:cubicBezTo>
                  <a:cubicBezTo>
                    <a:pt x="559272" y="40215"/>
                    <a:pt x="558128" y="41089"/>
                    <a:pt x="557690" y="41527"/>
                  </a:cubicBezTo>
                  <a:cubicBezTo>
                    <a:pt x="557253" y="41964"/>
                    <a:pt x="555671" y="43848"/>
                    <a:pt x="554055" y="45429"/>
                  </a:cubicBezTo>
                  <a:cubicBezTo>
                    <a:pt x="553752" y="45732"/>
                    <a:pt x="553618" y="45866"/>
                    <a:pt x="553483" y="46001"/>
                  </a:cubicBezTo>
                  <a:cubicBezTo>
                    <a:pt x="553248" y="46976"/>
                    <a:pt x="553517" y="50273"/>
                    <a:pt x="553887" y="50643"/>
                  </a:cubicBezTo>
                  <a:cubicBezTo>
                    <a:pt x="554325" y="51080"/>
                    <a:pt x="554156" y="51518"/>
                    <a:pt x="554156" y="51518"/>
                  </a:cubicBezTo>
                  <a:cubicBezTo>
                    <a:pt x="554156" y="51518"/>
                    <a:pt x="554291" y="52527"/>
                    <a:pt x="555334" y="53704"/>
                  </a:cubicBezTo>
                  <a:cubicBezTo>
                    <a:pt x="555704" y="54142"/>
                    <a:pt x="555906" y="54310"/>
                    <a:pt x="556007" y="54377"/>
                  </a:cubicBezTo>
                  <a:cubicBezTo>
                    <a:pt x="555806" y="54814"/>
                    <a:pt x="554964" y="56429"/>
                    <a:pt x="554459" y="57304"/>
                  </a:cubicBezTo>
                  <a:cubicBezTo>
                    <a:pt x="553887" y="58313"/>
                    <a:pt x="552877" y="57741"/>
                    <a:pt x="552272" y="58178"/>
                  </a:cubicBezTo>
                  <a:cubicBezTo>
                    <a:pt x="551700" y="58616"/>
                    <a:pt x="548940" y="58616"/>
                    <a:pt x="547190" y="58616"/>
                  </a:cubicBezTo>
                  <a:cubicBezTo>
                    <a:pt x="545440" y="58616"/>
                    <a:pt x="541401" y="57304"/>
                    <a:pt x="540829" y="57304"/>
                  </a:cubicBezTo>
                  <a:cubicBezTo>
                    <a:pt x="540257" y="57304"/>
                    <a:pt x="538069" y="53671"/>
                    <a:pt x="538069" y="53671"/>
                  </a:cubicBezTo>
                  <a:cubicBezTo>
                    <a:pt x="538069" y="53671"/>
                    <a:pt x="539517" y="51080"/>
                    <a:pt x="539954" y="50912"/>
                  </a:cubicBezTo>
                  <a:cubicBezTo>
                    <a:pt x="540392" y="50778"/>
                    <a:pt x="544868" y="47010"/>
                    <a:pt x="544868" y="47010"/>
                  </a:cubicBezTo>
                  <a:lnTo>
                    <a:pt x="543993" y="43680"/>
                  </a:lnTo>
                  <a:lnTo>
                    <a:pt x="538473" y="41493"/>
                  </a:lnTo>
                  <a:cubicBezTo>
                    <a:pt x="538473" y="41493"/>
                    <a:pt x="536454" y="39172"/>
                    <a:pt x="535848" y="39306"/>
                  </a:cubicBezTo>
                  <a:cubicBezTo>
                    <a:pt x="535276" y="39441"/>
                    <a:pt x="532819" y="41190"/>
                    <a:pt x="531507" y="41493"/>
                  </a:cubicBezTo>
                  <a:cubicBezTo>
                    <a:pt x="530194" y="41796"/>
                    <a:pt x="526997" y="41627"/>
                    <a:pt x="526997" y="41627"/>
                  </a:cubicBezTo>
                  <a:lnTo>
                    <a:pt x="524540" y="40753"/>
                  </a:lnTo>
                  <a:lnTo>
                    <a:pt x="523665" y="37995"/>
                  </a:lnTo>
                  <a:cubicBezTo>
                    <a:pt x="523665" y="37995"/>
                    <a:pt x="519761" y="37557"/>
                    <a:pt x="519189" y="37995"/>
                  </a:cubicBezTo>
                  <a:cubicBezTo>
                    <a:pt x="518617" y="38432"/>
                    <a:pt x="516598" y="37995"/>
                    <a:pt x="516598" y="37995"/>
                  </a:cubicBezTo>
                  <a:lnTo>
                    <a:pt x="514276" y="39138"/>
                  </a:lnTo>
                  <a:cubicBezTo>
                    <a:pt x="514276" y="39138"/>
                    <a:pt x="513973" y="45227"/>
                    <a:pt x="513973" y="46371"/>
                  </a:cubicBezTo>
                  <a:cubicBezTo>
                    <a:pt x="513973" y="47548"/>
                    <a:pt x="512357" y="48557"/>
                    <a:pt x="511785" y="49129"/>
                  </a:cubicBezTo>
                  <a:cubicBezTo>
                    <a:pt x="511213" y="49701"/>
                    <a:pt x="510170" y="50878"/>
                    <a:pt x="508891" y="52325"/>
                  </a:cubicBezTo>
                  <a:cubicBezTo>
                    <a:pt x="507578" y="53772"/>
                    <a:pt x="507006" y="55218"/>
                    <a:pt x="506737" y="55790"/>
                  </a:cubicBezTo>
                  <a:cubicBezTo>
                    <a:pt x="506434" y="56362"/>
                    <a:pt x="505727" y="58111"/>
                    <a:pt x="505593" y="58986"/>
                  </a:cubicBezTo>
                  <a:cubicBezTo>
                    <a:pt x="505458" y="59860"/>
                    <a:pt x="505155" y="60432"/>
                    <a:pt x="505021" y="60869"/>
                  </a:cubicBezTo>
                  <a:cubicBezTo>
                    <a:pt x="504886" y="61307"/>
                    <a:pt x="503136" y="62181"/>
                    <a:pt x="502698" y="62181"/>
                  </a:cubicBezTo>
                  <a:cubicBezTo>
                    <a:pt x="502261" y="62181"/>
                    <a:pt x="501386" y="63056"/>
                    <a:pt x="501386" y="64065"/>
                  </a:cubicBezTo>
                  <a:cubicBezTo>
                    <a:pt x="501386" y="65074"/>
                    <a:pt x="501689" y="64940"/>
                    <a:pt x="501689" y="64940"/>
                  </a:cubicBezTo>
                  <a:cubicBezTo>
                    <a:pt x="501689" y="64940"/>
                    <a:pt x="502698" y="66824"/>
                    <a:pt x="503439" y="66958"/>
                  </a:cubicBezTo>
                  <a:cubicBezTo>
                    <a:pt x="504146" y="67093"/>
                    <a:pt x="503574" y="67967"/>
                    <a:pt x="503574" y="67967"/>
                  </a:cubicBezTo>
                  <a:lnTo>
                    <a:pt x="503708" y="70154"/>
                  </a:lnTo>
                  <a:lnTo>
                    <a:pt x="502698" y="70591"/>
                  </a:lnTo>
                  <a:lnTo>
                    <a:pt x="501386" y="73350"/>
                  </a:lnTo>
                  <a:cubicBezTo>
                    <a:pt x="501386" y="73350"/>
                    <a:pt x="499198" y="73787"/>
                    <a:pt x="498357" y="73787"/>
                  </a:cubicBezTo>
                  <a:cubicBezTo>
                    <a:pt x="497482" y="73787"/>
                    <a:pt x="495900" y="73484"/>
                    <a:pt x="494722" y="73215"/>
                  </a:cubicBezTo>
                  <a:cubicBezTo>
                    <a:pt x="493578" y="72912"/>
                    <a:pt x="492266" y="72778"/>
                    <a:pt x="491088" y="72778"/>
                  </a:cubicBezTo>
                  <a:cubicBezTo>
                    <a:pt x="489943" y="72778"/>
                    <a:pt x="489371" y="72206"/>
                    <a:pt x="488765" y="72038"/>
                  </a:cubicBezTo>
                  <a:cubicBezTo>
                    <a:pt x="488193" y="71903"/>
                    <a:pt x="486881" y="71028"/>
                    <a:pt x="486881" y="71028"/>
                  </a:cubicBezTo>
                  <a:lnTo>
                    <a:pt x="484996" y="69145"/>
                  </a:lnTo>
                  <a:lnTo>
                    <a:pt x="482809" y="66386"/>
                  </a:lnTo>
                  <a:lnTo>
                    <a:pt x="482102" y="64940"/>
                  </a:lnTo>
                  <a:lnTo>
                    <a:pt x="480924" y="64065"/>
                  </a:lnTo>
                  <a:cubicBezTo>
                    <a:pt x="480924" y="64065"/>
                    <a:pt x="479174" y="64065"/>
                    <a:pt x="478770" y="64065"/>
                  </a:cubicBezTo>
                  <a:cubicBezTo>
                    <a:pt x="478333" y="64065"/>
                    <a:pt x="477323" y="64368"/>
                    <a:pt x="476717" y="64637"/>
                  </a:cubicBezTo>
                  <a:cubicBezTo>
                    <a:pt x="476145" y="64940"/>
                    <a:pt x="476010" y="65209"/>
                    <a:pt x="475135" y="65512"/>
                  </a:cubicBezTo>
                  <a:cubicBezTo>
                    <a:pt x="474260" y="65814"/>
                    <a:pt x="473251" y="66655"/>
                    <a:pt x="472376" y="67261"/>
                  </a:cubicBezTo>
                  <a:cubicBezTo>
                    <a:pt x="471501" y="67833"/>
                    <a:pt x="470929" y="68136"/>
                    <a:pt x="470929" y="68136"/>
                  </a:cubicBezTo>
                  <a:cubicBezTo>
                    <a:pt x="470929" y="68136"/>
                    <a:pt x="467159" y="70154"/>
                    <a:pt x="466587" y="70457"/>
                  </a:cubicBezTo>
                  <a:cubicBezTo>
                    <a:pt x="466015" y="70760"/>
                    <a:pt x="465005" y="71601"/>
                    <a:pt x="464433" y="71769"/>
                  </a:cubicBezTo>
                  <a:cubicBezTo>
                    <a:pt x="463861" y="71903"/>
                    <a:pt x="463121" y="72340"/>
                    <a:pt x="462851" y="72778"/>
                  </a:cubicBezTo>
                  <a:cubicBezTo>
                    <a:pt x="462549" y="73215"/>
                    <a:pt x="461842" y="73652"/>
                    <a:pt x="461404" y="74090"/>
                  </a:cubicBezTo>
                  <a:cubicBezTo>
                    <a:pt x="460967" y="74527"/>
                    <a:pt x="460395" y="75233"/>
                    <a:pt x="459957" y="75402"/>
                  </a:cubicBezTo>
                  <a:cubicBezTo>
                    <a:pt x="459520" y="75536"/>
                    <a:pt x="459217" y="77151"/>
                    <a:pt x="459217" y="77151"/>
                  </a:cubicBezTo>
                  <a:lnTo>
                    <a:pt x="459217" y="78463"/>
                  </a:lnTo>
                  <a:lnTo>
                    <a:pt x="461034" y="79035"/>
                  </a:lnTo>
                  <a:lnTo>
                    <a:pt x="462986" y="78732"/>
                  </a:lnTo>
                  <a:cubicBezTo>
                    <a:pt x="462986" y="78732"/>
                    <a:pt x="465746" y="77857"/>
                    <a:pt x="466621" y="77857"/>
                  </a:cubicBezTo>
                  <a:cubicBezTo>
                    <a:pt x="467496" y="77857"/>
                    <a:pt x="470255" y="78564"/>
                    <a:pt x="470828" y="78867"/>
                  </a:cubicBezTo>
                  <a:cubicBezTo>
                    <a:pt x="471400" y="79169"/>
                    <a:pt x="471703" y="81457"/>
                    <a:pt x="471703" y="81457"/>
                  </a:cubicBezTo>
                  <a:lnTo>
                    <a:pt x="471837" y="84484"/>
                  </a:lnTo>
                  <a:cubicBezTo>
                    <a:pt x="471837" y="84484"/>
                    <a:pt x="471097" y="87243"/>
                    <a:pt x="470659" y="88689"/>
                  </a:cubicBezTo>
                  <a:cubicBezTo>
                    <a:pt x="470222" y="90136"/>
                    <a:pt x="469347" y="91448"/>
                    <a:pt x="468909" y="91717"/>
                  </a:cubicBezTo>
                  <a:cubicBezTo>
                    <a:pt x="468472" y="92020"/>
                    <a:pt x="467765" y="92289"/>
                    <a:pt x="467765" y="92289"/>
                  </a:cubicBezTo>
                  <a:cubicBezTo>
                    <a:pt x="467765" y="92289"/>
                    <a:pt x="464568" y="95485"/>
                    <a:pt x="463861" y="96494"/>
                  </a:cubicBezTo>
                  <a:cubicBezTo>
                    <a:pt x="463121" y="97503"/>
                    <a:pt x="459351" y="96628"/>
                    <a:pt x="458510" y="96931"/>
                  </a:cubicBezTo>
                  <a:cubicBezTo>
                    <a:pt x="457635" y="97234"/>
                    <a:pt x="454034" y="96797"/>
                    <a:pt x="454034" y="96797"/>
                  </a:cubicBezTo>
                  <a:cubicBezTo>
                    <a:pt x="454034" y="96797"/>
                    <a:pt x="449524" y="93163"/>
                    <a:pt x="449390" y="92322"/>
                  </a:cubicBezTo>
                  <a:cubicBezTo>
                    <a:pt x="449255" y="91448"/>
                    <a:pt x="449524" y="88252"/>
                    <a:pt x="449524" y="88252"/>
                  </a:cubicBezTo>
                  <a:lnTo>
                    <a:pt x="448212" y="85796"/>
                  </a:lnTo>
                  <a:lnTo>
                    <a:pt x="445317" y="84484"/>
                  </a:lnTo>
                  <a:lnTo>
                    <a:pt x="443433" y="85359"/>
                  </a:lnTo>
                  <a:cubicBezTo>
                    <a:pt x="443433" y="85359"/>
                    <a:pt x="442726" y="85796"/>
                    <a:pt x="442120" y="86099"/>
                  </a:cubicBezTo>
                  <a:cubicBezTo>
                    <a:pt x="441548" y="86402"/>
                    <a:pt x="436904" y="91448"/>
                    <a:pt x="436769" y="92020"/>
                  </a:cubicBezTo>
                  <a:cubicBezTo>
                    <a:pt x="436635" y="92592"/>
                    <a:pt x="436635" y="95922"/>
                    <a:pt x="436635" y="95922"/>
                  </a:cubicBezTo>
                  <a:lnTo>
                    <a:pt x="433875" y="98243"/>
                  </a:lnTo>
                  <a:cubicBezTo>
                    <a:pt x="433875" y="98243"/>
                    <a:pt x="432125" y="99690"/>
                    <a:pt x="431687" y="100261"/>
                  </a:cubicBezTo>
                  <a:cubicBezTo>
                    <a:pt x="431250" y="100833"/>
                    <a:pt x="430375" y="101842"/>
                    <a:pt x="429937" y="102448"/>
                  </a:cubicBezTo>
                  <a:cubicBezTo>
                    <a:pt x="429500" y="103020"/>
                    <a:pt x="429634" y="106653"/>
                    <a:pt x="429634" y="106653"/>
                  </a:cubicBezTo>
                  <a:lnTo>
                    <a:pt x="429634" y="109714"/>
                  </a:lnTo>
                  <a:lnTo>
                    <a:pt x="429769" y="112035"/>
                  </a:lnTo>
                  <a:lnTo>
                    <a:pt x="429197" y="115803"/>
                  </a:lnTo>
                  <a:lnTo>
                    <a:pt x="428322" y="118427"/>
                  </a:lnTo>
                  <a:lnTo>
                    <a:pt x="425562" y="118999"/>
                  </a:lnTo>
                  <a:lnTo>
                    <a:pt x="424250" y="118427"/>
                  </a:lnTo>
                  <a:lnTo>
                    <a:pt x="421793" y="114659"/>
                  </a:lnTo>
                  <a:lnTo>
                    <a:pt x="420783" y="111463"/>
                  </a:lnTo>
                  <a:cubicBezTo>
                    <a:pt x="420783" y="111463"/>
                    <a:pt x="417889" y="109714"/>
                    <a:pt x="417149" y="109580"/>
                  </a:cubicBezTo>
                  <a:cubicBezTo>
                    <a:pt x="416442" y="109445"/>
                    <a:pt x="414389" y="106821"/>
                    <a:pt x="414389" y="106821"/>
                  </a:cubicBezTo>
                  <a:lnTo>
                    <a:pt x="408735" y="102919"/>
                  </a:lnTo>
                  <a:lnTo>
                    <a:pt x="403216" y="99017"/>
                  </a:lnTo>
                  <a:lnTo>
                    <a:pt x="398302" y="96258"/>
                  </a:lnTo>
                  <a:lnTo>
                    <a:pt x="390898" y="99454"/>
                  </a:lnTo>
                  <a:lnTo>
                    <a:pt x="385681" y="103962"/>
                  </a:lnTo>
                  <a:lnTo>
                    <a:pt x="382484" y="108739"/>
                  </a:lnTo>
                  <a:lnTo>
                    <a:pt x="381172" y="110925"/>
                  </a:lnTo>
                  <a:cubicBezTo>
                    <a:pt x="381172" y="110925"/>
                    <a:pt x="379994" y="115130"/>
                    <a:pt x="379994" y="116005"/>
                  </a:cubicBezTo>
                  <a:cubicBezTo>
                    <a:pt x="379994" y="116879"/>
                    <a:pt x="380129" y="119772"/>
                    <a:pt x="380129" y="119772"/>
                  </a:cubicBezTo>
                  <a:cubicBezTo>
                    <a:pt x="380129" y="119772"/>
                    <a:pt x="381138" y="123237"/>
                    <a:pt x="381138" y="124280"/>
                  </a:cubicBezTo>
                  <a:cubicBezTo>
                    <a:pt x="381138" y="125289"/>
                    <a:pt x="380701" y="127308"/>
                    <a:pt x="380263" y="127913"/>
                  </a:cubicBezTo>
                  <a:cubicBezTo>
                    <a:pt x="379826" y="128485"/>
                    <a:pt x="378076" y="130672"/>
                    <a:pt x="376359" y="131378"/>
                  </a:cubicBezTo>
                  <a:cubicBezTo>
                    <a:pt x="374609" y="132085"/>
                    <a:pt x="373465" y="134406"/>
                    <a:pt x="373027" y="134574"/>
                  </a:cubicBezTo>
                  <a:cubicBezTo>
                    <a:pt x="372590" y="134708"/>
                    <a:pt x="370571" y="136155"/>
                    <a:pt x="367373" y="136458"/>
                  </a:cubicBezTo>
                  <a:cubicBezTo>
                    <a:pt x="364176" y="136760"/>
                    <a:pt x="364176" y="137030"/>
                    <a:pt x="361585" y="137198"/>
                  </a:cubicBezTo>
                  <a:cubicBezTo>
                    <a:pt x="358960" y="137332"/>
                    <a:pt x="356368" y="138207"/>
                    <a:pt x="354921" y="138510"/>
                  </a:cubicBezTo>
                  <a:cubicBezTo>
                    <a:pt x="353474" y="138812"/>
                    <a:pt x="351892" y="139216"/>
                    <a:pt x="351455" y="139216"/>
                  </a:cubicBezTo>
                  <a:cubicBezTo>
                    <a:pt x="351017" y="139216"/>
                    <a:pt x="348695" y="138779"/>
                    <a:pt x="348258" y="138644"/>
                  </a:cubicBezTo>
                  <a:cubicBezTo>
                    <a:pt x="347820" y="138510"/>
                    <a:pt x="344488" y="137500"/>
                    <a:pt x="343613" y="137063"/>
                  </a:cubicBezTo>
                  <a:cubicBezTo>
                    <a:pt x="342738" y="136626"/>
                    <a:pt x="341022" y="136189"/>
                    <a:pt x="340281" y="135751"/>
                  </a:cubicBezTo>
                  <a:cubicBezTo>
                    <a:pt x="339575" y="135314"/>
                    <a:pt x="337690" y="131849"/>
                    <a:pt x="337690" y="131849"/>
                  </a:cubicBezTo>
                  <a:lnTo>
                    <a:pt x="336108" y="128216"/>
                  </a:lnTo>
                  <a:cubicBezTo>
                    <a:pt x="336108" y="128216"/>
                    <a:pt x="335536" y="124886"/>
                    <a:pt x="335233" y="124314"/>
                  </a:cubicBezTo>
                  <a:cubicBezTo>
                    <a:pt x="334930" y="123742"/>
                    <a:pt x="329579" y="121993"/>
                    <a:pt x="329579" y="121993"/>
                  </a:cubicBezTo>
                  <a:lnTo>
                    <a:pt x="328132" y="122867"/>
                  </a:lnTo>
                  <a:cubicBezTo>
                    <a:pt x="328132" y="122867"/>
                    <a:pt x="326550" y="125054"/>
                    <a:pt x="325541" y="125626"/>
                  </a:cubicBezTo>
                  <a:cubicBezTo>
                    <a:pt x="324531" y="126198"/>
                    <a:pt x="323353" y="127072"/>
                    <a:pt x="321637" y="127644"/>
                  </a:cubicBezTo>
                  <a:cubicBezTo>
                    <a:pt x="319887" y="128216"/>
                    <a:pt x="318743" y="128081"/>
                    <a:pt x="318743" y="128081"/>
                  </a:cubicBezTo>
                  <a:cubicBezTo>
                    <a:pt x="318743" y="128081"/>
                    <a:pt x="315714" y="128519"/>
                    <a:pt x="315108" y="128519"/>
                  </a:cubicBezTo>
                  <a:cubicBezTo>
                    <a:pt x="314536" y="128519"/>
                    <a:pt x="311473" y="127644"/>
                    <a:pt x="311473" y="127644"/>
                  </a:cubicBezTo>
                  <a:lnTo>
                    <a:pt x="308579" y="122733"/>
                  </a:lnTo>
                  <a:lnTo>
                    <a:pt x="308713" y="116779"/>
                  </a:lnTo>
                  <a:cubicBezTo>
                    <a:pt x="308713" y="116779"/>
                    <a:pt x="302319" y="111262"/>
                    <a:pt x="301747" y="111127"/>
                  </a:cubicBezTo>
                  <a:cubicBezTo>
                    <a:pt x="301175" y="110992"/>
                    <a:pt x="300872" y="105778"/>
                    <a:pt x="300569" y="105038"/>
                  </a:cubicBezTo>
                  <a:cubicBezTo>
                    <a:pt x="300266" y="104332"/>
                    <a:pt x="298819" y="100396"/>
                    <a:pt x="298112" y="99118"/>
                  </a:cubicBezTo>
                  <a:cubicBezTo>
                    <a:pt x="297406" y="97806"/>
                    <a:pt x="293906" y="94206"/>
                    <a:pt x="293199" y="93769"/>
                  </a:cubicBezTo>
                  <a:cubicBezTo>
                    <a:pt x="292458" y="93332"/>
                    <a:pt x="289732" y="90001"/>
                    <a:pt x="289732" y="90001"/>
                  </a:cubicBezTo>
                  <a:cubicBezTo>
                    <a:pt x="289732" y="90001"/>
                    <a:pt x="287713" y="89127"/>
                    <a:pt x="287107" y="89261"/>
                  </a:cubicBezTo>
                  <a:cubicBezTo>
                    <a:pt x="286535" y="89396"/>
                    <a:pt x="281016" y="89127"/>
                    <a:pt x="280578" y="89261"/>
                  </a:cubicBezTo>
                  <a:cubicBezTo>
                    <a:pt x="280141" y="89396"/>
                    <a:pt x="273612" y="92020"/>
                    <a:pt x="273612" y="92020"/>
                  </a:cubicBezTo>
                  <a:lnTo>
                    <a:pt x="268698" y="95350"/>
                  </a:lnTo>
                  <a:lnTo>
                    <a:pt x="266073" y="98680"/>
                  </a:lnTo>
                  <a:cubicBezTo>
                    <a:pt x="266073" y="98680"/>
                    <a:pt x="262607" y="101708"/>
                    <a:pt x="261563" y="102145"/>
                  </a:cubicBezTo>
                  <a:cubicBezTo>
                    <a:pt x="260554" y="102582"/>
                    <a:pt x="260823" y="104601"/>
                    <a:pt x="260823" y="106485"/>
                  </a:cubicBezTo>
                  <a:cubicBezTo>
                    <a:pt x="260823" y="108369"/>
                    <a:pt x="261563" y="109075"/>
                    <a:pt x="262573" y="110824"/>
                  </a:cubicBezTo>
                  <a:cubicBezTo>
                    <a:pt x="263583" y="112574"/>
                    <a:pt x="263011" y="111531"/>
                    <a:pt x="263885" y="113583"/>
                  </a:cubicBezTo>
                  <a:cubicBezTo>
                    <a:pt x="264761" y="115601"/>
                    <a:pt x="264020" y="116610"/>
                    <a:pt x="264020" y="118057"/>
                  </a:cubicBezTo>
                  <a:cubicBezTo>
                    <a:pt x="264020" y="119503"/>
                    <a:pt x="263717" y="121522"/>
                    <a:pt x="263583" y="122396"/>
                  </a:cubicBezTo>
                  <a:cubicBezTo>
                    <a:pt x="263448" y="123271"/>
                    <a:pt x="262270" y="124583"/>
                    <a:pt x="261261" y="125424"/>
                  </a:cubicBezTo>
                  <a:cubicBezTo>
                    <a:pt x="260251" y="126299"/>
                    <a:pt x="257491" y="129192"/>
                    <a:pt x="256044" y="130504"/>
                  </a:cubicBezTo>
                  <a:cubicBezTo>
                    <a:pt x="254597" y="131815"/>
                    <a:pt x="254597" y="131244"/>
                    <a:pt x="254597" y="131244"/>
                  </a:cubicBezTo>
                  <a:lnTo>
                    <a:pt x="252140" y="133262"/>
                  </a:lnTo>
                  <a:cubicBezTo>
                    <a:pt x="252140" y="133262"/>
                    <a:pt x="244164" y="133834"/>
                    <a:pt x="243592" y="134002"/>
                  </a:cubicBezTo>
                  <a:cubicBezTo>
                    <a:pt x="243020" y="134136"/>
                    <a:pt x="235919" y="135011"/>
                    <a:pt x="235481" y="135146"/>
                  </a:cubicBezTo>
                  <a:cubicBezTo>
                    <a:pt x="235044" y="135280"/>
                    <a:pt x="231274" y="135146"/>
                    <a:pt x="231274" y="135146"/>
                  </a:cubicBezTo>
                  <a:cubicBezTo>
                    <a:pt x="231274" y="135146"/>
                    <a:pt x="230130" y="136289"/>
                    <a:pt x="228952" y="136895"/>
                  </a:cubicBezTo>
                  <a:cubicBezTo>
                    <a:pt x="227808" y="137467"/>
                    <a:pt x="224476" y="139923"/>
                    <a:pt x="223298" y="140663"/>
                  </a:cubicBezTo>
                  <a:cubicBezTo>
                    <a:pt x="222154" y="141403"/>
                    <a:pt x="221413" y="142244"/>
                    <a:pt x="219966" y="142546"/>
                  </a:cubicBezTo>
                  <a:cubicBezTo>
                    <a:pt x="218519" y="142849"/>
                    <a:pt x="217375" y="143556"/>
                    <a:pt x="217375" y="143556"/>
                  </a:cubicBezTo>
                  <a:cubicBezTo>
                    <a:pt x="217375" y="143556"/>
                    <a:pt x="213606" y="144699"/>
                    <a:pt x="212731" y="145305"/>
                  </a:cubicBezTo>
                  <a:cubicBezTo>
                    <a:pt x="211856" y="145877"/>
                    <a:pt x="207649" y="147929"/>
                    <a:pt x="206639" y="148770"/>
                  </a:cubicBezTo>
                  <a:cubicBezTo>
                    <a:pt x="205629" y="149644"/>
                    <a:pt x="204317" y="150216"/>
                    <a:pt x="204317" y="150216"/>
                  </a:cubicBezTo>
                  <a:lnTo>
                    <a:pt x="201995" y="152672"/>
                  </a:lnTo>
                  <a:lnTo>
                    <a:pt x="198528" y="155128"/>
                  </a:lnTo>
                  <a:cubicBezTo>
                    <a:pt x="198528" y="155128"/>
                    <a:pt x="187961" y="155430"/>
                    <a:pt x="187086" y="155430"/>
                  </a:cubicBezTo>
                  <a:cubicBezTo>
                    <a:pt x="186211" y="155430"/>
                    <a:pt x="182879" y="155733"/>
                    <a:pt x="182307" y="156002"/>
                  </a:cubicBezTo>
                  <a:cubicBezTo>
                    <a:pt x="181735" y="156305"/>
                    <a:pt x="181163" y="156440"/>
                    <a:pt x="179985" y="157449"/>
                  </a:cubicBezTo>
                  <a:cubicBezTo>
                    <a:pt x="178841" y="158458"/>
                    <a:pt x="178403" y="160073"/>
                    <a:pt x="178538" y="161217"/>
                  </a:cubicBezTo>
                  <a:cubicBezTo>
                    <a:pt x="178672" y="162360"/>
                    <a:pt x="178538" y="161217"/>
                    <a:pt x="179985" y="162663"/>
                  </a:cubicBezTo>
                  <a:cubicBezTo>
                    <a:pt x="181432" y="164109"/>
                    <a:pt x="182744" y="164984"/>
                    <a:pt x="183889" y="166868"/>
                  </a:cubicBezTo>
                  <a:cubicBezTo>
                    <a:pt x="185033" y="168752"/>
                    <a:pt x="185201" y="171779"/>
                    <a:pt x="185201" y="172385"/>
                  </a:cubicBezTo>
                  <a:cubicBezTo>
                    <a:pt x="185201" y="172957"/>
                    <a:pt x="181163" y="174841"/>
                    <a:pt x="181163" y="174841"/>
                  </a:cubicBezTo>
                  <a:lnTo>
                    <a:pt x="177662" y="182241"/>
                  </a:lnTo>
                  <a:lnTo>
                    <a:pt x="175340" y="185000"/>
                  </a:lnTo>
                  <a:cubicBezTo>
                    <a:pt x="175340" y="185000"/>
                    <a:pt x="170561" y="191963"/>
                    <a:pt x="170124" y="192535"/>
                  </a:cubicBezTo>
                  <a:cubicBezTo>
                    <a:pt x="169686" y="193107"/>
                    <a:pt x="166085" y="193982"/>
                    <a:pt x="164907" y="193982"/>
                  </a:cubicBezTo>
                  <a:cubicBezTo>
                    <a:pt x="163730" y="193982"/>
                    <a:pt x="161273" y="193409"/>
                    <a:pt x="160398" y="193107"/>
                  </a:cubicBezTo>
                  <a:cubicBezTo>
                    <a:pt x="159523" y="192804"/>
                    <a:pt x="157369" y="191963"/>
                    <a:pt x="156628" y="191223"/>
                  </a:cubicBezTo>
                  <a:cubicBezTo>
                    <a:pt x="155922" y="190483"/>
                    <a:pt x="155181" y="187758"/>
                    <a:pt x="155181" y="187758"/>
                  </a:cubicBezTo>
                  <a:cubicBezTo>
                    <a:pt x="155181" y="187758"/>
                    <a:pt x="153600" y="183419"/>
                    <a:pt x="152994" y="183116"/>
                  </a:cubicBezTo>
                  <a:cubicBezTo>
                    <a:pt x="152422" y="182813"/>
                    <a:pt x="150974" y="182981"/>
                    <a:pt x="150974" y="182981"/>
                  </a:cubicBezTo>
                  <a:cubicBezTo>
                    <a:pt x="150974" y="182981"/>
                    <a:pt x="148652" y="183419"/>
                    <a:pt x="148080" y="183553"/>
                  </a:cubicBezTo>
                  <a:cubicBezTo>
                    <a:pt x="147508" y="183688"/>
                    <a:pt x="143739" y="184428"/>
                    <a:pt x="143301" y="184428"/>
                  </a:cubicBezTo>
                  <a:cubicBezTo>
                    <a:pt x="142864" y="184428"/>
                    <a:pt x="138960" y="184125"/>
                    <a:pt x="138219" y="184125"/>
                  </a:cubicBezTo>
                  <a:cubicBezTo>
                    <a:pt x="137513" y="184125"/>
                    <a:pt x="137075" y="182678"/>
                    <a:pt x="137075" y="182678"/>
                  </a:cubicBezTo>
                  <a:cubicBezTo>
                    <a:pt x="137075" y="182678"/>
                    <a:pt x="135763" y="180492"/>
                    <a:pt x="135190" y="180088"/>
                  </a:cubicBezTo>
                  <a:cubicBezTo>
                    <a:pt x="134618" y="179651"/>
                    <a:pt x="133878" y="179214"/>
                    <a:pt x="133878" y="179214"/>
                  </a:cubicBezTo>
                  <a:cubicBezTo>
                    <a:pt x="133878" y="179214"/>
                    <a:pt x="128661" y="175883"/>
                    <a:pt x="127786" y="175143"/>
                  </a:cubicBezTo>
                  <a:cubicBezTo>
                    <a:pt x="126912" y="174403"/>
                    <a:pt x="125902" y="174269"/>
                    <a:pt x="125902" y="174269"/>
                  </a:cubicBezTo>
                  <a:cubicBezTo>
                    <a:pt x="125902" y="174269"/>
                    <a:pt x="123142" y="174000"/>
                    <a:pt x="121695" y="174000"/>
                  </a:cubicBezTo>
                  <a:cubicBezTo>
                    <a:pt x="120248" y="174000"/>
                    <a:pt x="117051" y="173562"/>
                    <a:pt x="115906" y="172990"/>
                  </a:cubicBezTo>
                  <a:cubicBezTo>
                    <a:pt x="114762" y="172418"/>
                    <a:pt x="112877" y="171106"/>
                    <a:pt x="111868" y="170232"/>
                  </a:cubicBezTo>
                  <a:cubicBezTo>
                    <a:pt x="110858" y="169357"/>
                    <a:pt x="109849" y="167911"/>
                    <a:pt x="109849" y="167911"/>
                  </a:cubicBezTo>
                  <a:cubicBezTo>
                    <a:pt x="109849" y="167911"/>
                    <a:pt x="107392" y="164849"/>
                    <a:pt x="106820" y="164278"/>
                  </a:cubicBezTo>
                  <a:cubicBezTo>
                    <a:pt x="106248" y="163706"/>
                    <a:pt x="105507" y="162091"/>
                    <a:pt x="105238" y="161519"/>
                  </a:cubicBezTo>
                  <a:cubicBezTo>
                    <a:pt x="104935" y="160947"/>
                    <a:pt x="104800" y="157886"/>
                    <a:pt x="104800" y="157886"/>
                  </a:cubicBezTo>
                  <a:lnTo>
                    <a:pt x="105507" y="156742"/>
                  </a:lnTo>
                  <a:lnTo>
                    <a:pt x="106820" y="154118"/>
                  </a:lnTo>
                  <a:lnTo>
                    <a:pt x="105238" y="152672"/>
                  </a:lnTo>
                  <a:cubicBezTo>
                    <a:pt x="105238" y="152672"/>
                    <a:pt x="101771" y="152672"/>
                    <a:pt x="100762" y="152975"/>
                  </a:cubicBezTo>
                  <a:cubicBezTo>
                    <a:pt x="99752" y="153277"/>
                    <a:pt x="99012" y="153681"/>
                    <a:pt x="98574" y="154118"/>
                  </a:cubicBezTo>
                  <a:cubicBezTo>
                    <a:pt x="98137" y="154556"/>
                    <a:pt x="95108" y="155700"/>
                    <a:pt x="93795" y="155868"/>
                  </a:cubicBezTo>
                  <a:cubicBezTo>
                    <a:pt x="92483" y="156002"/>
                    <a:pt x="89454" y="156002"/>
                    <a:pt x="88579" y="156002"/>
                  </a:cubicBezTo>
                  <a:cubicBezTo>
                    <a:pt x="87704" y="156002"/>
                    <a:pt x="84810" y="154993"/>
                    <a:pt x="84810" y="154993"/>
                  </a:cubicBezTo>
                  <a:lnTo>
                    <a:pt x="84675" y="152235"/>
                  </a:lnTo>
                  <a:lnTo>
                    <a:pt x="84810" y="149207"/>
                  </a:lnTo>
                  <a:lnTo>
                    <a:pt x="84237" y="145742"/>
                  </a:lnTo>
                  <a:lnTo>
                    <a:pt x="81781" y="143152"/>
                  </a:lnTo>
                  <a:lnTo>
                    <a:pt x="78583" y="141403"/>
                  </a:lnTo>
                  <a:cubicBezTo>
                    <a:pt x="78583" y="141403"/>
                    <a:pt x="77574" y="142143"/>
                    <a:pt x="77439" y="142546"/>
                  </a:cubicBezTo>
                  <a:cubicBezTo>
                    <a:pt x="77304" y="142984"/>
                    <a:pt x="73232" y="146180"/>
                    <a:pt x="72795" y="146449"/>
                  </a:cubicBezTo>
                  <a:cubicBezTo>
                    <a:pt x="72357" y="146751"/>
                    <a:pt x="70775" y="148030"/>
                    <a:pt x="69901" y="148333"/>
                  </a:cubicBezTo>
                  <a:cubicBezTo>
                    <a:pt x="69026" y="148635"/>
                    <a:pt x="67309" y="150351"/>
                    <a:pt x="67309" y="150351"/>
                  </a:cubicBezTo>
                  <a:cubicBezTo>
                    <a:pt x="67309" y="150351"/>
                    <a:pt x="62396" y="151932"/>
                    <a:pt x="61083" y="152369"/>
                  </a:cubicBezTo>
                  <a:cubicBezTo>
                    <a:pt x="59771" y="152807"/>
                    <a:pt x="59064" y="153378"/>
                    <a:pt x="59064" y="153378"/>
                  </a:cubicBezTo>
                  <a:lnTo>
                    <a:pt x="60208" y="155700"/>
                  </a:lnTo>
                  <a:lnTo>
                    <a:pt x="62362" y="157449"/>
                  </a:lnTo>
                  <a:lnTo>
                    <a:pt x="62665" y="158155"/>
                  </a:lnTo>
                  <a:lnTo>
                    <a:pt x="59905" y="161923"/>
                  </a:lnTo>
                  <a:lnTo>
                    <a:pt x="51794" y="169895"/>
                  </a:lnTo>
                  <a:lnTo>
                    <a:pt x="50482" y="171577"/>
                  </a:lnTo>
                  <a:cubicBezTo>
                    <a:pt x="50482" y="171577"/>
                    <a:pt x="48092" y="173529"/>
                    <a:pt x="47722" y="173831"/>
                  </a:cubicBezTo>
                  <a:cubicBezTo>
                    <a:pt x="47352" y="174134"/>
                    <a:pt x="46477" y="175211"/>
                    <a:pt x="46477" y="175211"/>
                  </a:cubicBezTo>
                  <a:cubicBezTo>
                    <a:pt x="46477" y="175211"/>
                    <a:pt x="45333" y="177027"/>
                    <a:pt x="45232" y="177229"/>
                  </a:cubicBezTo>
                  <a:cubicBezTo>
                    <a:pt x="45164" y="177431"/>
                    <a:pt x="44491" y="179046"/>
                    <a:pt x="44491" y="179415"/>
                  </a:cubicBezTo>
                  <a:cubicBezTo>
                    <a:pt x="44491" y="179785"/>
                    <a:pt x="43785" y="183049"/>
                    <a:pt x="43785" y="183049"/>
                  </a:cubicBezTo>
                  <a:lnTo>
                    <a:pt x="42640" y="184125"/>
                  </a:lnTo>
                  <a:cubicBezTo>
                    <a:pt x="42640" y="184125"/>
                    <a:pt x="40991" y="184125"/>
                    <a:pt x="40015" y="184125"/>
                  </a:cubicBezTo>
                  <a:cubicBezTo>
                    <a:pt x="39073" y="184125"/>
                    <a:pt x="37929" y="184159"/>
                    <a:pt x="37323" y="184293"/>
                  </a:cubicBezTo>
                  <a:cubicBezTo>
                    <a:pt x="36751" y="184428"/>
                    <a:pt x="35135" y="184630"/>
                    <a:pt x="34630" y="184630"/>
                  </a:cubicBezTo>
                  <a:cubicBezTo>
                    <a:pt x="34126" y="184630"/>
                    <a:pt x="31130" y="185773"/>
                    <a:pt x="30861" y="186076"/>
                  </a:cubicBezTo>
                  <a:cubicBezTo>
                    <a:pt x="30558" y="186379"/>
                    <a:pt x="27900" y="187893"/>
                    <a:pt x="27529" y="188162"/>
                  </a:cubicBezTo>
                  <a:cubicBezTo>
                    <a:pt x="27159" y="188465"/>
                    <a:pt x="26082" y="188801"/>
                    <a:pt x="24770" y="188801"/>
                  </a:cubicBezTo>
                  <a:cubicBezTo>
                    <a:pt x="23457" y="188801"/>
                    <a:pt x="23828" y="188734"/>
                    <a:pt x="23525" y="188734"/>
                  </a:cubicBezTo>
                  <a:cubicBezTo>
                    <a:pt x="23222" y="188734"/>
                    <a:pt x="20327" y="185841"/>
                    <a:pt x="20327" y="185841"/>
                  </a:cubicBezTo>
                  <a:lnTo>
                    <a:pt x="17702" y="183452"/>
                  </a:lnTo>
                  <a:lnTo>
                    <a:pt x="14303" y="179113"/>
                  </a:lnTo>
                  <a:lnTo>
                    <a:pt x="12351" y="176926"/>
                  </a:lnTo>
                  <a:lnTo>
                    <a:pt x="10197" y="175850"/>
                  </a:lnTo>
                  <a:cubicBezTo>
                    <a:pt x="10197" y="175850"/>
                    <a:pt x="6798" y="176859"/>
                    <a:pt x="6058" y="177431"/>
                  </a:cubicBezTo>
                  <a:cubicBezTo>
                    <a:pt x="5351" y="178003"/>
                    <a:pt x="5183" y="177868"/>
                    <a:pt x="4745" y="178440"/>
                  </a:cubicBezTo>
                  <a:cubicBezTo>
                    <a:pt x="4308" y="179012"/>
                    <a:pt x="2423" y="179886"/>
                    <a:pt x="2423" y="179886"/>
                  </a:cubicBezTo>
                  <a:lnTo>
                    <a:pt x="1716" y="181467"/>
                  </a:lnTo>
                  <a:cubicBezTo>
                    <a:pt x="1716" y="181467"/>
                    <a:pt x="1716" y="184058"/>
                    <a:pt x="1716" y="184663"/>
                  </a:cubicBezTo>
                  <a:cubicBezTo>
                    <a:pt x="1716" y="185235"/>
                    <a:pt x="774" y="186850"/>
                    <a:pt x="639" y="187254"/>
                  </a:cubicBezTo>
                  <a:cubicBezTo>
                    <a:pt x="505" y="187691"/>
                    <a:pt x="0" y="190147"/>
                    <a:pt x="0" y="190147"/>
                  </a:cubicBezTo>
                  <a:cubicBezTo>
                    <a:pt x="0" y="190147"/>
                    <a:pt x="0" y="191728"/>
                    <a:pt x="0" y="192165"/>
                  </a:cubicBezTo>
                  <a:cubicBezTo>
                    <a:pt x="0" y="192602"/>
                    <a:pt x="1750" y="193611"/>
                    <a:pt x="1750" y="193611"/>
                  </a:cubicBezTo>
                  <a:lnTo>
                    <a:pt x="1750" y="195495"/>
                  </a:lnTo>
                  <a:lnTo>
                    <a:pt x="3500" y="198691"/>
                  </a:lnTo>
                  <a:cubicBezTo>
                    <a:pt x="3500" y="198691"/>
                    <a:pt x="2490" y="201012"/>
                    <a:pt x="2322" y="201584"/>
                  </a:cubicBezTo>
                  <a:cubicBezTo>
                    <a:pt x="2188" y="202156"/>
                    <a:pt x="3500" y="205486"/>
                    <a:pt x="3500" y="205486"/>
                  </a:cubicBezTo>
                  <a:cubicBezTo>
                    <a:pt x="3500" y="205486"/>
                    <a:pt x="5519" y="208514"/>
                    <a:pt x="5688" y="209119"/>
                  </a:cubicBezTo>
                  <a:cubicBezTo>
                    <a:pt x="5822" y="209691"/>
                    <a:pt x="7707" y="211743"/>
                    <a:pt x="7707" y="211743"/>
                  </a:cubicBezTo>
                  <a:lnTo>
                    <a:pt x="10904" y="214199"/>
                  </a:lnTo>
                  <a:lnTo>
                    <a:pt x="14539" y="217664"/>
                  </a:lnTo>
                  <a:lnTo>
                    <a:pt x="16693" y="222306"/>
                  </a:lnTo>
                  <a:lnTo>
                    <a:pt x="22649" y="223181"/>
                  </a:lnTo>
                  <a:lnTo>
                    <a:pt x="22649" y="215780"/>
                  </a:lnTo>
                  <a:lnTo>
                    <a:pt x="23726" y="211709"/>
                  </a:lnTo>
                  <a:lnTo>
                    <a:pt x="27698" y="208951"/>
                  </a:lnTo>
                  <a:cubicBezTo>
                    <a:pt x="27698" y="208951"/>
                    <a:pt x="29010" y="208077"/>
                    <a:pt x="31770" y="208379"/>
                  </a:cubicBezTo>
                  <a:cubicBezTo>
                    <a:pt x="34530" y="208682"/>
                    <a:pt x="34361" y="208077"/>
                    <a:pt x="35102" y="208379"/>
                  </a:cubicBezTo>
                  <a:cubicBezTo>
                    <a:pt x="35842" y="208682"/>
                    <a:pt x="37121" y="209086"/>
                    <a:pt x="37727" y="209523"/>
                  </a:cubicBezTo>
                  <a:cubicBezTo>
                    <a:pt x="38299" y="209927"/>
                    <a:pt x="40621" y="211575"/>
                    <a:pt x="41193" y="212147"/>
                  </a:cubicBezTo>
                  <a:cubicBezTo>
                    <a:pt x="41765" y="212719"/>
                    <a:pt x="42943" y="212281"/>
                    <a:pt x="43515" y="212281"/>
                  </a:cubicBezTo>
                  <a:cubicBezTo>
                    <a:pt x="44087" y="212281"/>
                    <a:pt x="47991" y="211272"/>
                    <a:pt x="47991" y="211272"/>
                  </a:cubicBezTo>
                  <a:lnTo>
                    <a:pt x="52333" y="211138"/>
                  </a:lnTo>
                  <a:cubicBezTo>
                    <a:pt x="52333" y="211138"/>
                    <a:pt x="58727" y="209254"/>
                    <a:pt x="59131" y="209557"/>
                  </a:cubicBezTo>
                  <a:cubicBezTo>
                    <a:pt x="59569" y="209859"/>
                    <a:pt x="64785" y="211878"/>
                    <a:pt x="64785" y="211878"/>
                  </a:cubicBezTo>
                  <a:lnTo>
                    <a:pt x="70001" y="214905"/>
                  </a:lnTo>
                  <a:lnTo>
                    <a:pt x="73636" y="220422"/>
                  </a:lnTo>
                  <a:lnTo>
                    <a:pt x="72929" y="224190"/>
                  </a:lnTo>
                  <a:lnTo>
                    <a:pt x="72627" y="229976"/>
                  </a:lnTo>
                  <a:lnTo>
                    <a:pt x="74949" y="231725"/>
                  </a:lnTo>
                  <a:lnTo>
                    <a:pt x="75958" y="234046"/>
                  </a:lnTo>
                  <a:lnTo>
                    <a:pt x="75655" y="236367"/>
                  </a:lnTo>
                  <a:lnTo>
                    <a:pt x="74208" y="239126"/>
                  </a:lnTo>
                  <a:lnTo>
                    <a:pt x="72324" y="240135"/>
                  </a:lnTo>
                  <a:lnTo>
                    <a:pt x="71011" y="241279"/>
                  </a:lnTo>
                  <a:lnTo>
                    <a:pt x="69564" y="242860"/>
                  </a:lnTo>
                  <a:lnTo>
                    <a:pt x="67814" y="244004"/>
                  </a:lnTo>
                  <a:lnTo>
                    <a:pt x="67814" y="245719"/>
                  </a:lnTo>
                  <a:lnTo>
                    <a:pt x="69631" y="247469"/>
                  </a:lnTo>
                  <a:lnTo>
                    <a:pt x="73030" y="250227"/>
                  </a:lnTo>
                  <a:lnTo>
                    <a:pt x="76059" y="252548"/>
                  </a:lnTo>
                  <a:lnTo>
                    <a:pt x="79122" y="253557"/>
                  </a:lnTo>
                  <a:lnTo>
                    <a:pt x="83194" y="253557"/>
                  </a:lnTo>
                  <a:lnTo>
                    <a:pt x="87536" y="253625"/>
                  </a:lnTo>
                  <a:lnTo>
                    <a:pt x="90161" y="253995"/>
                  </a:lnTo>
                  <a:lnTo>
                    <a:pt x="92752" y="255441"/>
                  </a:lnTo>
                  <a:cubicBezTo>
                    <a:pt x="92752" y="255441"/>
                    <a:pt x="96219" y="258771"/>
                    <a:pt x="96656" y="258906"/>
                  </a:cubicBezTo>
                  <a:cubicBezTo>
                    <a:pt x="97093" y="259040"/>
                    <a:pt x="97800" y="260218"/>
                    <a:pt x="97800" y="260218"/>
                  </a:cubicBezTo>
                  <a:lnTo>
                    <a:pt x="100122" y="262539"/>
                  </a:lnTo>
                  <a:lnTo>
                    <a:pt x="102142" y="260218"/>
                  </a:lnTo>
                  <a:lnTo>
                    <a:pt x="103723" y="257459"/>
                  </a:lnTo>
                  <a:cubicBezTo>
                    <a:pt x="103723" y="257459"/>
                    <a:pt x="106180" y="255575"/>
                    <a:pt x="106348" y="255138"/>
                  </a:cubicBezTo>
                  <a:cubicBezTo>
                    <a:pt x="106483" y="254701"/>
                    <a:pt x="108805" y="251808"/>
                    <a:pt x="108805" y="251808"/>
                  </a:cubicBezTo>
                  <a:cubicBezTo>
                    <a:pt x="108805" y="251808"/>
                    <a:pt x="112002" y="250496"/>
                    <a:pt x="112440" y="250664"/>
                  </a:cubicBezTo>
                  <a:cubicBezTo>
                    <a:pt x="112877" y="250799"/>
                    <a:pt x="114762" y="251976"/>
                    <a:pt x="114762" y="251976"/>
                  </a:cubicBezTo>
                  <a:lnTo>
                    <a:pt x="117387" y="257056"/>
                  </a:lnTo>
                  <a:lnTo>
                    <a:pt x="119137" y="257056"/>
                  </a:lnTo>
                  <a:lnTo>
                    <a:pt x="122907" y="256114"/>
                  </a:lnTo>
                  <a:lnTo>
                    <a:pt x="126979" y="254869"/>
                  </a:lnTo>
                  <a:lnTo>
                    <a:pt x="131185" y="255172"/>
                  </a:lnTo>
                  <a:cubicBezTo>
                    <a:pt x="131185" y="255172"/>
                    <a:pt x="132633" y="255609"/>
                    <a:pt x="133945" y="255744"/>
                  </a:cubicBezTo>
                  <a:cubicBezTo>
                    <a:pt x="135258" y="255879"/>
                    <a:pt x="136402" y="258502"/>
                    <a:pt x="136402" y="258502"/>
                  </a:cubicBezTo>
                  <a:lnTo>
                    <a:pt x="138590" y="259209"/>
                  </a:lnTo>
                  <a:lnTo>
                    <a:pt x="141215" y="258637"/>
                  </a:lnTo>
                  <a:lnTo>
                    <a:pt x="142359" y="254869"/>
                  </a:lnTo>
                  <a:lnTo>
                    <a:pt x="143368" y="252851"/>
                  </a:lnTo>
                  <a:lnTo>
                    <a:pt x="144378" y="249958"/>
                  </a:lnTo>
                  <a:lnTo>
                    <a:pt x="147575" y="248377"/>
                  </a:lnTo>
                  <a:cubicBezTo>
                    <a:pt x="147575" y="248377"/>
                    <a:pt x="149460" y="247233"/>
                    <a:pt x="150200" y="246190"/>
                  </a:cubicBezTo>
                  <a:cubicBezTo>
                    <a:pt x="150907" y="245181"/>
                    <a:pt x="151648" y="246190"/>
                    <a:pt x="152220" y="246190"/>
                  </a:cubicBezTo>
                  <a:cubicBezTo>
                    <a:pt x="152792" y="246190"/>
                    <a:pt x="154845" y="247771"/>
                    <a:pt x="156292" y="248949"/>
                  </a:cubicBezTo>
                  <a:cubicBezTo>
                    <a:pt x="157739" y="250092"/>
                    <a:pt x="157604" y="252414"/>
                    <a:pt x="157604" y="252414"/>
                  </a:cubicBezTo>
                  <a:lnTo>
                    <a:pt x="159354" y="256753"/>
                  </a:lnTo>
                  <a:lnTo>
                    <a:pt x="162552" y="260958"/>
                  </a:lnTo>
                  <a:lnTo>
                    <a:pt x="165008" y="262404"/>
                  </a:lnTo>
                  <a:lnTo>
                    <a:pt x="165883" y="264591"/>
                  </a:lnTo>
                  <a:lnTo>
                    <a:pt x="165446" y="267619"/>
                  </a:lnTo>
                  <a:lnTo>
                    <a:pt x="164739" y="270074"/>
                  </a:lnTo>
                  <a:lnTo>
                    <a:pt x="165042" y="272967"/>
                  </a:lnTo>
                  <a:lnTo>
                    <a:pt x="167364" y="273674"/>
                  </a:lnTo>
                  <a:lnTo>
                    <a:pt x="171706" y="277139"/>
                  </a:lnTo>
                  <a:lnTo>
                    <a:pt x="174903" y="279897"/>
                  </a:lnTo>
                  <a:lnTo>
                    <a:pt x="173590" y="282218"/>
                  </a:lnTo>
                  <a:cubicBezTo>
                    <a:pt x="173590" y="282218"/>
                    <a:pt x="171403" y="285549"/>
                    <a:pt x="170831" y="286121"/>
                  </a:cubicBezTo>
                  <a:cubicBezTo>
                    <a:pt x="170259" y="286692"/>
                    <a:pt x="169821" y="289888"/>
                    <a:pt x="169821" y="289888"/>
                  </a:cubicBezTo>
                  <a:lnTo>
                    <a:pt x="170393" y="294227"/>
                  </a:lnTo>
                  <a:lnTo>
                    <a:pt x="170528" y="298298"/>
                  </a:lnTo>
                  <a:lnTo>
                    <a:pt x="167061" y="301326"/>
                  </a:lnTo>
                  <a:lnTo>
                    <a:pt x="167061" y="304219"/>
                  </a:lnTo>
                  <a:lnTo>
                    <a:pt x="167061" y="308289"/>
                  </a:lnTo>
                  <a:lnTo>
                    <a:pt x="167061" y="311047"/>
                  </a:lnTo>
                  <a:lnTo>
                    <a:pt x="166254" y="314950"/>
                  </a:lnTo>
                  <a:cubicBezTo>
                    <a:pt x="166254" y="314950"/>
                    <a:pt x="165177" y="316699"/>
                    <a:pt x="164436" y="316968"/>
                  </a:cubicBezTo>
                  <a:cubicBezTo>
                    <a:pt x="163730" y="317271"/>
                    <a:pt x="162114" y="319558"/>
                    <a:pt x="160801" y="320735"/>
                  </a:cubicBezTo>
                  <a:cubicBezTo>
                    <a:pt x="159489" y="321913"/>
                    <a:pt x="156898" y="323629"/>
                    <a:pt x="156898" y="323629"/>
                  </a:cubicBezTo>
                  <a:lnTo>
                    <a:pt x="154575" y="323326"/>
                  </a:lnTo>
                  <a:cubicBezTo>
                    <a:pt x="154575" y="323326"/>
                    <a:pt x="152825" y="322888"/>
                    <a:pt x="151681" y="322317"/>
                  </a:cubicBezTo>
                  <a:cubicBezTo>
                    <a:pt x="150537" y="321745"/>
                    <a:pt x="149225" y="320298"/>
                    <a:pt x="149225" y="320298"/>
                  </a:cubicBezTo>
                  <a:cubicBezTo>
                    <a:pt x="149225" y="320298"/>
                    <a:pt x="146465" y="317977"/>
                    <a:pt x="145893" y="317540"/>
                  </a:cubicBezTo>
                  <a:cubicBezTo>
                    <a:pt x="145320" y="317102"/>
                    <a:pt x="141854" y="316093"/>
                    <a:pt x="141854" y="316093"/>
                  </a:cubicBezTo>
                  <a:lnTo>
                    <a:pt x="140844" y="316093"/>
                  </a:lnTo>
                  <a:lnTo>
                    <a:pt x="139835" y="319424"/>
                  </a:lnTo>
                  <a:cubicBezTo>
                    <a:pt x="139835" y="319424"/>
                    <a:pt x="136200" y="322047"/>
                    <a:pt x="135628" y="322047"/>
                  </a:cubicBezTo>
                  <a:cubicBezTo>
                    <a:pt x="135056" y="322047"/>
                    <a:pt x="130546" y="325512"/>
                    <a:pt x="130546" y="325512"/>
                  </a:cubicBezTo>
                  <a:lnTo>
                    <a:pt x="124758" y="328271"/>
                  </a:lnTo>
                  <a:lnTo>
                    <a:pt x="120854" y="329415"/>
                  </a:lnTo>
                  <a:lnTo>
                    <a:pt x="119406" y="330558"/>
                  </a:lnTo>
                  <a:lnTo>
                    <a:pt x="118969" y="332880"/>
                  </a:lnTo>
                  <a:lnTo>
                    <a:pt x="120416" y="334629"/>
                  </a:lnTo>
                  <a:lnTo>
                    <a:pt x="121998" y="335773"/>
                  </a:lnTo>
                  <a:cubicBezTo>
                    <a:pt x="121998" y="335773"/>
                    <a:pt x="120685" y="338531"/>
                    <a:pt x="120248" y="338666"/>
                  </a:cubicBezTo>
                  <a:cubicBezTo>
                    <a:pt x="119810" y="338800"/>
                    <a:pt x="118229" y="338968"/>
                    <a:pt x="118229" y="338968"/>
                  </a:cubicBezTo>
                  <a:lnTo>
                    <a:pt x="117219" y="337219"/>
                  </a:lnTo>
                  <a:cubicBezTo>
                    <a:pt x="117219" y="337219"/>
                    <a:pt x="111430" y="338968"/>
                    <a:pt x="110252" y="339540"/>
                  </a:cubicBezTo>
                  <a:cubicBezTo>
                    <a:pt x="109108" y="340112"/>
                    <a:pt x="107358" y="344183"/>
                    <a:pt x="107358" y="344183"/>
                  </a:cubicBezTo>
                  <a:lnTo>
                    <a:pt x="103454" y="347950"/>
                  </a:lnTo>
                  <a:lnTo>
                    <a:pt x="99954" y="350541"/>
                  </a:lnTo>
                  <a:lnTo>
                    <a:pt x="96757" y="354308"/>
                  </a:lnTo>
                  <a:lnTo>
                    <a:pt x="95444" y="359387"/>
                  </a:lnTo>
                  <a:lnTo>
                    <a:pt x="97026" y="363727"/>
                  </a:lnTo>
                  <a:lnTo>
                    <a:pt x="99483" y="364736"/>
                  </a:lnTo>
                  <a:lnTo>
                    <a:pt x="100930" y="365611"/>
                  </a:lnTo>
                  <a:lnTo>
                    <a:pt x="100930" y="369816"/>
                  </a:lnTo>
                  <a:cubicBezTo>
                    <a:pt x="100930" y="369816"/>
                    <a:pt x="104397" y="371700"/>
                    <a:pt x="105002" y="371834"/>
                  </a:cubicBezTo>
                  <a:cubicBezTo>
                    <a:pt x="105574" y="371969"/>
                    <a:pt x="109209" y="372843"/>
                    <a:pt x="109647" y="372709"/>
                  </a:cubicBezTo>
                  <a:cubicBezTo>
                    <a:pt x="110084" y="372574"/>
                    <a:pt x="115873" y="374155"/>
                    <a:pt x="117623" y="374155"/>
                  </a:cubicBezTo>
                  <a:cubicBezTo>
                    <a:pt x="119373" y="374155"/>
                    <a:pt x="119642" y="375905"/>
                    <a:pt x="120214" y="376477"/>
                  </a:cubicBezTo>
                  <a:cubicBezTo>
                    <a:pt x="120786" y="377048"/>
                    <a:pt x="122671" y="378663"/>
                    <a:pt x="122671" y="378663"/>
                  </a:cubicBezTo>
                  <a:cubicBezTo>
                    <a:pt x="122671" y="378663"/>
                    <a:pt x="127012" y="383137"/>
                    <a:pt x="127450" y="383743"/>
                  </a:cubicBezTo>
                  <a:cubicBezTo>
                    <a:pt x="127887" y="384314"/>
                    <a:pt x="131926" y="385761"/>
                    <a:pt x="132532" y="385626"/>
                  </a:cubicBezTo>
                  <a:cubicBezTo>
                    <a:pt x="133138" y="385492"/>
                    <a:pt x="137748" y="386366"/>
                    <a:pt x="137748" y="386366"/>
                  </a:cubicBezTo>
                  <a:cubicBezTo>
                    <a:pt x="137748" y="386366"/>
                    <a:pt x="142830" y="388385"/>
                    <a:pt x="143402" y="388385"/>
                  </a:cubicBezTo>
                  <a:cubicBezTo>
                    <a:pt x="143974" y="388385"/>
                    <a:pt x="147744" y="387376"/>
                    <a:pt x="147744" y="387376"/>
                  </a:cubicBezTo>
                  <a:lnTo>
                    <a:pt x="153970" y="385626"/>
                  </a:lnTo>
                  <a:lnTo>
                    <a:pt x="161508" y="385626"/>
                  </a:lnTo>
                  <a:lnTo>
                    <a:pt x="164537" y="387006"/>
                  </a:lnTo>
                  <a:lnTo>
                    <a:pt x="168609" y="391412"/>
                  </a:lnTo>
                  <a:lnTo>
                    <a:pt x="174836" y="395483"/>
                  </a:lnTo>
                  <a:lnTo>
                    <a:pt x="181062" y="401404"/>
                  </a:lnTo>
                  <a:cubicBezTo>
                    <a:pt x="181062" y="401404"/>
                    <a:pt x="184393" y="401134"/>
                    <a:pt x="185841" y="399822"/>
                  </a:cubicBezTo>
                  <a:cubicBezTo>
                    <a:pt x="187288" y="398510"/>
                    <a:pt x="188735" y="396358"/>
                    <a:pt x="190620" y="395786"/>
                  </a:cubicBezTo>
                  <a:cubicBezTo>
                    <a:pt x="192504" y="395214"/>
                    <a:pt x="195398" y="395920"/>
                    <a:pt x="195398" y="395920"/>
                  </a:cubicBezTo>
                  <a:cubicBezTo>
                    <a:pt x="195398" y="395920"/>
                    <a:pt x="196846" y="395483"/>
                    <a:pt x="196980" y="394911"/>
                  </a:cubicBezTo>
                  <a:cubicBezTo>
                    <a:pt x="197115" y="394339"/>
                    <a:pt x="199168" y="390841"/>
                    <a:pt x="199168" y="390841"/>
                  </a:cubicBezTo>
                  <a:lnTo>
                    <a:pt x="202803" y="390841"/>
                  </a:lnTo>
                  <a:cubicBezTo>
                    <a:pt x="202803" y="390841"/>
                    <a:pt x="209601" y="392859"/>
                    <a:pt x="210207" y="392859"/>
                  </a:cubicBezTo>
                  <a:cubicBezTo>
                    <a:pt x="210779" y="392859"/>
                    <a:pt x="215995" y="394743"/>
                    <a:pt x="215995" y="394743"/>
                  </a:cubicBezTo>
                  <a:lnTo>
                    <a:pt x="221514" y="396492"/>
                  </a:lnTo>
                  <a:lnTo>
                    <a:pt x="224543" y="398948"/>
                  </a:lnTo>
                  <a:lnTo>
                    <a:pt x="229322" y="402884"/>
                  </a:lnTo>
                  <a:cubicBezTo>
                    <a:pt x="229322" y="402884"/>
                    <a:pt x="228447" y="409981"/>
                    <a:pt x="228010" y="410284"/>
                  </a:cubicBezTo>
                  <a:cubicBezTo>
                    <a:pt x="227572" y="410587"/>
                    <a:pt x="226697" y="411596"/>
                    <a:pt x="226125" y="411596"/>
                  </a:cubicBezTo>
                  <a:cubicBezTo>
                    <a:pt x="225553" y="411596"/>
                    <a:pt x="222793" y="415229"/>
                    <a:pt x="222221" y="416238"/>
                  </a:cubicBezTo>
                  <a:cubicBezTo>
                    <a:pt x="221649" y="417248"/>
                    <a:pt x="221514" y="420141"/>
                    <a:pt x="221514" y="420141"/>
                  </a:cubicBezTo>
                  <a:lnTo>
                    <a:pt x="221380" y="425052"/>
                  </a:lnTo>
                  <a:cubicBezTo>
                    <a:pt x="221380" y="425052"/>
                    <a:pt x="220067" y="427508"/>
                    <a:pt x="219058" y="427945"/>
                  </a:cubicBezTo>
                  <a:cubicBezTo>
                    <a:pt x="218048" y="428382"/>
                    <a:pt x="215591" y="429694"/>
                    <a:pt x="215591" y="429694"/>
                  </a:cubicBezTo>
                  <a:lnTo>
                    <a:pt x="211384" y="430569"/>
                  </a:lnTo>
                  <a:lnTo>
                    <a:pt x="207750" y="431713"/>
                  </a:lnTo>
                  <a:lnTo>
                    <a:pt x="207312" y="434034"/>
                  </a:lnTo>
                  <a:lnTo>
                    <a:pt x="206606" y="438104"/>
                  </a:lnTo>
                  <a:cubicBezTo>
                    <a:pt x="206606" y="438104"/>
                    <a:pt x="204586" y="441434"/>
                    <a:pt x="204014" y="442444"/>
                  </a:cubicBezTo>
                  <a:cubicBezTo>
                    <a:pt x="203442" y="443453"/>
                    <a:pt x="201995" y="447221"/>
                    <a:pt x="201995" y="448532"/>
                  </a:cubicBezTo>
                  <a:cubicBezTo>
                    <a:pt x="201995" y="449844"/>
                    <a:pt x="203004" y="451863"/>
                    <a:pt x="203004" y="451863"/>
                  </a:cubicBezTo>
                  <a:cubicBezTo>
                    <a:pt x="203004" y="451863"/>
                    <a:pt x="204317" y="454319"/>
                    <a:pt x="204755" y="454890"/>
                  </a:cubicBezTo>
                  <a:cubicBezTo>
                    <a:pt x="205192" y="455462"/>
                    <a:pt x="206774" y="456337"/>
                    <a:pt x="207952" y="456640"/>
                  </a:cubicBezTo>
                  <a:cubicBezTo>
                    <a:pt x="209130" y="456942"/>
                    <a:pt x="209971" y="458961"/>
                    <a:pt x="211418" y="460407"/>
                  </a:cubicBezTo>
                  <a:cubicBezTo>
                    <a:pt x="212865" y="461854"/>
                    <a:pt x="213437" y="464041"/>
                    <a:pt x="213740" y="465050"/>
                  </a:cubicBezTo>
                  <a:cubicBezTo>
                    <a:pt x="214043" y="466059"/>
                    <a:pt x="215490" y="468649"/>
                    <a:pt x="215759" y="469827"/>
                  </a:cubicBezTo>
                  <a:cubicBezTo>
                    <a:pt x="216062" y="470970"/>
                    <a:pt x="216466" y="475781"/>
                    <a:pt x="216466" y="476218"/>
                  </a:cubicBezTo>
                  <a:cubicBezTo>
                    <a:pt x="216466" y="476655"/>
                    <a:pt x="216601" y="481869"/>
                    <a:pt x="216601" y="482441"/>
                  </a:cubicBezTo>
                  <a:cubicBezTo>
                    <a:pt x="216601" y="483013"/>
                    <a:pt x="215726" y="489102"/>
                    <a:pt x="215726" y="489102"/>
                  </a:cubicBezTo>
                  <a:lnTo>
                    <a:pt x="215726" y="493744"/>
                  </a:lnTo>
                  <a:lnTo>
                    <a:pt x="222894" y="496335"/>
                  </a:lnTo>
                  <a:cubicBezTo>
                    <a:pt x="222894" y="496335"/>
                    <a:pt x="227471" y="497647"/>
                    <a:pt x="229188" y="497781"/>
                  </a:cubicBezTo>
                  <a:cubicBezTo>
                    <a:pt x="230938" y="497916"/>
                    <a:pt x="232520" y="502995"/>
                    <a:pt x="232520" y="502995"/>
                  </a:cubicBezTo>
                  <a:cubicBezTo>
                    <a:pt x="232520" y="502995"/>
                    <a:pt x="233832" y="502995"/>
                    <a:pt x="234842" y="502558"/>
                  </a:cubicBezTo>
                  <a:cubicBezTo>
                    <a:pt x="235851" y="502120"/>
                    <a:pt x="236726" y="500674"/>
                    <a:pt x="236861" y="500237"/>
                  </a:cubicBezTo>
                  <a:cubicBezTo>
                    <a:pt x="236996" y="499800"/>
                    <a:pt x="239183" y="498622"/>
                    <a:pt x="239183" y="498622"/>
                  </a:cubicBezTo>
                  <a:cubicBezTo>
                    <a:pt x="239183" y="498622"/>
                    <a:pt x="241943" y="498622"/>
                    <a:pt x="242515" y="498622"/>
                  </a:cubicBezTo>
                  <a:cubicBezTo>
                    <a:pt x="243087" y="498622"/>
                    <a:pt x="247731" y="500876"/>
                    <a:pt x="249044" y="501178"/>
                  </a:cubicBezTo>
                  <a:cubicBezTo>
                    <a:pt x="250356" y="501482"/>
                    <a:pt x="251063" y="502120"/>
                    <a:pt x="251938" y="502558"/>
                  </a:cubicBezTo>
                  <a:cubicBezTo>
                    <a:pt x="252813" y="502995"/>
                    <a:pt x="254126" y="506023"/>
                    <a:pt x="254126" y="507032"/>
                  </a:cubicBezTo>
                  <a:cubicBezTo>
                    <a:pt x="254126" y="508041"/>
                    <a:pt x="253419" y="508041"/>
                    <a:pt x="252679" y="508041"/>
                  </a:cubicBezTo>
                  <a:cubicBezTo>
                    <a:pt x="251938" y="508041"/>
                    <a:pt x="251366" y="509353"/>
                    <a:pt x="249784" y="510059"/>
                  </a:cubicBezTo>
                  <a:cubicBezTo>
                    <a:pt x="248169" y="510766"/>
                    <a:pt x="249784" y="513255"/>
                    <a:pt x="249784" y="513827"/>
                  </a:cubicBezTo>
                  <a:cubicBezTo>
                    <a:pt x="249784" y="514399"/>
                    <a:pt x="252847" y="518032"/>
                    <a:pt x="252847" y="518032"/>
                  </a:cubicBezTo>
                  <a:cubicBezTo>
                    <a:pt x="252847" y="518032"/>
                    <a:pt x="256885" y="519781"/>
                    <a:pt x="257491" y="520219"/>
                  </a:cubicBezTo>
                  <a:cubicBezTo>
                    <a:pt x="258063" y="520656"/>
                    <a:pt x="260251" y="522977"/>
                    <a:pt x="261126" y="523986"/>
                  </a:cubicBezTo>
                  <a:cubicBezTo>
                    <a:pt x="262001" y="524996"/>
                    <a:pt x="265333" y="527317"/>
                    <a:pt x="265333" y="527317"/>
                  </a:cubicBezTo>
                  <a:lnTo>
                    <a:pt x="269102" y="532094"/>
                  </a:lnTo>
                  <a:lnTo>
                    <a:pt x="271424" y="534247"/>
                  </a:lnTo>
                  <a:lnTo>
                    <a:pt x="271424" y="530647"/>
                  </a:lnTo>
                  <a:cubicBezTo>
                    <a:pt x="271424" y="530647"/>
                    <a:pt x="275631" y="528629"/>
                    <a:pt x="276068" y="528898"/>
                  </a:cubicBezTo>
                  <a:cubicBezTo>
                    <a:pt x="276506" y="529201"/>
                    <a:pt x="280275" y="532800"/>
                    <a:pt x="280275" y="532800"/>
                  </a:cubicBezTo>
                  <a:cubicBezTo>
                    <a:pt x="280275" y="532800"/>
                    <a:pt x="287377" y="538317"/>
                    <a:pt x="287377" y="538720"/>
                  </a:cubicBezTo>
                  <a:cubicBezTo>
                    <a:pt x="287377" y="539158"/>
                    <a:pt x="293333" y="539595"/>
                    <a:pt x="293333" y="539595"/>
                  </a:cubicBezTo>
                  <a:lnTo>
                    <a:pt x="295353" y="539292"/>
                  </a:lnTo>
                  <a:cubicBezTo>
                    <a:pt x="295353" y="539292"/>
                    <a:pt x="302151" y="538418"/>
                    <a:pt x="302891" y="538418"/>
                  </a:cubicBezTo>
                  <a:cubicBezTo>
                    <a:pt x="303598" y="538418"/>
                    <a:pt x="308411" y="540301"/>
                    <a:pt x="308411" y="540301"/>
                  </a:cubicBezTo>
                  <a:cubicBezTo>
                    <a:pt x="308411" y="540301"/>
                    <a:pt x="312887" y="544372"/>
                    <a:pt x="313190" y="544776"/>
                  </a:cubicBezTo>
                  <a:cubicBezTo>
                    <a:pt x="313493" y="545213"/>
                    <a:pt x="317968" y="546357"/>
                    <a:pt x="317968" y="546357"/>
                  </a:cubicBezTo>
                  <a:lnTo>
                    <a:pt x="320863" y="541580"/>
                  </a:lnTo>
                  <a:lnTo>
                    <a:pt x="323185" y="539999"/>
                  </a:lnTo>
                  <a:lnTo>
                    <a:pt x="331430" y="538552"/>
                  </a:lnTo>
                  <a:lnTo>
                    <a:pt x="336075" y="538552"/>
                  </a:lnTo>
                  <a:lnTo>
                    <a:pt x="340281" y="539124"/>
                  </a:lnTo>
                  <a:lnTo>
                    <a:pt x="344185" y="541142"/>
                  </a:lnTo>
                  <a:lnTo>
                    <a:pt x="348392" y="544170"/>
                  </a:lnTo>
                  <a:lnTo>
                    <a:pt x="349133" y="546491"/>
                  </a:lnTo>
                  <a:lnTo>
                    <a:pt x="354046" y="547231"/>
                  </a:lnTo>
                  <a:lnTo>
                    <a:pt x="357311" y="547231"/>
                  </a:lnTo>
                  <a:lnTo>
                    <a:pt x="360407" y="546424"/>
                  </a:lnTo>
                  <a:cubicBezTo>
                    <a:pt x="360407" y="546424"/>
                    <a:pt x="362157" y="547669"/>
                    <a:pt x="362494" y="548005"/>
                  </a:cubicBezTo>
                  <a:cubicBezTo>
                    <a:pt x="362864" y="548375"/>
                    <a:pt x="364580" y="549956"/>
                    <a:pt x="365018" y="550663"/>
                  </a:cubicBezTo>
                  <a:cubicBezTo>
                    <a:pt x="365455" y="551403"/>
                    <a:pt x="366532" y="551470"/>
                    <a:pt x="367609" y="551403"/>
                  </a:cubicBezTo>
                  <a:cubicBezTo>
                    <a:pt x="368686" y="551335"/>
                    <a:pt x="368922" y="549384"/>
                    <a:pt x="368922" y="549384"/>
                  </a:cubicBezTo>
                  <a:cubicBezTo>
                    <a:pt x="368922" y="549384"/>
                    <a:pt x="371311" y="546424"/>
                    <a:pt x="371614" y="546188"/>
                  </a:cubicBezTo>
                  <a:cubicBezTo>
                    <a:pt x="371917" y="545953"/>
                    <a:pt x="374508" y="542925"/>
                    <a:pt x="374508" y="542723"/>
                  </a:cubicBezTo>
                  <a:cubicBezTo>
                    <a:pt x="374508" y="542488"/>
                    <a:pt x="376696" y="540470"/>
                    <a:pt x="376696" y="540470"/>
                  </a:cubicBezTo>
                  <a:lnTo>
                    <a:pt x="379321" y="537072"/>
                  </a:lnTo>
                  <a:lnTo>
                    <a:pt x="380768" y="537005"/>
                  </a:lnTo>
                  <a:lnTo>
                    <a:pt x="381912" y="540705"/>
                  </a:lnTo>
                  <a:lnTo>
                    <a:pt x="381845" y="544540"/>
                  </a:lnTo>
                  <a:lnTo>
                    <a:pt x="380229" y="546794"/>
                  </a:lnTo>
                  <a:lnTo>
                    <a:pt x="383292" y="551571"/>
                  </a:lnTo>
                  <a:lnTo>
                    <a:pt x="387936" y="555473"/>
                  </a:lnTo>
                  <a:lnTo>
                    <a:pt x="390898" y="556785"/>
                  </a:lnTo>
                  <a:cubicBezTo>
                    <a:pt x="390898" y="556785"/>
                    <a:pt x="391268" y="556079"/>
                    <a:pt x="391201" y="555776"/>
                  </a:cubicBezTo>
                  <a:cubicBezTo>
                    <a:pt x="391133" y="555473"/>
                    <a:pt x="392480" y="550562"/>
                    <a:pt x="392480" y="550259"/>
                  </a:cubicBezTo>
                  <a:cubicBezTo>
                    <a:pt x="392480" y="549956"/>
                    <a:pt x="393489" y="547231"/>
                    <a:pt x="393489" y="546928"/>
                  </a:cubicBezTo>
                  <a:cubicBezTo>
                    <a:pt x="393489" y="546626"/>
                    <a:pt x="392783" y="543598"/>
                    <a:pt x="392547" y="543531"/>
                  </a:cubicBezTo>
                  <a:cubicBezTo>
                    <a:pt x="392345" y="543464"/>
                    <a:pt x="391235" y="539460"/>
                    <a:pt x="391235" y="538956"/>
                  </a:cubicBezTo>
                  <a:cubicBezTo>
                    <a:pt x="391235" y="538451"/>
                    <a:pt x="391100" y="536500"/>
                    <a:pt x="391235" y="536197"/>
                  </a:cubicBezTo>
                  <a:cubicBezTo>
                    <a:pt x="391369" y="535895"/>
                    <a:pt x="392682" y="533136"/>
                    <a:pt x="392749" y="532867"/>
                  </a:cubicBezTo>
                  <a:cubicBezTo>
                    <a:pt x="392816" y="532565"/>
                    <a:pt x="393826" y="531050"/>
                    <a:pt x="393826" y="531050"/>
                  </a:cubicBezTo>
                  <a:lnTo>
                    <a:pt x="395340" y="530681"/>
                  </a:lnTo>
                  <a:lnTo>
                    <a:pt x="397326" y="532127"/>
                  </a:lnTo>
                  <a:cubicBezTo>
                    <a:pt x="397326" y="532127"/>
                    <a:pt x="398437" y="536635"/>
                    <a:pt x="398437" y="537038"/>
                  </a:cubicBezTo>
                  <a:cubicBezTo>
                    <a:pt x="398437" y="537476"/>
                    <a:pt x="398134" y="538922"/>
                    <a:pt x="398066" y="539292"/>
                  </a:cubicBezTo>
                  <a:cubicBezTo>
                    <a:pt x="397999" y="539662"/>
                    <a:pt x="397494" y="542118"/>
                    <a:pt x="397326" y="542488"/>
                  </a:cubicBezTo>
                  <a:cubicBezTo>
                    <a:pt x="397191" y="542858"/>
                    <a:pt x="397629" y="547568"/>
                    <a:pt x="397629" y="547769"/>
                  </a:cubicBezTo>
                  <a:cubicBezTo>
                    <a:pt x="397629" y="548005"/>
                    <a:pt x="401264" y="550158"/>
                    <a:pt x="401465" y="550091"/>
                  </a:cubicBezTo>
                  <a:cubicBezTo>
                    <a:pt x="401667" y="550023"/>
                    <a:pt x="403216" y="550091"/>
                    <a:pt x="403485" y="550091"/>
                  </a:cubicBezTo>
                  <a:cubicBezTo>
                    <a:pt x="403788" y="550091"/>
                    <a:pt x="407994" y="546558"/>
                    <a:pt x="408331" y="546188"/>
                  </a:cubicBezTo>
                  <a:cubicBezTo>
                    <a:pt x="408701" y="545818"/>
                    <a:pt x="410283" y="543127"/>
                    <a:pt x="410283" y="543127"/>
                  </a:cubicBezTo>
                  <a:lnTo>
                    <a:pt x="412672" y="538586"/>
                  </a:lnTo>
                  <a:lnTo>
                    <a:pt x="412740" y="535390"/>
                  </a:lnTo>
                  <a:lnTo>
                    <a:pt x="411360" y="531623"/>
                  </a:lnTo>
                  <a:lnTo>
                    <a:pt x="410620" y="529234"/>
                  </a:lnTo>
                  <a:lnTo>
                    <a:pt x="408668" y="527216"/>
                  </a:lnTo>
                  <a:lnTo>
                    <a:pt x="408668" y="523751"/>
                  </a:lnTo>
                  <a:lnTo>
                    <a:pt x="408668" y="518537"/>
                  </a:lnTo>
                  <a:lnTo>
                    <a:pt x="408668" y="513322"/>
                  </a:lnTo>
                  <a:lnTo>
                    <a:pt x="408668" y="510699"/>
                  </a:lnTo>
                  <a:lnTo>
                    <a:pt x="416475" y="510699"/>
                  </a:lnTo>
                  <a:lnTo>
                    <a:pt x="418226" y="510699"/>
                  </a:lnTo>
                  <a:lnTo>
                    <a:pt x="421120" y="510699"/>
                  </a:lnTo>
                  <a:lnTo>
                    <a:pt x="420817" y="513322"/>
                  </a:lnTo>
                  <a:lnTo>
                    <a:pt x="419067" y="518537"/>
                  </a:lnTo>
                  <a:lnTo>
                    <a:pt x="419067" y="521127"/>
                  </a:lnTo>
                  <a:lnTo>
                    <a:pt x="421827" y="527788"/>
                  </a:lnTo>
                  <a:lnTo>
                    <a:pt x="426606" y="531858"/>
                  </a:lnTo>
                  <a:lnTo>
                    <a:pt x="430947" y="538249"/>
                  </a:lnTo>
                  <a:lnTo>
                    <a:pt x="437038" y="539696"/>
                  </a:lnTo>
                  <a:lnTo>
                    <a:pt x="440808" y="540268"/>
                  </a:lnTo>
                  <a:lnTo>
                    <a:pt x="444577" y="540268"/>
                  </a:lnTo>
                  <a:lnTo>
                    <a:pt x="441986" y="533305"/>
                  </a:lnTo>
                  <a:lnTo>
                    <a:pt x="438216" y="527788"/>
                  </a:lnTo>
                  <a:lnTo>
                    <a:pt x="439966" y="520252"/>
                  </a:lnTo>
                  <a:lnTo>
                    <a:pt x="439966" y="519378"/>
                  </a:lnTo>
                  <a:lnTo>
                    <a:pt x="442591" y="517628"/>
                  </a:lnTo>
                  <a:lnTo>
                    <a:pt x="444341" y="517628"/>
                  </a:lnTo>
                  <a:lnTo>
                    <a:pt x="445519" y="517628"/>
                  </a:lnTo>
                  <a:cubicBezTo>
                    <a:pt x="445519" y="517628"/>
                    <a:pt x="445519" y="517628"/>
                    <a:pt x="448717" y="519075"/>
                  </a:cubicBezTo>
                  <a:cubicBezTo>
                    <a:pt x="451914" y="520521"/>
                    <a:pt x="448717" y="523717"/>
                    <a:pt x="448717" y="523717"/>
                  </a:cubicBezTo>
                  <a:lnTo>
                    <a:pt x="448717" y="529806"/>
                  </a:lnTo>
                  <a:lnTo>
                    <a:pt x="450601" y="534718"/>
                  </a:lnTo>
                  <a:lnTo>
                    <a:pt x="453933" y="537038"/>
                  </a:lnTo>
                  <a:lnTo>
                    <a:pt x="457130" y="539931"/>
                  </a:lnTo>
                  <a:lnTo>
                    <a:pt x="461775" y="543699"/>
                  </a:lnTo>
                  <a:lnTo>
                    <a:pt x="467866" y="543699"/>
                  </a:lnTo>
                  <a:lnTo>
                    <a:pt x="471332" y="546458"/>
                  </a:lnTo>
                  <a:lnTo>
                    <a:pt x="474799" y="548072"/>
                  </a:lnTo>
                  <a:lnTo>
                    <a:pt x="474799" y="549822"/>
                  </a:lnTo>
                  <a:lnTo>
                    <a:pt x="474799" y="554464"/>
                  </a:lnTo>
                  <a:lnTo>
                    <a:pt x="477559" y="557929"/>
                  </a:lnTo>
                  <a:lnTo>
                    <a:pt x="483213" y="561696"/>
                  </a:lnTo>
                  <a:lnTo>
                    <a:pt x="492198" y="560250"/>
                  </a:lnTo>
                  <a:lnTo>
                    <a:pt x="500309" y="561696"/>
                  </a:lnTo>
                  <a:lnTo>
                    <a:pt x="508420" y="556785"/>
                  </a:lnTo>
                  <a:lnTo>
                    <a:pt x="515083" y="554767"/>
                  </a:lnTo>
                  <a:lnTo>
                    <a:pt x="518281" y="551571"/>
                  </a:lnTo>
                  <a:lnTo>
                    <a:pt x="518281" y="534179"/>
                  </a:lnTo>
                  <a:lnTo>
                    <a:pt x="518281" y="528864"/>
                  </a:lnTo>
                  <a:lnTo>
                    <a:pt x="518819" y="526913"/>
                  </a:lnTo>
                  <a:lnTo>
                    <a:pt x="519896" y="524626"/>
                  </a:lnTo>
                  <a:lnTo>
                    <a:pt x="521949" y="524087"/>
                  </a:lnTo>
                  <a:lnTo>
                    <a:pt x="523463" y="526913"/>
                  </a:lnTo>
                  <a:lnTo>
                    <a:pt x="524103" y="533843"/>
                  </a:lnTo>
                  <a:lnTo>
                    <a:pt x="523463" y="541142"/>
                  </a:lnTo>
                  <a:lnTo>
                    <a:pt x="523463" y="546020"/>
                  </a:lnTo>
                  <a:lnTo>
                    <a:pt x="525079" y="550057"/>
                  </a:lnTo>
                  <a:lnTo>
                    <a:pt x="528444" y="555069"/>
                  </a:lnTo>
                  <a:lnTo>
                    <a:pt x="533762" y="560485"/>
                  </a:lnTo>
                  <a:lnTo>
                    <a:pt x="537464" y="55877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24" name="Freeform 890">
              <a:extLst>
                <a:ext uri="{FF2B5EF4-FFF2-40B4-BE49-F238E27FC236}">
                  <a16:creationId xmlns:a16="http://schemas.microsoft.com/office/drawing/2014/main" id="{43A194EF-42CF-DC5E-DEB0-40A27556629D}"/>
                </a:ext>
              </a:extLst>
            </p:cNvPr>
            <p:cNvSpPr/>
            <p:nvPr/>
          </p:nvSpPr>
          <p:spPr>
            <a:xfrm>
              <a:off x="7934866" y="3107135"/>
              <a:ext cx="254192" cy="334977"/>
            </a:xfrm>
            <a:custGeom>
              <a:avLst/>
              <a:gdLst>
                <a:gd name="connsiteX0" fmla="*/ 481900 w 488025"/>
                <a:gd name="connsiteY0" fmla="*/ 169577 h 643122"/>
                <a:gd name="connsiteX1" fmla="*/ 479275 w 488025"/>
                <a:gd name="connsiteY1" fmla="*/ 158712 h 643122"/>
                <a:gd name="connsiteX2" fmla="*/ 479914 w 488025"/>
                <a:gd name="connsiteY2" fmla="*/ 147409 h 643122"/>
                <a:gd name="connsiteX3" fmla="*/ 472073 w 488025"/>
                <a:gd name="connsiteY3" fmla="*/ 137182 h 643122"/>
                <a:gd name="connsiteX4" fmla="*/ 463390 w 488025"/>
                <a:gd name="connsiteY4" fmla="*/ 126317 h 643122"/>
                <a:gd name="connsiteX5" fmla="*/ 454909 w 488025"/>
                <a:gd name="connsiteY5" fmla="*/ 117638 h 643122"/>
                <a:gd name="connsiteX6" fmla="*/ 443601 w 488025"/>
                <a:gd name="connsiteY6" fmla="*/ 110271 h 643122"/>
                <a:gd name="connsiteX7" fmla="*/ 437947 w 488025"/>
                <a:gd name="connsiteY7" fmla="*/ 104182 h 643122"/>
                <a:gd name="connsiteX8" fmla="*/ 434918 w 488025"/>
                <a:gd name="connsiteY8" fmla="*/ 92442 h 643122"/>
                <a:gd name="connsiteX9" fmla="*/ 439260 w 488025"/>
                <a:gd name="connsiteY9" fmla="*/ 90053 h 643122"/>
                <a:gd name="connsiteX10" fmla="*/ 439260 w 488025"/>
                <a:gd name="connsiteY10" fmla="*/ 81778 h 643122"/>
                <a:gd name="connsiteX11" fmla="*/ 442726 w 488025"/>
                <a:gd name="connsiteY11" fmla="*/ 77439 h 643122"/>
                <a:gd name="connsiteX12" fmla="*/ 449457 w 488025"/>
                <a:gd name="connsiteY12" fmla="*/ 75925 h 643122"/>
                <a:gd name="connsiteX13" fmla="*/ 451645 w 488025"/>
                <a:gd name="connsiteY13" fmla="*/ 72224 h 643122"/>
                <a:gd name="connsiteX14" fmla="*/ 453159 w 488025"/>
                <a:gd name="connsiteY14" fmla="*/ 65496 h 643122"/>
                <a:gd name="connsiteX15" fmla="*/ 444476 w 488025"/>
                <a:gd name="connsiteY15" fmla="*/ 62233 h 643122"/>
                <a:gd name="connsiteX16" fmla="*/ 444476 w 488025"/>
                <a:gd name="connsiteY16" fmla="*/ 59340 h 643122"/>
                <a:gd name="connsiteX17" fmla="*/ 442726 w 488025"/>
                <a:gd name="connsiteY17" fmla="*/ 52377 h 643122"/>
                <a:gd name="connsiteX18" fmla="*/ 437510 w 488025"/>
                <a:gd name="connsiteY18" fmla="*/ 51502 h 643122"/>
                <a:gd name="connsiteX19" fmla="*/ 428524 w 488025"/>
                <a:gd name="connsiteY19" fmla="*/ 52949 h 643122"/>
                <a:gd name="connsiteX20" fmla="*/ 420682 w 488025"/>
                <a:gd name="connsiteY20" fmla="*/ 52377 h 643122"/>
                <a:gd name="connsiteX21" fmla="*/ 408230 w 488025"/>
                <a:gd name="connsiteY21" fmla="*/ 50358 h 643122"/>
                <a:gd name="connsiteX22" fmla="*/ 397225 w 488025"/>
                <a:gd name="connsiteY22" fmla="*/ 49484 h 643122"/>
                <a:gd name="connsiteX23" fmla="*/ 389114 w 488025"/>
                <a:gd name="connsiteY23" fmla="*/ 49181 h 643122"/>
                <a:gd name="connsiteX24" fmla="*/ 384201 w 488025"/>
                <a:gd name="connsiteY24" fmla="*/ 47163 h 643122"/>
                <a:gd name="connsiteX25" fmla="*/ 378412 w 488025"/>
                <a:gd name="connsiteY25" fmla="*/ 44842 h 643122"/>
                <a:gd name="connsiteX26" fmla="*/ 378412 w 488025"/>
                <a:gd name="connsiteY26" fmla="*/ 42823 h 643122"/>
                <a:gd name="connsiteX27" fmla="*/ 373633 w 488025"/>
                <a:gd name="connsiteY27" fmla="*/ 41377 h 643122"/>
                <a:gd name="connsiteX28" fmla="*/ 371446 w 488025"/>
                <a:gd name="connsiteY28" fmla="*/ 36163 h 643122"/>
                <a:gd name="connsiteX29" fmla="*/ 371446 w 488025"/>
                <a:gd name="connsiteY29" fmla="*/ 29199 h 643122"/>
                <a:gd name="connsiteX30" fmla="*/ 371446 w 488025"/>
                <a:gd name="connsiteY30" fmla="*/ 26609 h 643122"/>
                <a:gd name="connsiteX31" fmla="*/ 369258 w 488025"/>
                <a:gd name="connsiteY31" fmla="*/ 24019 h 643122"/>
                <a:gd name="connsiteX32" fmla="*/ 365623 w 488025"/>
                <a:gd name="connsiteY32" fmla="*/ 24893 h 643122"/>
                <a:gd name="connsiteX33" fmla="*/ 358657 w 488025"/>
                <a:gd name="connsiteY33" fmla="*/ 24019 h 643122"/>
                <a:gd name="connsiteX34" fmla="*/ 356066 w 488025"/>
                <a:gd name="connsiteY34" fmla="*/ 20251 h 643122"/>
                <a:gd name="connsiteX35" fmla="*/ 351421 w 488025"/>
                <a:gd name="connsiteY35" fmla="*/ 14162 h 643122"/>
                <a:gd name="connsiteX36" fmla="*/ 346508 w 488025"/>
                <a:gd name="connsiteY36" fmla="*/ 13860 h 643122"/>
                <a:gd name="connsiteX37" fmla="*/ 344758 w 488025"/>
                <a:gd name="connsiteY37" fmla="*/ 15609 h 643122"/>
                <a:gd name="connsiteX38" fmla="*/ 340887 w 488025"/>
                <a:gd name="connsiteY38" fmla="*/ 17930 h 643122"/>
                <a:gd name="connsiteX39" fmla="*/ 337219 w 488025"/>
                <a:gd name="connsiteY39" fmla="*/ 22269 h 643122"/>
                <a:gd name="connsiteX40" fmla="*/ 340113 w 488025"/>
                <a:gd name="connsiteY40" fmla="*/ 27181 h 643122"/>
                <a:gd name="connsiteX41" fmla="*/ 340113 w 488025"/>
                <a:gd name="connsiteY41" fmla="*/ 32698 h 643122"/>
                <a:gd name="connsiteX42" fmla="*/ 340113 w 488025"/>
                <a:gd name="connsiteY42" fmla="*/ 36768 h 643122"/>
                <a:gd name="connsiteX43" fmla="*/ 338094 w 488025"/>
                <a:gd name="connsiteY43" fmla="*/ 41410 h 643122"/>
                <a:gd name="connsiteX44" fmla="*/ 336950 w 488025"/>
                <a:gd name="connsiteY44" fmla="*/ 44606 h 643122"/>
                <a:gd name="connsiteX45" fmla="*/ 325945 w 488025"/>
                <a:gd name="connsiteY45" fmla="*/ 48071 h 643122"/>
                <a:gd name="connsiteX46" fmla="*/ 322748 w 488025"/>
                <a:gd name="connsiteY46" fmla="*/ 51267 h 643122"/>
                <a:gd name="connsiteX47" fmla="*/ 318406 w 488025"/>
                <a:gd name="connsiteY47" fmla="*/ 56178 h 643122"/>
                <a:gd name="connsiteX48" fmla="*/ 313190 w 488025"/>
                <a:gd name="connsiteY48" fmla="*/ 56178 h 643122"/>
                <a:gd name="connsiteX49" fmla="*/ 306526 w 488025"/>
                <a:gd name="connsiteY49" fmla="*/ 56178 h 643122"/>
                <a:gd name="connsiteX50" fmla="*/ 302454 w 488025"/>
                <a:gd name="connsiteY50" fmla="*/ 53151 h 643122"/>
                <a:gd name="connsiteX51" fmla="*/ 299862 w 488025"/>
                <a:gd name="connsiteY51" fmla="*/ 49517 h 643122"/>
                <a:gd name="connsiteX52" fmla="*/ 298415 w 488025"/>
                <a:gd name="connsiteY52" fmla="*/ 44875 h 643122"/>
                <a:gd name="connsiteX53" fmla="*/ 298415 w 488025"/>
                <a:gd name="connsiteY53" fmla="*/ 41410 h 643122"/>
                <a:gd name="connsiteX54" fmla="*/ 298987 w 488025"/>
                <a:gd name="connsiteY54" fmla="*/ 37071 h 643122"/>
                <a:gd name="connsiteX55" fmla="*/ 304204 w 488025"/>
                <a:gd name="connsiteY55" fmla="*/ 33606 h 643122"/>
                <a:gd name="connsiteX56" fmla="*/ 309420 w 488025"/>
                <a:gd name="connsiteY56" fmla="*/ 30713 h 643122"/>
                <a:gd name="connsiteX57" fmla="*/ 312617 w 488025"/>
                <a:gd name="connsiteY57" fmla="*/ 26945 h 643122"/>
                <a:gd name="connsiteX58" fmla="*/ 319281 w 488025"/>
                <a:gd name="connsiteY58" fmla="*/ 22303 h 643122"/>
                <a:gd name="connsiteX59" fmla="*/ 319281 w 488025"/>
                <a:gd name="connsiteY59" fmla="*/ 15340 h 643122"/>
                <a:gd name="connsiteX60" fmla="*/ 314805 w 488025"/>
                <a:gd name="connsiteY60" fmla="*/ 11572 h 643122"/>
                <a:gd name="connsiteX61" fmla="*/ 308848 w 488025"/>
                <a:gd name="connsiteY61" fmla="*/ 6661 h 643122"/>
                <a:gd name="connsiteX62" fmla="*/ 308848 w 488025"/>
                <a:gd name="connsiteY62" fmla="*/ 3465 h 643122"/>
                <a:gd name="connsiteX63" fmla="*/ 305516 w 488025"/>
                <a:gd name="connsiteY63" fmla="*/ 0 h 643122"/>
                <a:gd name="connsiteX64" fmla="*/ 296968 w 488025"/>
                <a:gd name="connsiteY64" fmla="*/ 875 h 643122"/>
                <a:gd name="connsiteX65" fmla="*/ 292896 w 488025"/>
                <a:gd name="connsiteY65" fmla="*/ 1177 h 643122"/>
                <a:gd name="connsiteX66" fmla="*/ 289429 w 488025"/>
                <a:gd name="connsiteY66" fmla="*/ 3498 h 643122"/>
                <a:gd name="connsiteX67" fmla="*/ 290574 w 488025"/>
                <a:gd name="connsiteY67" fmla="*/ 10731 h 643122"/>
                <a:gd name="connsiteX68" fmla="*/ 287679 w 488025"/>
                <a:gd name="connsiteY68" fmla="*/ 14196 h 643122"/>
                <a:gd name="connsiteX69" fmla="*/ 283607 w 488025"/>
                <a:gd name="connsiteY69" fmla="*/ 17661 h 643122"/>
                <a:gd name="connsiteX70" fmla="*/ 277819 w 488025"/>
                <a:gd name="connsiteY70" fmla="*/ 23447 h 643122"/>
                <a:gd name="connsiteX71" fmla="*/ 273746 w 488025"/>
                <a:gd name="connsiteY71" fmla="*/ 28661 h 643122"/>
                <a:gd name="connsiteX72" fmla="*/ 266780 w 488025"/>
                <a:gd name="connsiteY72" fmla="*/ 31857 h 643122"/>
                <a:gd name="connsiteX73" fmla="*/ 260991 w 488025"/>
                <a:gd name="connsiteY73" fmla="*/ 34481 h 643122"/>
                <a:gd name="connsiteX74" fmla="*/ 252308 w 488025"/>
                <a:gd name="connsiteY74" fmla="*/ 37071 h 643122"/>
                <a:gd name="connsiteX75" fmla="*/ 245645 w 488025"/>
                <a:gd name="connsiteY75" fmla="*/ 37071 h 643122"/>
                <a:gd name="connsiteX76" fmla="*/ 245409 w 488025"/>
                <a:gd name="connsiteY76" fmla="*/ 36196 h 643122"/>
                <a:gd name="connsiteX77" fmla="*/ 243592 w 488025"/>
                <a:gd name="connsiteY77" fmla="*/ 38652 h 643122"/>
                <a:gd name="connsiteX78" fmla="*/ 238476 w 488025"/>
                <a:gd name="connsiteY78" fmla="*/ 40670 h 643122"/>
                <a:gd name="connsiteX79" fmla="*/ 230736 w 488025"/>
                <a:gd name="connsiteY79" fmla="*/ 44068 h 643122"/>
                <a:gd name="connsiteX80" fmla="*/ 227101 w 488025"/>
                <a:gd name="connsiteY80" fmla="*/ 45716 h 643122"/>
                <a:gd name="connsiteX81" fmla="*/ 217543 w 488025"/>
                <a:gd name="connsiteY81" fmla="*/ 45716 h 643122"/>
                <a:gd name="connsiteX82" fmla="*/ 212764 w 488025"/>
                <a:gd name="connsiteY82" fmla="*/ 38316 h 643122"/>
                <a:gd name="connsiteX83" fmla="*/ 209937 w 488025"/>
                <a:gd name="connsiteY83" fmla="*/ 35591 h 643122"/>
                <a:gd name="connsiteX84" fmla="*/ 204721 w 488025"/>
                <a:gd name="connsiteY84" fmla="*/ 33539 h 643122"/>
                <a:gd name="connsiteX85" fmla="*/ 193211 w 488025"/>
                <a:gd name="connsiteY85" fmla="*/ 33539 h 643122"/>
                <a:gd name="connsiteX86" fmla="*/ 186918 w 488025"/>
                <a:gd name="connsiteY86" fmla="*/ 34851 h 643122"/>
                <a:gd name="connsiteX87" fmla="*/ 178975 w 488025"/>
                <a:gd name="connsiteY87" fmla="*/ 35288 h 643122"/>
                <a:gd name="connsiteX88" fmla="*/ 176687 w 488025"/>
                <a:gd name="connsiteY88" fmla="*/ 39627 h 643122"/>
                <a:gd name="connsiteX89" fmla="*/ 176687 w 488025"/>
                <a:gd name="connsiteY89" fmla="*/ 43092 h 643122"/>
                <a:gd name="connsiteX90" fmla="*/ 174061 w 488025"/>
                <a:gd name="connsiteY90" fmla="*/ 47869 h 643122"/>
                <a:gd name="connsiteX91" fmla="*/ 171235 w 488025"/>
                <a:gd name="connsiteY91" fmla="*/ 51771 h 643122"/>
                <a:gd name="connsiteX92" fmla="*/ 167533 w 488025"/>
                <a:gd name="connsiteY92" fmla="*/ 54160 h 643122"/>
                <a:gd name="connsiteX93" fmla="*/ 162956 w 488025"/>
                <a:gd name="connsiteY93" fmla="*/ 55472 h 643122"/>
                <a:gd name="connsiteX94" fmla="*/ 156426 w 488025"/>
                <a:gd name="connsiteY94" fmla="*/ 58096 h 643122"/>
                <a:gd name="connsiteX95" fmla="*/ 153398 w 488025"/>
                <a:gd name="connsiteY95" fmla="*/ 64184 h 643122"/>
                <a:gd name="connsiteX96" fmla="*/ 152321 w 488025"/>
                <a:gd name="connsiteY96" fmla="*/ 68524 h 643122"/>
                <a:gd name="connsiteX97" fmla="*/ 145792 w 488025"/>
                <a:gd name="connsiteY97" fmla="*/ 71989 h 643122"/>
                <a:gd name="connsiteX98" fmla="*/ 138388 w 488025"/>
                <a:gd name="connsiteY98" fmla="*/ 67010 h 643122"/>
                <a:gd name="connsiteX99" fmla="*/ 132936 w 488025"/>
                <a:gd name="connsiteY99" fmla="*/ 63545 h 643122"/>
                <a:gd name="connsiteX100" fmla="*/ 128157 w 488025"/>
                <a:gd name="connsiteY100" fmla="*/ 67683 h 643122"/>
                <a:gd name="connsiteX101" fmla="*/ 126205 w 488025"/>
                <a:gd name="connsiteY101" fmla="*/ 70946 h 643122"/>
                <a:gd name="connsiteX102" fmla="*/ 122065 w 488025"/>
                <a:gd name="connsiteY102" fmla="*/ 75084 h 643122"/>
                <a:gd name="connsiteX103" fmla="*/ 126407 w 488025"/>
                <a:gd name="connsiteY103" fmla="*/ 83023 h 643122"/>
                <a:gd name="connsiteX104" fmla="*/ 122065 w 488025"/>
                <a:gd name="connsiteY104" fmla="*/ 87463 h 643122"/>
                <a:gd name="connsiteX105" fmla="*/ 114897 w 488025"/>
                <a:gd name="connsiteY105" fmla="*/ 87463 h 643122"/>
                <a:gd name="connsiteX106" fmla="*/ 106214 w 488025"/>
                <a:gd name="connsiteY106" fmla="*/ 87463 h 643122"/>
                <a:gd name="connsiteX107" fmla="*/ 95781 w 488025"/>
                <a:gd name="connsiteY107" fmla="*/ 87463 h 643122"/>
                <a:gd name="connsiteX108" fmla="*/ 92752 w 488025"/>
                <a:gd name="connsiteY108" fmla="*/ 90289 h 643122"/>
                <a:gd name="connsiteX109" fmla="*/ 88848 w 488025"/>
                <a:gd name="connsiteY109" fmla="*/ 94628 h 643122"/>
                <a:gd name="connsiteX110" fmla="*/ 85382 w 488025"/>
                <a:gd name="connsiteY110" fmla="*/ 96142 h 643122"/>
                <a:gd name="connsiteX111" fmla="*/ 77574 w 488025"/>
                <a:gd name="connsiteY111" fmla="*/ 97891 h 643122"/>
                <a:gd name="connsiteX112" fmla="*/ 64516 w 488025"/>
                <a:gd name="connsiteY112" fmla="*/ 97891 h 643122"/>
                <a:gd name="connsiteX113" fmla="*/ 61049 w 488025"/>
                <a:gd name="connsiteY113" fmla="*/ 97891 h 643122"/>
                <a:gd name="connsiteX114" fmla="*/ 60174 w 488025"/>
                <a:gd name="connsiteY114" fmla="*/ 101794 h 643122"/>
                <a:gd name="connsiteX115" fmla="*/ 60174 w 488025"/>
                <a:gd name="connsiteY115" fmla="*/ 103980 h 643122"/>
                <a:gd name="connsiteX116" fmla="*/ 60174 w 488025"/>
                <a:gd name="connsiteY116" fmla="*/ 109194 h 643122"/>
                <a:gd name="connsiteX117" fmla="*/ 57987 w 488025"/>
                <a:gd name="connsiteY117" fmla="*/ 110506 h 643122"/>
                <a:gd name="connsiteX118" fmla="*/ 52568 w 488025"/>
                <a:gd name="connsiteY118" fmla="*/ 111583 h 643122"/>
                <a:gd name="connsiteX119" fmla="*/ 52434 w 488025"/>
                <a:gd name="connsiteY119" fmla="*/ 111650 h 643122"/>
                <a:gd name="connsiteX120" fmla="*/ 50179 w 488025"/>
                <a:gd name="connsiteY120" fmla="*/ 111583 h 643122"/>
                <a:gd name="connsiteX121" fmla="*/ 44087 w 488025"/>
                <a:gd name="connsiteY121" fmla="*/ 111650 h 643122"/>
                <a:gd name="connsiteX122" fmla="*/ 41261 w 488025"/>
                <a:gd name="connsiteY122" fmla="*/ 116158 h 643122"/>
                <a:gd name="connsiteX123" fmla="*/ 38871 w 488025"/>
                <a:gd name="connsiteY123" fmla="*/ 119421 h 643122"/>
                <a:gd name="connsiteX124" fmla="*/ 34092 w 488025"/>
                <a:gd name="connsiteY124" fmla="*/ 123760 h 643122"/>
                <a:gd name="connsiteX125" fmla="*/ 34092 w 488025"/>
                <a:gd name="connsiteY125" fmla="*/ 126586 h 643122"/>
                <a:gd name="connsiteX126" fmla="*/ 35842 w 488025"/>
                <a:gd name="connsiteY126" fmla="*/ 133314 h 643122"/>
                <a:gd name="connsiteX127" fmla="*/ 35842 w 488025"/>
                <a:gd name="connsiteY127" fmla="*/ 140479 h 643122"/>
                <a:gd name="connsiteX128" fmla="*/ 37592 w 488025"/>
                <a:gd name="connsiteY128" fmla="*/ 145929 h 643122"/>
                <a:gd name="connsiteX129" fmla="*/ 45198 w 488025"/>
                <a:gd name="connsiteY129" fmla="*/ 148317 h 643122"/>
                <a:gd name="connsiteX130" fmla="*/ 48900 w 488025"/>
                <a:gd name="connsiteY130" fmla="*/ 148317 h 643122"/>
                <a:gd name="connsiteX131" fmla="*/ 56708 w 488025"/>
                <a:gd name="connsiteY131" fmla="*/ 153969 h 643122"/>
                <a:gd name="connsiteX132" fmla="*/ 57819 w 488025"/>
                <a:gd name="connsiteY132" fmla="*/ 156357 h 643122"/>
                <a:gd name="connsiteX133" fmla="*/ 56069 w 488025"/>
                <a:gd name="connsiteY133" fmla="*/ 166348 h 643122"/>
                <a:gd name="connsiteX134" fmla="*/ 52165 w 488025"/>
                <a:gd name="connsiteY134" fmla="*/ 175262 h 643122"/>
                <a:gd name="connsiteX135" fmla="*/ 49775 w 488025"/>
                <a:gd name="connsiteY135" fmla="*/ 184379 h 643122"/>
                <a:gd name="connsiteX136" fmla="*/ 49775 w 488025"/>
                <a:gd name="connsiteY136" fmla="*/ 188281 h 643122"/>
                <a:gd name="connsiteX137" fmla="*/ 55194 w 488025"/>
                <a:gd name="connsiteY137" fmla="*/ 194807 h 643122"/>
                <a:gd name="connsiteX138" fmla="*/ 62160 w 488025"/>
                <a:gd name="connsiteY138" fmla="*/ 194841 h 643122"/>
                <a:gd name="connsiteX139" fmla="*/ 65189 w 488025"/>
                <a:gd name="connsiteY139" fmla="*/ 196994 h 643122"/>
                <a:gd name="connsiteX140" fmla="*/ 66064 w 488025"/>
                <a:gd name="connsiteY140" fmla="*/ 200694 h 643122"/>
                <a:gd name="connsiteX141" fmla="*/ 65425 w 488025"/>
                <a:gd name="connsiteY141" fmla="*/ 203284 h 643122"/>
                <a:gd name="connsiteX142" fmla="*/ 64112 w 488025"/>
                <a:gd name="connsiteY142" fmla="*/ 206312 h 643122"/>
                <a:gd name="connsiteX143" fmla="*/ 59771 w 488025"/>
                <a:gd name="connsiteY143" fmla="*/ 208498 h 643122"/>
                <a:gd name="connsiteX144" fmla="*/ 62800 w 488025"/>
                <a:gd name="connsiteY144" fmla="*/ 213511 h 643122"/>
                <a:gd name="connsiteX145" fmla="*/ 57348 w 488025"/>
                <a:gd name="connsiteY145" fmla="*/ 220474 h 643122"/>
                <a:gd name="connsiteX146" fmla="*/ 47352 w 488025"/>
                <a:gd name="connsiteY146" fmla="*/ 228077 h 643122"/>
                <a:gd name="connsiteX147" fmla="*/ 40184 w 488025"/>
                <a:gd name="connsiteY147" fmla="*/ 231777 h 643122"/>
                <a:gd name="connsiteX148" fmla="*/ 40823 w 488025"/>
                <a:gd name="connsiteY148" fmla="*/ 235242 h 643122"/>
                <a:gd name="connsiteX149" fmla="*/ 45400 w 488025"/>
                <a:gd name="connsiteY149" fmla="*/ 235242 h 643122"/>
                <a:gd name="connsiteX150" fmla="*/ 47790 w 488025"/>
                <a:gd name="connsiteY150" fmla="*/ 239380 h 643122"/>
                <a:gd name="connsiteX151" fmla="*/ 44962 w 488025"/>
                <a:gd name="connsiteY151" fmla="*/ 244796 h 643122"/>
                <a:gd name="connsiteX152" fmla="*/ 41934 w 488025"/>
                <a:gd name="connsiteY152" fmla="*/ 248260 h 643122"/>
                <a:gd name="connsiteX153" fmla="*/ 34126 w 488025"/>
                <a:gd name="connsiteY153" fmla="*/ 250447 h 643122"/>
                <a:gd name="connsiteX154" fmla="*/ 30861 w 488025"/>
                <a:gd name="connsiteY154" fmla="*/ 251961 h 643122"/>
                <a:gd name="connsiteX155" fmla="*/ 25847 w 488025"/>
                <a:gd name="connsiteY155" fmla="*/ 253037 h 643122"/>
                <a:gd name="connsiteX156" fmla="*/ 22145 w 488025"/>
                <a:gd name="connsiteY156" fmla="*/ 255426 h 643122"/>
                <a:gd name="connsiteX157" fmla="*/ 19755 w 488025"/>
                <a:gd name="connsiteY157" fmla="*/ 258487 h 643122"/>
                <a:gd name="connsiteX158" fmla="*/ 18443 w 488025"/>
                <a:gd name="connsiteY158" fmla="*/ 260875 h 643122"/>
                <a:gd name="connsiteX159" fmla="*/ 18443 w 488025"/>
                <a:gd name="connsiteY159" fmla="*/ 263903 h 643122"/>
                <a:gd name="connsiteX160" fmla="*/ 18443 w 488025"/>
                <a:gd name="connsiteY160" fmla="*/ 269117 h 643122"/>
                <a:gd name="connsiteX161" fmla="*/ 18443 w 488025"/>
                <a:gd name="connsiteY161" fmla="*/ 276081 h 643122"/>
                <a:gd name="connsiteX162" fmla="*/ 16928 w 488025"/>
                <a:gd name="connsiteY162" fmla="*/ 278032 h 643122"/>
                <a:gd name="connsiteX163" fmla="*/ 15616 w 488025"/>
                <a:gd name="connsiteY163" fmla="*/ 280218 h 643122"/>
                <a:gd name="connsiteX164" fmla="*/ 12149 w 488025"/>
                <a:gd name="connsiteY164" fmla="*/ 283279 h 643122"/>
                <a:gd name="connsiteX165" fmla="*/ 9760 w 488025"/>
                <a:gd name="connsiteY165" fmla="*/ 286542 h 643122"/>
                <a:gd name="connsiteX166" fmla="*/ 8683 w 488025"/>
                <a:gd name="connsiteY166" fmla="*/ 289133 h 643122"/>
                <a:gd name="connsiteX167" fmla="*/ 6731 w 488025"/>
                <a:gd name="connsiteY167" fmla="*/ 294549 h 643122"/>
                <a:gd name="connsiteX168" fmla="*/ 3264 w 488025"/>
                <a:gd name="connsiteY168" fmla="*/ 298014 h 643122"/>
                <a:gd name="connsiteX169" fmla="*/ 1750 w 488025"/>
                <a:gd name="connsiteY169" fmla="*/ 299527 h 643122"/>
                <a:gd name="connsiteX170" fmla="*/ 0 w 488025"/>
                <a:gd name="connsiteY170" fmla="*/ 302151 h 643122"/>
                <a:gd name="connsiteX171" fmla="*/ 2625 w 488025"/>
                <a:gd name="connsiteY171" fmla="*/ 305179 h 643122"/>
                <a:gd name="connsiteX172" fmla="*/ 3063 w 488025"/>
                <a:gd name="connsiteY172" fmla="*/ 311032 h 643122"/>
                <a:gd name="connsiteX173" fmla="*/ 3938 w 488025"/>
                <a:gd name="connsiteY173" fmla="*/ 316684 h 643122"/>
                <a:gd name="connsiteX174" fmla="*/ 4577 w 488025"/>
                <a:gd name="connsiteY174" fmla="*/ 317995 h 643122"/>
                <a:gd name="connsiteX175" fmla="*/ 4577 w 488025"/>
                <a:gd name="connsiteY175" fmla="*/ 322133 h 643122"/>
                <a:gd name="connsiteX176" fmla="*/ 7168 w 488025"/>
                <a:gd name="connsiteY176" fmla="*/ 322133 h 643122"/>
                <a:gd name="connsiteX177" fmla="*/ 10669 w 488025"/>
                <a:gd name="connsiteY177" fmla="*/ 324320 h 643122"/>
                <a:gd name="connsiteX178" fmla="*/ 15683 w 488025"/>
                <a:gd name="connsiteY178" fmla="*/ 325632 h 643122"/>
                <a:gd name="connsiteX179" fmla="*/ 19385 w 488025"/>
                <a:gd name="connsiteY179" fmla="*/ 325632 h 643122"/>
                <a:gd name="connsiteX180" fmla="*/ 24837 w 488025"/>
                <a:gd name="connsiteY180" fmla="*/ 321292 h 643122"/>
                <a:gd name="connsiteX181" fmla="*/ 30929 w 488025"/>
                <a:gd name="connsiteY181" fmla="*/ 320418 h 643122"/>
                <a:gd name="connsiteX182" fmla="*/ 34832 w 488025"/>
                <a:gd name="connsiteY182" fmla="*/ 320619 h 643122"/>
                <a:gd name="connsiteX183" fmla="*/ 34597 w 488025"/>
                <a:gd name="connsiteY183" fmla="*/ 322571 h 643122"/>
                <a:gd name="connsiteX184" fmla="*/ 34159 w 488025"/>
                <a:gd name="connsiteY184" fmla="*/ 327347 h 643122"/>
                <a:gd name="connsiteX185" fmla="*/ 33083 w 488025"/>
                <a:gd name="connsiteY185" fmla="*/ 331485 h 643122"/>
                <a:gd name="connsiteX186" fmla="*/ 31770 w 488025"/>
                <a:gd name="connsiteY186" fmla="*/ 335623 h 643122"/>
                <a:gd name="connsiteX187" fmla="*/ 28741 w 488025"/>
                <a:gd name="connsiteY187" fmla="*/ 338246 h 643122"/>
                <a:gd name="connsiteX188" fmla="*/ 26116 w 488025"/>
                <a:gd name="connsiteY188" fmla="*/ 341711 h 643122"/>
                <a:gd name="connsiteX189" fmla="*/ 24164 w 488025"/>
                <a:gd name="connsiteY189" fmla="*/ 344537 h 643122"/>
                <a:gd name="connsiteX190" fmla="*/ 23727 w 488025"/>
                <a:gd name="connsiteY190" fmla="*/ 349751 h 643122"/>
                <a:gd name="connsiteX191" fmla="*/ 25477 w 488025"/>
                <a:gd name="connsiteY191" fmla="*/ 354965 h 643122"/>
                <a:gd name="connsiteX192" fmla="*/ 30255 w 488025"/>
                <a:gd name="connsiteY192" fmla="*/ 360180 h 643122"/>
                <a:gd name="connsiteX193" fmla="*/ 39174 w 488025"/>
                <a:gd name="connsiteY193" fmla="*/ 364755 h 643122"/>
                <a:gd name="connsiteX194" fmla="*/ 40688 w 488025"/>
                <a:gd name="connsiteY194" fmla="*/ 368892 h 643122"/>
                <a:gd name="connsiteX195" fmla="*/ 36347 w 488025"/>
                <a:gd name="connsiteY195" fmla="*/ 374308 h 643122"/>
                <a:gd name="connsiteX196" fmla="*/ 35472 w 488025"/>
                <a:gd name="connsiteY196" fmla="*/ 378009 h 643122"/>
                <a:gd name="connsiteX197" fmla="*/ 35236 w 488025"/>
                <a:gd name="connsiteY197" fmla="*/ 384535 h 643122"/>
                <a:gd name="connsiteX198" fmla="*/ 33049 w 488025"/>
                <a:gd name="connsiteY198" fmla="*/ 388437 h 643122"/>
                <a:gd name="connsiteX199" fmla="*/ 31972 w 488025"/>
                <a:gd name="connsiteY199" fmla="*/ 389749 h 643122"/>
                <a:gd name="connsiteX200" fmla="*/ 31333 w 488025"/>
                <a:gd name="connsiteY200" fmla="*/ 393449 h 643122"/>
                <a:gd name="connsiteX201" fmla="*/ 32208 w 488025"/>
                <a:gd name="connsiteY201" fmla="*/ 397587 h 643122"/>
                <a:gd name="connsiteX202" fmla="*/ 32409 w 488025"/>
                <a:gd name="connsiteY202" fmla="*/ 402599 h 643122"/>
                <a:gd name="connsiteX203" fmla="*/ 34799 w 488025"/>
                <a:gd name="connsiteY203" fmla="*/ 404416 h 643122"/>
                <a:gd name="connsiteX204" fmla="*/ 46612 w 488025"/>
                <a:gd name="connsiteY204" fmla="*/ 405660 h 643122"/>
                <a:gd name="connsiteX205" fmla="*/ 52400 w 488025"/>
                <a:gd name="connsiteY205" fmla="*/ 405660 h 643122"/>
                <a:gd name="connsiteX206" fmla="*/ 58492 w 488025"/>
                <a:gd name="connsiteY206" fmla="*/ 414070 h 643122"/>
                <a:gd name="connsiteX207" fmla="*/ 60242 w 488025"/>
                <a:gd name="connsiteY207" fmla="*/ 417535 h 643122"/>
                <a:gd name="connsiteX208" fmla="*/ 60545 w 488025"/>
                <a:gd name="connsiteY208" fmla="*/ 424196 h 643122"/>
                <a:gd name="connsiteX209" fmla="*/ 57650 w 488025"/>
                <a:gd name="connsiteY209" fmla="*/ 429107 h 643122"/>
                <a:gd name="connsiteX210" fmla="*/ 55900 w 488025"/>
                <a:gd name="connsiteY210" fmla="*/ 432875 h 643122"/>
                <a:gd name="connsiteX211" fmla="*/ 54150 w 488025"/>
                <a:gd name="connsiteY211" fmla="*/ 438964 h 643122"/>
                <a:gd name="connsiteX212" fmla="*/ 53578 w 488025"/>
                <a:gd name="connsiteY212" fmla="*/ 445624 h 643122"/>
                <a:gd name="connsiteX213" fmla="*/ 49237 w 488025"/>
                <a:gd name="connsiteY213" fmla="*/ 448820 h 643122"/>
                <a:gd name="connsiteX214" fmla="*/ 47217 w 488025"/>
                <a:gd name="connsiteY214" fmla="*/ 452016 h 643122"/>
                <a:gd name="connsiteX215" fmla="*/ 46342 w 488025"/>
                <a:gd name="connsiteY215" fmla="*/ 456591 h 643122"/>
                <a:gd name="connsiteX216" fmla="*/ 46915 w 488025"/>
                <a:gd name="connsiteY216" fmla="*/ 459551 h 643122"/>
                <a:gd name="connsiteX217" fmla="*/ 50684 w 488025"/>
                <a:gd name="connsiteY217" fmla="*/ 459551 h 643122"/>
                <a:gd name="connsiteX218" fmla="*/ 56472 w 488025"/>
                <a:gd name="connsiteY218" fmla="*/ 456725 h 643122"/>
                <a:gd name="connsiteX219" fmla="*/ 64886 w 488025"/>
                <a:gd name="connsiteY219" fmla="*/ 453160 h 643122"/>
                <a:gd name="connsiteX220" fmla="*/ 69228 w 488025"/>
                <a:gd name="connsiteY220" fmla="*/ 452285 h 643122"/>
                <a:gd name="connsiteX221" fmla="*/ 72997 w 488025"/>
                <a:gd name="connsiteY221" fmla="*/ 452588 h 643122"/>
                <a:gd name="connsiteX222" fmla="*/ 75891 w 488025"/>
                <a:gd name="connsiteY222" fmla="*/ 456725 h 643122"/>
                <a:gd name="connsiteX223" fmla="*/ 74747 w 488025"/>
                <a:gd name="connsiteY223" fmla="*/ 459551 h 643122"/>
                <a:gd name="connsiteX224" fmla="*/ 71852 w 488025"/>
                <a:gd name="connsiteY224" fmla="*/ 463016 h 643122"/>
                <a:gd name="connsiteX225" fmla="*/ 66636 w 488025"/>
                <a:gd name="connsiteY225" fmla="*/ 465640 h 643122"/>
                <a:gd name="connsiteX226" fmla="*/ 61117 w 488025"/>
                <a:gd name="connsiteY226" fmla="*/ 467658 h 643122"/>
                <a:gd name="connsiteX227" fmla="*/ 54150 w 488025"/>
                <a:gd name="connsiteY227" fmla="*/ 471123 h 643122"/>
                <a:gd name="connsiteX228" fmla="*/ 52131 w 488025"/>
                <a:gd name="connsiteY228" fmla="*/ 476337 h 643122"/>
                <a:gd name="connsiteX229" fmla="*/ 52400 w 488025"/>
                <a:gd name="connsiteY229" fmla="*/ 483570 h 643122"/>
                <a:gd name="connsiteX230" fmla="*/ 52972 w 488025"/>
                <a:gd name="connsiteY230" fmla="*/ 487909 h 643122"/>
                <a:gd name="connsiteX231" fmla="*/ 51391 w 488025"/>
                <a:gd name="connsiteY231" fmla="*/ 491105 h 643122"/>
                <a:gd name="connsiteX232" fmla="*/ 48059 w 488025"/>
                <a:gd name="connsiteY232" fmla="*/ 497766 h 643122"/>
                <a:gd name="connsiteX233" fmla="*/ 48059 w 488025"/>
                <a:gd name="connsiteY233" fmla="*/ 500356 h 643122"/>
                <a:gd name="connsiteX234" fmla="*/ 45736 w 488025"/>
                <a:gd name="connsiteY234" fmla="*/ 504998 h 643122"/>
                <a:gd name="connsiteX235" fmla="*/ 45165 w 488025"/>
                <a:gd name="connsiteY235" fmla="*/ 510515 h 643122"/>
                <a:gd name="connsiteX236" fmla="*/ 44862 w 488025"/>
                <a:gd name="connsiteY236" fmla="*/ 513711 h 643122"/>
                <a:gd name="connsiteX237" fmla="*/ 45434 w 488025"/>
                <a:gd name="connsiteY237" fmla="*/ 519800 h 643122"/>
                <a:gd name="connsiteX238" fmla="*/ 48631 w 488025"/>
                <a:gd name="connsiteY238" fmla="*/ 521818 h 643122"/>
                <a:gd name="connsiteX239" fmla="*/ 49775 w 488025"/>
                <a:gd name="connsiteY239" fmla="*/ 524711 h 643122"/>
                <a:gd name="connsiteX240" fmla="*/ 48631 w 488025"/>
                <a:gd name="connsiteY240" fmla="*/ 529622 h 643122"/>
                <a:gd name="connsiteX241" fmla="*/ 47487 w 488025"/>
                <a:gd name="connsiteY241" fmla="*/ 533390 h 643122"/>
                <a:gd name="connsiteX242" fmla="*/ 48934 w 488025"/>
                <a:gd name="connsiteY242" fmla="*/ 536586 h 643122"/>
                <a:gd name="connsiteX243" fmla="*/ 47924 w 488025"/>
                <a:gd name="connsiteY243" fmla="*/ 541228 h 643122"/>
                <a:gd name="connsiteX244" fmla="*/ 52838 w 488025"/>
                <a:gd name="connsiteY244" fmla="*/ 541531 h 643122"/>
                <a:gd name="connsiteX245" fmla="*/ 59501 w 488025"/>
                <a:gd name="connsiteY245" fmla="*/ 546005 h 643122"/>
                <a:gd name="connsiteX246" fmla="*/ 60948 w 488025"/>
                <a:gd name="connsiteY246" fmla="*/ 553103 h 643122"/>
                <a:gd name="connsiteX247" fmla="*/ 59939 w 488025"/>
                <a:gd name="connsiteY247" fmla="*/ 553977 h 643122"/>
                <a:gd name="connsiteX248" fmla="*/ 61958 w 488025"/>
                <a:gd name="connsiteY248" fmla="*/ 558048 h 643122"/>
                <a:gd name="connsiteX249" fmla="*/ 67175 w 488025"/>
                <a:gd name="connsiteY249" fmla="*/ 558182 h 643122"/>
                <a:gd name="connsiteX250" fmla="*/ 72391 w 488025"/>
                <a:gd name="connsiteY250" fmla="*/ 551959 h 643122"/>
                <a:gd name="connsiteX251" fmla="*/ 75588 w 488025"/>
                <a:gd name="connsiteY251" fmla="*/ 548629 h 643122"/>
                <a:gd name="connsiteX252" fmla="*/ 78483 w 488025"/>
                <a:gd name="connsiteY252" fmla="*/ 546610 h 643122"/>
                <a:gd name="connsiteX253" fmla="*/ 82117 w 488025"/>
                <a:gd name="connsiteY253" fmla="*/ 547788 h 643122"/>
                <a:gd name="connsiteX254" fmla="*/ 87906 w 488025"/>
                <a:gd name="connsiteY254" fmla="*/ 553002 h 643122"/>
                <a:gd name="connsiteX255" fmla="*/ 89925 w 488025"/>
                <a:gd name="connsiteY255" fmla="*/ 554146 h 643122"/>
                <a:gd name="connsiteX256" fmla="*/ 94132 w 488025"/>
                <a:gd name="connsiteY256" fmla="*/ 552834 h 643122"/>
                <a:gd name="connsiteX257" fmla="*/ 98204 w 488025"/>
                <a:gd name="connsiteY257" fmla="*/ 549369 h 643122"/>
                <a:gd name="connsiteX258" fmla="*/ 102983 w 488025"/>
                <a:gd name="connsiteY258" fmla="*/ 546476 h 643122"/>
                <a:gd name="connsiteX259" fmla="*/ 105743 w 488025"/>
                <a:gd name="connsiteY259" fmla="*/ 543280 h 643122"/>
                <a:gd name="connsiteX260" fmla="*/ 108200 w 488025"/>
                <a:gd name="connsiteY260" fmla="*/ 541699 h 643122"/>
                <a:gd name="connsiteX261" fmla="*/ 109781 w 488025"/>
                <a:gd name="connsiteY261" fmla="*/ 541127 h 643122"/>
                <a:gd name="connsiteX262" fmla="*/ 113988 w 488025"/>
                <a:gd name="connsiteY262" fmla="*/ 544895 h 643122"/>
                <a:gd name="connsiteX263" fmla="*/ 117455 w 488025"/>
                <a:gd name="connsiteY263" fmla="*/ 546476 h 643122"/>
                <a:gd name="connsiteX264" fmla="*/ 121359 w 488025"/>
                <a:gd name="connsiteY264" fmla="*/ 550546 h 643122"/>
                <a:gd name="connsiteX265" fmla="*/ 124118 w 488025"/>
                <a:gd name="connsiteY265" fmla="*/ 552867 h 643122"/>
                <a:gd name="connsiteX266" fmla="*/ 126137 w 488025"/>
                <a:gd name="connsiteY266" fmla="*/ 555626 h 643122"/>
                <a:gd name="connsiteX267" fmla="*/ 128460 w 488025"/>
                <a:gd name="connsiteY267" fmla="*/ 559259 h 643122"/>
                <a:gd name="connsiteX268" fmla="*/ 129032 w 488025"/>
                <a:gd name="connsiteY268" fmla="*/ 563161 h 643122"/>
                <a:gd name="connsiteX269" fmla="*/ 128325 w 488025"/>
                <a:gd name="connsiteY269" fmla="*/ 565348 h 643122"/>
                <a:gd name="connsiteX270" fmla="*/ 128762 w 488025"/>
                <a:gd name="connsiteY270" fmla="*/ 567669 h 643122"/>
                <a:gd name="connsiteX271" fmla="*/ 130075 w 488025"/>
                <a:gd name="connsiteY271" fmla="*/ 570696 h 643122"/>
                <a:gd name="connsiteX272" fmla="*/ 130647 w 488025"/>
                <a:gd name="connsiteY272" fmla="*/ 573455 h 643122"/>
                <a:gd name="connsiteX273" fmla="*/ 129772 w 488025"/>
                <a:gd name="connsiteY273" fmla="*/ 574767 h 643122"/>
                <a:gd name="connsiteX274" fmla="*/ 125431 w 488025"/>
                <a:gd name="connsiteY274" fmla="*/ 577223 h 643122"/>
                <a:gd name="connsiteX275" fmla="*/ 123815 w 488025"/>
                <a:gd name="connsiteY275" fmla="*/ 578972 h 643122"/>
                <a:gd name="connsiteX276" fmla="*/ 116411 w 488025"/>
                <a:gd name="connsiteY276" fmla="*/ 581865 h 643122"/>
                <a:gd name="connsiteX277" fmla="*/ 114661 w 488025"/>
                <a:gd name="connsiteY277" fmla="*/ 582302 h 643122"/>
                <a:gd name="connsiteX278" fmla="*/ 111195 w 488025"/>
                <a:gd name="connsiteY278" fmla="*/ 584758 h 643122"/>
                <a:gd name="connsiteX279" fmla="*/ 107291 w 488025"/>
                <a:gd name="connsiteY279" fmla="*/ 588828 h 643122"/>
                <a:gd name="connsiteX280" fmla="*/ 105137 w 488025"/>
                <a:gd name="connsiteY280" fmla="*/ 591418 h 643122"/>
                <a:gd name="connsiteX281" fmla="*/ 100493 w 488025"/>
                <a:gd name="connsiteY281" fmla="*/ 595186 h 643122"/>
                <a:gd name="connsiteX282" fmla="*/ 99617 w 488025"/>
                <a:gd name="connsiteY282" fmla="*/ 598516 h 643122"/>
                <a:gd name="connsiteX283" fmla="*/ 99180 w 488025"/>
                <a:gd name="connsiteY283" fmla="*/ 601847 h 643122"/>
                <a:gd name="connsiteX284" fmla="*/ 99315 w 488025"/>
                <a:gd name="connsiteY284" fmla="*/ 603428 h 643122"/>
                <a:gd name="connsiteX285" fmla="*/ 96858 w 488025"/>
                <a:gd name="connsiteY285" fmla="*/ 612275 h 643122"/>
                <a:gd name="connsiteX286" fmla="*/ 92954 w 488025"/>
                <a:gd name="connsiteY286" fmla="*/ 616783 h 643122"/>
                <a:gd name="connsiteX287" fmla="*/ 90935 w 488025"/>
                <a:gd name="connsiteY287" fmla="*/ 619373 h 643122"/>
                <a:gd name="connsiteX288" fmla="*/ 87468 w 488025"/>
                <a:gd name="connsiteY288" fmla="*/ 622569 h 643122"/>
                <a:gd name="connsiteX289" fmla="*/ 83396 w 488025"/>
                <a:gd name="connsiteY289" fmla="*/ 624015 h 643122"/>
                <a:gd name="connsiteX290" fmla="*/ 80064 w 488025"/>
                <a:gd name="connsiteY290" fmla="*/ 625327 h 643122"/>
                <a:gd name="connsiteX291" fmla="*/ 77473 w 488025"/>
                <a:gd name="connsiteY291" fmla="*/ 628220 h 643122"/>
                <a:gd name="connsiteX292" fmla="*/ 79189 w 488025"/>
                <a:gd name="connsiteY292" fmla="*/ 631853 h 643122"/>
                <a:gd name="connsiteX293" fmla="*/ 83093 w 488025"/>
                <a:gd name="connsiteY293" fmla="*/ 633872 h 643122"/>
                <a:gd name="connsiteX294" fmla="*/ 88882 w 488025"/>
                <a:gd name="connsiteY294" fmla="*/ 636899 h 643122"/>
                <a:gd name="connsiteX295" fmla="*/ 90632 w 488025"/>
                <a:gd name="connsiteY295" fmla="*/ 637908 h 643122"/>
                <a:gd name="connsiteX296" fmla="*/ 93526 w 488025"/>
                <a:gd name="connsiteY296" fmla="*/ 639052 h 643122"/>
                <a:gd name="connsiteX297" fmla="*/ 100762 w 488025"/>
                <a:gd name="connsiteY297" fmla="*/ 643123 h 643122"/>
                <a:gd name="connsiteX298" fmla="*/ 106113 w 488025"/>
                <a:gd name="connsiteY298" fmla="*/ 642820 h 643122"/>
                <a:gd name="connsiteX299" fmla="*/ 111464 w 488025"/>
                <a:gd name="connsiteY299" fmla="*/ 641945 h 643122"/>
                <a:gd name="connsiteX300" fmla="*/ 119575 w 488025"/>
                <a:gd name="connsiteY300" fmla="*/ 641071 h 643122"/>
                <a:gd name="connsiteX301" fmla="*/ 122907 w 488025"/>
                <a:gd name="connsiteY301" fmla="*/ 639759 h 643122"/>
                <a:gd name="connsiteX302" fmla="*/ 125229 w 488025"/>
                <a:gd name="connsiteY302" fmla="*/ 638447 h 643122"/>
                <a:gd name="connsiteX303" fmla="*/ 127686 w 488025"/>
                <a:gd name="connsiteY303" fmla="*/ 636260 h 643122"/>
                <a:gd name="connsiteX304" fmla="*/ 131589 w 488025"/>
                <a:gd name="connsiteY304" fmla="*/ 637269 h 643122"/>
                <a:gd name="connsiteX305" fmla="*/ 134618 w 488025"/>
                <a:gd name="connsiteY305" fmla="*/ 637404 h 643122"/>
                <a:gd name="connsiteX306" fmla="*/ 137378 w 488025"/>
                <a:gd name="connsiteY306" fmla="*/ 635385 h 643122"/>
                <a:gd name="connsiteX307" fmla="*/ 138960 w 488025"/>
                <a:gd name="connsiteY307" fmla="*/ 634073 h 643122"/>
                <a:gd name="connsiteX308" fmla="*/ 140979 w 488025"/>
                <a:gd name="connsiteY308" fmla="*/ 633636 h 643122"/>
                <a:gd name="connsiteX309" fmla="*/ 144883 w 488025"/>
                <a:gd name="connsiteY309" fmla="*/ 634343 h 643122"/>
                <a:gd name="connsiteX310" fmla="*/ 146902 w 488025"/>
                <a:gd name="connsiteY310" fmla="*/ 635655 h 643122"/>
                <a:gd name="connsiteX311" fmla="*/ 151109 w 488025"/>
                <a:gd name="connsiteY311" fmla="*/ 635520 h 643122"/>
                <a:gd name="connsiteX312" fmla="*/ 153499 w 488025"/>
                <a:gd name="connsiteY312" fmla="*/ 633064 h 643122"/>
                <a:gd name="connsiteX313" fmla="*/ 154003 w 488025"/>
                <a:gd name="connsiteY313" fmla="*/ 630171 h 643122"/>
                <a:gd name="connsiteX314" fmla="*/ 154003 w 488025"/>
                <a:gd name="connsiteY314" fmla="*/ 627278 h 643122"/>
                <a:gd name="connsiteX315" fmla="*/ 155451 w 488025"/>
                <a:gd name="connsiteY315" fmla="*/ 625966 h 643122"/>
                <a:gd name="connsiteX316" fmla="*/ 158210 w 488025"/>
                <a:gd name="connsiteY316" fmla="*/ 623645 h 643122"/>
                <a:gd name="connsiteX317" fmla="*/ 162855 w 488025"/>
                <a:gd name="connsiteY317" fmla="*/ 622905 h 643122"/>
                <a:gd name="connsiteX318" fmla="*/ 165311 w 488025"/>
                <a:gd name="connsiteY318" fmla="*/ 622905 h 643122"/>
                <a:gd name="connsiteX319" fmla="*/ 167330 w 488025"/>
                <a:gd name="connsiteY319" fmla="*/ 620584 h 643122"/>
                <a:gd name="connsiteX320" fmla="*/ 171369 w 488025"/>
                <a:gd name="connsiteY320" fmla="*/ 619407 h 643122"/>
                <a:gd name="connsiteX321" fmla="*/ 173557 w 488025"/>
                <a:gd name="connsiteY321" fmla="*/ 619104 h 643122"/>
                <a:gd name="connsiteX322" fmla="*/ 178639 w 488025"/>
                <a:gd name="connsiteY322" fmla="*/ 618801 h 643122"/>
                <a:gd name="connsiteX323" fmla="*/ 182408 w 488025"/>
                <a:gd name="connsiteY323" fmla="*/ 618936 h 643122"/>
                <a:gd name="connsiteX324" fmla="*/ 185908 w 488025"/>
                <a:gd name="connsiteY324" fmla="*/ 618801 h 643122"/>
                <a:gd name="connsiteX325" fmla="*/ 190384 w 488025"/>
                <a:gd name="connsiteY325" fmla="*/ 616783 h 643122"/>
                <a:gd name="connsiteX326" fmla="*/ 192706 w 488025"/>
                <a:gd name="connsiteY326" fmla="*/ 614461 h 643122"/>
                <a:gd name="connsiteX327" fmla="*/ 198798 w 488025"/>
                <a:gd name="connsiteY327" fmla="*/ 611770 h 643122"/>
                <a:gd name="connsiteX328" fmla="*/ 200110 w 488025"/>
                <a:gd name="connsiteY328" fmla="*/ 610694 h 643122"/>
                <a:gd name="connsiteX329" fmla="*/ 205327 w 488025"/>
                <a:gd name="connsiteY329" fmla="*/ 610694 h 643122"/>
                <a:gd name="connsiteX330" fmla="*/ 210106 w 488025"/>
                <a:gd name="connsiteY330" fmla="*/ 614596 h 643122"/>
                <a:gd name="connsiteX331" fmla="*/ 216197 w 488025"/>
                <a:gd name="connsiteY331" fmla="*/ 619945 h 643122"/>
                <a:gd name="connsiteX332" fmla="*/ 222154 w 488025"/>
                <a:gd name="connsiteY332" fmla="*/ 626336 h 643122"/>
                <a:gd name="connsiteX333" fmla="*/ 225048 w 488025"/>
                <a:gd name="connsiteY333" fmla="*/ 629095 h 643122"/>
                <a:gd name="connsiteX334" fmla="*/ 228683 w 488025"/>
                <a:gd name="connsiteY334" fmla="*/ 631281 h 643122"/>
                <a:gd name="connsiteX335" fmla="*/ 232015 w 488025"/>
                <a:gd name="connsiteY335" fmla="*/ 632291 h 643122"/>
                <a:gd name="connsiteX336" fmla="*/ 236928 w 488025"/>
                <a:gd name="connsiteY336" fmla="*/ 634309 h 643122"/>
                <a:gd name="connsiteX337" fmla="*/ 240698 w 488025"/>
                <a:gd name="connsiteY337" fmla="*/ 635184 h 643122"/>
                <a:gd name="connsiteX338" fmla="*/ 243592 w 488025"/>
                <a:gd name="connsiteY338" fmla="*/ 633737 h 643122"/>
                <a:gd name="connsiteX339" fmla="*/ 245174 w 488025"/>
                <a:gd name="connsiteY339" fmla="*/ 629397 h 643122"/>
                <a:gd name="connsiteX340" fmla="*/ 245477 w 488025"/>
                <a:gd name="connsiteY340" fmla="*/ 626370 h 643122"/>
                <a:gd name="connsiteX341" fmla="*/ 245039 w 488025"/>
                <a:gd name="connsiteY341" fmla="*/ 621156 h 643122"/>
                <a:gd name="connsiteX342" fmla="*/ 240260 w 488025"/>
                <a:gd name="connsiteY342" fmla="*/ 615942 h 643122"/>
                <a:gd name="connsiteX343" fmla="*/ 238510 w 488025"/>
                <a:gd name="connsiteY343" fmla="*/ 613318 h 643122"/>
                <a:gd name="connsiteX344" fmla="*/ 235448 w 488025"/>
                <a:gd name="connsiteY344" fmla="*/ 609416 h 643122"/>
                <a:gd name="connsiteX345" fmla="*/ 236895 w 488025"/>
                <a:gd name="connsiteY345" fmla="*/ 604067 h 643122"/>
                <a:gd name="connsiteX346" fmla="*/ 239217 w 488025"/>
                <a:gd name="connsiteY346" fmla="*/ 601039 h 643122"/>
                <a:gd name="connsiteX347" fmla="*/ 243121 w 488025"/>
                <a:gd name="connsiteY347" fmla="*/ 598584 h 643122"/>
                <a:gd name="connsiteX348" fmla="*/ 244433 w 488025"/>
                <a:gd name="connsiteY348" fmla="*/ 596397 h 643122"/>
                <a:gd name="connsiteX349" fmla="*/ 247631 w 488025"/>
                <a:gd name="connsiteY349" fmla="*/ 594211 h 643122"/>
                <a:gd name="connsiteX350" fmla="*/ 249515 w 488025"/>
                <a:gd name="connsiteY350" fmla="*/ 591889 h 643122"/>
                <a:gd name="connsiteX351" fmla="*/ 253352 w 488025"/>
                <a:gd name="connsiteY351" fmla="*/ 589198 h 643122"/>
                <a:gd name="connsiteX352" fmla="*/ 251400 w 488025"/>
                <a:gd name="connsiteY352" fmla="*/ 579005 h 643122"/>
                <a:gd name="connsiteX353" fmla="*/ 251400 w 488025"/>
                <a:gd name="connsiteY353" fmla="*/ 571605 h 643122"/>
                <a:gd name="connsiteX354" fmla="*/ 244433 w 488025"/>
                <a:gd name="connsiteY354" fmla="*/ 565314 h 643122"/>
                <a:gd name="connsiteX355" fmla="*/ 244433 w 488025"/>
                <a:gd name="connsiteY355" fmla="*/ 557711 h 643122"/>
                <a:gd name="connsiteX356" fmla="*/ 255068 w 488025"/>
                <a:gd name="connsiteY356" fmla="*/ 550109 h 643122"/>
                <a:gd name="connsiteX357" fmla="*/ 258333 w 488025"/>
                <a:gd name="connsiteY357" fmla="*/ 542506 h 643122"/>
                <a:gd name="connsiteX358" fmla="*/ 261362 w 488025"/>
                <a:gd name="connsiteY358" fmla="*/ 530564 h 643122"/>
                <a:gd name="connsiteX359" fmla="*/ 262472 w 488025"/>
                <a:gd name="connsiteY359" fmla="*/ 519934 h 643122"/>
                <a:gd name="connsiteX360" fmla="*/ 264626 w 488025"/>
                <a:gd name="connsiteY360" fmla="*/ 514081 h 643122"/>
                <a:gd name="connsiteX361" fmla="*/ 262876 w 488025"/>
                <a:gd name="connsiteY361" fmla="*/ 508631 h 643122"/>
                <a:gd name="connsiteX362" fmla="*/ 262674 w 488025"/>
                <a:gd name="connsiteY362" fmla="*/ 502105 h 643122"/>
                <a:gd name="connsiteX363" fmla="*/ 268328 w 488025"/>
                <a:gd name="connsiteY363" fmla="*/ 498842 h 643122"/>
                <a:gd name="connsiteX364" fmla="*/ 271794 w 488025"/>
                <a:gd name="connsiteY364" fmla="*/ 489726 h 643122"/>
                <a:gd name="connsiteX365" fmla="*/ 270482 w 488025"/>
                <a:gd name="connsiteY365" fmla="*/ 484512 h 643122"/>
                <a:gd name="connsiteX366" fmla="*/ 272636 w 488025"/>
                <a:gd name="connsiteY366" fmla="*/ 479499 h 643122"/>
                <a:gd name="connsiteX367" fmla="*/ 276775 w 488025"/>
                <a:gd name="connsiteY367" fmla="*/ 476472 h 643122"/>
                <a:gd name="connsiteX368" fmla="*/ 280477 w 488025"/>
                <a:gd name="connsiteY368" fmla="*/ 475597 h 643122"/>
                <a:gd name="connsiteX369" fmla="*/ 287208 w 488025"/>
                <a:gd name="connsiteY369" fmla="*/ 471258 h 643122"/>
                <a:gd name="connsiteX370" fmla="*/ 291785 w 488025"/>
                <a:gd name="connsiteY370" fmla="*/ 467995 h 643122"/>
                <a:gd name="connsiteX371" fmla="*/ 294612 w 488025"/>
                <a:gd name="connsiteY371" fmla="*/ 462579 h 643122"/>
                <a:gd name="connsiteX372" fmla="*/ 297439 w 488025"/>
                <a:gd name="connsiteY372" fmla="*/ 457163 h 643122"/>
                <a:gd name="connsiteX373" fmla="*/ 299391 w 488025"/>
                <a:gd name="connsiteY373" fmla="*/ 454337 h 643122"/>
                <a:gd name="connsiteX374" fmla="*/ 301545 w 488025"/>
                <a:gd name="connsiteY374" fmla="*/ 452823 h 643122"/>
                <a:gd name="connsiteX375" fmla="*/ 306324 w 488025"/>
                <a:gd name="connsiteY375" fmla="*/ 449997 h 643122"/>
                <a:gd name="connsiteX376" fmla="*/ 307637 w 488025"/>
                <a:gd name="connsiteY376" fmla="*/ 445994 h 643122"/>
                <a:gd name="connsiteX377" fmla="*/ 304810 w 488025"/>
                <a:gd name="connsiteY377" fmla="*/ 443942 h 643122"/>
                <a:gd name="connsiteX378" fmla="*/ 299156 w 488025"/>
                <a:gd name="connsiteY378" fmla="*/ 443942 h 643122"/>
                <a:gd name="connsiteX379" fmla="*/ 293939 w 488025"/>
                <a:gd name="connsiteY379" fmla="*/ 443942 h 643122"/>
                <a:gd name="connsiteX380" fmla="*/ 291314 w 488025"/>
                <a:gd name="connsiteY380" fmla="*/ 439367 h 643122"/>
                <a:gd name="connsiteX381" fmla="*/ 291314 w 488025"/>
                <a:gd name="connsiteY381" fmla="*/ 436104 h 643122"/>
                <a:gd name="connsiteX382" fmla="*/ 294141 w 488025"/>
                <a:gd name="connsiteY382" fmla="*/ 429814 h 643122"/>
                <a:gd name="connsiteX383" fmla="*/ 297843 w 488025"/>
                <a:gd name="connsiteY383" fmla="*/ 424599 h 643122"/>
                <a:gd name="connsiteX384" fmla="*/ 305011 w 488025"/>
                <a:gd name="connsiteY384" fmla="*/ 420260 h 643122"/>
                <a:gd name="connsiteX385" fmla="*/ 308276 w 488025"/>
                <a:gd name="connsiteY385" fmla="*/ 417434 h 643122"/>
                <a:gd name="connsiteX386" fmla="*/ 314132 w 488025"/>
                <a:gd name="connsiteY386" fmla="*/ 414407 h 643122"/>
                <a:gd name="connsiteX387" fmla="*/ 317161 w 488025"/>
                <a:gd name="connsiteY387" fmla="*/ 409428 h 643122"/>
                <a:gd name="connsiteX388" fmla="*/ 316522 w 488025"/>
                <a:gd name="connsiteY388" fmla="*/ 403575 h 643122"/>
                <a:gd name="connsiteX389" fmla="*/ 312180 w 488025"/>
                <a:gd name="connsiteY389" fmla="*/ 397486 h 643122"/>
                <a:gd name="connsiteX390" fmla="*/ 307603 w 488025"/>
                <a:gd name="connsiteY390" fmla="*/ 391633 h 643122"/>
                <a:gd name="connsiteX391" fmla="*/ 304136 w 488025"/>
                <a:gd name="connsiteY391" fmla="*/ 384030 h 643122"/>
                <a:gd name="connsiteX392" fmla="*/ 299559 w 488025"/>
                <a:gd name="connsiteY392" fmla="*/ 380330 h 643122"/>
                <a:gd name="connsiteX393" fmla="*/ 299122 w 488025"/>
                <a:gd name="connsiteY393" fmla="*/ 374039 h 643122"/>
                <a:gd name="connsiteX394" fmla="*/ 303026 w 488025"/>
                <a:gd name="connsiteY394" fmla="*/ 371852 h 643122"/>
                <a:gd name="connsiteX395" fmla="*/ 305214 w 488025"/>
                <a:gd name="connsiteY395" fmla="*/ 369027 h 643122"/>
                <a:gd name="connsiteX396" fmla="*/ 309117 w 488025"/>
                <a:gd name="connsiteY396" fmla="*/ 360987 h 643122"/>
                <a:gd name="connsiteX397" fmla="*/ 313896 w 488025"/>
                <a:gd name="connsiteY397" fmla="*/ 356647 h 643122"/>
                <a:gd name="connsiteX398" fmla="*/ 318238 w 488025"/>
                <a:gd name="connsiteY398" fmla="*/ 351231 h 643122"/>
                <a:gd name="connsiteX399" fmla="*/ 329310 w 488025"/>
                <a:gd name="connsiteY399" fmla="*/ 343629 h 643122"/>
                <a:gd name="connsiteX400" fmla="*/ 338431 w 488025"/>
                <a:gd name="connsiteY400" fmla="*/ 342552 h 643122"/>
                <a:gd name="connsiteX401" fmla="*/ 344959 w 488025"/>
                <a:gd name="connsiteY401" fmla="*/ 341913 h 643122"/>
                <a:gd name="connsiteX402" fmla="*/ 351253 w 488025"/>
                <a:gd name="connsiteY402" fmla="*/ 335387 h 643122"/>
                <a:gd name="connsiteX403" fmla="*/ 354080 w 488025"/>
                <a:gd name="connsiteY403" fmla="*/ 332999 h 643122"/>
                <a:gd name="connsiteX404" fmla="*/ 356671 w 488025"/>
                <a:gd name="connsiteY404" fmla="*/ 327785 h 643122"/>
                <a:gd name="connsiteX405" fmla="*/ 359061 w 488025"/>
                <a:gd name="connsiteY405" fmla="*/ 322133 h 643122"/>
                <a:gd name="connsiteX406" fmla="*/ 363099 w 488025"/>
                <a:gd name="connsiteY406" fmla="*/ 318231 h 643122"/>
                <a:gd name="connsiteX407" fmla="*/ 366027 w 488025"/>
                <a:gd name="connsiteY407" fmla="*/ 313454 h 643122"/>
                <a:gd name="connsiteX408" fmla="*/ 366027 w 488025"/>
                <a:gd name="connsiteY408" fmla="*/ 309316 h 643122"/>
                <a:gd name="connsiteX409" fmla="*/ 363638 w 488025"/>
                <a:gd name="connsiteY409" fmla="*/ 304304 h 643122"/>
                <a:gd name="connsiteX410" fmla="*/ 360374 w 488025"/>
                <a:gd name="connsiteY410" fmla="*/ 303228 h 643122"/>
                <a:gd name="connsiteX411" fmla="*/ 357984 w 488025"/>
                <a:gd name="connsiteY411" fmla="*/ 299325 h 643122"/>
                <a:gd name="connsiteX412" fmla="*/ 358186 w 488025"/>
                <a:gd name="connsiteY412" fmla="*/ 293472 h 643122"/>
                <a:gd name="connsiteX413" fmla="*/ 355998 w 488025"/>
                <a:gd name="connsiteY413" fmla="*/ 289335 h 643122"/>
                <a:gd name="connsiteX414" fmla="*/ 352094 w 488025"/>
                <a:gd name="connsiteY414" fmla="*/ 287383 h 643122"/>
                <a:gd name="connsiteX415" fmla="*/ 345801 w 488025"/>
                <a:gd name="connsiteY415" fmla="*/ 283919 h 643122"/>
                <a:gd name="connsiteX416" fmla="*/ 347113 w 488025"/>
                <a:gd name="connsiteY416" fmla="*/ 280655 h 643122"/>
                <a:gd name="connsiteX417" fmla="*/ 348191 w 488025"/>
                <a:gd name="connsiteY417" fmla="*/ 276081 h 643122"/>
                <a:gd name="connsiteX418" fmla="*/ 352330 w 488025"/>
                <a:gd name="connsiteY418" fmla="*/ 271943 h 643122"/>
                <a:gd name="connsiteX419" fmla="*/ 359936 w 488025"/>
                <a:gd name="connsiteY419" fmla="*/ 268041 h 643122"/>
                <a:gd name="connsiteX420" fmla="*/ 365152 w 488025"/>
                <a:gd name="connsiteY420" fmla="*/ 265652 h 643122"/>
                <a:gd name="connsiteX421" fmla="*/ 372119 w 488025"/>
                <a:gd name="connsiteY421" fmla="*/ 260438 h 643122"/>
                <a:gd name="connsiteX422" fmla="*/ 374946 w 488025"/>
                <a:gd name="connsiteY422" fmla="*/ 255863 h 643122"/>
                <a:gd name="connsiteX423" fmla="*/ 375383 w 488025"/>
                <a:gd name="connsiteY423" fmla="*/ 248698 h 643122"/>
                <a:gd name="connsiteX424" fmla="*/ 376023 w 488025"/>
                <a:gd name="connsiteY424" fmla="*/ 246511 h 643122"/>
                <a:gd name="connsiteX425" fmla="*/ 379725 w 488025"/>
                <a:gd name="connsiteY425" fmla="*/ 243450 h 643122"/>
                <a:gd name="connsiteX426" fmla="*/ 384941 w 488025"/>
                <a:gd name="connsiteY426" fmla="*/ 241701 h 643122"/>
                <a:gd name="connsiteX427" fmla="*/ 389720 w 488025"/>
                <a:gd name="connsiteY427" fmla="*/ 238875 h 643122"/>
                <a:gd name="connsiteX428" fmla="*/ 392110 w 488025"/>
                <a:gd name="connsiteY428" fmla="*/ 236487 h 643122"/>
                <a:gd name="connsiteX429" fmla="*/ 394701 w 488025"/>
                <a:gd name="connsiteY429" fmla="*/ 233661 h 643122"/>
                <a:gd name="connsiteX430" fmla="*/ 396451 w 488025"/>
                <a:gd name="connsiteY430" fmla="*/ 233661 h 643122"/>
                <a:gd name="connsiteX431" fmla="*/ 401667 w 488025"/>
                <a:gd name="connsiteY431" fmla="*/ 236049 h 643122"/>
                <a:gd name="connsiteX432" fmla="*/ 402542 w 488025"/>
                <a:gd name="connsiteY432" fmla="*/ 241499 h 643122"/>
                <a:gd name="connsiteX433" fmla="*/ 406009 w 488025"/>
                <a:gd name="connsiteY433" fmla="*/ 247789 h 643122"/>
                <a:gd name="connsiteX434" fmla="*/ 412101 w 488025"/>
                <a:gd name="connsiteY434" fmla="*/ 248664 h 643122"/>
                <a:gd name="connsiteX435" fmla="*/ 415365 w 488025"/>
                <a:gd name="connsiteY435" fmla="*/ 246713 h 643122"/>
                <a:gd name="connsiteX436" fmla="*/ 421255 w 488025"/>
                <a:gd name="connsiteY436" fmla="*/ 243887 h 643122"/>
                <a:gd name="connsiteX437" fmla="*/ 424284 w 488025"/>
                <a:gd name="connsiteY437" fmla="*/ 240624 h 643122"/>
                <a:gd name="connsiteX438" fmla="*/ 429702 w 488025"/>
                <a:gd name="connsiteY438" fmla="*/ 235410 h 643122"/>
                <a:gd name="connsiteX439" fmla="*/ 439933 w 488025"/>
                <a:gd name="connsiteY439" fmla="*/ 230398 h 643122"/>
                <a:gd name="connsiteX440" fmla="*/ 447101 w 488025"/>
                <a:gd name="connsiteY440" fmla="*/ 226260 h 643122"/>
                <a:gd name="connsiteX441" fmla="*/ 450164 w 488025"/>
                <a:gd name="connsiteY441" fmla="*/ 228648 h 643122"/>
                <a:gd name="connsiteX442" fmla="*/ 453193 w 488025"/>
                <a:gd name="connsiteY442" fmla="*/ 230398 h 643122"/>
                <a:gd name="connsiteX443" fmla="*/ 456222 w 488025"/>
                <a:gd name="connsiteY443" fmla="*/ 227572 h 643122"/>
                <a:gd name="connsiteX444" fmla="*/ 457332 w 488025"/>
                <a:gd name="connsiteY444" fmla="*/ 222156 h 643122"/>
                <a:gd name="connsiteX445" fmla="*/ 459082 w 488025"/>
                <a:gd name="connsiteY445" fmla="*/ 220844 h 643122"/>
                <a:gd name="connsiteX446" fmla="*/ 464501 w 488025"/>
                <a:gd name="connsiteY446" fmla="*/ 218018 h 643122"/>
                <a:gd name="connsiteX447" fmla="*/ 469515 w 488025"/>
                <a:gd name="connsiteY447" fmla="*/ 218018 h 643122"/>
                <a:gd name="connsiteX448" fmla="*/ 474530 w 488025"/>
                <a:gd name="connsiteY448" fmla="*/ 214318 h 643122"/>
                <a:gd name="connsiteX449" fmla="*/ 477794 w 488025"/>
                <a:gd name="connsiteY449" fmla="*/ 212804 h 643122"/>
                <a:gd name="connsiteX450" fmla="*/ 478232 w 488025"/>
                <a:gd name="connsiteY450" fmla="*/ 212804 h 643122"/>
                <a:gd name="connsiteX451" fmla="*/ 478669 w 488025"/>
                <a:gd name="connsiteY451" fmla="*/ 205404 h 643122"/>
                <a:gd name="connsiteX452" fmla="*/ 478030 w 488025"/>
                <a:gd name="connsiteY452" fmla="*/ 201501 h 643122"/>
                <a:gd name="connsiteX453" fmla="*/ 476515 w 488025"/>
                <a:gd name="connsiteY453" fmla="*/ 196085 h 643122"/>
                <a:gd name="connsiteX454" fmla="*/ 478030 w 488025"/>
                <a:gd name="connsiteY454" fmla="*/ 194572 h 643122"/>
                <a:gd name="connsiteX455" fmla="*/ 481732 w 488025"/>
                <a:gd name="connsiteY455" fmla="*/ 194134 h 643122"/>
                <a:gd name="connsiteX456" fmla="*/ 484996 w 488025"/>
                <a:gd name="connsiteY456" fmla="*/ 187171 h 643122"/>
                <a:gd name="connsiteX457" fmla="*/ 488025 w 488025"/>
                <a:gd name="connsiteY457" fmla="*/ 175868 h 643122"/>
                <a:gd name="connsiteX458" fmla="*/ 481900 w 488025"/>
                <a:gd name="connsiteY458" fmla="*/ 169577 h 643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</a:cxnLst>
              <a:rect l="l" t="t" r="r" b="b"/>
              <a:pathLst>
                <a:path w="488025" h="643122">
                  <a:moveTo>
                    <a:pt x="481900" y="169577"/>
                  </a:moveTo>
                  <a:lnTo>
                    <a:pt x="479275" y="158712"/>
                  </a:lnTo>
                  <a:lnTo>
                    <a:pt x="479914" y="147409"/>
                  </a:lnTo>
                  <a:lnTo>
                    <a:pt x="472073" y="137182"/>
                  </a:lnTo>
                  <a:lnTo>
                    <a:pt x="463390" y="126317"/>
                  </a:lnTo>
                  <a:lnTo>
                    <a:pt x="454909" y="117638"/>
                  </a:lnTo>
                  <a:lnTo>
                    <a:pt x="443601" y="110271"/>
                  </a:lnTo>
                  <a:lnTo>
                    <a:pt x="437947" y="104182"/>
                  </a:lnTo>
                  <a:lnTo>
                    <a:pt x="434918" y="92442"/>
                  </a:lnTo>
                  <a:lnTo>
                    <a:pt x="439260" y="90053"/>
                  </a:lnTo>
                  <a:lnTo>
                    <a:pt x="439260" y="81778"/>
                  </a:lnTo>
                  <a:lnTo>
                    <a:pt x="442726" y="77439"/>
                  </a:lnTo>
                  <a:lnTo>
                    <a:pt x="449457" y="75925"/>
                  </a:lnTo>
                  <a:lnTo>
                    <a:pt x="451645" y="72224"/>
                  </a:lnTo>
                  <a:lnTo>
                    <a:pt x="453159" y="65496"/>
                  </a:lnTo>
                  <a:lnTo>
                    <a:pt x="444476" y="62233"/>
                  </a:lnTo>
                  <a:lnTo>
                    <a:pt x="444476" y="59340"/>
                  </a:lnTo>
                  <a:lnTo>
                    <a:pt x="442726" y="52377"/>
                  </a:lnTo>
                  <a:lnTo>
                    <a:pt x="437510" y="51502"/>
                  </a:lnTo>
                  <a:lnTo>
                    <a:pt x="428524" y="52949"/>
                  </a:lnTo>
                  <a:lnTo>
                    <a:pt x="420682" y="52377"/>
                  </a:lnTo>
                  <a:lnTo>
                    <a:pt x="408230" y="50358"/>
                  </a:lnTo>
                  <a:lnTo>
                    <a:pt x="397225" y="49484"/>
                  </a:lnTo>
                  <a:lnTo>
                    <a:pt x="389114" y="49181"/>
                  </a:lnTo>
                  <a:lnTo>
                    <a:pt x="384201" y="47163"/>
                  </a:lnTo>
                  <a:lnTo>
                    <a:pt x="378412" y="44842"/>
                  </a:lnTo>
                  <a:lnTo>
                    <a:pt x="378412" y="42823"/>
                  </a:lnTo>
                  <a:lnTo>
                    <a:pt x="373633" y="41377"/>
                  </a:lnTo>
                  <a:lnTo>
                    <a:pt x="371446" y="36163"/>
                  </a:lnTo>
                  <a:lnTo>
                    <a:pt x="371446" y="29199"/>
                  </a:lnTo>
                  <a:lnTo>
                    <a:pt x="371446" y="26609"/>
                  </a:lnTo>
                  <a:lnTo>
                    <a:pt x="369258" y="24019"/>
                  </a:lnTo>
                  <a:lnTo>
                    <a:pt x="365623" y="24893"/>
                  </a:lnTo>
                  <a:lnTo>
                    <a:pt x="358657" y="24019"/>
                  </a:lnTo>
                  <a:lnTo>
                    <a:pt x="356066" y="20251"/>
                  </a:lnTo>
                  <a:lnTo>
                    <a:pt x="351421" y="14162"/>
                  </a:lnTo>
                  <a:lnTo>
                    <a:pt x="346508" y="13860"/>
                  </a:lnTo>
                  <a:lnTo>
                    <a:pt x="344758" y="15609"/>
                  </a:lnTo>
                  <a:lnTo>
                    <a:pt x="340887" y="17930"/>
                  </a:lnTo>
                  <a:lnTo>
                    <a:pt x="337219" y="22269"/>
                  </a:lnTo>
                  <a:cubicBezTo>
                    <a:pt x="337219" y="22269"/>
                    <a:pt x="338363" y="26037"/>
                    <a:pt x="340113" y="27181"/>
                  </a:cubicBezTo>
                  <a:cubicBezTo>
                    <a:pt x="341864" y="28325"/>
                    <a:pt x="340113" y="32698"/>
                    <a:pt x="340113" y="32698"/>
                  </a:cubicBezTo>
                  <a:lnTo>
                    <a:pt x="340113" y="36768"/>
                  </a:lnTo>
                  <a:lnTo>
                    <a:pt x="338094" y="41410"/>
                  </a:lnTo>
                  <a:lnTo>
                    <a:pt x="336950" y="44606"/>
                  </a:lnTo>
                  <a:lnTo>
                    <a:pt x="325945" y="48071"/>
                  </a:lnTo>
                  <a:lnTo>
                    <a:pt x="322748" y="51267"/>
                  </a:lnTo>
                  <a:lnTo>
                    <a:pt x="318406" y="56178"/>
                  </a:lnTo>
                  <a:lnTo>
                    <a:pt x="313190" y="56178"/>
                  </a:lnTo>
                  <a:lnTo>
                    <a:pt x="306526" y="56178"/>
                  </a:lnTo>
                  <a:lnTo>
                    <a:pt x="302454" y="53151"/>
                  </a:lnTo>
                  <a:lnTo>
                    <a:pt x="299862" y="49517"/>
                  </a:lnTo>
                  <a:lnTo>
                    <a:pt x="298415" y="44875"/>
                  </a:lnTo>
                  <a:lnTo>
                    <a:pt x="298415" y="41410"/>
                  </a:lnTo>
                  <a:lnTo>
                    <a:pt x="298987" y="37071"/>
                  </a:lnTo>
                  <a:lnTo>
                    <a:pt x="304204" y="33606"/>
                  </a:lnTo>
                  <a:lnTo>
                    <a:pt x="309420" y="30713"/>
                  </a:lnTo>
                  <a:lnTo>
                    <a:pt x="312617" y="26945"/>
                  </a:lnTo>
                  <a:lnTo>
                    <a:pt x="319281" y="22303"/>
                  </a:lnTo>
                  <a:lnTo>
                    <a:pt x="319281" y="15340"/>
                  </a:lnTo>
                  <a:lnTo>
                    <a:pt x="314805" y="11572"/>
                  </a:lnTo>
                  <a:lnTo>
                    <a:pt x="308848" y="6661"/>
                  </a:lnTo>
                  <a:lnTo>
                    <a:pt x="308848" y="3465"/>
                  </a:lnTo>
                  <a:lnTo>
                    <a:pt x="305516" y="0"/>
                  </a:lnTo>
                  <a:lnTo>
                    <a:pt x="296968" y="875"/>
                  </a:lnTo>
                  <a:lnTo>
                    <a:pt x="292896" y="1177"/>
                  </a:lnTo>
                  <a:lnTo>
                    <a:pt x="289429" y="3498"/>
                  </a:lnTo>
                  <a:lnTo>
                    <a:pt x="290574" y="10731"/>
                  </a:lnTo>
                  <a:lnTo>
                    <a:pt x="287679" y="14196"/>
                  </a:lnTo>
                  <a:lnTo>
                    <a:pt x="283607" y="17661"/>
                  </a:lnTo>
                  <a:cubicBezTo>
                    <a:pt x="283607" y="17661"/>
                    <a:pt x="278088" y="22572"/>
                    <a:pt x="277819" y="23447"/>
                  </a:cubicBezTo>
                  <a:cubicBezTo>
                    <a:pt x="277549" y="24321"/>
                    <a:pt x="273746" y="28661"/>
                    <a:pt x="273746" y="28661"/>
                  </a:cubicBezTo>
                  <a:cubicBezTo>
                    <a:pt x="273746" y="28661"/>
                    <a:pt x="268530" y="31857"/>
                    <a:pt x="266780" y="31857"/>
                  </a:cubicBezTo>
                  <a:cubicBezTo>
                    <a:pt x="265030" y="31857"/>
                    <a:pt x="260991" y="34481"/>
                    <a:pt x="260991" y="34481"/>
                  </a:cubicBezTo>
                  <a:lnTo>
                    <a:pt x="252308" y="37071"/>
                  </a:lnTo>
                  <a:lnTo>
                    <a:pt x="245645" y="37071"/>
                  </a:lnTo>
                  <a:lnTo>
                    <a:pt x="245409" y="36196"/>
                  </a:lnTo>
                  <a:lnTo>
                    <a:pt x="243592" y="38652"/>
                  </a:lnTo>
                  <a:lnTo>
                    <a:pt x="238476" y="40670"/>
                  </a:lnTo>
                  <a:lnTo>
                    <a:pt x="230736" y="44068"/>
                  </a:lnTo>
                  <a:lnTo>
                    <a:pt x="227101" y="45716"/>
                  </a:lnTo>
                  <a:lnTo>
                    <a:pt x="217543" y="45716"/>
                  </a:lnTo>
                  <a:lnTo>
                    <a:pt x="212764" y="38316"/>
                  </a:lnTo>
                  <a:lnTo>
                    <a:pt x="209937" y="35591"/>
                  </a:lnTo>
                  <a:lnTo>
                    <a:pt x="204721" y="33539"/>
                  </a:lnTo>
                  <a:lnTo>
                    <a:pt x="193211" y="33539"/>
                  </a:lnTo>
                  <a:lnTo>
                    <a:pt x="186918" y="34851"/>
                  </a:lnTo>
                  <a:lnTo>
                    <a:pt x="178975" y="35288"/>
                  </a:lnTo>
                  <a:lnTo>
                    <a:pt x="176687" y="39627"/>
                  </a:lnTo>
                  <a:lnTo>
                    <a:pt x="176687" y="43092"/>
                  </a:lnTo>
                  <a:lnTo>
                    <a:pt x="174061" y="47869"/>
                  </a:lnTo>
                  <a:lnTo>
                    <a:pt x="171235" y="51771"/>
                  </a:lnTo>
                  <a:lnTo>
                    <a:pt x="167533" y="54160"/>
                  </a:lnTo>
                  <a:lnTo>
                    <a:pt x="162956" y="55472"/>
                  </a:lnTo>
                  <a:lnTo>
                    <a:pt x="156426" y="58096"/>
                  </a:lnTo>
                  <a:lnTo>
                    <a:pt x="153398" y="64184"/>
                  </a:lnTo>
                  <a:cubicBezTo>
                    <a:pt x="153398" y="64184"/>
                    <a:pt x="152960" y="68087"/>
                    <a:pt x="152321" y="68524"/>
                  </a:cubicBezTo>
                  <a:cubicBezTo>
                    <a:pt x="151681" y="68961"/>
                    <a:pt x="145792" y="71989"/>
                    <a:pt x="145792" y="71989"/>
                  </a:cubicBezTo>
                  <a:lnTo>
                    <a:pt x="138388" y="67010"/>
                  </a:lnTo>
                  <a:lnTo>
                    <a:pt x="132936" y="63545"/>
                  </a:lnTo>
                  <a:lnTo>
                    <a:pt x="128157" y="67683"/>
                  </a:lnTo>
                  <a:cubicBezTo>
                    <a:pt x="128157" y="67683"/>
                    <a:pt x="126407" y="70071"/>
                    <a:pt x="126205" y="70946"/>
                  </a:cubicBezTo>
                  <a:cubicBezTo>
                    <a:pt x="126003" y="71821"/>
                    <a:pt x="121864" y="73772"/>
                    <a:pt x="122065" y="75084"/>
                  </a:cubicBezTo>
                  <a:cubicBezTo>
                    <a:pt x="122267" y="76396"/>
                    <a:pt x="126407" y="83023"/>
                    <a:pt x="126407" y="83023"/>
                  </a:cubicBezTo>
                  <a:lnTo>
                    <a:pt x="122065" y="87463"/>
                  </a:lnTo>
                  <a:lnTo>
                    <a:pt x="114897" y="87463"/>
                  </a:lnTo>
                  <a:lnTo>
                    <a:pt x="106214" y="87463"/>
                  </a:lnTo>
                  <a:lnTo>
                    <a:pt x="95781" y="87463"/>
                  </a:lnTo>
                  <a:cubicBezTo>
                    <a:pt x="95781" y="87463"/>
                    <a:pt x="93156" y="89414"/>
                    <a:pt x="92752" y="90289"/>
                  </a:cubicBezTo>
                  <a:cubicBezTo>
                    <a:pt x="92315" y="91163"/>
                    <a:pt x="89487" y="94191"/>
                    <a:pt x="88848" y="94628"/>
                  </a:cubicBezTo>
                  <a:cubicBezTo>
                    <a:pt x="88209" y="95066"/>
                    <a:pt x="85382" y="96142"/>
                    <a:pt x="85382" y="96142"/>
                  </a:cubicBezTo>
                  <a:lnTo>
                    <a:pt x="77574" y="97891"/>
                  </a:lnTo>
                  <a:lnTo>
                    <a:pt x="64516" y="97891"/>
                  </a:lnTo>
                  <a:lnTo>
                    <a:pt x="61049" y="97891"/>
                  </a:lnTo>
                  <a:lnTo>
                    <a:pt x="60174" y="101794"/>
                  </a:lnTo>
                  <a:lnTo>
                    <a:pt x="60174" y="103980"/>
                  </a:lnTo>
                  <a:lnTo>
                    <a:pt x="60174" y="109194"/>
                  </a:lnTo>
                  <a:cubicBezTo>
                    <a:pt x="60174" y="109194"/>
                    <a:pt x="58660" y="110069"/>
                    <a:pt x="57987" y="110506"/>
                  </a:cubicBezTo>
                  <a:cubicBezTo>
                    <a:pt x="57348" y="110943"/>
                    <a:pt x="53208" y="111381"/>
                    <a:pt x="52568" y="111583"/>
                  </a:cubicBezTo>
                  <a:cubicBezTo>
                    <a:pt x="52501" y="111616"/>
                    <a:pt x="52434" y="111616"/>
                    <a:pt x="52434" y="111650"/>
                  </a:cubicBezTo>
                  <a:cubicBezTo>
                    <a:pt x="52501" y="111616"/>
                    <a:pt x="52568" y="111448"/>
                    <a:pt x="50179" y="111583"/>
                  </a:cubicBezTo>
                  <a:cubicBezTo>
                    <a:pt x="46679" y="111784"/>
                    <a:pt x="44087" y="111650"/>
                    <a:pt x="44087" y="111650"/>
                  </a:cubicBezTo>
                  <a:lnTo>
                    <a:pt x="41261" y="116158"/>
                  </a:lnTo>
                  <a:cubicBezTo>
                    <a:pt x="41261" y="116158"/>
                    <a:pt x="40184" y="118109"/>
                    <a:pt x="38871" y="119421"/>
                  </a:cubicBezTo>
                  <a:cubicBezTo>
                    <a:pt x="37559" y="120733"/>
                    <a:pt x="34092" y="123760"/>
                    <a:pt x="34092" y="123760"/>
                  </a:cubicBezTo>
                  <a:lnTo>
                    <a:pt x="34092" y="126586"/>
                  </a:lnTo>
                  <a:lnTo>
                    <a:pt x="35842" y="133314"/>
                  </a:lnTo>
                  <a:lnTo>
                    <a:pt x="35842" y="140479"/>
                  </a:lnTo>
                  <a:lnTo>
                    <a:pt x="37592" y="145929"/>
                  </a:lnTo>
                  <a:lnTo>
                    <a:pt x="45198" y="148317"/>
                  </a:lnTo>
                  <a:lnTo>
                    <a:pt x="48900" y="148317"/>
                  </a:lnTo>
                  <a:lnTo>
                    <a:pt x="56708" y="153969"/>
                  </a:lnTo>
                  <a:lnTo>
                    <a:pt x="57819" y="156357"/>
                  </a:lnTo>
                  <a:lnTo>
                    <a:pt x="56069" y="166348"/>
                  </a:lnTo>
                  <a:lnTo>
                    <a:pt x="52165" y="175262"/>
                  </a:lnTo>
                  <a:lnTo>
                    <a:pt x="49775" y="184379"/>
                  </a:lnTo>
                  <a:cubicBezTo>
                    <a:pt x="49775" y="184379"/>
                    <a:pt x="49136" y="186128"/>
                    <a:pt x="49775" y="188281"/>
                  </a:cubicBezTo>
                  <a:cubicBezTo>
                    <a:pt x="50414" y="190468"/>
                    <a:pt x="53679" y="195244"/>
                    <a:pt x="55194" y="194807"/>
                  </a:cubicBezTo>
                  <a:cubicBezTo>
                    <a:pt x="56708" y="194370"/>
                    <a:pt x="62160" y="194841"/>
                    <a:pt x="62160" y="194841"/>
                  </a:cubicBezTo>
                  <a:lnTo>
                    <a:pt x="65189" y="196994"/>
                  </a:lnTo>
                  <a:lnTo>
                    <a:pt x="66064" y="200694"/>
                  </a:lnTo>
                  <a:lnTo>
                    <a:pt x="65425" y="203284"/>
                  </a:lnTo>
                  <a:lnTo>
                    <a:pt x="64112" y="206312"/>
                  </a:lnTo>
                  <a:lnTo>
                    <a:pt x="59771" y="208498"/>
                  </a:lnTo>
                  <a:cubicBezTo>
                    <a:pt x="59771" y="208498"/>
                    <a:pt x="63035" y="212636"/>
                    <a:pt x="62800" y="213511"/>
                  </a:cubicBezTo>
                  <a:cubicBezTo>
                    <a:pt x="62597" y="214385"/>
                    <a:pt x="64112" y="215899"/>
                    <a:pt x="57348" y="220474"/>
                  </a:cubicBezTo>
                  <a:cubicBezTo>
                    <a:pt x="50617" y="225049"/>
                    <a:pt x="47352" y="228077"/>
                    <a:pt x="47352" y="228077"/>
                  </a:cubicBezTo>
                  <a:lnTo>
                    <a:pt x="40184" y="231777"/>
                  </a:lnTo>
                  <a:lnTo>
                    <a:pt x="40823" y="235242"/>
                  </a:lnTo>
                  <a:lnTo>
                    <a:pt x="45400" y="235242"/>
                  </a:lnTo>
                  <a:lnTo>
                    <a:pt x="47790" y="239380"/>
                  </a:lnTo>
                  <a:lnTo>
                    <a:pt x="44962" y="244796"/>
                  </a:lnTo>
                  <a:lnTo>
                    <a:pt x="41934" y="248260"/>
                  </a:lnTo>
                  <a:lnTo>
                    <a:pt x="34126" y="250447"/>
                  </a:lnTo>
                  <a:lnTo>
                    <a:pt x="30861" y="251961"/>
                  </a:lnTo>
                  <a:lnTo>
                    <a:pt x="25847" y="253037"/>
                  </a:lnTo>
                  <a:lnTo>
                    <a:pt x="22145" y="255426"/>
                  </a:lnTo>
                  <a:lnTo>
                    <a:pt x="19755" y="258487"/>
                  </a:lnTo>
                  <a:lnTo>
                    <a:pt x="18443" y="260875"/>
                  </a:lnTo>
                  <a:lnTo>
                    <a:pt x="18443" y="263903"/>
                  </a:lnTo>
                  <a:lnTo>
                    <a:pt x="18443" y="269117"/>
                  </a:lnTo>
                  <a:lnTo>
                    <a:pt x="18443" y="276081"/>
                  </a:lnTo>
                  <a:lnTo>
                    <a:pt x="16928" y="278032"/>
                  </a:lnTo>
                  <a:lnTo>
                    <a:pt x="15616" y="280218"/>
                  </a:lnTo>
                  <a:lnTo>
                    <a:pt x="12149" y="283279"/>
                  </a:lnTo>
                  <a:lnTo>
                    <a:pt x="9760" y="286542"/>
                  </a:lnTo>
                  <a:cubicBezTo>
                    <a:pt x="9760" y="286542"/>
                    <a:pt x="8683" y="287182"/>
                    <a:pt x="8683" y="289133"/>
                  </a:cubicBezTo>
                  <a:cubicBezTo>
                    <a:pt x="8683" y="291084"/>
                    <a:pt x="6731" y="294549"/>
                    <a:pt x="6731" y="294549"/>
                  </a:cubicBezTo>
                  <a:lnTo>
                    <a:pt x="3264" y="298014"/>
                  </a:lnTo>
                  <a:lnTo>
                    <a:pt x="1750" y="299527"/>
                  </a:lnTo>
                  <a:lnTo>
                    <a:pt x="0" y="302151"/>
                  </a:lnTo>
                  <a:lnTo>
                    <a:pt x="2625" y="305179"/>
                  </a:lnTo>
                  <a:lnTo>
                    <a:pt x="3063" y="311032"/>
                  </a:lnTo>
                  <a:lnTo>
                    <a:pt x="3938" y="316684"/>
                  </a:lnTo>
                  <a:lnTo>
                    <a:pt x="4577" y="317995"/>
                  </a:lnTo>
                  <a:lnTo>
                    <a:pt x="4577" y="322133"/>
                  </a:lnTo>
                  <a:lnTo>
                    <a:pt x="7168" y="322133"/>
                  </a:lnTo>
                  <a:lnTo>
                    <a:pt x="10669" y="324320"/>
                  </a:lnTo>
                  <a:lnTo>
                    <a:pt x="15683" y="325632"/>
                  </a:lnTo>
                  <a:lnTo>
                    <a:pt x="19385" y="325632"/>
                  </a:lnTo>
                  <a:lnTo>
                    <a:pt x="24837" y="321292"/>
                  </a:lnTo>
                  <a:lnTo>
                    <a:pt x="30929" y="320418"/>
                  </a:lnTo>
                  <a:lnTo>
                    <a:pt x="34832" y="320619"/>
                  </a:lnTo>
                  <a:lnTo>
                    <a:pt x="34597" y="322571"/>
                  </a:lnTo>
                  <a:lnTo>
                    <a:pt x="34159" y="327347"/>
                  </a:lnTo>
                  <a:lnTo>
                    <a:pt x="33083" y="331485"/>
                  </a:lnTo>
                  <a:lnTo>
                    <a:pt x="31770" y="335623"/>
                  </a:lnTo>
                  <a:lnTo>
                    <a:pt x="28741" y="338246"/>
                  </a:lnTo>
                  <a:lnTo>
                    <a:pt x="26116" y="341711"/>
                  </a:lnTo>
                  <a:lnTo>
                    <a:pt x="24164" y="344537"/>
                  </a:lnTo>
                  <a:cubicBezTo>
                    <a:pt x="24164" y="344537"/>
                    <a:pt x="23727" y="349112"/>
                    <a:pt x="23727" y="349751"/>
                  </a:cubicBezTo>
                  <a:cubicBezTo>
                    <a:pt x="23727" y="350390"/>
                    <a:pt x="25477" y="354965"/>
                    <a:pt x="25477" y="354965"/>
                  </a:cubicBezTo>
                  <a:lnTo>
                    <a:pt x="30255" y="360180"/>
                  </a:lnTo>
                  <a:lnTo>
                    <a:pt x="39174" y="364755"/>
                  </a:lnTo>
                  <a:lnTo>
                    <a:pt x="40688" y="368892"/>
                  </a:lnTo>
                  <a:lnTo>
                    <a:pt x="36347" y="374308"/>
                  </a:lnTo>
                  <a:lnTo>
                    <a:pt x="35472" y="378009"/>
                  </a:lnTo>
                  <a:lnTo>
                    <a:pt x="35236" y="384535"/>
                  </a:lnTo>
                  <a:lnTo>
                    <a:pt x="33049" y="388437"/>
                  </a:lnTo>
                  <a:lnTo>
                    <a:pt x="31972" y="389749"/>
                  </a:lnTo>
                  <a:lnTo>
                    <a:pt x="31333" y="393449"/>
                  </a:lnTo>
                  <a:lnTo>
                    <a:pt x="32208" y="397587"/>
                  </a:lnTo>
                  <a:lnTo>
                    <a:pt x="32409" y="402599"/>
                  </a:lnTo>
                  <a:lnTo>
                    <a:pt x="34799" y="404416"/>
                  </a:lnTo>
                  <a:lnTo>
                    <a:pt x="46612" y="405660"/>
                  </a:lnTo>
                  <a:lnTo>
                    <a:pt x="52400" y="405660"/>
                  </a:lnTo>
                  <a:lnTo>
                    <a:pt x="58492" y="414070"/>
                  </a:lnTo>
                  <a:lnTo>
                    <a:pt x="60242" y="417535"/>
                  </a:lnTo>
                  <a:lnTo>
                    <a:pt x="60545" y="424196"/>
                  </a:lnTo>
                  <a:lnTo>
                    <a:pt x="57650" y="429107"/>
                  </a:lnTo>
                  <a:lnTo>
                    <a:pt x="55900" y="432875"/>
                  </a:lnTo>
                  <a:cubicBezTo>
                    <a:pt x="55900" y="432875"/>
                    <a:pt x="54150" y="437214"/>
                    <a:pt x="54150" y="438964"/>
                  </a:cubicBezTo>
                  <a:cubicBezTo>
                    <a:pt x="54150" y="440713"/>
                    <a:pt x="53578" y="445624"/>
                    <a:pt x="53578" y="445624"/>
                  </a:cubicBezTo>
                  <a:cubicBezTo>
                    <a:pt x="53578" y="445624"/>
                    <a:pt x="50112" y="447945"/>
                    <a:pt x="49237" y="448820"/>
                  </a:cubicBezTo>
                  <a:cubicBezTo>
                    <a:pt x="48362" y="449695"/>
                    <a:pt x="47217" y="452016"/>
                    <a:pt x="47217" y="452016"/>
                  </a:cubicBezTo>
                  <a:lnTo>
                    <a:pt x="46342" y="456591"/>
                  </a:lnTo>
                  <a:lnTo>
                    <a:pt x="46915" y="459551"/>
                  </a:lnTo>
                  <a:lnTo>
                    <a:pt x="50684" y="459551"/>
                  </a:lnTo>
                  <a:cubicBezTo>
                    <a:pt x="50684" y="459551"/>
                    <a:pt x="55328" y="457365"/>
                    <a:pt x="56472" y="456725"/>
                  </a:cubicBezTo>
                  <a:cubicBezTo>
                    <a:pt x="57617" y="456086"/>
                    <a:pt x="64886" y="453160"/>
                    <a:pt x="64886" y="453160"/>
                  </a:cubicBezTo>
                  <a:lnTo>
                    <a:pt x="69228" y="452285"/>
                  </a:lnTo>
                  <a:lnTo>
                    <a:pt x="72997" y="452588"/>
                  </a:lnTo>
                  <a:lnTo>
                    <a:pt x="75891" y="456725"/>
                  </a:lnTo>
                  <a:lnTo>
                    <a:pt x="74747" y="459551"/>
                  </a:lnTo>
                  <a:lnTo>
                    <a:pt x="71852" y="463016"/>
                  </a:lnTo>
                  <a:lnTo>
                    <a:pt x="66636" y="465640"/>
                  </a:lnTo>
                  <a:cubicBezTo>
                    <a:pt x="66636" y="465640"/>
                    <a:pt x="62564" y="466784"/>
                    <a:pt x="61117" y="467658"/>
                  </a:cubicBezTo>
                  <a:cubicBezTo>
                    <a:pt x="59670" y="468533"/>
                    <a:pt x="54150" y="471123"/>
                    <a:pt x="54150" y="471123"/>
                  </a:cubicBezTo>
                  <a:lnTo>
                    <a:pt x="52131" y="476337"/>
                  </a:lnTo>
                  <a:lnTo>
                    <a:pt x="52400" y="483570"/>
                  </a:lnTo>
                  <a:lnTo>
                    <a:pt x="52972" y="487909"/>
                  </a:lnTo>
                  <a:lnTo>
                    <a:pt x="51391" y="491105"/>
                  </a:lnTo>
                  <a:lnTo>
                    <a:pt x="48059" y="497766"/>
                  </a:lnTo>
                  <a:lnTo>
                    <a:pt x="48059" y="500356"/>
                  </a:lnTo>
                  <a:lnTo>
                    <a:pt x="45736" y="504998"/>
                  </a:lnTo>
                  <a:lnTo>
                    <a:pt x="45165" y="510515"/>
                  </a:lnTo>
                  <a:lnTo>
                    <a:pt x="44862" y="513711"/>
                  </a:lnTo>
                  <a:lnTo>
                    <a:pt x="45434" y="519800"/>
                  </a:lnTo>
                  <a:lnTo>
                    <a:pt x="48631" y="521818"/>
                  </a:lnTo>
                  <a:lnTo>
                    <a:pt x="49775" y="524711"/>
                  </a:lnTo>
                  <a:lnTo>
                    <a:pt x="48631" y="529622"/>
                  </a:lnTo>
                  <a:lnTo>
                    <a:pt x="47487" y="533390"/>
                  </a:lnTo>
                  <a:lnTo>
                    <a:pt x="48934" y="536586"/>
                  </a:lnTo>
                  <a:lnTo>
                    <a:pt x="47924" y="541228"/>
                  </a:lnTo>
                  <a:lnTo>
                    <a:pt x="52838" y="541531"/>
                  </a:lnTo>
                  <a:lnTo>
                    <a:pt x="59501" y="546005"/>
                  </a:lnTo>
                  <a:lnTo>
                    <a:pt x="60948" y="553103"/>
                  </a:lnTo>
                  <a:lnTo>
                    <a:pt x="59939" y="553977"/>
                  </a:lnTo>
                  <a:lnTo>
                    <a:pt x="61958" y="558048"/>
                  </a:lnTo>
                  <a:lnTo>
                    <a:pt x="67175" y="558182"/>
                  </a:lnTo>
                  <a:cubicBezTo>
                    <a:pt x="67175" y="558182"/>
                    <a:pt x="71819" y="552094"/>
                    <a:pt x="72391" y="551959"/>
                  </a:cubicBezTo>
                  <a:cubicBezTo>
                    <a:pt x="72963" y="551825"/>
                    <a:pt x="75588" y="548629"/>
                    <a:pt x="75588" y="548629"/>
                  </a:cubicBezTo>
                  <a:cubicBezTo>
                    <a:pt x="75588" y="548629"/>
                    <a:pt x="77910" y="546610"/>
                    <a:pt x="78483" y="546610"/>
                  </a:cubicBezTo>
                  <a:cubicBezTo>
                    <a:pt x="79055" y="546610"/>
                    <a:pt x="81680" y="547351"/>
                    <a:pt x="82117" y="547788"/>
                  </a:cubicBezTo>
                  <a:cubicBezTo>
                    <a:pt x="82555" y="548225"/>
                    <a:pt x="87906" y="553002"/>
                    <a:pt x="87906" y="553002"/>
                  </a:cubicBezTo>
                  <a:lnTo>
                    <a:pt x="89925" y="554146"/>
                  </a:lnTo>
                  <a:cubicBezTo>
                    <a:pt x="89925" y="554146"/>
                    <a:pt x="93391" y="553137"/>
                    <a:pt x="94132" y="552834"/>
                  </a:cubicBezTo>
                  <a:cubicBezTo>
                    <a:pt x="94839" y="552531"/>
                    <a:pt x="97767" y="549503"/>
                    <a:pt x="98204" y="549369"/>
                  </a:cubicBezTo>
                  <a:cubicBezTo>
                    <a:pt x="98642" y="549234"/>
                    <a:pt x="102411" y="546610"/>
                    <a:pt x="102983" y="546476"/>
                  </a:cubicBezTo>
                  <a:cubicBezTo>
                    <a:pt x="103555" y="546341"/>
                    <a:pt x="105305" y="543280"/>
                    <a:pt x="105743" y="543280"/>
                  </a:cubicBezTo>
                  <a:cubicBezTo>
                    <a:pt x="106180" y="543280"/>
                    <a:pt x="108200" y="541699"/>
                    <a:pt x="108200" y="541699"/>
                  </a:cubicBezTo>
                  <a:cubicBezTo>
                    <a:pt x="108200" y="541699"/>
                    <a:pt x="109344" y="541127"/>
                    <a:pt x="109781" y="541127"/>
                  </a:cubicBezTo>
                  <a:cubicBezTo>
                    <a:pt x="110219" y="541127"/>
                    <a:pt x="113988" y="544895"/>
                    <a:pt x="113988" y="544895"/>
                  </a:cubicBezTo>
                  <a:lnTo>
                    <a:pt x="117455" y="546476"/>
                  </a:lnTo>
                  <a:lnTo>
                    <a:pt x="121359" y="550546"/>
                  </a:lnTo>
                  <a:cubicBezTo>
                    <a:pt x="121359" y="550546"/>
                    <a:pt x="123681" y="552127"/>
                    <a:pt x="124118" y="552867"/>
                  </a:cubicBezTo>
                  <a:cubicBezTo>
                    <a:pt x="124556" y="553608"/>
                    <a:pt x="125868" y="554886"/>
                    <a:pt x="126137" y="555626"/>
                  </a:cubicBezTo>
                  <a:cubicBezTo>
                    <a:pt x="126440" y="556366"/>
                    <a:pt x="128460" y="559259"/>
                    <a:pt x="128460" y="559259"/>
                  </a:cubicBezTo>
                  <a:cubicBezTo>
                    <a:pt x="128460" y="559259"/>
                    <a:pt x="129032" y="562724"/>
                    <a:pt x="129032" y="563161"/>
                  </a:cubicBezTo>
                  <a:cubicBezTo>
                    <a:pt x="129032" y="563598"/>
                    <a:pt x="128325" y="565348"/>
                    <a:pt x="128325" y="565348"/>
                  </a:cubicBezTo>
                  <a:cubicBezTo>
                    <a:pt x="128325" y="565348"/>
                    <a:pt x="128190" y="566222"/>
                    <a:pt x="128762" y="567669"/>
                  </a:cubicBezTo>
                  <a:cubicBezTo>
                    <a:pt x="129335" y="569115"/>
                    <a:pt x="129907" y="569990"/>
                    <a:pt x="130075" y="570696"/>
                  </a:cubicBezTo>
                  <a:cubicBezTo>
                    <a:pt x="130210" y="571436"/>
                    <a:pt x="130647" y="573455"/>
                    <a:pt x="130647" y="573455"/>
                  </a:cubicBezTo>
                  <a:cubicBezTo>
                    <a:pt x="130647" y="573455"/>
                    <a:pt x="130210" y="574329"/>
                    <a:pt x="129772" y="574767"/>
                  </a:cubicBezTo>
                  <a:cubicBezTo>
                    <a:pt x="129335" y="575204"/>
                    <a:pt x="125431" y="577223"/>
                    <a:pt x="125431" y="577223"/>
                  </a:cubicBezTo>
                  <a:cubicBezTo>
                    <a:pt x="125431" y="577223"/>
                    <a:pt x="124421" y="578669"/>
                    <a:pt x="123815" y="578972"/>
                  </a:cubicBezTo>
                  <a:cubicBezTo>
                    <a:pt x="123243" y="579275"/>
                    <a:pt x="116411" y="581865"/>
                    <a:pt x="116411" y="581865"/>
                  </a:cubicBezTo>
                  <a:cubicBezTo>
                    <a:pt x="116411" y="581865"/>
                    <a:pt x="115099" y="581999"/>
                    <a:pt x="114661" y="582302"/>
                  </a:cubicBezTo>
                  <a:cubicBezTo>
                    <a:pt x="114224" y="582605"/>
                    <a:pt x="111632" y="584186"/>
                    <a:pt x="111195" y="584758"/>
                  </a:cubicBezTo>
                  <a:cubicBezTo>
                    <a:pt x="110757" y="585330"/>
                    <a:pt x="107291" y="588223"/>
                    <a:pt x="107291" y="588828"/>
                  </a:cubicBezTo>
                  <a:cubicBezTo>
                    <a:pt x="107291" y="589400"/>
                    <a:pt x="106147" y="589568"/>
                    <a:pt x="105137" y="591418"/>
                  </a:cubicBezTo>
                  <a:cubicBezTo>
                    <a:pt x="104127" y="593302"/>
                    <a:pt x="100493" y="595186"/>
                    <a:pt x="100493" y="595186"/>
                  </a:cubicBezTo>
                  <a:cubicBezTo>
                    <a:pt x="100493" y="595186"/>
                    <a:pt x="99921" y="597776"/>
                    <a:pt x="99617" y="598516"/>
                  </a:cubicBezTo>
                  <a:cubicBezTo>
                    <a:pt x="99315" y="599223"/>
                    <a:pt x="99180" y="601847"/>
                    <a:pt x="99180" y="601847"/>
                  </a:cubicBezTo>
                  <a:cubicBezTo>
                    <a:pt x="99180" y="601847"/>
                    <a:pt x="99046" y="602990"/>
                    <a:pt x="99315" y="603428"/>
                  </a:cubicBezTo>
                  <a:cubicBezTo>
                    <a:pt x="99617" y="603865"/>
                    <a:pt x="96858" y="612275"/>
                    <a:pt x="96858" y="612275"/>
                  </a:cubicBezTo>
                  <a:lnTo>
                    <a:pt x="92954" y="616783"/>
                  </a:lnTo>
                  <a:lnTo>
                    <a:pt x="90935" y="619373"/>
                  </a:lnTo>
                  <a:lnTo>
                    <a:pt x="87468" y="622569"/>
                  </a:lnTo>
                  <a:cubicBezTo>
                    <a:pt x="87468" y="622569"/>
                    <a:pt x="83565" y="623578"/>
                    <a:pt x="83396" y="624015"/>
                  </a:cubicBezTo>
                  <a:cubicBezTo>
                    <a:pt x="83261" y="624453"/>
                    <a:pt x="80199" y="624722"/>
                    <a:pt x="80064" y="625327"/>
                  </a:cubicBezTo>
                  <a:cubicBezTo>
                    <a:pt x="79930" y="625899"/>
                    <a:pt x="77473" y="627648"/>
                    <a:pt x="77473" y="628220"/>
                  </a:cubicBezTo>
                  <a:cubicBezTo>
                    <a:pt x="77473" y="628792"/>
                    <a:pt x="78785" y="631685"/>
                    <a:pt x="79189" y="631853"/>
                  </a:cubicBezTo>
                  <a:cubicBezTo>
                    <a:pt x="79627" y="631988"/>
                    <a:pt x="82656" y="633737"/>
                    <a:pt x="83093" y="633872"/>
                  </a:cubicBezTo>
                  <a:cubicBezTo>
                    <a:pt x="83531" y="634006"/>
                    <a:pt x="88882" y="636899"/>
                    <a:pt x="88882" y="636899"/>
                  </a:cubicBezTo>
                  <a:lnTo>
                    <a:pt x="90632" y="637908"/>
                  </a:lnTo>
                  <a:lnTo>
                    <a:pt x="93526" y="639052"/>
                  </a:lnTo>
                  <a:lnTo>
                    <a:pt x="100762" y="643123"/>
                  </a:lnTo>
                  <a:cubicBezTo>
                    <a:pt x="100762" y="643123"/>
                    <a:pt x="104969" y="643123"/>
                    <a:pt x="106113" y="642820"/>
                  </a:cubicBezTo>
                  <a:cubicBezTo>
                    <a:pt x="107257" y="642517"/>
                    <a:pt x="111464" y="641945"/>
                    <a:pt x="111464" y="641945"/>
                  </a:cubicBezTo>
                  <a:cubicBezTo>
                    <a:pt x="111464" y="641945"/>
                    <a:pt x="118868" y="641373"/>
                    <a:pt x="119575" y="641071"/>
                  </a:cubicBezTo>
                  <a:cubicBezTo>
                    <a:pt x="120315" y="640768"/>
                    <a:pt x="122907" y="639759"/>
                    <a:pt x="122907" y="639759"/>
                  </a:cubicBezTo>
                  <a:cubicBezTo>
                    <a:pt x="122907" y="639759"/>
                    <a:pt x="124657" y="638447"/>
                    <a:pt x="125229" y="638447"/>
                  </a:cubicBezTo>
                  <a:cubicBezTo>
                    <a:pt x="125801" y="638447"/>
                    <a:pt x="127686" y="636260"/>
                    <a:pt x="127686" y="636260"/>
                  </a:cubicBezTo>
                  <a:lnTo>
                    <a:pt x="131589" y="637269"/>
                  </a:lnTo>
                  <a:lnTo>
                    <a:pt x="134618" y="637404"/>
                  </a:lnTo>
                  <a:lnTo>
                    <a:pt x="137378" y="635385"/>
                  </a:lnTo>
                  <a:lnTo>
                    <a:pt x="138960" y="634073"/>
                  </a:lnTo>
                  <a:cubicBezTo>
                    <a:pt x="138960" y="634073"/>
                    <a:pt x="140138" y="633502"/>
                    <a:pt x="140979" y="633636"/>
                  </a:cubicBezTo>
                  <a:cubicBezTo>
                    <a:pt x="141854" y="633771"/>
                    <a:pt x="142864" y="633064"/>
                    <a:pt x="144883" y="634343"/>
                  </a:cubicBezTo>
                  <a:cubicBezTo>
                    <a:pt x="146902" y="635655"/>
                    <a:pt x="146902" y="635655"/>
                    <a:pt x="146902" y="635655"/>
                  </a:cubicBezTo>
                  <a:lnTo>
                    <a:pt x="151109" y="635520"/>
                  </a:lnTo>
                  <a:lnTo>
                    <a:pt x="153499" y="633064"/>
                  </a:lnTo>
                  <a:lnTo>
                    <a:pt x="154003" y="630171"/>
                  </a:lnTo>
                  <a:lnTo>
                    <a:pt x="154003" y="627278"/>
                  </a:lnTo>
                  <a:lnTo>
                    <a:pt x="155451" y="625966"/>
                  </a:lnTo>
                  <a:lnTo>
                    <a:pt x="158210" y="623645"/>
                  </a:lnTo>
                  <a:lnTo>
                    <a:pt x="162855" y="622905"/>
                  </a:lnTo>
                  <a:lnTo>
                    <a:pt x="165311" y="622905"/>
                  </a:lnTo>
                  <a:cubicBezTo>
                    <a:pt x="165311" y="622905"/>
                    <a:pt x="166052" y="620584"/>
                    <a:pt x="167330" y="620584"/>
                  </a:cubicBezTo>
                  <a:cubicBezTo>
                    <a:pt x="168643" y="620584"/>
                    <a:pt x="170797" y="619407"/>
                    <a:pt x="171369" y="619407"/>
                  </a:cubicBezTo>
                  <a:cubicBezTo>
                    <a:pt x="171941" y="619407"/>
                    <a:pt x="172244" y="619104"/>
                    <a:pt x="173557" y="619104"/>
                  </a:cubicBezTo>
                  <a:cubicBezTo>
                    <a:pt x="174869" y="619104"/>
                    <a:pt x="177326" y="618801"/>
                    <a:pt x="178639" y="618801"/>
                  </a:cubicBezTo>
                  <a:cubicBezTo>
                    <a:pt x="179951" y="618801"/>
                    <a:pt x="180220" y="618666"/>
                    <a:pt x="182408" y="618936"/>
                  </a:cubicBezTo>
                  <a:cubicBezTo>
                    <a:pt x="184595" y="619238"/>
                    <a:pt x="184730" y="618936"/>
                    <a:pt x="185908" y="618801"/>
                  </a:cubicBezTo>
                  <a:cubicBezTo>
                    <a:pt x="187086" y="618666"/>
                    <a:pt x="189374" y="616917"/>
                    <a:pt x="190384" y="616783"/>
                  </a:cubicBezTo>
                  <a:cubicBezTo>
                    <a:pt x="191394" y="616648"/>
                    <a:pt x="192706" y="614461"/>
                    <a:pt x="192706" y="614461"/>
                  </a:cubicBezTo>
                  <a:lnTo>
                    <a:pt x="198798" y="611770"/>
                  </a:lnTo>
                  <a:lnTo>
                    <a:pt x="200110" y="610694"/>
                  </a:lnTo>
                  <a:lnTo>
                    <a:pt x="205327" y="610694"/>
                  </a:lnTo>
                  <a:lnTo>
                    <a:pt x="210106" y="614596"/>
                  </a:lnTo>
                  <a:lnTo>
                    <a:pt x="216197" y="619945"/>
                  </a:lnTo>
                  <a:cubicBezTo>
                    <a:pt x="216197" y="619945"/>
                    <a:pt x="221851" y="625596"/>
                    <a:pt x="222154" y="626336"/>
                  </a:cubicBezTo>
                  <a:cubicBezTo>
                    <a:pt x="222423" y="627076"/>
                    <a:pt x="225048" y="629095"/>
                    <a:pt x="225048" y="629095"/>
                  </a:cubicBezTo>
                  <a:cubicBezTo>
                    <a:pt x="225048" y="629095"/>
                    <a:pt x="228077" y="630979"/>
                    <a:pt x="228683" y="631281"/>
                  </a:cubicBezTo>
                  <a:cubicBezTo>
                    <a:pt x="229255" y="631584"/>
                    <a:pt x="231443" y="632291"/>
                    <a:pt x="232015" y="632291"/>
                  </a:cubicBezTo>
                  <a:cubicBezTo>
                    <a:pt x="232587" y="632291"/>
                    <a:pt x="235784" y="633300"/>
                    <a:pt x="236928" y="634309"/>
                  </a:cubicBezTo>
                  <a:cubicBezTo>
                    <a:pt x="238072" y="635318"/>
                    <a:pt x="240698" y="635184"/>
                    <a:pt x="240698" y="635184"/>
                  </a:cubicBezTo>
                  <a:lnTo>
                    <a:pt x="243592" y="633737"/>
                  </a:lnTo>
                  <a:cubicBezTo>
                    <a:pt x="243592" y="633737"/>
                    <a:pt x="244904" y="630104"/>
                    <a:pt x="245174" y="629397"/>
                  </a:cubicBezTo>
                  <a:cubicBezTo>
                    <a:pt x="245477" y="628658"/>
                    <a:pt x="245477" y="627211"/>
                    <a:pt x="245477" y="626370"/>
                  </a:cubicBezTo>
                  <a:cubicBezTo>
                    <a:pt x="245477" y="625495"/>
                    <a:pt x="245039" y="621156"/>
                    <a:pt x="245039" y="621156"/>
                  </a:cubicBezTo>
                  <a:lnTo>
                    <a:pt x="240260" y="615942"/>
                  </a:lnTo>
                  <a:cubicBezTo>
                    <a:pt x="240260" y="615942"/>
                    <a:pt x="239957" y="614932"/>
                    <a:pt x="238510" y="613318"/>
                  </a:cubicBezTo>
                  <a:cubicBezTo>
                    <a:pt x="237063" y="611737"/>
                    <a:pt x="235313" y="610559"/>
                    <a:pt x="235448" y="609416"/>
                  </a:cubicBezTo>
                  <a:cubicBezTo>
                    <a:pt x="235582" y="608238"/>
                    <a:pt x="236592" y="604504"/>
                    <a:pt x="236895" y="604067"/>
                  </a:cubicBezTo>
                  <a:cubicBezTo>
                    <a:pt x="237197" y="603630"/>
                    <a:pt x="239217" y="601039"/>
                    <a:pt x="239217" y="601039"/>
                  </a:cubicBezTo>
                  <a:lnTo>
                    <a:pt x="243121" y="598584"/>
                  </a:lnTo>
                  <a:lnTo>
                    <a:pt x="244433" y="596397"/>
                  </a:lnTo>
                  <a:cubicBezTo>
                    <a:pt x="244433" y="596397"/>
                    <a:pt x="247193" y="594379"/>
                    <a:pt x="247631" y="594211"/>
                  </a:cubicBezTo>
                  <a:cubicBezTo>
                    <a:pt x="248068" y="594076"/>
                    <a:pt x="249515" y="591889"/>
                    <a:pt x="249515" y="591889"/>
                  </a:cubicBezTo>
                  <a:lnTo>
                    <a:pt x="253352" y="589198"/>
                  </a:lnTo>
                  <a:lnTo>
                    <a:pt x="251400" y="579005"/>
                  </a:lnTo>
                  <a:lnTo>
                    <a:pt x="251400" y="571605"/>
                  </a:lnTo>
                  <a:lnTo>
                    <a:pt x="244433" y="565314"/>
                  </a:lnTo>
                  <a:lnTo>
                    <a:pt x="244433" y="557711"/>
                  </a:lnTo>
                  <a:lnTo>
                    <a:pt x="255068" y="550109"/>
                  </a:lnTo>
                  <a:lnTo>
                    <a:pt x="258333" y="542506"/>
                  </a:lnTo>
                  <a:lnTo>
                    <a:pt x="261362" y="530564"/>
                  </a:lnTo>
                  <a:lnTo>
                    <a:pt x="262472" y="519934"/>
                  </a:lnTo>
                  <a:lnTo>
                    <a:pt x="264626" y="514081"/>
                  </a:lnTo>
                  <a:lnTo>
                    <a:pt x="262876" y="508631"/>
                  </a:lnTo>
                  <a:cubicBezTo>
                    <a:pt x="262876" y="508631"/>
                    <a:pt x="262001" y="502341"/>
                    <a:pt x="262674" y="502105"/>
                  </a:cubicBezTo>
                  <a:cubicBezTo>
                    <a:pt x="263313" y="501870"/>
                    <a:pt x="268328" y="498842"/>
                    <a:pt x="268328" y="498842"/>
                  </a:cubicBezTo>
                  <a:lnTo>
                    <a:pt x="271794" y="489726"/>
                  </a:lnTo>
                  <a:lnTo>
                    <a:pt x="270482" y="484512"/>
                  </a:lnTo>
                  <a:lnTo>
                    <a:pt x="272636" y="479499"/>
                  </a:lnTo>
                  <a:lnTo>
                    <a:pt x="276775" y="476472"/>
                  </a:lnTo>
                  <a:cubicBezTo>
                    <a:pt x="276775" y="476472"/>
                    <a:pt x="279603" y="476035"/>
                    <a:pt x="280477" y="475597"/>
                  </a:cubicBezTo>
                  <a:cubicBezTo>
                    <a:pt x="281352" y="475160"/>
                    <a:pt x="287208" y="471258"/>
                    <a:pt x="287208" y="471258"/>
                  </a:cubicBezTo>
                  <a:lnTo>
                    <a:pt x="291785" y="467995"/>
                  </a:lnTo>
                  <a:lnTo>
                    <a:pt x="294612" y="462579"/>
                  </a:lnTo>
                  <a:lnTo>
                    <a:pt x="297439" y="457163"/>
                  </a:lnTo>
                  <a:lnTo>
                    <a:pt x="299391" y="454337"/>
                  </a:lnTo>
                  <a:lnTo>
                    <a:pt x="301545" y="452823"/>
                  </a:lnTo>
                  <a:lnTo>
                    <a:pt x="306324" y="449997"/>
                  </a:lnTo>
                  <a:lnTo>
                    <a:pt x="307637" y="445994"/>
                  </a:lnTo>
                  <a:lnTo>
                    <a:pt x="304810" y="443942"/>
                  </a:lnTo>
                  <a:lnTo>
                    <a:pt x="299156" y="443942"/>
                  </a:lnTo>
                  <a:lnTo>
                    <a:pt x="293939" y="443942"/>
                  </a:lnTo>
                  <a:lnTo>
                    <a:pt x="291314" y="439367"/>
                  </a:lnTo>
                  <a:lnTo>
                    <a:pt x="291314" y="436104"/>
                  </a:lnTo>
                  <a:lnTo>
                    <a:pt x="294141" y="429814"/>
                  </a:lnTo>
                  <a:cubicBezTo>
                    <a:pt x="294141" y="429814"/>
                    <a:pt x="297204" y="424599"/>
                    <a:pt x="297843" y="424599"/>
                  </a:cubicBezTo>
                  <a:cubicBezTo>
                    <a:pt x="298483" y="424599"/>
                    <a:pt x="305011" y="420260"/>
                    <a:pt x="305011" y="420260"/>
                  </a:cubicBezTo>
                  <a:lnTo>
                    <a:pt x="308276" y="417434"/>
                  </a:lnTo>
                  <a:lnTo>
                    <a:pt x="314132" y="414407"/>
                  </a:lnTo>
                  <a:lnTo>
                    <a:pt x="317161" y="409428"/>
                  </a:lnTo>
                  <a:cubicBezTo>
                    <a:pt x="317161" y="409428"/>
                    <a:pt x="316723" y="404214"/>
                    <a:pt x="316522" y="403575"/>
                  </a:cubicBezTo>
                  <a:cubicBezTo>
                    <a:pt x="316286" y="402935"/>
                    <a:pt x="312180" y="397486"/>
                    <a:pt x="312180" y="397486"/>
                  </a:cubicBezTo>
                  <a:lnTo>
                    <a:pt x="307603" y="391633"/>
                  </a:lnTo>
                  <a:lnTo>
                    <a:pt x="304136" y="384030"/>
                  </a:lnTo>
                  <a:lnTo>
                    <a:pt x="299559" y="380330"/>
                  </a:lnTo>
                  <a:lnTo>
                    <a:pt x="299122" y="374039"/>
                  </a:lnTo>
                  <a:lnTo>
                    <a:pt x="303026" y="371852"/>
                  </a:lnTo>
                  <a:lnTo>
                    <a:pt x="305214" y="369027"/>
                  </a:lnTo>
                  <a:lnTo>
                    <a:pt x="309117" y="360987"/>
                  </a:lnTo>
                  <a:lnTo>
                    <a:pt x="313896" y="356647"/>
                  </a:lnTo>
                  <a:lnTo>
                    <a:pt x="318238" y="351231"/>
                  </a:lnTo>
                  <a:lnTo>
                    <a:pt x="329310" y="343629"/>
                  </a:lnTo>
                  <a:lnTo>
                    <a:pt x="338431" y="342552"/>
                  </a:lnTo>
                  <a:lnTo>
                    <a:pt x="344959" y="341913"/>
                  </a:lnTo>
                  <a:lnTo>
                    <a:pt x="351253" y="335387"/>
                  </a:lnTo>
                  <a:lnTo>
                    <a:pt x="354080" y="332999"/>
                  </a:lnTo>
                  <a:lnTo>
                    <a:pt x="356671" y="327785"/>
                  </a:lnTo>
                  <a:lnTo>
                    <a:pt x="359061" y="322133"/>
                  </a:lnTo>
                  <a:lnTo>
                    <a:pt x="363099" y="318231"/>
                  </a:lnTo>
                  <a:lnTo>
                    <a:pt x="366027" y="313454"/>
                  </a:lnTo>
                  <a:lnTo>
                    <a:pt x="366027" y="309316"/>
                  </a:lnTo>
                  <a:lnTo>
                    <a:pt x="363638" y="304304"/>
                  </a:lnTo>
                  <a:lnTo>
                    <a:pt x="360374" y="303228"/>
                  </a:lnTo>
                  <a:cubicBezTo>
                    <a:pt x="360374" y="303228"/>
                    <a:pt x="357984" y="300402"/>
                    <a:pt x="357984" y="299325"/>
                  </a:cubicBezTo>
                  <a:cubicBezTo>
                    <a:pt x="357984" y="298249"/>
                    <a:pt x="358186" y="293472"/>
                    <a:pt x="358186" y="293472"/>
                  </a:cubicBezTo>
                  <a:lnTo>
                    <a:pt x="355998" y="289335"/>
                  </a:lnTo>
                  <a:lnTo>
                    <a:pt x="352094" y="287383"/>
                  </a:lnTo>
                  <a:lnTo>
                    <a:pt x="345801" y="283919"/>
                  </a:lnTo>
                  <a:lnTo>
                    <a:pt x="347113" y="280655"/>
                  </a:lnTo>
                  <a:lnTo>
                    <a:pt x="348191" y="276081"/>
                  </a:lnTo>
                  <a:cubicBezTo>
                    <a:pt x="348191" y="276081"/>
                    <a:pt x="351657" y="272178"/>
                    <a:pt x="352330" y="271943"/>
                  </a:cubicBezTo>
                  <a:cubicBezTo>
                    <a:pt x="352969" y="271741"/>
                    <a:pt x="359936" y="268041"/>
                    <a:pt x="359936" y="268041"/>
                  </a:cubicBezTo>
                  <a:lnTo>
                    <a:pt x="365152" y="265652"/>
                  </a:lnTo>
                  <a:lnTo>
                    <a:pt x="372119" y="260438"/>
                  </a:lnTo>
                  <a:lnTo>
                    <a:pt x="374946" y="255863"/>
                  </a:lnTo>
                  <a:lnTo>
                    <a:pt x="375383" y="248698"/>
                  </a:lnTo>
                  <a:lnTo>
                    <a:pt x="376023" y="246511"/>
                  </a:lnTo>
                  <a:lnTo>
                    <a:pt x="379725" y="243450"/>
                  </a:lnTo>
                  <a:lnTo>
                    <a:pt x="384941" y="241701"/>
                  </a:lnTo>
                  <a:lnTo>
                    <a:pt x="389720" y="238875"/>
                  </a:lnTo>
                  <a:lnTo>
                    <a:pt x="392110" y="236487"/>
                  </a:lnTo>
                  <a:lnTo>
                    <a:pt x="394701" y="233661"/>
                  </a:lnTo>
                  <a:lnTo>
                    <a:pt x="396451" y="233661"/>
                  </a:lnTo>
                  <a:lnTo>
                    <a:pt x="401667" y="236049"/>
                  </a:lnTo>
                  <a:lnTo>
                    <a:pt x="402542" y="241499"/>
                  </a:lnTo>
                  <a:lnTo>
                    <a:pt x="406009" y="247789"/>
                  </a:lnTo>
                  <a:lnTo>
                    <a:pt x="412101" y="248664"/>
                  </a:lnTo>
                  <a:lnTo>
                    <a:pt x="415365" y="246713"/>
                  </a:lnTo>
                  <a:lnTo>
                    <a:pt x="421255" y="243887"/>
                  </a:lnTo>
                  <a:lnTo>
                    <a:pt x="424284" y="240624"/>
                  </a:lnTo>
                  <a:cubicBezTo>
                    <a:pt x="424284" y="240624"/>
                    <a:pt x="428861" y="235847"/>
                    <a:pt x="429702" y="235410"/>
                  </a:cubicBezTo>
                  <a:cubicBezTo>
                    <a:pt x="430577" y="234973"/>
                    <a:pt x="439933" y="230398"/>
                    <a:pt x="439933" y="230398"/>
                  </a:cubicBezTo>
                  <a:lnTo>
                    <a:pt x="447101" y="226260"/>
                  </a:lnTo>
                  <a:lnTo>
                    <a:pt x="450164" y="228648"/>
                  </a:lnTo>
                  <a:lnTo>
                    <a:pt x="453193" y="230398"/>
                  </a:lnTo>
                  <a:lnTo>
                    <a:pt x="456222" y="227572"/>
                  </a:lnTo>
                  <a:lnTo>
                    <a:pt x="457332" y="222156"/>
                  </a:lnTo>
                  <a:lnTo>
                    <a:pt x="459082" y="220844"/>
                  </a:lnTo>
                  <a:cubicBezTo>
                    <a:pt x="459082" y="220844"/>
                    <a:pt x="463659" y="218018"/>
                    <a:pt x="464501" y="218018"/>
                  </a:cubicBezTo>
                  <a:cubicBezTo>
                    <a:pt x="465376" y="218018"/>
                    <a:pt x="469515" y="218018"/>
                    <a:pt x="469515" y="218018"/>
                  </a:cubicBezTo>
                  <a:lnTo>
                    <a:pt x="474530" y="214318"/>
                  </a:lnTo>
                  <a:lnTo>
                    <a:pt x="477794" y="212804"/>
                  </a:lnTo>
                  <a:lnTo>
                    <a:pt x="478232" y="212804"/>
                  </a:lnTo>
                  <a:lnTo>
                    <a:pt x="478669" y="205404"/>
                  </a:lnTo>
                  <a:lnTo>
                    <a:pt x="478030" y="201501"/>
                  </a:lnTo>
                  <a:lnTo>
                    <a:pt x="476515" y="196085"/>
                  </a:lnTo>
                  <a:lnTo>
                    <a:pt x="478030" y="194572"/>
                  </a:lnTo>
                  <a:lnTo>
                    <a:pt x="481732" y="194134"/>
                  </a:lnTo>
                  <a:lnTo>
                    <a:pt x="484996" y="187171"/>
                  </a:lnTo>
                  <a:lnTo>
                    <a:pt x="488025" y="175868"/>
                  </a:lnTo>
                  <a:lnTo>
                    <a:pt x="481900" y="169577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25" name="Freeform 891">
              <a:extLst>
                <a:ext uri="{FF2B5EF4-FFF2-40B4-BE49-F238E27FC236}">
                  <a16:creationId xmlns:a16="http://schemas.microsoft.com/office/drawing/2014/main" id="{D940864D-F35D-E4E4-12D5-1AA925F13E4C}"/>
                </a:ext>
              </a:extLst>
            </p:cNvPr>
            <p:cNvSpPr/>
            <p:nvPr/>
          </p:nvSpPr>
          <p:spPr>
            <a:xfrm>
              <a:off x="7686318" y="3112847"/>
              <a:ext cx="288042" cy="323922"/>
            </a:xfrm>
            <a:custGeom>
              <a:avLst/>
              <a:gdLst>
                <a:gd name="connsiteX0" fmla="*/ 524607 w 553012"/>
                <a:gd name="connsiteY0" fmla="*/ 522356 h 621896"/>
                <a:gd name="connsiteX1" fmla="*/ 525752 w 553012"/>
                <a:gd name="connsiteY1" fmla="*/ 518589 h 621896"/>
                <a:gd name="connsiteX2" fmla="*/ 526896 w 553012"/>
                <a:gd name="connsiteY2" fmla="*/ 513677 h 621896"/>
                <a:gd name="connsiteX3" fmla="*/ 525752 w 553012"/>
                <a:gd name="connsiteY3" fmla="*/ 510784 h 621896"/>
                <a:gd name="connsiteX4" fmla="*/ 522555 w 553012"/>
                <a:gd name="connsiteY4" fmla="*/ 508766 h 621896"/>
                <a:gd name="connsiteX5" fmla="*/ 521983 w 553012"/>
                <a:gd name="connsiteY5" fmla="*/ 502677 h 621896"/>
                <a:gd name="connsiteX6" fmla="*/ 522285 w 553012"/>
                <a:gd name="connsiteY6" fmla="*/ 499481 h 621896"/>
                <a:gd name="connsiteX7" fmla="*/ 522858 w 553012"/>
                <a:gd name="connsiteY7" fmla="*/ 493964 h 621896"/>
                <a:gd name="connsiteX8" fmla="*/ 525180 w 553012"/>
                <a:gd name="connsiteY8" fmla="*/ 489322 h 621896"/>
                <a:gd name="connsiteX9" fmla="*/ 525180 w 553012"/>
                <a:gd name="connsiteY9" fmla="*/ 486732 h 621896"/>
                <a:gd name="connsiteX10" fmla="*/ 528511 w 553012"/>
                <a:gd name="connsiteY10" fmla="*/ 480071 h 621896"/>
                <a:gd name="connsiteX11" fmla="*/ 530093 w 553012"/>
                <a:gd name="connsiteY11" fmla="*/ 476875 h 621896"/>
                <a:gd name="connsiteX12" fmla="*/ 529521 w 553012"/>
                <a:gd name="connsiteY12" fmla="*/ 472536 h 621896"/>
                <a:gd name="connsiteX13" fmla="*/ 529252 w 553012"/>
                <a:gd name="connsiteY13" fmla="*/ 465303 h 621896"/>
                <a:gd name="connsiteX14" fmla="*/ 531271 w 553012"/>
                <a:gd name="connsiteY14" fmla="*/ 460089 h 621896"/>
                <a:gd name="connsiteX15" fmla="*/ 538238 w 553012"/>
                <a:gd name="connsiteY15" fmla="*/ 456624 h 621896"/>
                <a:gd name="connsiteX16" fmla="*/ 543757 w 553012"/>
                <a:gd name="connsiteY16" fmla="*/ 454606 h 621896"/>
                <a:gd name="connsiteX17" fmla="*/ 548974 w 553012"/>
                <a:gd name="connsiteY17" fmla="*/ 451982 h 621896"/>
                <a:gd name="connsiteX18" fmla="*/ 551868 w 553012"/>
                <a:gd name="connsiteY18" fmla="*/ 448517 h 621896"/>
                <a:gd name="connsiteX19" fmla="*/ 553012 w 553012"/>
                <a:gd name="connsiteY19" fmla="*/ 445691 h 621896"/>
                <a:gd name="connsiteX20" fmla="*/ 550118 w 553012"/>
                <a:gd name="connsiteY20" fmla="*/ 441554 h 621896"/>
                <a:gd name="connsiteX21" fmla="*/ 546349 w 553012"/>
                <a:gd name="connsiteY21" fmla="*/ 441251 h 621896"/>
                <a:gd name="connsiteX22" fmla="*/ 542007 w 553012"/>
                <a:gd name="connsiteY22" fmla="*/ 442126 h 621896"/>
                <a:gd name="connsiteX23" fmla="*/ 533593 w 553012"/>
                <a:gd name="connsiteY23" fmla="*/ 445691 h 621896"/>
                <a:gd name="connsiteX24" fmla="*/ 527805 w 553012"/>
                <a:gd name="connsiteY24" fmla="*/ 448517 h 621896"/>
                <a:gd name="connsiteX25" fmla="*/ 524036 w 553012"/>
                <a:gd name="connsiteY25" fmla="*/ 448517 h 621896"/>
                <a:gd name="connsiteX26" fmla="*/ 523463 w 553012"/>
                <a:gd name="connsiteY26" fmla="*/ 445557 h 621896"/>
                <a:gd name="connsiteX27" fmla="*/ 524338 w 553012"/>
                <a:gd name="connsiteY27" fmla="*/ 440982 h 621896"/>
                <a:gd name="connsiteX28" fmla="*/ 526358 w 553012"/>
                <a:gd name="connsiteY28" fmla="*/ 437786 h 621896"/>
                <a:gd name="connsiteX29" fmla="*/ 530699 w 553012"/>
                <a:gd name="connsiteY29" fmla="*/ 434590 h 621896"/>
                <a:gd name="connsiteX30" fmla="*/ 531271 w 553012"/>
                <a:gd name="connsiteY30" fmla="*/ 427930 h 621896"/>
                <a:gd name="connsiteX31" fmla="*/ 533021 w 553012"/>
                <a:gd name="connsiteY31" fmla="*/ 421841 h 621896"/>
                <a:gd name="connsiteX32" fmla="*/ 534771 w 553012"/>
                <a:gd name="connsiteY32" fmla="*/ 418073 h 621896"/>
                <a:gd name="connsiteX33" fmla="*/ 537665 w 553012"/>
                <a:gd name="connsiteY33" fmla="*/ 413162 h 621896"/>
                <a:gd name="connsiteX34" fmla="*/ 537363 w 553012"/>
                <a:gd name="connsiteY34" fmla="*/ 406501 h 621896"/>
                <a:gd name="connsiteX35" fmla="*/ 535613 w 553012"/>
                <a:gd name="connsiteY35" fmla="*/ 403036 h 621896"/>
                <a:gd name="connsiteX36" fmla="*/ 529521 w 553012"/>
                <a:gd name="connsiteY36" fmla="*/ 394627 h 621896"/>
                <a:gd name="connsiteX37" fmla="*/ 523733 w 553012"/>
                <a:gd name="connsiteY37" fmla="*/ 394627 h 621896"/>
                <a:gd name="connsiteX38" fmla="*/ 511920 w 553012"/>
                <a:gd name="connsiteY38" fmla="*/ 393382 h 621896"/>
                <a:gd name="connsiteX39" fmla="*/ 509530 w 553012"/>
                <a:gd name="connsiteY39" fmla="*/ 391565 h 621896"/>
                <a:gd name="connsiteX40" fmla="*/ 509329 w 553012"/>
                <a:gd name="connsiteY40" fmla="*/ 386553 h 621896"/>
                <a:gd name="connsiteX41" fmla="*/ 508453 w 553012"/>
                <a:gd name="connsiteY41" fmla="*/ 382415 h 621896"/>
                <a:gd name="connsiteX42" fmla="*/ 509093 w 553012"/>
                <a:gd name="connsiteY42" fmla="*/ 378715 h 621896"/>
                <a:gd name="connsiteX43" fmla="*/ 510170 w 553012"/>
                <a:gd name="connsiteY43" fmla="*/ 377403 h 621896"/>
                <a:gd name="connsiteX44" fmla="*/ 512358 w 553012"/>
                <a:gd name="connsiteY44" fmla="*/ 373501 h 621896"/>
                <a:gd name="connsiteX45" fmla="*/ 512593 w 553012"/>
                <a:gd name="connsiteY45" fmla="*/ 366975 h 621896"/>
                <a:gd name="connsiteX46" fmla="*/ 513468 w 553012"/>
                <a:gd name="connsiteY46" fmla="*/ 363274 h 621896"/>
                <a:gd name="connsiteX47" fmla="*/ 517810 w 553012"/>
                <a:gd name="connsiteY47" fmla="*/ 357858 h 621896"/>
                <a:gd name="connsiteX48" fmla="*/ 516295 w 553012"/>
                <a:gd name="connsiteY48" fmla="*/ 353721 h 621896"/>
                <a:gd name="connsiteX49" fmla="*/ 507376 w 553012"/>
                <a:gd name="connsiteY49" fmla="*/ 349146 h 621896"/>
                <a:gd name="connsiteX50" fmla="*/ 502598 w 553012"/>
                <a:gd name="connsiteY50" fmla="*/ 343932 h 621896"/>
                <a:gd name="connsiteX51" fmla="*/ 500848 w 553012"/>
                <a:gd name="connsiteY51" fmla="*/ 338717 h 621896"/>
                <a:gd name="connsiteX52" fmla="*/ 501285 w 553012"/>
                <a:gd name="connsiteY52" fmla="*/ 333503 h 621896"/>
                <a:gd name="connsiteX53" fmla="*/ 503237 w 553012"/>
                <a:gd name="connsiteY53" fmla="*/ 330678 h 621896"/>
                <a:gd name="connsiteX54" fmla="*/ 505862 w 553012"/>
                <a:gd name="connsiteY54" fmla="*/ 327213 h 621896"/>
                <a:gd name="connsiteX55" fmla="*/ 508891 w 553012"/>
                <a:gd name="connsiteY55" fmla="*/ 324589 h 621896"/>
                <a:gd name="connsiteX56" fmla="*/ 510204 w 553012"/>
                <a:gd name="connsiteY56" fmla="*/ 320451 h 621896"/>
                <a:gd name="connsiteX57" fmla="*/ 511280 w 553012"/>
                <a:gd name="connsiteY57" fmla="*/ 316313 h 621896"/>
                <a:gd name="connsiteX58" fmla="*/ 511718 w 553012"/>
                <a:gd name="connsiteY58" fmla="*/ 311537 h 621896"/>
                <a:gd name="connsiteX59" fmla="*/ 511954 w 553012"/>
                <a:gd name="connsiteY59" fmla="*/ 309585 h 621896"/>
                <a:gd name="connsiteX60" fmla="*/ 508050 w 553012"/>
                <a:gd name="connsiteY60" fmla="*/ 309384 h 621896"/>
                <a:gd name="connsiteX61" fmla="*/ 501958 w 553012"/>
                <a:gd name="connsiteY61" fmla="*/ 310258 h 621896"/>
                <a:gd name="connsiteX62" fmla="*/ 496506 w 553012"/>
                <a:gd name="connsiteY62" fmla="*/ 314598 h 621896"/>
                <a:gd name="connsiteX63" fmla="*/ 492804 w 553012"/>
                <a:gd name="connsiteY63" fmla="*/ 314598 h 621896"/>
                <a:gd name="connsiteX64" fmla="*/ 487790 w 553012"/>
                <a:gd name="connsiteY64" fmla="*/ 313286 h 621896"/>
                <a:gd name="connsiteX65" fmla="*/ 484289 w 553012"/>
                <a:gd name="connsiteY65" fmla="*/ 311099 h 621896"/>
                <a:gd name="connsiteX66" fmla="*/ 481698 w 553012"/>
                <a:gd name="connsiteY66" fmla="*/ 311099 h 621896"/>
                <a:gd name="connsiteX67" fmla="*/ 481698 w 553012"/>
                <a:gd name="connsiteY67" fmla="*/ 306962 h 621896"/>
                <a:gd name="connsiteX68" fmla="*/ 481059 w 553012"/>
                <a:gd name="connsiteY68" fmla="*/ 305650 h 621896"/>
                <a:gd name="connsiteX69" fmla="*/ 480184 w 553012"/>
                <a:gd name="connsiteY69" fmla="*/ 299998 h 621896"/>
                <a:gd name="connsiteX70" fmla="*/ 479746 w 553012"/>
                <a:gd name="connsiteY70" fmla="*/ 294145 h 621896"/>
                <a:gd name="connsiteX71" fmla="*/ 477121 w 553012"/>
                <a:gd name="connsiteY71" fmla="*/ 291117 h 621896"/>
                <a:gd name="connsiteX72" fmla="*/ 478871 w 553012"/>
                <a:gd name="connsiteY72" fmla="*/ 288494 h 621896"/>
                <a:gd name="connsiteX73" fmla="*/ 480386 w 553012"/>
                <a:gd name="connsiteY73" fmla="*/ 286980 h 621896"/>
                <a:gd name="connsiteX74" fmla="*/ 483852 w 553012"/>
                <a:gd name="connsiteY74" fmla="*/ 283515 h 621896"/>
                <a:gd name="connsiteX75" fmla="*/ 485804 w 553012"/>
                <a:gd name="connsiteY75" fmla="*/ 278099 h 621896"/>
                <a:gd name="connsiteX76" fmla="*/ 486881 w 553012"/>
                <a:gd name="connsiteY76" fmla="*/ 275508 h 621896"/>
                <a:gd name="connsiteX77" fmla="*/ 489270 w 553012"/>
                <a:gd name="connsiteY77" fmla="*/ 272246 h 621896"/>
                <a:gd name="connsiteX78" fmla="*/ 492737 w 553012"/>
                <a:gd name="connsiteY78" fmla="*/ 269184 h 621896"/>
                <a:gd name="connsiteX79" fmla="*/ 494049 w 553012"/>
                <a:gd name="connsiteY79" fmla="*/ 266998 h 621896"/>
                <a:gd name="connsiteX80" fmla="*/ 495564 w 553012"/>
                <a:gd name="connsiteY80" fmla="*/ 265047 h 621896"/>
                <a:gd name="connsiteX81" fmla="*/ 495564 w 553012"/>
                <a:gd name="connsiteY81" fmla="*/ 258083 h 621896"/>
                <a:gd name="connsiteX82" fmla="*/ 495564 w 553012"/>
                <a:gd name="connsiteY82" fmla="*/ 252869 h 621896"/>
                <a:gd name="connsiteX83" fmla="*/ 495564 w 553012"/>
                <a:gd name="connsiteY83" fmla="*/ 249841 h 621896"/>
                <a:gd name="connsiteX84" fmla="*/ 496876 w 553012"/>
                <a:gd name="connsiteY84" fmla="*/ 247453 h 621896"/>
                <a:gd name="connsiteX85" fmla="*/ 499266 w 553012"/>
                <a:gd name="connsiteY85" fmla="*/ 244392 h 621896"/>
                <a:gd name="connsiteX86" fmla="*/ 502968 w 553012"/>
                <a:gd name="connsiteY86" fmla="*/ 242004 h 621896"/>
                <a:gd name="connsiteX87" fmla="*/ 507982 w 553012"/>
                <a:gd name="connsiteY87" fmla="*/ 240927 h 621896"/>
                <a:gd name="connsiteX88" fmla="*/ 511247 w 553012"/>
                <a:gd name="connsiteY88" fmla="*/ 239413 h 621896"/>
                <a:gd name="connsiteX89" fmla="*/ 519055 w 553012"/>
                <a:gd name="connsiteY89" fmla="*/ 237227 h 621896"/>
                <a:gd name="connsiteX90" fmla="*/ 522083 w 553012"/>
                <a:gd name="connsiteY90" fmla="*/ 233762 h 621896"/>
                <a:gd name="connsiteX91" fmla="*/ 524911 w 553012"/>
                <a:gd name="connsiteY91" fmla="*/ 228346 h 621896"/>
                <a:gd name="connsiteX92" fmla="*/ 522521 w 553012"/>
                <a:gd name="connsiteY92" fmla="*/ 224208 h 621896"/>
                <a:gd name="connsiteX93" fmla="*/ 517944 w 553012"/>
                <a:gd name="connsiteY93" fmla="*/ 224208 h 621896"/>
                <a:gd name="connsiteX94" fmla="*/ 517305 w 553012"/>
                <a:gd name="connsiteY94" fmla="*/ 220743 h 621896"/>
                <a:gd name="connsiteX95" fmla="*/ 524473 w 553012"/>
                <a:gd name="connsiteY95" fmla="*/ 217043 h 621896"/>
                <a:gd name="connsiteX96" fmla="*/ 534468 w 553012"/>
                <a:gd name="connsiteY96" fmla="*/ 209440 h 621896"/>
                <a:gd name="connsiteX97" fmla="*/ 539920 w 553012"/>
                <a:gd name="connsiteY97" fmla="*/ 202477 h 621896"/>
                <a:gd name="connsiteX98" fmla="*/ 536891 w 553012"/>
                <a:gd name="connsiteY98" fmla="*/ 197465 h 621896"/>
                <a:gd name="connsiteX99" fmla="*/ 541233 w 553012"/>
                <a:gd name="connsiteY99" fmla="*/ 195278 h 621896"/>
                <a:gd name="connsiteX100" fmla="*/ 542546 w 553012"/>
                <a:gd name="connsiteY100" fmla="*/ 192250 h 621896"/>
                <a:gd name="connsiteX101" fmla="*/ 543185 w 553012"/>
                <a:gd name="connsiteY101" fmla="*/ 189660 h 621896"/>
                <a:gd name="connsiteX102" fmla="*/ 542310 w 553012"/>
                <a:gd name="connsiteY102" fmla="*/ 185960 h 621896"/>
                <a:gd name="connsiteX103" fmla="*/ 539281 w 553012"/>
                <a:gd name="connsiteY103" fmla="*/ 183807 h 621896"/>
                <a:gd name="connsiteX104" fmla="*/ 532314 w 553012"/>
                <a:gd name="connsiteY104" fmla="*/ 183773 h 621896"/>
                <a:gd name="connsiteX105" fmla="*/ 526896 w 553012"/>
                <a:gd name="connsiteY105" fmla="*/ 177247 h 621896"/>
                <a:gd name="connsiteX106" fmla="*/ 526896 w 553012"/>
                <a:gd name="connsiteY106" fmla="*/ 173345 h 621896"/>
                <a:gd name="connsiteX107" fmla="*/ 529285 w 553012"/>
                <a:gd name="connsiteY107" fmla="*/ 164229 h 621896"/>
                <a:gd name="connsiteX108" fmla="*/ 533190 w 553012"/>
                <a:gd name="connsiteY108" fmla="*/ 155314 h 621896"/>
                <a:gd name="connsiteX109" fmla="*/ 534940 w 553012"/>
                <a:gd name="connsiteY109" fmla="*/ 145323 h 621896"/>
                <a:gd name="connsiteX110" fmla="*/ 533829 w 553012"/>
                <a:gd name="connsiteY110" fmla="*/ 142935 h 621896"/>
                <a:gd name="connsiteX111" fmla="*/ 526021 w 553012"/>
                <a:gd name="connsiteY111" fmla="*/ 137283 h 621896"/>
                <a:gd name="connsiteX112" fmla="*/ 522319 w 553012"/>
                <a:gd name="connsiteY112" fmla="*/ 137283 h 621896"/>
                <a:gd name="connsiteX113" fmla="*/ 514713 w 553012"/>
                <a:gd name="connsiteY113" fmla="*/ 134895 h 621896"/>
                <a:gd name="connsiteX114" fmla="*/ 512963 w 553012"/>
                <a:gd name="connsiteY114" fmla="*/ 129445 h 621896"/>
                <a:gd name="connsiteX115" fmla="*/ 512963 w 553012"/>
                <a:gd name="connsiteY115" fmla="*/ 122280 h 621896"/>
                <a:gd name="connsiteX116" fmla="*/ 511213 w 553012"/>
                <a:gd name="connsiteY116" fmla="*/ 115552 h 621896"/>
                <a:gd name="connsiteX117" fmla="*/ 511213 w 553012"/>
                <a:gd name="connsiteY117" fmla="*/ 112726 h 621896"/>
                <a:gd name="connsiteX118" fmla="*/ 508016 w 553012"/>
                <a:gd name="connsiteY118" fmla="*/ 115418 h 621896"/>
                <a:gd name="connsiteX119" fmla="*/ 506434 w 553012"/>
                <a:gd name="connsiteY119" fmla="*/ 120497 h 621896"/>
                <a:gd name="connsiteX120" fmla="*/ 502799 w 553012"/>
                <a:gd name="connsiteY120" fmla="*/ 120363 h 621896"/>
                <a:gd name="connsiteX121" fmla="*/ 501083 w 553012"/>
                <a:gd name="connsiteY121" fmla="*/ 121809 h 621896"/>
                <a:gd name="connsiteX122" fmla="*/ 497314 w 553012"/>
                <a:gd name="connsiteY122" fmla="*/ 118344 h 621896"/>
                <a:gd name="connsiteX123" fmla="*/ 497314 w 553012"/>
                <a:gd name="connsiteY123" fmla="*/ 115586 h 621896"/>
                <a:gd name="connsiteX124" fmla="*/ 497314 w 553012"/>
                <a:gd name="connsiteY124" fmla="*/ 114005 h 621896"/>
                <a:gd name="connsiteX125" fmla="*/ 495497 w 553012"/>
                <a:gd name="connsiteY125" fmla="*/ 111549 h 621896"/>
                <a:gd name="connsiteX126" fmla="*/ 493982 w 553012"/>
                <a:gd name="connsiteY126" fmla="*/ 112121 h 621896"/>
                <a:gd name="connsiteX127" fmla="*/ 492838 w 553012"/>
                <a:gd name="connsiteY127" fmla="*/ 113870 h 621896"/>
                <a:gd name="connsiteX128" fmla="*/ 491256 w 553012"/>
                <a:gd name="connsiteY128" fmla="*/ 115451 h 621896"/>
                <a:gd name="connsiteX129" fmla="*/ 488631 w 553012"/>
                <a:gd name="connsiteY129" fmla="*/ 116763 h 621896"/>
                <a:gd name="connsiteX130" fmla="*/ 486309 w 553012"/>
                <a:gd name="connsiteY130" fmla="*/ 117200 h 621896"/>
                <a:gd name="connsiteX131" fmla="*/ 483987 w 553012"/>
                <a:gd name="connsiteY131" fmla="*/ 116326 h 621896"/>
                <a:gd name="connsiteX132" fmla="*/ 480958 w 553012"/>
                <a:gd name="connsiteY132" fmla="*/ 113298 h 621896"/>
                <a:gd name="connsiteX133" fmla="*/ 479073 w 553012"/>
                <a:gd name="connsiteY133" fmla="*/ 111986 h 621896"/>
                <a:gd name="connsiteX134" fmla="*/ 478063 w 553012"/>
                <a:gd name="connsiteY134" fmla="*/ 109093 h 621896"/>
                <a:gd name="connsiteX135" fmla="*/ 478636 w 553012"/>
                <a:gd name="connsiteY135" fmla="*/ 107075 h 621896"/>
                <a:gd name="connsiteX136" fmla="*/ 480655 w 553012"/>
                <a:gd name="connsiteY136" fmla="*/ 104888 h 621896"/>
                <a:gd name="connsiteX137" fmla="*/ 483549 w 553012"/>
                <a:gd name="connsiteY137" fmla="*/ 103745 h 621896"/>
                <a:gd name="connsiteX138" fmla="*/ 486006 w 553012"/>
                <a:gd name="connsiteY138" fmla="*/ 102601 h 621896"/>
                <a:gd name="connsiteX139" fmla="*/ 486881 w 553012"/>
                <a:gd name="connsiteY139" fmla="*/ 100145 h 621896"/>
                <a:gd name="connsiteX140" fmla="*/ 483414 w 553012"/>
                <a:gd name="connsiteY140" fmla="*/ 99573 h 621896"/>
                <a:gd name="connsiteX141" fmla="*/ 480217 w 553012"/>
                <a:gd name="connsiteY141" fmla="*/ 98833 h 621896"/>
                <a:gd name="connsiteX142" fmla="*/ 476145 w 553012"/>
                <a:gd name="connsiteY142" fmla="*/ 98699 h 621896"/>
                <a:gd name="connsiteX143" fmla="*/ 475438 w 553012"/>
                <a:gd name="connsiteY143" fmla="*/ 96512 h 621896"/>
                <a:gd name="connsiteX144" fmla="*/ 476313 w 553012"/>
                <a:gd name="connsiteY144" fmla="*/ 93619 h 621896"/>
                <a:gd name="connsiteX145" fmla="*/ 477121 w 553012"/>
                <a:gd name="connsiteY145" fmla="*/ 90154 h 621896"/>
                <a:gd name="connsiteX146" fmla="*/ 478636 w 553012"/>
                <a:gd name="connsiteY146" fmla="*/ 88405 h 621896"/>
                <a:gd name="connsiteX147" fmla="*/ 480386 w 553012"/>
                <a:gd name="connsiteY147" fmla="*/ 86521 h 621896"/>
                <a:gd name="connsiteX148" fmla="*/ 482708 w 553012"/>
                <a:gd name="connsiteY148" fmla="*/ 84940 h 621896"/>
                <a:gd name="connsiteX149" fmla="*/ 484592 w 553012"/>
                <a:gd name="connsiteY149" fmla="*/ 82753 h 621896"/>
                <a:gd name="connsiteX150" fmla="*/ 486914 w 553012"/>
                <a:gd name="connsiteY150" fmla="*/ 80163 h 621896"/>
                <a:gd name="connsiteX151" fmla="*/ 487487 w 553012"/>
                <a:gd name="connsiteY151" fmla="*/ 79289 h 621896"/>
                <a:gd name="connsiteX152" fmla="*/ 488059 w 553012"/>
                <a:gd name="connsiteY152" fmla="*/ 77842 h 621896"/>
                <a:gd name="connsiteX153" fmla="*/ 488631 w 553012"/>
                <a:gd name="connsiteY153" fmla="*/ 75656 h 621896"/>
                <a:gd name="connsiteX154" fmla="*/ 488631 w 553012"/>
                <a:gd name="connsiteY154" fmla="*/ 73469 h 621896"/>
                <a:gd name="connsiteX155" fmla="*/ 486309 w 553012"/>
                <a:gd name="connsiteY155" fmla="*/ 70004 h 621896"/>
                <a:gd name="connsiteX156" fmla="*/ 484862 w 553012"/>
                <a:gd name="connsiteY156" fmla="*/ 68995 h 621896"/>
                <a:gd name="connsiteX157" fmla="*/ 481530 w 553012"/>
                <a:gd name="connsiteY157" fmla="*/ 70004 h 621896"/>
                <a:gd name="connsiteX158" fmla="*/ 481261 w 553012"/>
                <a:gd name="connsiteY158" fmla="*/ 68558 h 621896"/>
                <a:gd name="connsiteX159" fmla="*/ 479813 w 553012"/>
                <a:gd name="connsiteY159" fmla="*/ 66976 h 621896"/>
                <a:gd name="connsiteX160" fmla="*/ 480116 w 553012"/>
                <a:gd name="connsiteY160" fmla="*/ 65664 h 621896"/>
                <a:gd name="connsiteX161" fmla="*/ 480991 w 553012"/>
                <a:gd name="connsiteY161" fmla="*/ 64790 h 621896"/>
                <a:gd name="connsiteX162" fmla="*/ 482439 w 553012"/>
                <a:gd name="connsiteY162" fmla="*/ 63478 h 621896"/>
                <a:gd name="connsiteX163" fmla="*/ 483448 w 553012"/>
                <a:gd name="connsiteY163" fmla="*/ 61729 h 621896"/>
                <a:gd name="connsiteX164" fmla="*/ 483448 w 553012"/>
                <a:gd name="connsiteY164" fmla="*/ 58533 h 621896"/>
                <a:gd name="connsiteX165" fmla="*/ 481833 w 553012"/>
                <a:gd name="connsiteY165" fmla="*/ 56784 h 621896"/>
                <a:gd name="connsiteX166" fmla="*/ 479813 w 553012"/>
                <a:gd name="connsiteY166" fmla="*/ 54900 h 621896"/>
                <a:gd name="connsiteX167" fmla="*/ 476179 w 553012"/>
                <a:gd name="connsiteY167" fmla="*/ 51570 h 621896"/>
                <a:gd name="connsiteX168" fmla="*/ 474732 w 553012"/>
                <a:gd name="connsiteY168" fmla="*/ 51132 h 621896"/>
                <a:gd name="connsiteX169" fmla="*/ 472410 w 553012"/>
                <a:gd name="connsiteY169" fmla="*/ 48676 h 621896"/>
                <a:gd name="connsiteX170" fmla="*/ 468943 w 553012"/>
                <a:gd name="connsiteY170" fmla="*/ 46355 h 621896"/>
                <a:gd name="connsiteX171" fmla="*/ 468236 w 553012"/>
                <a:gd name="connsiteY171" fmla="*/ 45918 h 621896"/>
                <a:gd name="connsiteX172" fmla="*/ 466217 w 553012"/>
                <a:gd name="connsiteY172" fmla="*/ 44169 h 621896"/>
                <a:gd name="connsiteX173" fmla="*/ 464029 w 553012"/>
                <a:gd name="connsiteY173" fmla="*/ 44034 h 621896"/>
                <a:gd name="connsiteX174" fmla="*/ 461135 w 553012"/>
                <a:gd name="connsiteY174" fmla="*/ 45044 h 621896"/>
                <a:gd name="connsiteX175" fmla="*/ 458106 w 553012"/>
                <a:gd name="connsiteY175" fmla="*/ 46490 h 621896"/>
                <a:gd name="connsiteX176" fmla="*/ 456222 w 553012"/>
                <a:gd name="connsiteY176" fmla="*/ 47230 h 621896"/>
                <a:gd name="connsiteX177" fmla="*/ 451746 w 553012"/>
                <a:gd name="connsiteY177" fmla="*/ 50863 h 621896"/>
                <a:gd name="connsiteX178" fmla="*/ 450164 w 553012"/>
                <a:gd name="connsiteY178" fmla="*/ 51738 h 621896"/>
                <a:gd name="connsiteX179" fmla="*/ 448717 w 553012"/>
                <a:gd name="connsiteY179" fmla="*/ 53756 h 621896"/>
                <a:gd name="connsiteX180" fmla="*/ 444947 w 553012"/>
                <a:gd name="connsiteY180" fmla="*/ 57961 h 621896"/>
                <a:gd name="connsiteX181" fmla="*/ 442793 w 553012"/>
                <a:gd name="connsiteY181" fmla="*/ 61594 h 621896"/>
                <a:gd name="connsiteX182" fmla="*/ 438014 w 553012"/>
                <a:gd name="connsiteY182" fmla="*/ 65227 h 621896"/>
                <a:gd name="connsiteX183" fmla="*/ 430610 w 553012"/>
                <a:gd name="connsiteY183" fmla="*/ 71181 h 621896"/>
                <a:gd name="connsiteX184" fmla="*/ 428726 w 553012"/>
                <a:gd name="connsiteY184" fmla="*/ 74377 h 621896"/>
                <a:gd name="connsiteX185" fmla="*/ 426841 w 553012"/>
                <a:gd name="connsiteY185" fmla="*/ 75689 h 621896"/>
                <a:gd name="connsiteX186" fmla="*/ 423812 w 553012"/>
                <a:gd name="connsiteY186" fmla="*/ 78448 h 621896"/>
                <a:gd name="connsiteX187" fmla="*/ 420918 w 553012"/>
                <a:gd name="connsiteY187" fmla="*/ 79188 h 621896"/>
                <a:gd name="connsiteX188" fmla="*/ 420918 w 553012"/>
                <a:gd name="connsiteY188" fmla="*/ 75723 h 621896"/>
                <a:gd name="connsiteX189" fmla="*/ 420918 w 553012"/>
                <a:gd name="connsiteY189" fmla="*/ 72695 h 621896"/>
                <a:gd name="connsiteX190" fmla="*/ 419975 w 553012"/>
                <a:gd name="connsiteY190" fmla="*/ 70811 h 621896"/>
                <a:gd name="connsiteX191" fmla="*/ 417586 w 553012"/>
                <a:gd name="connsiteY191" fmla="*/ 70240 h 621896"/>
                <a:gd name="connsiteX192" fmla="*/ 415264 w 553012"/>
                <a:gd name="connsiteY192" fmla="*/ 72561 h 621896"/>
                <a:gd name="connsiteX193" fmla="*/ 413077 w 553012"/>
                <a:gd name="connsiteY193" fmla="*/ 73570 h 621896"/>
                <a:gd name="connsiteX194" fmla="*/ 409745 w 553012"/>
                <a:gd name="connsiteY194" fmla="*/ 72392 h 621896"/>
                <a:gd name="connsiteX195" fmla="*/ 407860 w 553012"/>
                <a:gd name="connsiteY195" fmla="*/ 70206 h 621896"/>
                <a:gd name="connsiteX196" fmla="*/ 405639 w 553012"/>
                <a:gd name="connsiteY196" fmla="*/ 67750 h 621896"/>
                <a:gd name="connsiteX197" fmla="*/ 404966 w 553012"/>
                <a:gd name="connsiteY197" fmla="*/ 63982 h 621896"/>
                <a:gd name="connsiteX198" fmla="*/ 405504 w 553012"/>
                <a:gd name="connsiteY198" fmla="*/ 59643 h 621896"/>
                <a:gd name="connsiteX199" fmla="*/ 405369 w 553012"/>
                <a:gd name="connsiteY199" fmla="*/ 56178 h 621896"/>
                <a:gd name="connsiteX200" fmla="*/ 405235 w 553012"/>
                <a:gd name="connsiteY200" fmla="*/ 51099 h 621896"/>
                <a:gd name="connsiteX201" fmla="*/ 405235 w 553012"/>
                <a:gd name="connsiteY201" fmla="*/ 49652 h 621896"/>
                <a:gd name="connsiteX202" fmla="*/ 405235 w 553012"/>
                <a:gd name="connsiteY202" fmla="*/ 44438 h 621896"/>
                <a:gd name="connsiteX203" fmla="*/ 405235 w 553012"/>
                <a:gd name="connsiteY203" fmla="*/ 41242 h 621896"/>
                <a:gd name="connsiteX204" fmla="*/ 404427 w 553012"/>
                <a:gd name="connsiteY204" fmla="*/ 38215 h 621896"/>
                <a:gd name="connsiteX205" fmla="*/ 403619 w 553012"/>
                <a:gd name="connsiteY205" fmla="*/ 37643 h 621896"/>
                <a:gd name="connsiteX206" fmla="*/ 402038 w 553012"/>
                <a:gd name="connsiteY206" fmla="*/ 35624 h 621896"/>
                <a:gd name="connsiteX207" fmla="*/ 399850 w 553012"/>
                <a:gd name="connsiteY207" fmla="*/ 35624 h 621896"/>
                <a:gd name="connsiteX208" fmla="*/ 396384 w 553012"/>
                <a:gd name="connsiteY208" fmla="*/ 35624 h 621896"/>
                <a:gd name="connsiteX209" fmla="*/ 391436 w 553012"/>
                <a:gd name="connsiteY209" fmla="*/ 36768 h 621896"/>
                <a:gd name="connsiteX210" fmla="*/ 389552 w 553012"/>
                <a:gd name="connsiteY210" fmla="*/ 38652 h 621896"/>
                <a:gd name="connsiteX211" fmla="*/ 387667 w 553012"/>
                <a:gd name="connsiteY211" fmla="*/ 41680 h 621896"/>
                <a:gd name="connsiteX212" fmla="*/ 385648 w 553012"/>
                <a:gd name="connsiteY212" fmla="*/ 44707 h 621896"/>
                <a:gd name="connsiteX213" fmla="*/ 383595 w 553012"/>
                <a:gd name="connsiteY213" fmla="*/ 47903 h 621896"/>
                <a:gd name="connsiteX214" fmla="*/ 382013 w 553012"/>
                <a:gd name="connsiteY214" fmla="*/ 50796 h 621896"/>
                <a:gd name="connsiteX215" fmla="*/ 378547 w 553012"/>
                <a:gd name="connsiteY215" fmla="*/ 53992 h 621896"/>
                <a:gd name="connsiteX216" fmla="*/ 376090 w 553012"/>
                <a:gd name="connsiteY216" fmla="*/ 51805 h 621896"/>
                <a:gd name="connsiteX217" fmla="*/ 371311 w 553012"/>
                <a:gd name="connsiteY217" fmla="*/ 52242 h 621896"/>
                <a:gd name="connsiteX218" fmla="*/ 368114 w 553012"/>
                <a:gd name="connsiteY218" fmla="*/ 52242 h 621896"/>
                <a:gd name="connsiteX219" fmla="*/ 364344 w 553012"/>
                <a:gd name="connsiteY219" fmla="*/ 54563 h 621896"/>
                <a:gd name="connsiteX220" fmla="*/ 361888 w 553012"/>
                <a:gd name="connsiteY220" fmla="*/ 55135 h 621896"/>
                <a:gd name="connsiteX221" fmla="*/ 359263 w 553012"/>
                <a:gd name="connsiteY221" fmla="*/ 59777 h 621896"/>
                <a:gd name="connsiteX222" fmla="*/ 356940 w 553012"/>
                <a:gd name="connsiteY222" fmla="*/ 62099 h 621896"/>
                <a:gd name="connsiteX223" fmla="*/ 355056 w 553012"/>
                <a:gd name="connsiteY223" fmla="*/ 64420 h 621896"/>
                <a:gd name="connsiteX224" fmla="*/ 351286 w 553012"/>
                <a:gd name="connsiteY224" fmla="*/ 66573 h 621896"/>
                <a:gd name="connsiteX225" fmla="*/ 348392 w 553012"/>
                <a:gd name="connsiteY225" fmla="*/ 66876 h 621896"/>
                <a:gd name="connsiteX226" fmla="*/ 346070 w 553012"/>
                <a:gd name="connsiteY226" fmla="*/ 65429 h 621896"/>
                <a:gd name="connsiteX227" fmla="*/ 344320 w 553012"/>
                <a:gd name="connsiteY227" fmla="*/ 61796 h 621896"/>
                <a:gd name="connsiteX228" fmla="*/ 344320 w 553012"/>
                <a:gd name="connsiteY228" fmla="*/ 60047 h 621896"/>
                <a:gd name="connsiteX229" fmla="*/ 341931 w 553012"/>
                <a:gd name="connsiteY229" fmla="*/ 57288 h 621896"/>
                <a:gd name="connsiteX230" fmla="*/ 340854 w 553012"/>
                <a:gd name="connsiteY230" fmla="*/ 58298 h 621896"/>
                <a:gd name="connsiteX231" fmla="*/ 340854 w 553012"/>
                <a:gd name="connsiteY231" fmla="*/ 60753 h 621896"/>
                <a:gd name="connsiteX232" fmla="*/ 337892 w 553012"/>
                <a:gd name="connsiteY232" fmla="*/ 64958 h 621896"/>
                <a:gd name="connsiteX233" fmla="*/ 336378 w 553012"/>
                <a:gd name="connsiteY233" fmla="*/ 65395 h 621896"/>
                <a:gd name="connsiteX234" fmla="*/ 335065 w 553012"/>
                <a:gd name="connsiteY234" fmla="*/ 63377 h 621896"/>
                <a:gd name="connsiteX235" fmla="*/ 332743 w 553012"/>
                <a:gd name="connsiteY235" fmla="*/ 55976 h 621896"/>
                <a:gd name="connsiteX236" fmla="*/ 327829 w 553012"/>
                <a:gd name="connsiteY236" fmla="*/ 51906 h 621896"/>
                <a:gd name="connsiteX237" fmla="*/ 324363 w 553012"/>
                <a:gd name="connsiteY237" fmla="*/ 49316 h 621896"/>
                <a:gd name="connsiteX238" fmla="*/ 322343 w 553012"/>
                <a:gd name="connsiteY238" fmla="*/ 43530 h 621896"/>
                <a:gd name="connsiteX239" fmla="*/ 315377 w 553012"/>
                <a:gd name="connsiteY239" fmla="*/ 41209 h 621896"/>
                <a:gd name="connsiteX240" fmla="*/ 308714 w 553012"/>
                <a:gd name="connsiteY240" fmla="*/ 35994 h 621896"/>
                <a:gd name="connsiteX241" fmla="*/ 305247 w 553012"/>
                <a:gd name="connsiteY241" fmla="*/ 34817 h 621896"/>
                <a:gd name="connsiteX242" fmla="*/ 298886 w 553012"/>
                <a:gd name="connsiteY242" fmla="*/ 30747 h 621896"/>
                <a:gd name="connsiteX243" fmla="*/ 294545 w 553012"/>
                <a:gd name="connsiteY243" fmla="*/ 28728 h 621896"/>
                <a:gd name="connsiteX244" fmla="*/ 291348 w 553012"/>
                <a:gd name="connsiteY244" fmla="*/ 26104 h 621896"/>
                <a:gd name="connsiteX245" fmla="*/ 288454 w 553012"/>
                <a:gd name="connsiteY245" fmla="*/ 26104 h 621896"/>
                <a:gd name="connsiteX246" fmla="*/ 281790 w 553012"/>
                <a:gd name="connsiteY246" fmla="*/ 26811 h 621896"/>
                <a:gd name="connsiteX247" fmla="*/ 275698 w 553012"/>
                <a:gd name="connsiteY247" fmla="*/ 27820 h 621896"/>
                <a:gd name="connsiteX248" fmla="*/ 270179 w 553012"/>
                <a:gd name="connsiteY248" fmla="*/ 27820 h 621896"/>
                <a:gd name="connsiteX249" fmla="*/ 265838 w 553012"/>
                <a:gd name="connsiteY249" fmla="*/ 28257 h 621896"/>
                <a:gd name="connsiteX250" fmla="*/ 257727 w 553012"/>
                <a:gd name="connsiteY250" fmla="*/ 25230 h 621896"/>
                <a:gd name="connsiteX251" fmla="*/ 255977 w 553012"/>
                <a:gd name="connsiteY251" fmla="*/ 22337 h 621896"/>
                <a:gd name="connsiteX252" fmla="*/ 252780 w 553012"/>
                <a:gd name="connsiteY252" fmla="*/ 20890 h 621896"/>
                <a:gd name="connsiteX253" fmla="*/ 246419 w 553012"/>
                <a:gd name="connsiteY253" fmla="*/ 19141 h 621896"/>
                <a:gd name="connsiteX254" fmla="*/ 239149 w 553012"/>
                <a:gd name="connsiteY254" fmla="*/ 15945 h 621896"/>
                <a:gd name="connsiteX255" fmla="*/ 235380 w 553012"/>
                <a:gd name="connsiteY255" fmla="*/ 13927 h 621896"/>
                <a:gd name="connsiteX256" fmla="*/ 231039 w 553012"/>
                <a:gd name="connsiteY256" fmla="*/ 10159 h 621896"/>
                <a:gd name="connsiteX257" fmla="*/ 226967 w 553012"/>
                <a:gd name="connsiteY257" fmla="*/ 12178 h 621896"/>
                <a:gd name="connsiteX258" fmla="*/ 218856 w 553012"/>
                <a:gd name="connsiteY258" fmla="*/ 14499 h 621896"/>
                <a:gd name="connsiteX259" fmla="*/ 213067 w 553012"/>
                <a:gd name="connsiteY259" fmla="*/ 15945 h 621896"/>
                <a:gd name="connsiteX260" fmla="*/ 209601 w 553012"/>
                <a:gd name="connsiteY260" fmla="*/ 13052 h 621896"/>
                <a:gd name="connsiteX261" fmla="*/ 207279 w 553012"/>
                <a:gd name="connsiteY261" fmla="*/ 8107 h 621896"/>
                <a:gd name="connsiteX262" fmla="*/ 204081 w 553012"/>
                <a:gd name="connsiteY262" fmla="*/ 1446 h 621896"/>
                <a:gd name="connsiteX263" fmla="*/ 200884 w 553012"/>
                <a:gd name="connsiteY263" fmla="*/ 0 h 621896"/>
                <a:gd name="connsiteX264" fmla="*/ 199437 w 553012"/>
                <a:gd name="connsiteY264" fmla="*/ 0 h 621896"/>
                <a:gd name="connsiteX265" fmla="*/ 196812 w 553012"/>
                <a:gd name="connsiteY265" fmla="*/ 3465 h 621896"/>
                <a:gd name="connsiteX266" fmla="*/ 194490 w 553012"/>
                <a:gd name="connsiteY266" fmla="*/ 6661 h 621896"/>
                <a:gd name="connsiteX267" fmla="*/ 190720 w 553012"/>
                <a:gd name="connsiteY267" fmla="*/ 9789 h 621896"/>
                <a:gd name="connsiteX268" fmla="*/ 184057 w 553012"/>
                <a:gd name="connsiteY268" fmla="*/ 10025 h 621896"/>
                <a:gd name="connsiteX269" fmla="*/ 179716 w 553012"/>
                <a:gd name="connsiteY269" fmla="*/ 10025 h 621896"/>
                <a:gd name="connsiteX270" fmla="*/ 178268 w 553012"/>
                <a:gd name="connsiteY270" fmla="*/ 10025 h 621896"/>
                <a:gd name="connsiteX271" fmla="*/ 170730 w 553012"/>
                <a:gd name="connsiteY271" fmla="*/ 10159 h 621896"/>
                <a:gd name="connsiteX272" fmla="*/ 166388 w 553012"/>
                <a:gd name="connsiteY272" fmla="*/ 10159 h 621896"/>
                <a:gd name="connsiteX273" fmla="*/ 165210 w 553012"/>
                <a:gd name="connsiteY273" fmla="*/ 12178 h 621896"/>
                <a:gd name="connsiteX274" fmla="*/ 165513 w 553012"/>
                <a:gd name="connsiteY274" fmla="*/ 17963 h 621896"/>
                <a:gd name="connsiteX275" fmla="*/ 165210 w 553012"/>
                <a:gd name="connsiteY275" fmla="*/ 22606 h 621896"/>
                <a:gd name="connsiteX276" fmla="*/ 164638 w 553012"/>
                <a:gd name="connsiteY276" fmla="*/ 25499 h 621896"/>
                <a:gd name="connsiteX277" fmla="*/ 166658 w 553012"/>
                <a:gd name="connsiteY277" fmla="*/ 29569 h 621896"/>
                <a:gd name="connsiteX278" fmla="*/ 168980 w 553012"/>
                <a:gd name="connsiteY278" fmla="*/ 32462 h 621896"/>
                <a:gd name="connsiteX279" fmla="*/ 170999 w 553012"/>
                <a:gd name="connsiteY279" fmla="*/ 32462 h 621896"/>
                <a:gd name="connsiteX280" fmla="*/ 174465 w 553012"/>
                <a:gd name="connsiteY280" fmla="*/ 34783 h 621896"/>
                <a:gd name="connsiteX281" fmla="*/ 177662 w 553012"/>
                <a:gd name="connsiteY281" fmla="*/ 36230 h 621896"/>
                <a:gd name="connsiteX282" fmla="*/ 179413 w 553012"/>
                <a:gd name="connsiteY282" fmla="*/ 37407 h 621896"/>
                <a:gd name="connsiteX283" fmla="*/ 180860 w 553012"/>
                <a:gd name="connsiteY283" fmla="*/ 39157 h 621896"/>
                <a:gd name="connsiteX284" fmla="*/ 180860 w 553012"/>
                <a:gd name="connsiteY284" fmla="*/ 43126 h 621896"/>
                <a:gd name="connsiteX285" fmla="*/ 177662 w 553012"/>
                <a:gd name="connsiteY285" fmla="*/ 46120 h 621896"/>
                <a:gd name="connsiteX286" fmla="*/ 174196 w 553012"/>
                <a:gd name="connsiteY286" fmla="*/ 48441 h 621896"/>
                <a:gd name="connsiteX287" fmla="*/ 168677 w 553012"/>
                <a:gd name="connsiteY287" fmla="*/ 51334 h 621896"/>
                <a:gd name="connsiteX288" fmla="*/ 166085 w 553012"/>
                <a:gd name="connsiteY288" fmla="*/ 56245 h 621896"/>
                <a:gd name="connsiteX289" fmla="*/ 158547 w 553012"/>
                <a:gd name="connsiteY289" fmla="*/ 61191 h 621896"/>
                <a:gd name="connsiteX290" fmla="*/ 153330 w 553012"/>
                <a:gd name="connsiteY290" fmla="*/ 58869 h 621896"/>
                <a:gd name="connsiteX291" fmla="*/ 150705 w 553012"/>
                <a:gd name="connsiteY291" fmla="*/ 55102 h 621896"/>
                <a:gd name="connsiteX292" fmla="*/ 148080 w 553012"/>
                <a:gd name="connsiteY292" fmla="*/ 51906 h 621896"/>
                <a:gd name="connsiteX293" fmla="*/ 144311 w 553012"/>
                <a:gd name="connsiteY293" fmla="*/ 49013 h 621896"/>
                <a:gd name="connsiteX294" fmla="*/ 142292 w 553012"/>
                <a:gd name="connsiteY294" fmla="*/ 47869 h 621896"/>
                <a:gd name="connsiteX295" fmla="*/ 138522 w 553012"/>
                <a:gd name="connsiteY295" fmla="*/ 45245 h 621896"/>
                <a:gd name="connsiteX296" fmla="*/ 130681 w 553012"/>
                <a:gd name="connsiteY296" fmla="*/ 44673 h 621896"/>
                <a:gd name="connsiteX297" fmla="*/ 125161 w 553012"/>
                <a:gd name="connsiteY297" fmla="*/ 44371 h 621896"/>
                <a:gd name="connsiteX298" fmla="*/ 119642 w 553012"/>
                <a:gd name="connsiteY298" fmla="*/ 43496 h 621896"/>
                <a:gd name="connsiteX299" fmla="*/ 115570 w 553012"/>
                <a:gd name="connsiteY299" fmla="*/ 43496 h 621896"/>
                <a:gd name="connsiteX300" fmla="*/ 110353 w 553012"/>
                <a:gd name="connsiteY300" fmla="*/ 43496 h 621896"/>
                <a:gd name="connsiteX301" fmla="*/ 107459 w 553012"/>
                <a:gd name="connsiteY301" fmla="*/ 43496 h 621896"/>
                <a:gd name="connsiteX302" fmla="*/ 100493 w 553012"/>
                <a:gd name="connsiteY302" fmla="*/ 47701 h 621896"/>
                <a:gd name="connsiteX303" fmla="*/ 98473 w 553012"/>
                <a:gd name="connsiteY303" fmla="*/ 50157 h 621896"/>
                <a:gd name="connsiteX304" fmla="*/ 94704 w 553012"/>
                <a:gd name="connsiteY304" fmla="*/ 52478 h 621896"/>
                <a:gd name="connsiteX305" fmla="*/ 92113 w 553012"/>
                <a:gd name="connsiteY305" fmla="*/ 55674 h 621896"/>
                <a:gd name="connsiteX306" fmla="*/ 87771 w 553012"/>
                <a:gd name="connsiteY306" fmla="*/ 58567 h 621896"/>
                <a:gd name="connsiteX307" fmla="*/ 84305 w 553012"/>
                <a:gd name="connsiteY307" fmla="*/ 58567 h 621896"/>
                <a:gd name="connsiteX308" fmla="*/ 79358 w 553012"/>
                <a:gd name="connsiteY308" fmla="*/ 58264 h 621896"/>
                <a:gd name="connsiteX309" fmla="*/ 77338 w 553012"/>
                <a:gd name="connsiteY309" fmla="*/ 55674 h 621896"/>
                <a:gd name="connsiteX310" fmla="*/ 70372 w 553012"/>
                <a:gd name="connsiteY310" fmla="*/ 55674 h 621896"/>
                <a:gd name="connsiteX311" fmla="*/ 70675 w 553012"/>
                <a:gd name="connsiteY311" fmla="*/ 60316 h 621896"/>
                <a:gd name="connsiteX312" fmla="*/ 71550 w 553012"/>
                <a:gd name="connsiteY312" fmla="*/ 65227 h 621896"/>
                <a:gd name="connsiteX313" fmla="*/ 70405 w 553012"/>
                <a:gd name="connsiteY313" fmla="*/ 69298 h 621896"/>
                <a:gd name="connsiteX314" fmla="*/ 67511 w 553012"/>
                <a:gd name="connsiteY314" fmla="*/ 72493 h 621896"/>
                <a:gd name="connsiteX315" fmla="*/ 62295 w 553012"/>
                <a:gd name="connsiteY315" fmla="*/ 74512 h 621896"/>
                <a:gd name="connsiteX316" fmla="*/ 60275 w 553012"/>
                <a:gd name="connsiteY316" fmla="*/ 77977 h 621896"/>
                <a:gd name="connsiteX317" fmla="*/ 59131 w 553012"/>
                <a:gd name="connsiteY317" fmla="*/ 86084 h 621896"/>
                <a:gd name="connsiteX318" fmla="*/ 57684 w 553012"/>
                <a:gd name="connsiteY318" fmla="*/ 91601 h 621896"/>
                <a:gd name="connsiteX319" fmla="*/ 54217 w 553012"/>
                <a:gd name="connsiteY319" fmla="*/ 96512 h 621896"/>
                <a:gd name="connsiteX320" fmla="*/ 50145 w 553012"/>
                <a:gd name="connsiteY320" fmla="*/ 100582 h 621896"/>
                <a:gd name="connsiteX321" fmla="*/ 47823 w 553012"/>
                <a:gd name="connsiteY321" fmla="*/ 106099 h 621896"/>
                <a:gd name="connsiteX322" fmla="*/ 45804 w 553012"/>
                <a:gd name="connsiteY322" fmla="*/ 111011 h 621896"/>
                <a:gd name="connsiteX323" fmla="*/ 44626 w 553012"/>
                <a:gd name="connsiteY323" fmla="*/ 115653 h 621896"/>
                <a:gd name="connsiteX324" fmla="*/ 46376 w 553012"/>
                <a:gd name="connsiteY324" fmla="*/ 121742 h 621896"/>
                <a:gd name="connsiteX325" fmla="*/ 49876 w 553012"/>
                <a:gd name="connsiteY325" fmla="*/ 125812 h 621896"/>
                <a:gd name="connsiteX326" fmla="*/ 50448 w 553012"/>
                <a:gd name="connsiteY326" fmla="*/ 132473 h 621896"/>
                <a:gd name="connsiteX327" fmla="*/ 46679 w 553012"/>
                <a:gd name="connsiteY327" fmla="*/ 137990 h 621896"/>
                <a:gd name="connsiteX328" fmla="*/ 44087 w 553012"/>
                <a:gd name="connsiteY328" fmla="*/ 142632 h 621896"/>
                <a:gd name="connsiteX329" fmla="*/ 43515 w 553012"/>
                <a:gd name="connsiteY329" fmla="*/ 145222 h 621896"/>
                <a:gd name="connsiteX330" fmla="*/ 43515 w 553012"/>
                <a:gd name="connsiteY330" fmla="*/ 149293 h 621896"/>
                <a:gd name="connsiteX331" fmla="*/ 44087 w 553012"/>
                <a:gd name="connsiteY331" fmla="*/ 152489 h 621896"/>
                <a:gd name="connsiteX332" fmla="*/ 47285 w 553012"/>
                <a:gd name="connsiteY332" fmla="*/ 155381 h 621896"/>
                <a:gd name="connsiteX333" fmla="*/ 49304 w 553012"/>
                <a:gd name="connsiteY333" fmla="*/ 156525 h 621896"/>
                <a:gd name="connsiteX334" fmla="*/ 49001 w 553012"/>
                <a:gd name="connsiteY334" fmla="*/ 160865 h 621896"/>
                <a:gd name="connsiteX335" fmla="*/ 48429 w 553012"/>
                <a:gd name="connsiteY335" fmla="*/ 163758 h 621896"/>
                <a:gd name="connsiteX336" fmla="*/ 45804 w 553012"/>
                <a:gd name="connsiteY336" fmla="*/ 165776 h 621896"/>
                <a:gd name="connsiteX337" fmla="*/ 43482 w 553012"/>
                <a:gd name="connsiteY337" fmla="*/ 168097 h 621896"/>
                <a:gd name="connsiteX338" fmla="*/ 40015 w 553012"/>
                <a:gd name="connsiteY338" fmla="*/ 169544 h 621896"/>
                <a:gd name="connsiteX339" fmla="*/ 40015 w 553012"/>
                <a:gd name="connsiteY339" fmla="*/ 172168 h 621896"/>
                <a:gd name="connsiteX340" fmla="*/ 42338 w 553012"/>
                <a:gd name="connsiteY340" fmla="*/ 175061 h 621896"/>
                <a:gd name="connsiteX341" fmla="*/ 46107 w 553012"/>
                <a:gd name="connsiteY341" fmla="*/ 176507 h 621896"/>
                <a:gd name="connsiteX342" fmla="*/ 48732 w 553012"/>
                <a:gd name="connsiteY342" fmla="*/ 176507 h 621896"/>
                <a:gd name="connsiteX343" fmla="*/ 48732 w 553012"/>
                <a:gd name="connsiteY343" fmla="*/ 178526 h 621896"/>
                <a:gd name="connsiteX344" fmla="*/ 48597 w 553012"/>
                <a:gd name="connsiteY344" fmla="*/ 181990 h 621896"/>
                <a:gd name="connsiteX345" fmla="*/ 48160 w 553012"/>
                <a:gd name="connsiteY345" fmla="*/ 185455 h 621896"/>
                <a:gd name="connsiteX346" fmla="*/ 47016 w 553012"/>
                <a:gd name="connsiteY346" fmla="*/ 187776 h 621896"/>
                <a:gd name="connsiteX347" fmla="*/ 46443 w 553012"/>
                <a:gd name="connsiteY347" fmla="*/ 191544 h 621896"/>
                <a:gd name="connsiteX348" fmla="*/ 47318 w 553012"/>
                <a:gd name="connsiteY348" fmla="*/ 197633 h 621896"/>
                <a:gd name="connsiteX349" fmla="*/ 45871 w 553012"/>
                <a:gd name="connsiteY349" fmla="*/ 202847 h 621896"/>
                <a:gd name="connsiteX350" fmla="*/ 46746 w 553012"/>
                <a:gd name="connsiteY350" fmla="*/ 209508 h 621896"/>
                <a:gd name="connsiteX351" fmla="*/ 47890 w 553012"/>
                <a:gd name="connsiteY351" fmla="*/ 214150 h 621896"/>
                <a:gd name="connsiteX352" fmla="*/ 52535 w 553012"/>
                <a:gd name="connsiteY352" fmla="*/ 217917 h 621896"/>
                <a:gd name="connsiteX353" fmla="*/ 53107 w 553012"/>
                <a:gd name="connsiteY353" fmla="*/ 219095 h 621896"/>
                <a:gd name="connsiteX354" fmla="*/ 54251 w 553012"/>
                <a:gd name="connsiteY354" fmla="*/ 223434 h 621896"/>
                <a:gd name="connsiteX355" fmla="*/ 52501 w 553012"/>
                <a:gd name="connsiteY355" fmla="*/ 227774 h 621896"/>
                <a:gd name="connsiteX356" fmla="*/ 49607 w 553012"/>
                <a:gd name="connsiteY356" fmla="*/ 232416 h 621896"/>
                <a:gd name="connsiteX357" fmla="*/ 50751 w 553012"/>
                <a:gd name="connsiteY357" fmla="*/ 235612 h 621896"/>
                <a:gd name="connsiteX358" fmla="*/ 52770 w 553012"/>
                <a:gd name="connsiteY358" fmla="*/ 241970 h 621896"/>
                <a:gd name="connsiteX359" fmla="*/ 51020 w 553012"/>
                <a:gd name="connsiteY359" fmla="*/ 245737 h 621896"/>
                <a:gd name="connsiteX360" fmla="*/ 50448 w 553012"/>
                <a:gd name="connsiteY360" fmla="*/ 246881 h 621896"/>
                <a:gd name="connsiteX361" fmla="*/ 49001 w 553012"/>
                <a:gd name="connsiteY361" fmla="*/ 250649 h 621896"/>
                <a:gd name="connsiteX362" fmla="*/ 51323 w 553012"/>
                <a:gd name="connsiteY362" fmla="*/ 254114 h 621896"/>
                <a:gd name="connsiteX363" fmla="*/ 51054 w 553012"/>
                <a:gd name="connsiteY363" fmla="*/ 259025 h 621896"/>
                <a:gd name="connsiteX364" fmla="*/ 50751 w 553012"/>
                <a:gd name="connsiteY364" fmla="*/ 265114 h 621896"/>
                <a:gd name="connsiteX365" fmla="*/ 52501 w 553012"/>
                <a:gd name="connsiteY365" fmla="*/ 270328 h 621896"/>
                <a:gd name="connsiteX366" fmla="*/ 55126 w 553012"/>
                <a:gd name="connsiteY366" fmla="*/ 274668 h 621896"/>
                <a:gd name="connsiteX367" fmla="*/ 57718 w 553012"/>
                <a:gd name="connsiteY367" fmla="*/ 276686 h 621896"/>
                <a:gd name="connsiteX368" fmla="*/ 62059 w 553012"/>
                <a:gd name="connsiteY368" fmla="*/ 282203 h 621896"/>
                <a:gd name="connsiteX369" fmla="*/ 64381 w 553012"/>
                <a:gd name="connsiteY369" fmla="*/ 285399 h 621896"/>
                <a:gd name="connsiteX370" fmla="*/ 64078 w 553012"/>
                <a:gd name="connsiteY370" fmla="*/ 291185 h 621896"/>
                <a:gd name="connsiteX371" fmla="*/ 63775 w 553012"/>
                <a:gd name="connsiteY371" fmla="*/ 296971 h 621896"/>
                <a:gd name="connsiteX372" fmla="*/ 62597 w 553012"/>
                <a:gd name="connsiteY372" fmla="*/ 300166 h 621896"/>
                <a:gd name="connsiteX373" fmla="*/ 60881 w 553012"/>
                <a:gd name="connsiteY373" fmla="*/ 302488 h 621896"/>
                <a:gd name="connsiteX374" fmla="*/ 55665 w 553012"/>
                <a:gd name="connsiteY374" fmla="*/ 304809 h 621896"/>
                <a:gd name="connsiteX375" fmla="*/ 51626 w 553012"/>
                <a:gd name="connsiteY375" fmla="*/ 307130 h 621896"/>
                <a:gd name="connsiteX376" fmla="*/ 49001 w 553012"/>
                <a:gd name="connsiteY376" fmla="*/ 308576 h 621896"/>
                <a:gd name="connsiteX377" fmla="*/ 44087 w 553012"/>
                <a:gd name="connsiteY377" fmla="*/ 311200 h 621896"/>
                <a:gd name="connsiteX378" fmla="*/ 40890 w 553012"/>
                <a:gd name="connsiteY378" fmla="*/ 311200 h 621896"/>
                <a:gd name="connsiteX379" fmla="*/ 36381 w 553012"/>
                <a:gd name="connsiteY379" fmla="*/ 311200 h 621896"/>
                <a:gd name="connsiteX380" fmla="*/ 34193 w 553012"/>
                <a:gd name="connsiteY380" fmla="*/ 312647 h 621896"/>
                <a:gd name="connsiteX381" fmla="*/ 31568 w 553012"/>
                <a:gd name="connsiteY381" fmla="*/ 316112 h 621896"/>
                <a:gd name="connsiteX382" fmla="*/ 30121 w 553012"/>
                <a:gd name="connsiteY382" fmla="*/ 320451 h 621896"/>
                <a:gd name="connsiteX383" fmla="*/ 29852 w 553012"/>
                <a:gd name="connsiteY383" fmla="*/ 324521 h 621896"/>
                <a:gd name="connsiteX384" fmla="*/ 28404 w 553012"/>
                <a:gd name="connsiteY384" fmla="*/ 325968 h 621896"/>
                <a:gd name="connsiteX385" fmla="*/ 25510 w 553012"/>
                <a:gd name="connsiteY385" fmla="*/ 327145 h 621896"/>
                <a:gd name="connsiteX386" fmla="*/ 20597 w 553012"/>
                <a:gd name="connsiteY386" fmla="*/ 328895 h 621896"/>
                <a:gd name="connsiteX387" fmla="*/ 18846 w 553012"/>
                <a:gd name="connsiteY387" fmla="*/ 330341 h 621896"/>
                <a:gd name="connsiteX388" fmla="*/ 17097 w 553012"/>
                <a:gd name="connsiteY388" fmla="*/ 332931 h 621896"/>
                <a:gd name="connsiteX389" fmla="*/ 15952 w 553012"/>
                <a:gd name="connsiteY389" fmla="*/ 335253 h 621896"/>
                <a:gd name="connsiteX390" fmla="*/ 9861 w 553012"/>
                <a:gd name="connsiteY390" fmla="*/ 340769 h 621896"/>
                <a:gd name="connsiteX391" fmla="*/ 5789 w 553012"/>
                <a:gd name="connsiteY391" fmla="*/ 344840 h 621896"/>
                <a:gd name="connsiteX392" fmla="*/ 2591 w 553012"/>
                <a:gd name="connsiteY392" fmla="*/ 347430 h 621896"/>
                <a:gd name="connsiteX393" fmla="*/ 0 w 553012"/>
                <a:gd name="connsiteY393" fmla="*/ 350323 h 621896"/>
                <a:gd name="connsiteX394" fmla="*/ 0 w 553012"/>
                <a:gd name="connsiteY394" fmla="*/ 354393 h 621896"/>
                <a:gd name="connsiteX395" fmla="*/ 7842 w 553012"/>
                <a:gd name="connsiteY395" fmla="*/ 352947 h 621896"/>
                <a:gd name="connsiteX396" fmla="*/ 14202 w 553012"/>
                <a:gd name="connsiteY396" fmla="*/ 351803 h 621896"/>
                <a:gd name="connsiteX397" fmla="*/ 15952 w 553012"/>
                <a:gd name="connsiteY397" fmla="*/ 351231 h 621896"/>
                <a:gd name="connsiteX398" fmla="*/ 22616 w 553012"/>
                <a:gd name="connsiteY398" fmla="*/ 349482 h 621896"/>
                <a:gd name="connsiteX399" fmla="*/ 27260 w 553012"/>
                <a:gd name="connsiteY399" fmla="*/ 346286 h 621896"/>
                <a:gd name="connsiteX400" fmla="*/ 30155 w 553012"/>
                <a:gd name="connsiteY400" fmla="*/ 345412 h 621896"/>
                <a:gd name="connsiteX401" fmla="*/ 33049 w 553012"/>
                <a:gd name="connsiteY401" fmla="*/ 345109 h 621896"/>
                <a:gd name="connsiteX402" fmla="*/ 33049 w 553012"/>
                <a:gd name="connsiteY402" fmla="*/ 346858 h 621896"/>
                <a:gd name="connsiteX403" fmla="*/ 34933 w 553012"/>
                <a:gd name="connsiteY403" fmla="*/ 349179 h 621896"/>
                <a:gd name="connsiteX404" fmla="*/ 38837 w 553012"/>
                <a:gd name="connsiteY404" fmla="*/ 348608 h 621896"/>
                <a:gd name="connsiteX405" fmla="*/ 41159 w 553012"/>
                <a:gd name="connsiteY405" fmla="*/ 346286 h 621896"/>
                <a:gd name="connsiteX406" fmla="*/ 43482 w 553012"/>
                <a:gd name="connsiteY406" fmla="*/ 343091 h 621896"/>
                <a:gd name="connsiteX407" fmla="*/ 46039 w 553012"/>
                <a:gd name="connsiteY407" fmla="*/ 342519 h 621896"/>
                <a:gd name="connsiteX408" fmla="*/ 53040 w 553012"/>
                <a:gd name="connsiteY408" fmla="*/ 340769 h 621896"/>
                <a:gd name="connsiteX409" fmla="*/ 57381 w 553012"/>
                <a:gd name="connsiteY409" fmla="*/ 340769 h 621896"/>
                <a:gd name="connsiteX410" fmla="*/ 63775 w 553012"/>
                <a:gd name="connsiteY410" fmla="*/ 344403 h 621896"/>
                <a:gd name="connsiteX411" fmla="*/ 63203 w 553012"/>
                <a:gd name="connsiteY411" fmla="*/ 349179 h 621896"/>
                <a:gd name="connsiteX412" fmla="*/ 66670 w 553012"/>
                <a:gd name="connsiteY412" fmla="*/ 353519 h 621896"/>
                <a:gd name="connsiteX413" fmla="*/ 71011 w 553012"/>
                <a:gd name="connsiteY413" fmla="*/ 357286 h 621896"/>
                <a:gd name="connsiteX414" fmla="*/ 72761 w 553012"/>
                <a:gd name="connsiteY414" fmla="*/ 361626 h 621896"/>
                <a:gd name="connsiteX415" fmla="*/ 70439 w 553012"/>
                <a:gd name="connsiteY415" fmla="*/ 365091 h 621896"/>
                <a:gd name="connsiteX416" fmla="*/ 69295 w 553012"/>
                <a:gd name="connsiteY416" fmla="*/ 365091 h 621896"/>
                <a:gd name="connsiteX417" fmla="*/ 65223 w 553012"/>
                <a:gd name="connsiteY417" fmla="*/ 367984 h 621896"/>
                <a:gd name="connsiteX418" fmla="*/ 63472 w 553012"/>
                <a:gd name="connsiteY418" fmla="*/ 371449 h 621896"/>
                <a:gd name="connsiteX419" fmla="*/ 63472 w 553012"/>
                <a:gd name="connsiteY419" fmla="*/ 373770 h 621896"/>
                <a:gd name="connsiteX420" fmla="*/ 64920 w 553012"/>
                <a:gd name="connsiteY420" fmla="*/ 373770 h 621896"/>
                <a:gd name="connsiteX421" fmla="*/ 69564 w 553012"/>
                <a:gd name="connsiteY421" fmla="*/ 375082 h 621896"/>
                <a:gd name="connsiteX422" fmla="*/ 72761 w 553012"/>
                <a:gd name="connsiteY422" fmla="*/ 377538 h 621896"/>
                <a:gd name="connsiteX423" fmla="*/ 71011 w 553012"/>
                <a:gd name="connsiteY423" fmla="*/ 381608 h 621896"/>
                <a:gd name="connsiteX424" fmla="*/ 64348 w 553012"/>
                <a:gd name="connsiteY424" fmla="*/ 386250 h 621896"/>
                <a:gd name="connsiteX425" fmla="*/ 60881 w 553012"/>
                <a:gd name="connsiteY425" fmla="*/ 387697 h 621896"/>
                <a:gd name="connsiteX426" fmla="*/ 56943 w 553012"/>
                <a:gd name="connsiteY426" fmla="*/ 388840 h 621896"/>
                <a:gd name="connsiteX427" fmla="*/ 49876 w 553012"/>
                <a:gd name="connsiteY427" fmla="*/ 392305 h 621896"/>
                <a:gd name="connsiteX428" fmla="*/ 46073 w 553012"/>
                <a:gd name="connsiteY428" fmla="*/ 396073 h 621896"/>
                <a:gd name="connsiteX429" fmla="*/ 48429 w 553012"/>
                <a:gd name="connsiteY429" fmla="*/ 398697 h 621896"/>
                <a:gd name="connsiteX430" fmla="*/ 52198 w 553012"/>
                <a:gd name="connsiteY430" fmla="*/ 401590 h 621896"/>
                <a:gd name="connsiteX431" fmla="*/ 56977 w 553012"/>
                <a:gd name="connsiteY431" fmla="*/ 408251 h 621896"/>
                <a:gd name="connsiteX432" fmla="*/ 56977 w 553012"/>
                <a:gd name="connsiteY432" fmla="*/ 411144 h 621896"/>
                <a:gd name="connsiteX433" fmla="*/ 55126 w 553012"/>
                <a:gd name="connsiteY433" fmla="*/ 416930 h 621896"/>
                <a:gd name="connsiteX434" fmla="*/ 51929 w 553012"/>
                <a:gd name="connsiteY434" fmla="*/ 421269 h 621896"/>
                <a:gd name="connsiteX435" fmla="*/ 48463 w 553012"/>
                <a:gd name="connsiteY435" fmla="*/ 426181 h 621896"/>
                <a:gd name="connsiteX436" fmla="*/ 46107 w 553012"/>
                <a:gd name="connsiteY436" fmla="*/ 431966 h 621896"/>
                <a:gd name="connsiteX437" fmla="*/ 46141 w 553012"/>
                <a:gd name="connsiteY437" fmla="*/ 439771 h 621896"/>
                <a:gd name="connsiteX438" fmla="*/ 47588 w 553012"/>
                <a:gd name="connsiteY438" fmla="*/ 442361 h 621896"/>
                <a:gd name="connsiteX439" fmla="*/ 52501 w 553012"/>
                <a:gd name="connsiteY439" fmla="*/ 446129 h 621896"/>
                <a:gd name="connsiteX440" fmla="*/ 55126 w 553012"/>
                <a:gd name="connsiteY440" fmla="*/ 442933 h 621896"/>
                <a:gd name="connsiteX441" fmla="*/ 58323 w 553012"/>
                <a:gd name="connsiteY441" fmla="*/ 439737 h 621896"/>
                <a:gd name="connsiteX442" fmla="*/ 63102 w 553012"/>
                <a:gd name="connsiteY442" fmla="*/ 439737 h 621896"/>
                <a:gd name="connsiteX443" fmla="*/ 65862 w 553012"/>
                <a:gd name="connsiteY443" fmla="*/ 442496 h 621896"/>
                <a:gd name="connsiteX444" fmla="*/ 59501 w 553012"/>
                <a:gd name="connsiteY444" fmla="*/ 446701 h 621896"/>
                <a:gd name="connsiteX445" fmla="*/ 58357 w 553012"/>
                <a:gd name="connsiteY445" fmla="*/ 450737 h 621896"/>
                <a:gd name="connsiteX446" fmla="*/ 65896 w 553012"/>
                <a:gd name="connsiteY446" fmla="*/ 454808 h 621896"/>
                <a:gd name="connsiteX447" fmla="*/ 67915 w 553012"/>
                <a:gd name="connsiteY447" fmla="*/ 461468 h 621896"/>
                <a:gd name="connsiteX448" fmla="*/ 67915 w 553012"/>
                <a:gd name="connsiteY448" fmla="*/ 467389 h 621896"/>
                <a:gd name="connsiteX449" fmla="*/ 71550 w 553012"/>
                <a:gd name="connsiteY449" fmla="*/ 467557 h 621896"/>
                <a:gd name="connsiteX450" fmla="*/ 72425 w 553012"/>
                <a:gd name="connsiteY450" fmla="*/ 470316 h 621896"/>
                <a:gd name="connsiteX451" fmla="*/ 74881 w 553012"/>
                <a:gd name="connsiteY451" fmla="*/ 471190 h 621896"/>
                <a:gd name="connsiteX452" fmla="*/ 79391 w 553012"/>
                <a:gd name="connsiteY452" fmla="*/ 471056 h 621896"/>
                <a:gd name="connsiteX453" fmla="*/ 83733 w 553012"/>
                <a:gd name="connsiteY453" fmla="*/ 468869 h 621896"/>
                <a:gd name="connsiteX454" fmla="*/ 86358 w 553012"/>
                <a:gd name="connsiteY454" fmla="*/ 471056 h 621896"/>
                <a:gd name="connsiteX455" fmla="*/ 91877 w 553012"/>
                <a:gd name="connsiteY455" fmla="*/ 473242 h 621896"/>
                <a:gd name="connsiteX456" fmla="*/ 92752 w 553012"/>
                <a:gd name="connsiteY456" fmla="*/ 476573 h 621896"/>
                <a:gd name="connsiteX457" fmla="*/ 87838 w 553012"/>
                <a:gd name="connsiteY457" fmla="*/ 480475 h 621896"/>
                <a:gd name="connsiteX458" fmla="*/ 85954 w 553012"/>
                <a:gd name="connsiteY458" fmla="*/ 483233 h 621896"/>
                <a:gd name="connsiteX459" fmla="*/ 88713 w 553012"/>
                <a:gd name="connsiteY459" fmla="*/ 486866 h 621896"/>
                <a:gd name="connsiteX460" fmla="*/ 95074 w 553012"/>
                <a:gd name="connsiteY460" fmla="*/ 488178 h 621896"/>
                <a:gd name="connsiteX461" fmla="*/ 100156 w 553012"/>
                <a:gd name="connsiteY461" fmla="*/ 487741 h 621896"/>
                <a:gd name="connsiteX462" fmla="*/ 102343 w 553012"/>
                <a:gd name="connsiteY462" fmla="*/ 486866 h 621896"/>
                <a:gd name="connsiteX463" fmla="*/ 103892 w 553012"/>
                <a:gd name="connsiteY463" fmla="*/ 483940 h 621896"/>
                <a:gd name="connsiteX464" fmla="*/ 103219 w 553012"/>
                <a:gd name="connsiteY464" fmla="*/ 483233 h 621896"/>
                <a:gd name="connsiteX465" fmla="*/ 102041 w 553012"/>
                <a:gd name="connsiteY465" fmla="*/ 481047 h 621896"/>
                <a:gd name="connsiteX466" fmla="*/ 101771 w 553012"/>
                <a:gd name="connsiteY466" fmla="*/ 480172 h 621896"/>
                <a:gd name="connsiteX467" fmla="*/ 101368 w 553012"/>
                <a:gd name="connsiteY467" fmla="*/ 475530 h 621896"/>
                <a:gd name="connsiteX468" fmla="*/ 101401 w 553012"/>
                <a:gd name="connsiteY468" fmla="*/ 475462 h 621896"/>
                <a:gd name="connsiteX469" fmla="*/ 101502 w 553012"/>
                <a:gd name="connsiteY469" fmla="*/ 475261 h 621896"/>
                <a:gd name="connsiteX470" fmla="*/ 101401 w 553012"/>
                <a:gd name="connsiteY470" fmla="*/ 475462 h 621896"/>
                <a:gd name="connsiteX471" fmla="*/ 101368 w 553012"/>
                <a:gd name="connsiteY471" fmla="*/ 475530 h 621896"/>
                <a:gd name="connsiteX472" fmla="*/ 101940 w 553012"/>
                <a:gd name="connsiteY472" fmla="*/ 474958 h 621896"/>
                <a:gd name="connsiteX473" fmla="*/ 105574 w 553012"/>
                <a:gd name="connsiteY473" fmla="*/ 471056 h 621896"/>
                <a:gd name="connsiteX474" fmla="*/ 107156 w 553012"/>
                <a:gd name="connsiteY474" fmla="*/ 469744 h 621896"/>
                <a:gd name="connsiteX475" fmla="*/ 108166 w 553012"/>
                <a:gd name="connsiteY475" fmla="*/ 467389 h 621896"/>
                <a:gd name="connsiteX476" fmla="*/ 108166 w 553012"/>
                <a:gd name="connsiteY476" fmla="*/ 460930 h 621896"/>
                <a:gd name="connsiteX477" fmla="*/ 109748 w 553012"/>
                <a:gd name="connsiteY477" fmla="*/ 458609 h 621896"/>
                <a:gd name="connsiteX478" fmla="*/ 114964 w 553012"/>
                <a:gd name="connsiteY478" fmla="*/ 454135 h 621896"/>
                <a:gd name="connsiteX479" fmla="*/ 119743 w 553012"/>
                <a:gd name="connsiteY479" fmla="*/ 452386 h 621896"/>
                <a:gd name="connsiteX480" fmla="*/ 122065 w 553012"/>
                <a:gd name="connsiteY480" fmla="*/ 453395 h 621896"/>
                <a:gd name="connsiteX481" fmla="*/ 130613 w 553012"/>
                <a:gd name="connsiteY481" fmla="*/ 456591 h 621896"/>
                <a:gd name="connsiteX482" fmla="*/ 130613 w 553012"/>
                <a:gd name="connsiteY482" fmla="*/ 463251 h 621896"/>
                <a:gd name="connsiteX483" fmla="*/ 131488 w 553012"/>
                <a:gd name="connsiteY483" fmla="*/ 467759 h 621896"/>
                <a:gd name="connsiteX484" fmla="*/ 133945 w 553012"/>
                <a:gd name="connsiteY484" fmla="*/ 470955 h 621896"/>
                <a:gd name="connsiteX485" fmla="*/ 139465 w 553012"/>
                <a:gd name="connsiteY485" fmla="*/ 468499 h 621896"/>
                <a:gd name="connsiteX486" fmla="*/ 140609 w 553012"/>
                <a:gd name="connsiteY486" fmla="*/ 466918 h 621896"/>
                <a:gd name="connsiteX487" fmla="*/ 142494 w 553012"/>
                <a:gd name="connsiteY487" fmla="*/ 466784 h 621896"/>
                <a:gd name="connsiteX488" fmla="*/ 145960 w 553012"/>
                <a:gd name="connsiteY488" fmla="*/ 468230 h 621896"/>
                <a:gd name="connsiteX489" fmla="*/ 147272 w 553012"/>
                <a:gd name="connsiteY489" fmla="*/ 470114 h 621896"/>
                <a:gd name="connsiteX490" fmla="*/ 148450 w 553012"/>
                <a:gd name="connsiteY490" fmla="*/ 472570 h 621896"/>
                <a:gd name="connsiteX491" fmla="*/ 150335 w 553012"/>
                <a:gd name="connsiteY491" fmla="*/ 475160 h 621896"/>
                <a:gd name="connsiteX492" fmla="*/ 153532 w 553012"/>
                <a:gd name="connsiteY492" fmla="*/ 474857 h 621896"/>
                <a:gd name="connsiteX493" fmla="*/ 155249 w 553012"/>
                <a:gd name="connsiteY493" fmla="*/ 472536 h 621896"/>
                <a:gd name="connsiteX494" fmla="*/ 156124 w 553012"/>
                <a:gd name="connsiteY494" fmla="*/ 467625 h 621896"/>
                <a:gd name="connsiteX495" fmla="*/ 157571 w 553012"/>
                <a:gd name="connsiteY495" fmla="*/ 465169 h 621896"/>
                <a:gd name="connsiteX496" fmla="*/ 158446 w 553012"/>
                <a:gd name="connsiteY496" fmla="*/ 461973 h 621896"/>
                <a:gd name="connsiteX497" fmla="*/ 160027 w 553012"/>
                <a:gd name="connsiteY497" fmla="*/ 459215 h 621896"/>
                <a:gd name="connsiteX498" fmla="*/ 161778 w 553012"/>
                <a:gd name="connsiteY498" fmla="*/ 457465 h 621896"/>
                <a:gd name="connsiteX499" fmla="*/ 163965 w 553012"/>
                <a:gd name="connsiteY499" fmla="*/ 456019 h 621896"/>
                <a:gd name="connsiteX500" fmla="*/ 165850 w 553012"/>
                <a:gd name="connsiteY500" fmla="*/ 455010 h 621896"/>
                <a:gd name="connsiteX501" fmla="*/ 168172 w 553012"/>
                <a:gd name="connsiteY501" fmla="*/ 452386 h 621896"/>
                <a:gd name="connsiteX502" fmla="*/ 171807 w 553012"/>
                <a:gd name="connsiteY502" fmla="*/ 450367 h 621896"/>
                <a:gd name="connsiteX503" fmla="*/ 175273 w 553012"/>
                <a:gd name="connsiteY503" fmla="*/ 447340 h 621896"/>
                <a:gd name="connsiteX504" fmla="*/ 176720 w 553012"/>
                <a:gd name="connsiteY504" fmla="*/ 443875 h 621896"/>
                <a:gd name="connsiteX505" fmla="*/ 177595 w 553012"/>
                <a:gd name="connsiteY505" fmla="*/ 439098 h 621896"/>
                <a:gd name="connsiteX506" fmla="*/ 185571 w 553012"/>
                <a:gd name="connsiteY506" fmla="*/ 438156 h 621896"/>
                <a:gd name="connsiteX507" fmla="*/ 189206 w 553012"/>
                <a:gd name="connsiteY507" fmla="*/ 436340 h 621896"/>
                <a:gd name="connsiteX508" fmla="*/ 192403 w 553012"/>
                <a:gd name="connsiteY508" fmla="*/ 436340 h 621896"/>
                <a:gd name="connsiteX509" fmla="*/ 194423 w 553012"/>
                <a:gd name="connsiteY509" fmla="*/ 437786 h 621896"/>
                <a:gd name="connsiteX510" fmla="*/ 199774 w 553012"/>
                <a:gd name="connsiteY510" fmla="*/ 443135 h 621896"/>
                <a:gd name="connsiteX511" fmla="*/ 201961 w 553012"/>
                <a:gd name="connsiteY511" fmla="*/ 444144 h 621896"/>
                <a:gd name="connsiteX512" fmla="*/ 207750 w 553012"/>
                <a:gd name="connsiteY512" fmla="*/ 443841 h 621896"/>
                <a:gd name="connsiteX513" fmla="*/ 210947 w 553012"/>
                <a:gd name="connsiteY513" fmla="*/ 441823 h 621896"/>
                <a:gd name="connsiteX514" fmla="*/ 212697 w 553012"/>
                <a:gd name="connsiteY514" fmla="*/ 439636 h 621896"/>
                <a:gd name="connsiteX515" fmla="*/ 213404 w 553012"/>
                <a:gd name="connsiteY515" fmla="*/ 437618 h 621896"/>
                <a:gd name="connsiteX516" fmla="*/ 214582 w 553012"/>
                <a:gd name="connsiteY516" fmla="*/ 434288 h 621896"/>
                <a:gd name="connsiteX517" fmla="*/ 215894 w 553012"/>
                <a:gd name="connsiteY517" fmla="*/ 431832 h 621896"/>
                <a:gd name="connsiteX518" fmla="*/ 216466 w 553012"/>
                <a:gd name="connsiteY518" fmla="*/ 430957 h 621896"/>
                <a:gd name="connsiteX519" fmla="*/ 218485 w 553012"/>
                <a:gd name="connsiteY519" fmla="*/ 429645 h 621896"/>
                <a:gd name="connsiteX520" fmla="*/ 221380 w 553012"/>
                <a:gd name="connsiteY520" fmla="*/ 432101 h 621896"/>
                <a:gd name="connsiteX521" fmla="*/ 224409 w 553012"/>
                <a:gd name="connsiteY521" fmla="*/ 434119 h 621896"/>
                <a:gd name="connsiteX522" fmla="*/ 226596 w 553012"/>
                <a:gd name="connsiteY522" fmla="*/ 436138 h 621896"/>
                <a:gd name="connsiteX523" fmla="*/ 232553 w 553012"/>
                <a:gd name="connsiteY523" fmla="*/ 438594 h 621896"/>
                <a:gd name="connsiteX524" fmla="*/ 236154 w 553012"/>
                <a:gd name="connsiteY524" fmla="*/ 438459 h 621896"/>
                <a:gd name="connsiteX525" fmla="*/ 237904 w 553012"/>
                <a:gd name="connsiteY525" fmla="*/ 436710 h 621896"/>
                <a:gd name="connsiteX526" fmla="*/ 241674 w 553012"/>
                <a:gd name="connsiteY526" fmla="*/ 435835 h 621896"/>
                <a:gd name="connsiteX527" fmla="*/ 244736 w 553012"/>
                <a:gd name="connsiteY527" fmla="*/ 438459 h 621896"/>
                <a:gd name="connsiteX528" fmla="*/ 247395 w 553012"/>
                <a:gd name="connsiteY528" fmla="*/ 441487 h 621896"/>
                <a:gd name="connsiteX529" fmla="*/ 248909 w 553012"/>
                <a:gd name="connsiteY529" fmla="*/ 443673 h 621896"/>
                <a:gd name="connsiteX530" fmla="*/ 248909 w 553012"/>
                <a:gd name="connsiteY530" fmla="*/ 447575 h 621896"/>
                <a:gd name="connsiteX531" fmla="*/ 248034 w 553012"/>
                <a:gd name="connsiteY531" fmla="*/ 451780 h 621896"/>
                <a:gd name="connsiteX532" fmla="*/ 247159 w 553012"/>
                <a:gd name="connsiteY532" fmla="*/ 454808 h 621896"/>
                <a:gd name="connsiteX533" fmla="*/ 247462 w 553012"/>
                <a:gd name="connsiteY533" fmla="*/ 457566 h 621896"/>
                <a:gd name="connsiteX534" fmla="*/ 247900 w 553012"/>
                <a:gd name="connsiteY534" fmla="*/ 460594 h 621896"/>
                <a:gd name="connsiteX535" fmla="*/ 248169 w 553012"/>
                <a:gd name="connsiteY535" fmla="*/ 462040 h 621896"/>
                <a:gd name="connsiteX536" fmla="*/ 246015 w 553012"/>
                <a:gd name="connsiteY536" fmla="*/ 465102 h 621896"/>
                <a:gd name="connsiteX537" fmla="*/ 245005 w 553012"/>
                <a:gd name="connsiteY537" fmla="*/ 467120 h 621896"/>
                <a:gd name="connsiteX538" fmla="*/ 242986 w 553012"/>
                <a:gd name="connsiteY538" fmla="*/ 470013 h 621896"/>
                <a:gd name="connsiteX539" fmla="*/ 241404 w 553012"/>
                <a:gd name="connsiteY539" fmla="*/ 474353 h 621896"/>
                <a:gd name="connsiteX540" fmla="*/ 241674 w 553012"/>
                <a:gd name="connsiteY540" fmla="*/ 477985 h 621896"/>
                <a:gd name="connsiteX541" fmla="*/ 242818 w 553012"/>
                <a:gd name="connsiteY541" fmla="*/ 479735 h 621896"/>
                <a:gd name="connsiteX542" fmla="*/ 244265 w 553012"/>
                <a:gd name="connsiteY542" fmla="*/ 481921 h 621896"/>
                <a:gd name="connsiteX543" fmla="*/ 246150 w 553012"/>
                <a:gd name="connsiteY543" fmla="*/ 484545 h 621896"/>
                <a:gd name="connsiteX544" fmla="*/ 248909 w 553012"/>
                <a:gd name="connsiteY544" fmla="*/ 485420 h 621896"/>
                <a:gd name="connsiteX545" fmla="*/ 252106 w 553012"/>
                <a:gd name="connsiteY545" fmla="*/ 484276 h 621896"/>
                <a:gd name="connsiteX546" fmla="*/ 254126 w 553012"/>
                <a:gd name="connsiteY546" fmla="*/ 483839 h 621896"/>
                <a:gd name="connsiteX547" fmla="*/ 258030 w 553012"/>
                <a:gd name="connsiteY547" fmla="*/ 483402 h 621896"/>
                <a:gd name="connsiteX548" fmla="*/ 260352 w 553012"/>
                <a:gd name="connsiteY548" fmla="*/ 483536 h 621896"/>
                <a:gd name="connsiteX549" fmla="*/ 263112 w 553012"/>
                <a:gd name="connsiteY549" fmla="*/ 483536 h 621896"/>
                <a:gd name="connsiteX550" fmla="*/ 265434 w 553012"/>
                <a:gd name="connsiteY550" fmla="*/ 484108 h 621896"/>
                <a:gd name="connsiteX551" fmla="*/ 267823 w 553012"/>
                <a:gd name="connsiteY551" fmla="*/ 485252 h 621896"/>
                <a:gd name="connsiteX552" fmla="*/ 269775 w 553012"/>
                <a:gd name="connsiteY552" fmla="*/ 487001 h 621896"/>
                <a:gd name="connsiteX553" fmla="*/ 269775 w 553012"/>
                <a:gd name="connsiteY553" fmla="*/ 491071 h 621896"/>
                <a:gd name="connsiteX554" fmla="*/ 267318 w 553012"/>
                <a:gd name="connsiteY554" fmla="*/ 493695 h 621896"/>
                <a:gd name="connsiteX555" fmla="*/ 265871 w 553012"/>
                <a:gd name="connsiteY555" fmla="*/ 495882 h 621896"/>
                <a:gd name="connsiteX556" fmla="*/ 264256 w 553012"/>
                <a:gd name="connsiteY556" fmla="*/ 496588 h 621896"/>
                <a:gd name="connsiteX557" fmla="*/ 262674 w 553012"/>
                <a:gd name="connsiteY557" fmla="*/ 497328 h 621896"/>
                <a:gd name="connsiteX558" fmla="*/ 260352 w 553012"/>
                <a:gd name="connsiteY558" fmla="*/ 498909 h 621896"/>
                <a:gd name="connsiteX559" fmla="*/ 258467 w 553012"/>
                <a:gd name="connsiteY559" fmla="*/ 500928 h 621896"/>
                <a:gd name="connsiteX560" fmla="*/ 256717 w 553012"/>
                <a:gd name="connsiteY560" fmla="*/ 503552 h 621896"/>
                <a:gd name="connsiteX561" fmla="*/ 254530 w 553012"/>
                <a:gd name="connsiteY561" fmla="*/ 506579 h 621896"/>
                <a:gd name="connsiteX562" fmla="*/ 254092 w 553012"/>
                <a:gd name="connsiteY562" fmla="*/ 510347 h 621896"/>
                <a:gd name="connsiteX563" fmla="*/ 253520 w 553012"/>
                <a:gd name="connsiteY563" fmla="*/ 514686 h 621896"/>
                <a:gd name="connsiteX564" fmla="*/ 256414 w 553012"/>
                <a:gd name="connsiteY564" fmla="*/ 525417 h 621896"/>
                <a:gd name="connsiteX565" fmla="*/ 255707 w 553012"/>
                <a:gd name="connsiteY565" fmla="*/ 530934 h 621896"/>
                <a:gd name="connsiteX566" fmla="*/ 254698 w 553012"/>
                <a:gd name="connsiteY566" fmla="*/ 535577 h 621896"/>
                <a:gd name="connsiteX567" fmla="*/ 254126 w 553012"/>
                <a:gd name="connsiteY567" fmla="*/ 537158 h 621896"/>
                <a:gd name="connsiteX568" fmla="*/ 252544 w 553012"/>
                <a:gd name="connsiteY568" fmla="*/ 539176 h 621896"/>
                <a:gd name="connsiteX569" fmla="*/ 249650 w 553012"/>
                <a:gd name="connsiteY569" fmla="*/ 540757 h 621896"/>
                <a:gd name="connsiteX570" fmla="*/ 247462 w 553012"/>
                <a:gd name="connsiteY570" fmla="*/ 541329 h 621896"/>
                <a:gd name="connsiteX571" fmla="*/ 245578 w 553012"/>
                <a:gd name="connsiteY571" fmla="*/ 543213 h 621896"/>
                <a:gd name="connsiteX572" fmla="*/ 243121 w 553012"/>
                <a:gd name="connsiteY572" fmla="*/ 545534 h 621896"/>
                <a:gd name="connsiteX573" fmla="*/ 239217 w 553012"/>
                <a:gd name="connsiteY573" fmla="*/ 547418 h 621896"/>
                <a:gd name="connsiteX574" fmla="*/ 238914 w 553012"/>
                <a:gd name="connsiteY574" fmla="*/ 547855 h 621896"/>
                <a:gd name="connsiteX575" fmla="*/ 237029 w 553012"/>
                <a:gd name="connsiteY575" fmla="*/ 550883 h 621896"/>
                <a:gd name="connsiteX576" fmla="*/ 236726 w 553012"/>
                <a:gd name="connsiteY576" fmla="*/ 552767 h 621896"/>
                <a:gd name="connsiteX577" fmla="*/ 236592 w 553012"/>
                <a:gd name="connsiteY577" fmla="*/ 555357 h 621896"/>
                <a:gd name="connsiteX578" fmla="*/ 236726 w 553012"/>
                <a:gd name="connsiteY578" fmla="*/ 557812 h 621896"/>
                <a:gd name="connsiteX579" fmla="*/ 230938 w 553012"/>
                <a:gd name="connsiteY579" fmla="*/ 559696 h 621896"/>
                <a:gd name="connsiteX580" fmla="*/ 229625 w 553012"/>
                <a:gd name="connsiteY580" fmla="*/ 560840 h 621896"/>
                <a:gd name="connsiteX581" fmla="*/ 225553 w 553012"/>
                <a:gd name="connsiteY581" fmla="*/ 563598 h 621896"/>
                <a:gd name="connsiteX582" fmla="*/ 224409 w 553012"/>
                <a:gd name="connsiteY582" fmla="*/ 566929 h 621896"/>
                <a:gd name="connsiteX583" fmla="*/ 223971 w 553012"/>
                <a:gd name="connsiteY583" fmla="*/ 567063 h 621896"/>
                <a:gd name="connsiteX584" fmla="*/ 218889 w 553012"/>
                <a:gd name="connsiteY584" fmla="*/ 573287 h 621896"/>
                <a:gd name="connsiteX585" fmla="*/ 218587 w 553012"/>
                <a:gd name="connsiteY585" fmla="*/ 577626 h 621896"/>
                <a:gd name="connsiteX586" fmla="*/ 218721 w 553012"/>
                <a:gd name="connsiteY586" fmla="*/ 581528 h 621896"/>
                <a:gd name="connsiteX587" fmla="*/ 219159 w 553012"/>
                <a:gd name="connsiteY587" fmla="*/ 584556 h 621896"/>
                <a:gd name="connsiteX588" fmla="*/ 219293 w 553012"/>
                <a:gd name="connsiteY588" fmla="*/ 588458 h 621896"/>
                <a:gd name="connsiteX589" fmla="*/ 220168 w 553012"/>
                <a:gd name="connsiteY589" fmla="*/ 591923 h 621896"/>
                <a:gd name="connsiteX590" fmla="*/ 223063 w 553012"/>
                <a:gd name="connsiteY590" fmla="*/ 595253 h 621896"/>
                <a:gd name="connsiteX591" fmla="*/ 228414 w 553012"/>
                <a:gd name="connsiteY591" fmla="*/ 597272 h 621896"/>
                <a:gd name="connsiteX592" fmla="*/ 233630 w 553012"/>
                <a:gd name="connsiteY592" fmla="*/ 596094 h 621896"/>
                <a:gd name="connsiteX593" fmla="*/ 235952 w 553012"/>
                <a:gd name="connsiteY593" fmla="*/ 591620 h 621896"/>
                <a:gd name="connsiteX594" fmla="*/ 236087 w 553012"/>
                <a:gd name="connsiteY594" fmla="*/ 589030 h 621896"/>
                <a:gd name="connsiteX595" fmla="*/ 235952 w 553012"/>
                <a:gd name="connsiteY595" fmla="*/ 584119 h 621896"/>
                <a:gd name="connsiteX596" fmla="*/ 238577 w 553012"/>
                <a:gd name="connsiteY596" fmla="*/ 581091 h 621896"/>
                <a:gd name="connsiteX597" fmla="*/ 241472 w 553012"/>
                <a:gd name="connsiteY597" fmla="*/ 579342 h 621896"/>
                <a:gd name="connsiteX598" fmla="*/ 244938 w 553012"/>
                <a:gd name="connsiteY598" fmla="*/ 577155 h 621896"/>
                <a:gd name="connsiteX599" fmla="*/ 247092 w 553012"/>
                <a:gd name="connsiteY599" fmla="*/ 574699 h 621896"/>
                <a:gd name="connsiteX600" fmla="*/ 248236 w 553012"/>
                <a:gd name="connsiteY600" fmla="*/ 573522 h 621896"/>
                <a:gd name="connsiteX601" fmla="*/ 250424 w 553012"/>
                <a:gd name="connsiteY601" fmla="*/ 571773 h 621896"/>
                <a:gd name="connsiteX602" fmla="*/ 253183 w 553012"/>
                <a:gd name="connsiteY602" fmla="*/ 571773 h 621896"/>
                <a:gd name="connsiteX603" fmla="*/ 256650 w 553012"/>
                <a:gd name="connsiteY603" fmla="*/ 571033 h 621896"/>
                <a:gd name="connsiteX604" fmla="*/ 260991 w 553012"/>
                <a:gd name="connsiteY604" fmla="*/ 571605 h 621896"/>
                <a:gd name="connsiteX605" fmla="*/ 264895 w 553012"/>
                <a:gd name="connsiteY605" fmla="*/ 572748 h 621896"/>
                <a:gd name="connsiteX606" fmla="*/ 266645 w 553012"/>
                <a:gd name="connsiteY606" fmla="*/ 573623 h 621896"/>
                <a:gd name="connsiteX607" fmla="*/ 267958 w 553012"/>
                <a:gd name="connsiteY607" fmla="*/ 578131 h 621896"/>
                <a:gd name="connsiteX608" fmla="*/ 267958 w 553012"/>
                <a:gd name="connsiteY608" fmla="*/ 581327 h 621896"/>
                <a:gd name="connsiteX609" fmla="*/ 268530 w 553012"/>
                <a:gd name="connsiteY609" fmla="*/ 585094 h 621896"/>
                <a:gd name="connsiteX610" fmla="*/ 267958 w 553012"/>
                <a:gd name="connsiteY610" fmla="*/ 591048 h 621896"/>
                <a:gd name="connsiteX611" fmla="*/ 267958 w 553012"/>
                <a:gd name="connsiteY611" fmla="*/ 593672 h 621896"/>
                <a:gd name="connsiteX612" fmla="*/ 267823 w 553012"/>
                <a:gd name="connsiteY612" fmla="*/ 596868 h 621896"/>
                <a:gd name="connsiteX613" fmla="*/ 267958 w 553012"/>
                <a:gd name="connsiteY613" fmla="*/ 600198 h 621896"/>
                <a:gd name="connsiteX614" fmla="*/ 267520 w 553012"/>
                <a:gd name="connsiteY614" fmla="*/ 604706 h 621896"/>
                <a:gd name="connsiteX615" fmla="*/ 267386 w 553012"/>
                <a:gd name="connsiteY615" fmla="*/ 610627 h 621896"/>
                <a:gd name="connsiteX616" fmla="*/ 266948 w 553012"/>
                <a:gd name="connsiteY616" fmla="*/ 613385 h 621896"/>
                <a:gd name="connsiteX617" fmla="*/ 267823 w 553012"/>
                <a:gd name="connsiteY617" fmla="*/ 615841 h 621896"/>
                <a:gd name="connsiteX618" fmla="*/ 271593 w 553012"/>
                <a:gd name="connsiteY618" fmla="*/ 618162 h 621896"/>
                <a:gd name="connsiteX619" fmla="*/ 275934 w 553012"/>
                <a:gd name="connsiteY619" fmla="*/ 620348 h 621896"/>
                <a:gd name="connsiteX620" fmla="*/ 277516 w 553012"/>
                <a:gd name="connsiteY620" fmla="*/ 621223 h 621896"/>
                <a:gd name="connsiteX621" fmla="*/ 280982 w 553012"/>
                <a:gd name="connsiteY621" fmla="*/ 621223 h 621896"/>
                <a:gd name="connsiteX622" fmla="*/ 286198 w 553012"/>
                <a:gd name="connsiteY622" fmla="*/ 617455 h 621896"/>
                <a:gd name="connsiteX623" fmla="*/ 290103 w 553012"/>
                <a:gd name="connsiteY623" fmla="*/ 615875 h 621896"/>
                <a:gd name="connsiteX624" fmla="*/ 294007 w 553012"/>
                <a:gd name="connsiteY624" fmla="*/ 612847 h 621896"/>
                <a:gd name="connsiteX625" fmla="*/ 298651 w 553012"/>
                <a:gd name="connsiteY625" fmla="*/ 611266 h 621896"/>
                <a:gd name="connsiteX626" fmla="*/ 302285 w 553012"/>
                <a:gd name="connsiteY626" fmla="*/ 610257 h 621896"/>
                <a:gd name="connsiteX627" fmla="*/ 305617 w 553012"/>
                <a:gd name="connsiteY627" fmla="*/ 610257 h 621896"/>
                <a:gd name="connsiteX628" fmla="*/ 309252 w 553012"/>
                <a:gd name="connsiteY628" fmla="*/ 610391 h 621896"/>
                <a:gd name="connsiteX629" fmla="*/ 313459 w 553012"/>
                <a:gd name="connsiteY629" fmla="*/ 610694 h 621896"/>
                <a:gd name="connsiteX630" fmla="*/ 318103 w 553012"/>
                <a:gd name="connsiteY630" fmla="*/ 611703 h 621896"/>
                <a:gd name="connsiteX631" fmla="*/ 322747 w 553012"/>
                <a:gd name="connsiteY631" fmla="*/ 611131 h 621896"/>
                <a:gd name="connsiteX632" fmla="*/ 326517 w 553012"/>
                <a:gd name="connsiteY632" fmla="*/ 610559 h 621896"/>
                <a:gd name="connsiteX633" fmla="*/ 329848 w 553012"/>
                <a:gd name="connsiteY633" fmla="*/ 611299 h 621896"/>
                <a:gd name="connsiteX634" fmla="*/ 332877 w 553012"/>
                <a:gd name="connsiteY634" fmla="*/ 609718 h 621896"/>
                <a:gd name="connsiteX635" fmla="*/ 336781 w 553012"/>
                <a:gd name="connsiteY635" fmla="*/ 607532 h 621896"/>
                <a:gd name="connsiteX636" fmla="*/ 339541 w 553012"/>
                <a:gd name="connsiteY636" fmla="*/ 606657 h 621896"/>
                <a:gd name="connsiteX637" fmla="*/ 341863 w 553012"/>
                <a:gd name="connsiteY637" fmla="*/ 606657 h 621896"/>
                <a:gd name="connsiteX638" fmla="*/ 342301 w 553012"/>
                <a:gd name="connsiteY638" fmla="*/ 604504 h 621896"/>
                <a:gd name="connsiteX639" fmla="*/ 343445 w 553012"/>
                <a:gd name="connsiteY639" fmla="*/ 603192 h 621896"/>
                <a:gd name="connsiteX640" fmla="*/ 343580 w 553012"/>
                <a:gd name="connsiteY640" fmla="*/ 601746 h 621896"/>
                <a:gd name="connsiteX641" fmla="*/ 343714 w 553012"/>
                <a:gd name="connsiteY641" fmla="*/ 599559 h 621896"/>
                <a:gd name="connsiteX642" fmla="*/ 342267 w 553012"/>
                <a:gd name="connsiteY642" fmla="*/ 596363 h 621896"/>
                <a:gd name="connsiteX643" fmla="*/ 338498 w 553012"/>
                <a:gd name="connsiteY643" fmla="*/ 593773 h 621896"/>
                <a:gd name="connsiteX644" fmla="*/ 337354 w 553012"/>
                <a:gd name="connsiteY644" fmla="*/ 591889 h 621896"/>
                <a:gd name="connsiteX645" fmla="*/ 338363 w 553012"/>
                <a:gd name="connsiteY645" fmla="*/ 589131 h 621896"/>
                <a:gd name="connsiteX646" fmla="*/ 340248 w 553012"/>
                <a:gd name="connsiteY646" fmla="*/ 587987 h 621896"/>
                <a:gd name="connsiteX647" fmla="*/ 340955 w 553012"/>
                <a:gd name="connsiteY647" fmla="*/ 585397 h 621896"/>
                <a:gd name="connsiteX648" fmla="*/ 340955 w 553012"/>
                <a:gd name="connsiteY648" fmla="*/ 583210 h 621896"/>
                <a:gd name="connsiteX649" fmla="*/ 340955 w 553012"/>
                <a:gd name="connsiteY649" fmla="*/ 580452 h 621896"/>
                <a:gd name="connsiteX650" fmla="*/ 340955 w 553012"/>
                <a:gd name="connsiteY650" fmla="*/ 577996 h 621896"/>
                <a:gd name="connsiteX651" fmla="*/ 340517 w 553012"/>
                <a:gd name="connsiteY651" fmla="*/ 572917 h 621896"/>
                <a:gd name="connsiteX652" fmla="*/ 338363 w 553012"/>
                <a:gd name="connsiteY652" fmla="*/ 571335 h 621896"/>
                <a:gd name="connsiteX653" fmla="*/ 339070 w 553012"/>
                <a:gd name="connsiteY653" fmla="*/ 569754 h 621896"/>
                <a:gd name="connsiteX654" fmla="*/ 340652 w 553012"/>
                <a:gd name="connsiteY654" fmla="*/ 568880 h 621896"/>
                <a:gd name="connsiteX655" fmla="*/ 344724 w 553012"/>
                <a:gd name="connsiteY655" fmla="*/ 567803 h 621896"/>
                <a:gd name="connsiteX656" fmla="*/ 346609 w 553012"/>
                <a:gd name="connsiteY656" fmla="*/ 566727 h 621896"/>
                <a:gd name="connsiteX657" fmla="*/ 353979 w 553012"/>
                <a:gd name="connsiteY657" fmla="*/ 566727 h 621896"/>
                <a:gd name="connsiteX658" fmla="*/ 362662 w 553012"/>
                <a:gd name="connsiteY658" fmla="*/ 566727 h 621896"/>
                <a:gd name="connsiteX659" fmla="*/ 363537 w 553012"/>
                <a:gd name="connsiteY659" fmla="*/ 568039 h 621896"/>
                <a:gd name="connsiteX660" fmla="*/ 369191 w 553012"/>
                <a:gd name="connsiteY660" fmla="*/ 568039 h 621896"/>
                <a:gd name="connsiteX661" fmla="*/ 372220 w 553012"/>
                <a:gd name="connsiteY661" fmla="*/ 566727 h 621896"/>
                <a:gd name="connsiteX662" fmla="*/ 373801 w 553012"/>
                <a:gd name="connsiteY662" fmla="*/ 565146 h 621896"/>
                <a:gd name="connsiteX663" fmla="*/ 379321 w 553012"/>
                <a:gd name="connsiteY663" fmla="*/ 566727 h 621896"/>
                <a:gd name="connsiteX664" fmla="*/ 383225 w 553012"/>
                <a:gd name="connsiteY664" fmla="*/ 568476 h 621896"/>
                <a:gd name="connsiteX665" fmla="*/ 390056 w 553012"/>
                <a:gd name="connsiteY665" fmla="*/ 569788 h 621896"/>
                <a:gd name="connsiteX666" fmla="*/ 396283 w 553012"/>
                <a:gd name="connsiteY666" fmla="*/ 576011 h 621896"/>
                <a:gd name="connsiteX667" fmla="*/ 400927 w 553012"/>
                <a:gd name="connsiteY667" fmla="*/ 580654 h 621896"/>
                <a:gd name="connsiteX668" fmla="*/ 404697 w 553012"/>
                <a:gd name="connsiteY668" fmla="*/ 586440 h 621896"/>
                <a:gd name="connsiteX669" fmla="*/ 409172 w 553012"/>
                <a:gd name="connsiteY669" fmla="*/ 592831 h 621896"/>
                <a:gd name="connsiteX670" fmla="*/ 414523 w 553012"/>
                <a:gd name="connsiteY670" fmla="*/ 595455 h 621896"/>
                <a:gd name="connsiteX671" fmla="*/ 419000 w 553012"/>
                <a:gd name="connsiteY671" fmla="*/ 594446 h 621896"/>
                <a:gd name="connsiteX672" fmla="*/ 422466 w 553012"/>
                <a:gd name="connsiteY672" fmla="*/ 592428 h 621896"/>
                <a:gd name="connsiteX673" fmla="*/ 425495 w 553012"/>
                <a:gd name="connsiteY673" fmla="*/ 592125 h 621896"/>
                <a:gd name="connsiteX674" fmla="*/ 429567 w 553012"/>
                <a:gd name="connsiteY674" fmla="*/ 591553 h 621896"/>
                <a:gd name="connsiteX675" fmla="*/ 430880 w 553012"/>
                <a:gd name="connsiteY675" fmla="*/ 589097 h 621896"/>
                <a:gd name="connsiteX676" fmla="*/ 431183 w 553012"/>
                <a:gd name="connsiteY676" fmla="*/ 585901 h 621896"/>
                <a:gd name="connsiteX677" fmla="*/ 427985 w 553012"/>
                <a:gd name="connsiteY677" fmla="*/ 581697 h 621896"/>
                <a:gd name="connsiteX678" fmla="*/ 427548 w 553012"/>
                <a:gd name="connsiteY678" fmla="*/ 579106 h 621896"/>
                <a:gd name="connsiteX679" fmla="*/ 427985 w 553012"/>
                <a:gd name="connsiteY679" fmla="*/ 576920 h 621896"/>
                <a:gd name="connsiteX680" fmla="*/ 428726 w 553012"/>
                <a:gd name="connsiteY680" fmla="*/ 574161 h 621896"/>
                <a:gd name="connsiteX681" fmla="*/ 426706 w 553012"/>
                <a:gd name="connsiteY681" fmla="*/ 570831 h 621896"/>
                <a:gd name="connsiteX682" fmla="*/ 426135 w 553012"/>
                <a:gd name="connsiteY682" fmla="*/ 569385 h 621896"/>
                <a:gd name="connsiteX683" fmla="*/ 425259 w 553012"/>
                <a:gd name="connsiteY683" fmla="*/ 566357 h 621896"/>
                <a:gd name="connsiteX684" fmla="*/ 427144 w 553012"/>
                <a:gd name="connsiteY684" fmla="*/ 565180 h 621896"/>
                <a:gd name="connsiteX685" fmla="*/ 429029 w 553012"/>
                <a:gd name="connsiteY685" fmla="*/ 562993 h 621896"/>
                <a:gd name="connsiteX686" fmla="*/ 430173 w 553012"/>
                <a:gd name="connsiteY686" fmla="*/ 561244 h 621896"/>
                <a:gd name="connsiteX687" fmla="*/ 428423 w 553012"/>
                <a:gd name="connsiteY687" fmla="*/ 559057 h 621896"/>
                <a:gd name="connsiteX688" fmla="*/ 420447 w 553012"/>
                <a:gd name="connsiteY688" fmla="*/ 555155 h 621896"/>
                <a:gd name="connsiteX689" fmla="*/ 419000 w 553012"/>
                <a:gd name="connsiteY689" fmla="*/ 553708 h 621896"/>
                <a:gd name="connsiteX690" fmla="*/ 418125 w 553012"/>
                <a:gd name="connsiteY690" fmla="*/ 550513 h 621896"/>
                <a:gd name="connsiteX691" fmla="*/ 420447 w 553012"/>
                <a:gd name="connsiteY691" fmla="*/ 549066 h 621896"/>
                <a:gd name="connsiteX692" fmla="*/ 423072 w 553012"/>
                <a:gd name="connsiteY692" fmla="*/ 547754 h 621896"/>
                <a:gd name="connsiteX693" fmla="*/ 425966 w 553012"/>
                <a:gd name="connsiteY693" fmla="*/ 547754 h 621896"/>
                <a:gd name="connsiteX694" fmla="*/ 429735 w 553012"/>
                <a:gd name="connsiteY694" fmla="*/ 545736 h 621896"/>
                <a:gd name="connsiteX695" fmla="*/ 432495 w 553012"/>
                <a:gd name="connsiteY695" fmla="*/ 543986 h 621896"/>
                <a:gd name="connsiteX696" fmla="*/ 434077 w 553012"/>
                <a:gd name="connsiteY696" fmla="*/ 543246 h 621896"/>
                <a:gd name="connsiteX697" fmla="*/ 437543 w 553012"/>
                <a:gd name="connsiteY697" fmla="*/ 541934 h 621896"/>
                <a:gd name="connsiteX698" fmla="*/ 442760 w 553012"/>
                <a:gd name="connsiteY698" fmla="*/ 536720 h 621896"/>
                <a:gd name="connsiteX699" fmla="*/ 444207 w 553012"/>
                <a:gd name="connsiteY699" fmla="*/ 532953 h 621896"/>
                <a:gd name="connsiteX700" fmla="*/ 446832 w 553012"/>
                <a:gd name="connsiteY700" fmla="*/ 526292 h 621896"/>
                <a:gd name="connsiteX701" fmla="*/ 449423 w 553012"/>
                <a:gd name="connsiteY701" fmla="*/ 523971 h 621896"/>
                <a:gd name="connsiteX702" fmla="*/ 455649 w 553012"/>
                <a:gd name="connsiteY702" fmla="*/ 523971 h 621896"/>
                <a:gd name="connsiteX703" fmla="*/ 459553 w 553012"/>
                <a:gd name="connsiteY703" fmla="*/ 523904 h 621896"/>
                <a:gd name="connsiteX704" fmla="*/ 462313 w 553012"/>
                <a:gd name="connsiteY704" fmla="*/ 526729 h 621896"/>
                <a:gd name="connsiteX705" fmla="*/ 464770 w 553012"/>
                <a:gd name="connsiteY705" fmla="*/ 531069 h 621896"/>
                <a:gd name="connsiteX706" fmla="*/ 466654 w 553012"/>
                <a:gd name="connsiteY706" fmla="*/ 534837 h 621896"/>
                <a:gd name="connsiteX707" fmla="*/ 470424 w 553012"/>
                <a:gd name="connsiteY707" fmla="*/ 538470 h 621896"/>
                <a:gd name="connsiteX708" fmla="*/ 476381 w 553012"/>
                <a:gd name="connsiteY708" fmla="*/ 541060 h 621896"/>
                <a:gd name="connsiteX709" fmla="*/ 481462 w 553012"/>
                <a:gd name="connsiteY709" fmla="*/ 541497 h 621896"/>
                <a:gd name="connsiteX710" fmla="*/ 488261 w 553012"/>
                <a:gd name="connsiteY710" fmla="*/ 541934 h 621896"/>
                <a:gd name="connsiteX711" fmla="*/ 495665 w 553012"/>
                <a:gd name="connsiteY711" fmla="*/ 543246 h 621896"/>
                <a:gd name="connsiteX712" fmla="*/ 500746 w 553012"/>
                <a:gd name="connsiteY712" fmla="*/ 541665 h 621896"/>
                <a:gd name="connsiteX713" fmla="*/ 504819 w 553012"/>
                <a:gd name="connsiteY713" fmla="*/ 540656 h 621896"/>
                <a:gd name="connsiteX714" fmla="*/ 512189 w 553012"/>
                <a:gd name="connsiteY714" fmla="*/ 540656 h 621896"/>
                <a:gd name="connsiteX715" fmla="*/ 514074 w 553012"/>
                <a:gd name="connsiteY715" fmla="*/ 539344 h 621896"/>
                <a:gd name="connsiteX716" fmla="*/ 517843 w 553012"/>
                <a:gd name="connsiteY716" fmla="*/ 536754 h 621896"/>
                <a:gd name="connsiteX717" fmla="*/ 521175 w 553012"/>
                <a:gd name="connsiteY717" fmla="*/ 534870 h 621896"/>
                <a:gd name="connsiteX718" fmla="*/ 522757 w 553012"/>
                <a:gd name="connsiteY718" fmla="*/ 533121 h 621896"/>
                <a:gd name="connsiteX719" fmla="*/ 525079 w 553012"/>
                <a:gd name="connsiteY719" fmla="*/ 530228 h 621896"/>
                <a:gd name="connsiteX720" fmla="*/ 526088 w 553012"/>
                <a:gd name="connsiteY720" fmla="*/ 525586 h 621896"/>
                <a:gd name="connsiteX721" fmla="*/ 524607 w 553012"/>
                <a:gd name="connsiteY721" fmla="*/ 522356 h 621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</a:cxnLst>
              <a:rect l="l" t="t" r="r" b="b"/>
              <a:pathLst>
                <a:path w="553012" h="621896">
                  <a:moveTo>
                    <a:pt x="524607" y="522356"/>
                  </a:moveTo>
                  <a:lnTo>
                    <a:pt x="525752" y="518589"/>
                  </a:lnTo>
                  <a:lnTo>
                    <a:pt x="526896" y="513677"/>
                  </a:lnTo>
                  <a:lnTo>
                    <a:pt x="525752" y="510784"/>
                  </a:lnTo>
                  <a:lnTo>
                    <a:pt x="522555" y="508766"/>
                  </a:lnTo>
                  <a:lnTo>
                    <a:pt x="521983" y="502677"/>
                  </a:lnTo>
                  <a:lnTo>
                    <a:pt x="522285" y="499481"/>
                  </a:lnTo>
                  <a:lnTo>
                    <a:pt x="522858" y="493964"/>
                  </a:lnTo>
                  <a:lnTo>
                    <a:pt x="525180" y="489322"/>
                  </a:lnTo>
                  <a:lnTo>
                    <a:pt x="525180" y="486732"/>
                  </a:lnTo>
                  <a:lnTo>
                    <a:pt x="528511" y="480071"/>
                  </a:lnTo>
                  <a:lnTo>
                    <a:pt x="530093" y="476875"/>
                  </a:lnTo>
                  <a:lnTo>
                    <a:pt x="529521" y="472536"/>
                  </a:lnTo>
                  <a:lnTo>
                    <a:pt x="529252" y="465303"/>
                  </a:lnTo>
                  <a:lnTo>
                    <a:pt x="531271" y="460089"/>
                  </a:lnTo>
                  <a:cubicBezTo>
                    <a:pt x="531271" y="460089"/>
                    <a:pt x="536791" y="457465"/>
                    <a:pt x="538238" y="456624"/>
                  </a:cubicBezTo>
                  <a:cubicBezTo>
                    <a:pt x="539685" y="455750"/>
                    <a:pt x="543757" y="454606"/>
                    <a:pt x="543757" y="454606"/>
                  </a:cubicBezTo>
                  <a:lnTo>
                    <a:pt x="548974" y="451982"/>
                  </a:lnTo>
                  <a:lnTo>
                    <a:pt x="551868" y="448517"/>
                  </a:lnTo>
                  <a:lnTo>
                    <a:pt x="553012" y="445691"/>
                  </a:lnTo>
                  <a:lnTo>
                    <a:pt x="550118" y="441554"/>
                  </a:lnTo>
                  <a:lnTo>
                    <a:pt x="546349" y="441251"/>
                  </a:lnTo>
                  <a:lnTo>
                    <a:pt x="542007" y="442126"/>
                  </a:lnTo>
                  <a:cubicBezTo>
                    <a:pt x="542007" y="442126"/>
                    <a:pt x="534771" y="445019"/>
                    <a:pt x="533593" y="445691"/>
                  </a:cubicBezTo>
                  <a:cubicBezTo>
                    <a:pt x="532449" y="446331"/>
                    <a:pt x="527805" y="448517"/>
                    <a:pt x="527805" y="448517"/>
                  </a:cubicBezTo>
                  <a:lnTo>
                    <a:pt x="524036" y="448517"/>
                  </a:lnTo>
                  <a:lnTo>
                    <a:pt x="523463" y="445557"/>
                  </a:lnTo>
                  <a:lnTo>
                    <a:pt x="524338" y="440982"/>
                  </a:lnTo>
                  <a:cubicBezTo>
                    <a:pt x="524338" y="440982"/>
                    <a:pt x="525483" y="438661"/>
                    <a:pt x="526358" y="437786"/>
                  </a:cubicBezTo>
                  <a:cubicBezTo>
                    <a:pt x="527233" y="436912"/>
                    <a:pt x="530699" y="434590"/>
                    <a:pt x="530699" y="434590"/>
                  </a:cubicBezTo>
                  <a:cubicBezTo>
                    <a:pt x="530699" y="434590"/>
                    <a:pt x="531271" y="429679"/>
                    <a:pt x="531271" y="427930"/>
                  </a:cubicBezTo>
                  <a:cubicBezTo>
                    <a:pt x="531271" y="426181"/>
                    <a:pt x="533021" y="421841"/>
                    <a:pt x="533021" y="421841"/>
                  </a:cubicBezTo>
                  <a:lnTo>
                    <a:pt x="534771" y="418073"/>
                  </a:lnTo>
                  <a:lnTo>
                    <a:pt x="537665" y="413162"/>
                  </a:lnTo>
                  <a:lnTo>
                    <a:pt x="537363" y="406501"/>
                  </a:lnTo>
                  <a:lnTo>
                    <a:pt x="535613" y="403036"/>
                  </a:lnTo>
                  <a:lnTo>
                    <a:pt x="529521" y="394627"/>
                  </a:lnTo>
                  <a:lnTo>
                    <a:pt x="523733" y="394627"/>
                  </a:lnTo>
                  <a:lnTo>
                    <a:pt x="511920" y="393382"/>
                  </a:lnTo>
                  <a:lnTo>
                    <a:pt x="509530" y="391565"/>
                  </a:lnTo>
                  <a:lnTo>
                    <a:pt x="509329" y="386553"/>
                  </a:lnTo>
                  <a:lnTo>
                    <a:pt x="508453" y="382415"/>
                  </a:lnTo>
                  <a:lnTo>
                    <a:pt x="509093" y="378715"/>
                  </a:lnTo>
                  <a:lnTo>
                    <a:pt x="510170" y="377403"/>
                  </a:lnTo>
                  <a:lnTo>
                    <a:pt x="512358" y="373501"/>
                  </a:lnTo>
                  <a:lnTo>
                    <a:pt x="512593" y="366975"/>
                  </a:lnTo>
                  <a:lnTo>
                    <a:pt x="513468" y="363274"/>
                  </a:lnTo>
                  <a:lnTo>
                    <a:pt x="517810" y="357858"/>
                  </a:lnTo>
                  <a:lnTo>
                    <a:pt x="516295" y="353721"/>
                  </a:lnTo>
                  <a:lnTo>
                    <a:pt x="507376" y="349146"/>
                  </a:lnTo>
                  <a:lnTo>
                    <a:pt x="502598" y="343932"/>
                  </a:lnTo>
                  <a:cubicBezTo>
                    <a:pt x="502598" y="343932"/>
                    <a:pt x="500848" y="339357"/>
                    <a:pt x="500848" y="338717"/>
                  </a:cubicBezTo>
                  <a:cubicBezTo>
                    <a:pt x="500848" y="338078"/>
                    <a:pt x="501285" y="333503"/>
                    <a:pt x="501285" y="333503"/>
                  </a:cubicBezTo>
                  <a:lnTo>
                    <a:pt x="503237" y="330678"/>
                  </a:lnTo>
                  <a:lnTo>
                    <a:pt x="505862" y="327213"/>
                  </a:lnTo>
                  <a:lnTo>
                    <a:pt x="508891" y="324589"/>
                  </a:lnTo>
                  <a:lnTo>
                    <a:pt x="510204" y="320451"/>
                  </a:lnTo>
                  <a:lnTo>
                    <a:pt x="511280" y="316313"/>
                  </a:lnTo>
                  <a:lnTo>
                    <a:pt x="511718" y="311537"/>
                  </a:lnTo>
                  <a:lnTo>
                    <a:pt x="511954" y="309585"/>
                  </a:lnTo>
                  <a:lnTo>
                    <a:pt x="508050" y="309384"/>
                  </a:lnTo>
                  <a:lnTo>
                    <a:pt x="501958" y="310258"/>
                  </a:lnTo>
                  <a:lnTo>
                    <a:pt x="496506" y="314598"/>
                  </a:lnTo>
                  <a:lnTo>
                    <a:pt x="492804" y="314598"/>
                  </a:lnTo>
                  <a:lnTo>
                    <a:pt x="487790" y="313286"/>
                  </a:lnTo>
                  <a:lnTo>
                    <a:pt x="484289" y="311099"/>
                  </a:lnTo>
                  <a:lnTo>
                    <a:pt x="481698" y="311099"/>
                  </a:lnTo>
                  <a:lnTo>
                    <a:pt x="481698" y="306962"/>
                  </a:lnTo>
                  <a:lnTo>
                    <a:pt x="481059" y="305650"/>
                  </a:lnTo>
                  <a:lnTo>
                    <a:pt x="480184" y="299998"/>
                  </a:lnTo>
                  <a:lnTo>
                    <a:pt x="479746" y="294145"/>
                  </a:lnTo>
                  <a:lnTo>
                    <a:pt x="477121" y="291117"/>
                  </a:lnTo>
                  <a:lnTo>
                    <a:pt x="478871" y="288494"/>
                  </a:lnTo>
                  <a:lnTo>
                    <a:pt x="480386" y="286980"/>
                  </a:lnTo>
                  <a:lnTo>
                    <a:pt x="483852" y="283515"/>
                  </a:lnTo>
                  <a:cubicBezTo>
                    <a:pt x="483852" y="283515"/>
                    <a:pt x="485804" y="280050"/>
                    <a:pt x="485804" y="278099"/>
                  </a:cubicBezTo>
                  <a:cubicBezTo>
                    <a:pt x="485804" y="276148"/>
                    <a:pt x="486881" y="275508"/>
                    <a:pt x="486881" y="275508"/>
                  </a:cubicBezTo>
                  <a:lnTo>
                    <a:pt x="489270" y="272246"/>
                  </a:lnTo>
                  <a:lnTo>
                    <a:pt x="492737" y="269184"/>
                  </a:lnTo>
                  <a:lnTo>
                    <a:pt x="494049" y="266998"/>
                  </a:lnTo>
                  <a:lnTo>
                    <a:pt x="495564" y="265047"/>
                  </a:lnTo>
                  <a:lnTo>
                    <a:pt x="495564" y="258083"/>
                  </a:lnTo>
                  <a:lnTo>
                    <a:pt x="495564" y="252869"/>
                  </a:lnTo>
                  <a:lnTo>
                    <a:pt x="495564" y="249841"/>
                  </a:lnTo>
                  <a:lnTo>
                    <a:pt x="496876" y="247453"/>
                  </a:lnTo>
                  <a:lnTo>
                    <a:pt x="499266" y="244392"/>
                  </a:lnTo>
                  <a:lnTo>
                    <a:pt x="502968" y="242004"/>
                  </a:lnTo>
                  <a:lnTo>
                    <a:pt x="507982" y="240927"/>
                  </a:lnTo>
                  <a:lnTo>
                    <a:pt x="511247" y="239413"/>
                  </a:lnTo>
                  <a:lnTo>
                    <a:pt x="519055" y="237227"/>
                  </a:lnTo>
                  <a:lnTo>
                    <a:pt x="522083" y="233762"/>
                  </a:lnTo>
                  <a:lnTo>
                    <a:pt x="524911" y="228346"/>
                  </a:lnTo>
                  <a:lnTo>
                    <a:pt x="522521" y="224208"/>
                  </a:lnTo>
                  <a:lnTo>
                    <a:pt x="517944" y="224208"/>
                  </a:lnTo>
                  <a:lnTo>
                    <a:pt x="517305" y="220743"/>
                  </a:lnTo>
                  <a:lnTo>
                    <a:pt x="524473" y="217043"/>
                  </a:lnTo>
                  <a:cubicBezTo>
                    <a:pt x="524473" y="217043"/>
                    <a:pt x="527738" y="214015"/>
                    <a:pt x="534468" y="209440"/>
                  </a:cubicBezTo>
                  <a:cubicBezTo>
                    <a:pt x="541199" y="204865"/>
                    <a:pt x="539685" y="203352"/>
                    <a:pt x="539920" y="202477"/>
                  </a:cubicBezTo>
                  <a:cubicBezTo>
                    <a:pt x="540123" y="201602"/>
                    <a:pt x="536891" y="197465"/>
                    <a:pt x="536891" y="197465"/>
                  </a:cubicBezTo>
                  <a:lnTo>
                    <a:pt x="541233" y="195278"/>
                  </a:lnTo>
                  <a:lnTo>
                    <a:pt x="542546" y="192250"/>
                  </a:lnTo>
                  <a:lnTo>
                    <a:pt x="543185" y="189660"/>
                  </a:lnTo>
                  <a:lnTo>
                    <a:pt x="542310" y="185960"/>
                  </a:lnTo>
                  <a:lnTo>
                    <a:pt x="539281" y="183807"/>
                  </a:lnTo>
                  <a:cubicBezTo>
                    <a:pt x="539281" y="183807"/>
                    <a:pt x="533829" y="183336"/>
                    <a:pt x="532314" y="183773"/>
                  </a:cubicBezTo>
                  <a:cubicBezTo>
                    <a:pt x="530800" y="184211"/>
                    <a:pt x="527536" y="179434"/>
                    <a:pt x="526896" y="177247"/>
                  </a:cubicBezTo>
                  <a:cubicBezTo>
                    <a:pt x="526257" y="175061"/>
                    <a:pt x="526896" y="173345"/>
                    <a:pt x="526896" y="173345"/>
                  </a:cubicBezTo>
                  <a:lnTo>
                    <a:pt x="529285" y="164229"/>
                  </a:lnTo>
                  <a:lnTo>
                    <a:pt x="533190" y="155314"/>
                  </a:lnTo>
                  <a:lnTo>
                    <a:pt x="534940" y="145323"/>
                  </a:lnTo>
                  <a:lnTo>
                    <a:pt x="533829" y="142935"/>
                  </a:lnTo>
                  <a:lnTo>
                    <a:pt x="526021" y="137283"/>
                  </a:lnTo>
                  <a:lnTo>
                    <a:pt x="522319" y="137283"/>
                  </a:lnTo>
                  <a:lnTo>
                    <a:pt x="514713" y="134895"/>
                  </a:lnTo>
                  <a:lnTo>
                    <a:pt x="512963" y="129445"/>
                  </a:lnTo>
                  <a:lnTo>
                    <a:pt x="512963" y="122280"/>
                  </a:lnTo>
                  <a:lnTo>
                    <a:pt x="511213" y="115552"/>
                  </a:lnTo>
                  <a:lnTo>
                    <a:pt x="511213" y="112726"/>
                  </a:lnTo>
                  <a:lnTo>
                    <a:pt x="508016" y="115418"/>
                  </a:lnTo>
                  <a:lnTo>
                    <a:pt x="506434" y="120497"/>
                  </a:lnTo>
                  <a:lnTo>
                    <a:pt x="502799" y="120363"/>
                  </a:lnTo>
                  <a:lnTo>
                    <a:pt x="501083" y="121809"/>
                  </a:lnTo>
                  <a:cubicBezTo>
                    <a:pt x="501083" y="121809"/>
                    <a:pt x="498626" y="119353"/>
                    <a:pt x="497314" y="118344"/>
                  </a:cubicBezTo>
                  <a:cubicBezTo>
                    <a:pt x="496001" y="117335"/>
                    <a:pt x="497314" y="115586"/>
                    <a:pt x="497314" y="115586"/>
                  </a:cubicBezTo>
                  <a:lnTo>
                    <a:pt x="497314" y="114005"/>
                  </a:lnTo>
                  <a:lnTo>
                    <a:pt x="495497" y="111549"/>
                  </a:lnTo>
                  <a:cubicBezTo>
                    <a:pt x="495497" y="111549"/>
                    <a:pt x="494419" y="111986"/>
                    <a:pt x="493982" y="112121"/>
                  </a:cubicBezTo>
                  <a:cubicBezTo>
                    <a:pt x="493544" y="112255"/>
                    <a:pt x="492838" y="113870"/>
                    <a:pt x="492838" y="113870"/>
                  </a:cubicBezTo>
                  <a:lnTo>
                    <a:pt x="491256" y="115451"/>
                  </a:lnTo>
                  <a:lnTo>
                    <a:pt x="488631" y="116763"/>
                  </a:lnTo>
                  <a:cubicBezTo>
                    <a:pt x="488631" y="116763"/>
                    <a:pt x="486746" y="117066"/>
                    <a:pt x="486309" y="117200"/>
                  </a:cubicBezTo>
                  <a:cubicBezTo>
                    <a:pt x="485871" y="117335"/>
                    <a:pt x="484424" y="116763"/>
                    <a:pt x="483987" y="116326"/>
                  </a:cubicBezTo>
                  <a:cubicBezTo>
                    <a:pt x="483549" y="115889"/>
                    <a:pt x="481395" y="113702"/>
                    <a:pt x="480958" y="113298"/>
                  </a:cubicBezTo>
                  <a:cubicBezTo>
                    <a:pt x="480520" y="112861"/>
                    <a:pt x="479073" y="111986"/>
                    <a:pt x="479073" y="111986"/>
                  </a:cubicBezTo>
                  <a:cubicBezTo>
                    <a:pt x="479073" y="111986"/>
                    <a:pt x="478063" y="109665"/>
                    <a:pt x="478063" y="109093"/>
                  </a:cubicBezTo>
                  <a:cubicBezTo>
                    <a:pt x="478063" y="108521"/>
                    <a:pt x="478366" y="107949"/>
                    <a:pt x="478636" y="107075"/>
                  </a:cubicBezTo>
                  <a:cubicBezTo>
                    <a:pt x="478938" y="106200"/>
                    <a:pt x="479948" y="105326"/>
                    <a:pt x="480655" y="104888"/>
                  </a:cubicBezTo>
                  <a:cubicBezTo>
                    <a:pt x="481395" y="104451"/>
                    <a:pt x="482977" y="104148"/>
                    <a:pt x="483549" y="103745"/>
                  </a:cubicBezTo>
                  <a:cubicBezTo>
                    <a:pt x="484121" y="103307"/>
                    <a:pt x="485434" y="102601"/>
                    <a:pt x="486006" y="102601"/>
                  </a:cubicBezTo>
                  <a:cubicBezTo>
                    <a:pt x="486578" y="102601"/>
                    <a:pt x="486881" y="100145"/>
                    <a:pt x="486881" y="100145"/>
                  </a:cubicBezTo>
                  <a:cubicBezTo>
                    <a:pt x="486881" y="100145"/>
                    <a:pt x="485131" y="99573"/>
                    <a:pt x="483414" y="99573"/>
                  </a:cubicBezTo>
                  <a:cubicBezTo>
                    <a:pt x="481665" y="99573"/>
                    <a:pt x="480217" y="98833"/>
                    <a:pt x="480217" y="98833"/>
                  </a:cubicBezTo>
                  <a:cubicBezTo>
                    <a:pt x="480217" y="98833"/>
                    <a:pt x="476751" y="98699"/>
                    <a:pt x="476145" y="98699"/>
                  </a:cubicBezTo>
                  <a:cubicBezTo>
                    <a:pt x="475573" y="98699"/>
                    <a:pt x="475438" y="96512"/>
                    <a:pt x="475438" y="96512"/>
                  </a:cubicBezTo>
                  <a:lnTo>
                    <a:pt x="476313" y="93619"/>
                  </a:lnTo>
                  <a:lnTo>
                    <a:pt x="477121" y="90154"/>
                  </a:lnTo>
                  <a:lnTo>
                    <a:pt x="478636" y="88405"/>
                  </a:lnTo>
                  <a:lnTo>
                    <a:pt x="480386" y="86521"/>
                  </a:lnTo>
                  <a:lnTo>
                    <a:pt x="482708" y="84940"/>
                  </a:lnTo>
                  <a:lnTo>
                    <a:pt x="484592" y="82753"/>
                  </a:lnTo>
                  <a:lnTo>
                    <a:pt x="486914" y="80163"/>
                  </a:lnTo>
                  <a:lnTo>
                    <a:pt x="487487" y="79289"/>
                  </a:lnTo>
                  <a:lnTo>
                    <a:pt x="488059" y="77842"/>
                  </a:lnTo>
                  <a:lnTo>
                    <a:pt x="488631" y="75656"/>
                  </a:lnTo>
                  <a:lnTo>
                    <a:pt x="488631" y="73469"/>
                  </a:lnTo>
                  <a:lnTo>
                    <a:pt x="486309" y="70004"/>
                  </a:lnTo>
                  <a:lnTo>
                    <a:pt x="484862" y="68995"/>
                  </a:lnTo>
                  <a:cubicBezTo>
                    <a:pt x="484862" y="68995"/>
                    <a:pt x="481967" y="69735"/>
                    <a:pt x="481530" y="70004"/>
                  </a:cubicBezTo>
                  <a:cubicBezTo>
                    <a:pt x="481092" y="70307"/>
                    <a:pt x="481261" y="68558"/>
                    <a:pt x="481261" y="68558"/>
                  </a:cubicBezTo>
                  <a:lnTo>
                    <a:pt x="479813" y="66976"/>
                  </a:lnTo>
                  <a:cubicBezTo>
                    <a:pt x="479813" y="66976"/>
                    <a:pt x="479813" y="66102"/>
                    <a:pt x="480116" y="65664"/>
                  </a:cubicBezTo>
                  <a:cubicBezTo>
                    <a:pt x="480386" y="65227"/>
                    <a:pt x="480991" y="64790"/>
                    <a:pt x="480991" y="64790"/>
                  </a:cubicBezTo>
                  <a:lnTo>
                    <a:pt x="482439" y="63478"/>
                  </a:lnTo>
                  <a:lnTo>
                    <a:pt x="483448" y="61729"/>
                  </a:lnTo>
                  <a:lnTo>
                    <a:pt x="483448" y="58533"/>
                  </a:lnTo>
                  <a:lnTo>
                    <a:pt x="481833" y="56784"/>
                  </a:lnTo>
                  <a:lnTo>
                    <a:pt x="479813" y="54900"/>
                  </a:lnTo>
                  <a:lnTo>
                    <a:pt x="476179" y="51570"/>
                  </a:lnTo>
                  <a:lnTo>
                    <a:pt x="474732" y="51132"/>
                  </a:lnTo>
                  <a:lnTo>
                    <a:pt x="472410" y="48676"/>
                  </a:lnTo>
                  <a:cubicBezTo>
                    <a:pt x="472410" y="48676"/>
                    <a:pt x="469515" y="46355"/>
                    <a:pt x="468943" y="46355"/>
                  </a:cubicBezTo>
                  <a:cubicBezTo>
                    <a:pt x="468371" y="46355"/>
                    <a:pt x="468236" y="45918"/>
                    <a:pt x="468236" y="45918"/>
                  </a:cubicBezTo>
                  <a:lnTo>
                    <a:pt x="466217" y="44169"/>
                  </a:lnTo>
                  <a:lnTo>
                    <a:pt x="464029" y="44034"/>
                  </a:lnTo>
                  <a:lnTo>
                    <a:pt x="461135" y="45044"/>
                  </a:lnTo>
                  <a:cubicBezTo>
                    <a:pt x="461135" y="45044"/>
                    <a:pt x="458544" y="46355"/>
                    <a:pt x="458106" y="46490"/>
                  </a:cubicBezTo>
                  <a:cubicBezTo>
                    <a:pt x="457669" y="46624"/>
                    <a:pt x="456222" y="47230"/>
                    <a:pt x="456222" y="47230"/>
                  </a:cubicBezTo>
                  <a:cubicBezTo>
                    <a:pt x="456222" y="47230"/>
                    <a:pt x="453193" y="49988"/>
                    <a:pt x="451746" y="50863"/>
                  </a:cubicBezTo>
                  <a:cubicBezTo>
                    <a:pt x="450298" y="51738"/>
                    <a:pt x="450736" y="51570"/>
                    <a:pt x="450164" y="51738"/>
                  </a:cubicBezTo>
                  <a:cubicBezTo>
                    <a:pt x="449592" y="51906"/>
                    <a:pt x="449289" y="53487"/>
                    <a:pt x="448717" y="53756"/>
                  </a:cubicBezTo>
                  <a:cubicBezTo>
                    <a:pt x="448144" y="54059"/>
                    <a:pt x="445957" y="56952"/>
                    <a:pt x="444947" y="57961"/>
                  </a:cubicBezTo>
                  <a:cubicBezTo>
                    <a:pt x="443938" y="58970"/>
                    <a:pt x="442928" y="61157"/>
                    <a:pt x="442793" y="61594"/>
                  </a:cubicBezTo>
                  <a:cubicBezTo>
                    <a:pt x="442659" y="62031"/>
                    <a:pt x="438452" y="64790"/>
                    <a:pt x="438014" y="65227"/>
                  </a:cubicBezTo>
                  <a:cubicBezTo>
                    <a:pt x="437577" y="65664"/>
                    <a:pt x="430610" y="71181"/>
                    <a:pt x="430610" y="71181"/>
                  </a:cubicBezTo>
                  <a:cubicBezTo>
                    <a:pt x="430610" y="71181"/>
                    <a:pt x="429433" y="73065"/>
                    <a:pt x="428726" y="74377"/>
                  </a:cubicBezTo>
                  <a:cubicBezTo>
                    <a:pt x="428019" y="75689"/>
                    <a:pt x="427279" y="75084"/>
                    <a:pt x="426841" y="75689"/>
                  </a:cubicBezTo>
                  <a:cubicBezTo>
                    <a:pt x="426404" y="76261"/>
                    <a:pt x="424653" y="78145"/>
                    <a:pt x="423812" y="78448"/>
                  </a:cubicBezTo>
                  <a:cubicBezTo>
                    <a:pt x="422937" y="78750"/>
                    <a:pt x="420918" y="79188"/>
                    <a:pt x="420918" y="79188"/>
                  </a:cubicBezTo>
                  <a:lnTo>
                    <a:pt x="420918" y="75723"/>
                  </a:lnTo>
                  <a:lnTo>
                    <a:pt x="420918" y="72695"/>
                  </a:lnTo>
                  <a:lnTo>
                    <a:pt x="419975" y="70811"/>
                  </a:lnTo>
                  <a:lnTo>
                    <a:pt x="417586" y="70240"/>
                  </a:lnTo>
                  <a:lnTo>
                    <a:pt x="415264" y="72561"/>
                  </a:lnTo>
                  <a:cubicBezTo>
                    <a:pt x="415264" y="72561"/>
                    <a:pt x="413952" y="73301"/>
                    <a:pt x="413077" y="73570"/>
                  </a:cubicBezTo>
                  <a:cubicBezTo>
                    <a:pt x="412201" y="73873"/>
                    <a:pt x="409879" y="72830"/>
                    <a:pt x="409745" y="72392"/>
                  </a:cubicBezTo>
                  <a:cubicBezTo>
                    <a:pt x="409610" y="71955"/>
                    <a:pt x="407860" y="70206"/>
                    <a:pt x="407860" y="70206"/>
                  </a:cubicBezTo>
                  <a:cubicBezTo>
                    <a:pt x="407860" y="70206"/>
                    <a:pt x="406547" y="68759"/>
                    <a:pt x="405639" y="67750"/>
                  </a:cubicBezTo>
                  <a:cubicBezTo>
                    <a:pt x="404730" y="66741"/>
                    <a:pt x="404966" y="64857"/>
                    <a:pt x="404966" y="63982"/>
                  </a:cubicBezTo>
                  <a:cubicBezTo>
                    <a:pt x="404966" y="63108"/>
                    <a:pt x="404966" y="60350"/>
                    <a:pt x="405504" y="59643"/>
                  </a:cubicBezTo>
                  <a:cubicBezTo>
                    <a:pt x="406042" y="58937"/>
                    <a:pt x="404966" y="57019"/>
                    <a:pt x="405369" y="56178"/>
                  </a:cubicBezTo>
                  <a:cubicBezTo>
                    <a:pt x="405773" y="55304"/>
                    <a:pt x="404932" y="51973"/>
                    <a:pt x="405235" y="51099"/>
                  </a:cubicBezTo>
                  <a:cubicBezTo>
                    <a:pt x="405504" y="50224"/>
                    <a:pt x="405235" y="49652"/>
                    <a:pt x="405235" y="49652"/>
                  </a:cubicBezTo>
                  <a:lnTo>
                    <a:pt x="405235" y="44438"/>
                  </a:lnTo>
                  <a:cubicBezTo>
                    <a:pt x="405235" y="44438"/>
                    <a:pt x="405235" y="42117"/>
                    <a:pt x="405235" y="41242"/>
                  </a:cubicBezTo>
                  <a:cubicBezTo>
                    <a:pt x="405235" y="40368"/>
                    <a:pt x="404595" y="38652"/>
                    <a:pt x="404427" y="38215"/>
                  </a:cubicBezTo>
                  <a:cubicBezTo>
                    <a:pt x="404292" y="37777"/>
                    <a:pt x="403619" y="37643"/>
                    <a:pt x="403619" y="37643"/>
                  </a:cubicBezTo>
                  <a:lnTo>
                    <a:pt x="402038" y="35624"/>
                  </a:lnTo>
                  <a:cubicBezTo>
                    <a:pt x="402038" y="35624"/>
                    <a:pt x="400456" y="35490"/>
                    <a:pt x="399850" y="35624"/>
                  </a:cubicBezTo>
                  <a:cubicBezTo>
                    <a:pt x="399278" y="35759"/>
                    <a:pt x="397091" y="35624"/>
                    <a:pt x="396384" y="35624"/>
                  </a:cubicBezTo>
                  <a:cubicBezTo>
                    <a:pt x="395643" y="35624"/>
                    <a:pt x="392480" y="36364"/>
                    <a:pt x="391436" y="36768"/>
                  </a:cubicBezTo>
                  <a:cubicBezTo>
                    <a:pt x="390427" y="37205"/>
                    <a:pt x="390292" y="37508"/>
                    <a:pt x="389552" y="38652"/>
                  </a:cubicBezTo>
                  <a:cubicBezTo>
                    <a:pt x="388845" y="39796"/>
                    <a:pt x="387970" y="41108"/>
                    <a:pt x="387667" y="41680"/>
                  </a:cubicBezTo>
                  <a:cubicBezTo>
                    <a:pt x="387364" y="42251"/>
                    <a:pt x="385782" y="44270"/>
                    <a:pt x="385648" y="44707"/>
                  </a:cubicBezTo>
                  <a:cubicBezTo>
                    <a:pt x="385513" y="45144"/>
                    <a:pt x="383898" y="47297"/>
                    <a:pt x="383595" y="47903"/>
                  </a:cubicBezTo>
                  <a:cubicBezTo>
                    <a:pt x="383326" y="48475"/>
                    <a:pt x="382451" y="50661"/>
                    <a:pt x="382013" y="50796"/>
                  </a:cubicBezTo>
                  <a:cubicBezTo>
                    <a:pt x="381575" y="50930"/>
                    <a:pt x="379119" y="54126"/>
                    <a:pt x="378547" y="53992"/>
                  </a:cubicBezTo>
                  <a:cubicBezTo>
                    <a:pt x="377975" y="53857"/>
                    <a:pt x="376965" y="52848"/>
                    <a:pt x="376090" y="51805"/>
                  </a:cubicBezTo>
                  <a:cubicBezTo>
                    <a:pt x="375215" y="50796"/>
                    <a:pt x="371311" y="52242"/>
                    <a:pt x="371311" y="52242"/>
                  </a:cubicBezTo>
                  <a:lnTo>
                    <a:pt x="368114" y="52242"/>
                  </a:lnTo>
                  <a:cubicBezTo>
                    <a:pt x="368114" y="52242"/>
                    <a:pt x="364917" y="54126"/>
                    <a:pt x="364344" y="54563"/>
                  </a:cubicBezTo>
                  <a:cubicBezTo>
                    <a:pt x="363772" y="55001"/>
                    <a:pt x="362325" y="54866"/>
                    <a:pt x="361888" y="55135"/>
                  </a:cubicBezTo>
                  <a:cubicBezTo>
                    <a:pt x="361450" y="55438"/>
                    <a:pt x="359263" y="59340"/>
                    <a:pt x="359263" y="59777"/>
                  </a:cubicBezTo>
                  <a:cubicBezTo>
                    <a:pt x="359263" y="60215"/>
                    <a:pt x="356940" y="62099"/>
                    <a:pt x="356940" y="62099"/>
                  </a:cubicBezTo>
                  <a:cubicBezTo>
                    <a:pt x="356940" y="62099"/>
                    <a:pt x="355796" y="63545"/>
                    <a:pt x="355056" y="64420"/>
                  </a:cubicBezTo>
                  <a:cubicBezTo>
                    <a:pt x="354349" y="65294"/>
                    <a:pt x="352868" y="65429"/>
                    <a:pt x="351286" y="66573"/>
                  </a:cubicBezTo>
                  <a:cubicBezTo>
                    <a:pt x="349671" y="67750"/>
                    <a:pt x="348392" y="66876"/>
                    <a:pt x="348392" y="66876"/>
                  </a:cubicBezTo>
                  <a:lnTo>
                    <a:pt x="346070" y="65429"/>
                  </a:lnTo>
                  <a:lnTo>
                    <a:pt x="344320" y="61796"/>
                  </a:lnTo>
                  <a:lnTo>
                    <a:pt x="344320" y="60047"/>
                  </a:lnTo>
                  <a:cubicBezTo>
                    <a:pt x="344320" y="60047"/>
                    <a:pt x="342503" y="57288"/>
                    <a:pt x="341931" y="57288"/>
                  </a:cubicBezTo>
                  <a:cubicBezTo>
                    <a:pt x="341358" y="57288"/>
                    <a:pt x="340854" y="58298"/>
                    <a:pt x="340854" y="58298"/>
                  </a:cubicBezTo>
                  <a:cubicBezTo>
                    <a:pt x="340854" y="58298"/>
                    <a:pt x="340854" y="60181"/>
                    <a:pt x="340854" y="60753"/>
                  </a:cubicBezTo>
                  <a:cubicBezTo>
                    <a:pt x="340854" y="61325"/>
                    <a:pt x="338329" y="64823"/>
                    <a:pt x="337892" y="64958"/>
                  </a:cubicBezTo>
                  <a:cubicBezTo>
                    <a:pt x="337454" y="65093"/>
                    <a:pt x="336378" y="65395"/>
                    <a:pt x="336378" y="65395"/>
                  </a:cubicBezTo>
                  <a:cubicBezTo>
                    <a:pt x="336378" y="65395"/>
                    <a:pt x="334627" y="63377"/>
                    <a:pt x="335065" y="63377"/>
                  </a:cubicBezTo>
                  <a:cubicBezTo>
                    <a:pt x="335503" y="63377"/>
                    <a:pt x="332743" y="55976"/>
                    <a:pt x="332743" y="55976"/>
                  </a:cubicBezTo>
                  <a:lnTo>
                    <a:pt x="327829" y="51906"/>
                  </a:lnTo>
                  <a:lnTo>
                    <a:pt x="324363" y="49316"/>
                  </a:lnTo>
                  <a:lnTo>
                    <a:pt x="322343" y="43530"/>
                  </a:lnTo>
                  <a:lnTo>
                    <a:pt x="315377" y="41209"/>
                  </a:lnTo>
                  <a:cubicBezTo>
                    <a:pt x="315377" y="41209"/>
                    <a:pt x="309589" y="36263"/>
                    <a:pt x="308714" y="35994"/>
                  </a:cubicBezTo>
                  <a:cubicBezTo>
                    <a:pt x="307839" y="35692"/>
                    <a:pt x="305247" y="34817"/>
                    <a:pt x="305247" y="34817"/>
                  </a:cubicBezTo>
                  <a:cubicBezTo>
                    <a:pt x="305247" y="34817"/>
                    <a:pt x="299728" y="31049"/>
                    <a:pt x="298886" y="30747"/>
                  </a:cubicBezTo>
                  <a:cubicBezTo>
                    <a:pt x="298011" y="30478"/>
                    <a:pt x="294545" y="28728"/>
                    <a:pt x="294545" y="28728"/>
                  </a:cubicBezTo>
                  <a:lnTo>
                    <a:pt x="291348" y="26104"/>
                  </a:lnTo>
                  <a:cubicBezTo>
                    <a:pt x="291348" y="26104"/>
                    <a:pt x="289598" y="26104"/>
                    <a:pt x="288454" y="26104"/>
                  </a:cubicBezTo>
                  <a:cubicBezTo>
                    <a:pt x="287309" y="26104"/>
                    <a:pt x="282665" y="26542"/>
                    <a:pt x="281790" y="26811"/>
                  </a:cubicBezTo>
                  <a:cubicBezTo>
                    <a:pt x="280915" y="27114"/>
                    <a:pt x="276876" y="27820"/>
                    <a:pt x="275698" y="27820"/>
                  </a:cubicBezTo>
                  <a:cubicBezTo>
                    <a:pt x="274554" y="27820"/>
                    <a:pt x="271357" y="27820"/>
                    <a:pt x="270179" y="27820"/>
                  </a:cubicBezTo>
                  <a:cubicBezTo>
                    <a:pt x="269035" y="27820"/>
                    <a:pt x="265838" y="28257"/>
                    <a:pt x="265838" y="28257"/>
                  </a:cubicBezTo>
                  <a:lnTo>
                    <a:pt x="257727" y="25230"/>
                  </a:lnTo>
                  <a:lnTo>
                    <a:pt x="255977" y="22337"/>
                  </a:lnTo>
                  <a:lnTo>
                    <a:pt x="252780" y="20890"/>
                  </a:lnTo>
                  <a:lnTo>
                    <a:pt x="246419" y="19141"/>
                  </a:lnTo>
                  <a:lnTo>
                    <a:pt x="239149" y="15945"/>
                  </a:lnTo>
                  <a:lnTo>
                    <a:pt x="235380" y="13927"/>
                  </a:lnTo>
                  <a:lnTo>
                    <a:pt x="231039" y="10159"/>
                  </a:lnTo>
                  <a:lnTo>
                    <a:pt x="226967" y="12178"/>
                  </a:lnTo>
                  <a:lnTo>
                    <a:pt x="218856" y="14499"/>
                  </a:lnTo>
                  <a:lnTo>
                    <a:pt x="213067" y="15945"/>
                  </a:lnTo>
                  <a:lnTo>
                    <a:pt x="209601" y="13052"/>
                  </a:lnTo>
                  <a:lnTo>
                    <a:pt x="207279" y="8107"/>
                  </a:lnTo>
                  <a:cubicBezTo>
                    <a:pt x="207279" y="8107"/>
                    <a:pt x="204956" y="2018"/>
                    <a:pt x="204081" y="1446"/>
                  </a:cubicBezTo>
                  <a:cubicBezTo>
                    <a:pt x="203206" y="875"/>
                    <a:pt x="200884" y="0"/>
                    <a:pt x="200884" y="0"/>
                  </a:cubicBezTo>
                  <a:lnTo>
                    <a:pt x="199437" y="0"/>
                  </a:lnTo>
                  <a:cubicBezTo>
                    <a:pt x="199437" y="0"/>
                    <a:pt x="197115" y="2590"/>
                    <a:pt x="196812" y="3465"/>
                  </a:cubicBezTo>
                  <a:cubicBezTo>
                    <a:pt x="196543" y="4339"/>
                    <a:pt x="195062" y="4911"/>
                    <a:pt x="194490" y="6661"/>
                  </a:cubicBezTo>
                  <a:cubicBezTo>
                    <a:pt x="193918" y="8410"/>
                    <a:pt x="193043" y="8982"/>
                    <a:pt x="190720" y="9789"/>
                  </a:cubicBezTo>
                  <a:cubicBezTo>
                    <a:pt x="188398" y="10596"/>
                    <a:pt x="187523" y="10159"/>
                    <a:pt x="184057" y="10025"/>
                  </a:cubicBezTo>
                  <a:cubicBezTo>
                    <a:pt x="180590" y="9890"/>
                    <a:pt x="180860" y="9587"/>
                    <a:pt x="179716" y="10025"/>
                  </a:cubicBezTo>
                  <a:cubicBezTo>
                    <a:pt x="178571" y="10462"/>
                    <a:pt x="178268" y="10025"/>
                    <a:pt x="178268" y="10025"/>
                  </a:cubicBezTo>
                  <a:lnTo>
                    <a:pt x="170730" y="10159"/>
                  </a:lnTo>
                  <a:cubicBezTo>
                    <a:pt x="170730" y="10159"/>
                    <a:pt x="167533" y="9856"/>
                    <a:pt x="166388" y="10159"/>
                  </a:cubicBezTo>
                  <a:cubicBezTo>
                    <a:pt x="165244" y="10428"/>
                    <a:pt x="165210" y="11034"/>
                    <a:pt x="165210" y="12178"/>
                  </a:cubicBezTo>
                  <a:cubicBezTo>
                    <a:pt x="165210" y="13321"/>
                    <a:pt x="165210" y="16248"/>
                    <a:pt x="165513" y="17963"/>
                  </a:cubicBezTo>
                  <a:cubicBezTo>
                    <a:pt x="165783" y="19713"/>
                    <a:pt x="165513" y="21159"/>
                    <a:pt x="165210" y="22606"/>
                  </a:cubicBezTo>
                  <a:cubicBezTo>
                    <a:pt x="164907" y="24052"/>
                    <a:pt x="164638" y="24624"/>
                    <a:pt x="164638" y="25499"/>
                  </a:cubicBezTo>
                  <a:cubicBezTo>
                    <a:pt x="164638" y="26373"/>
                    <a:pt x="166085" y="28392"/>
                    <a:pt x="166658" y="29569"/>
                  </a:cubicBezTo>
                  <a:cubicBezTo>
                    <a:pt x="167230" y="30713"/>
                    <a:pt x="168105" y="31016"/>
                    <a:pt x="168980" y="32462"/>
                  </a:cubicBezTo>
                  <a:cubicBezTo>
                    <a:pt x="169855" y="33909"/>
                    <a:pt x="170999" y="32462"/>
                    <a:pt x="170999" y="32462"/>
                  </a:cubicBezTo>
                  <a:lnTo>
                    <a:pt x="174465" y="34783"/>
                  </a:lnTo>
                  <a:lnTo>
                    <a:pt x="177662" y="36230"/>
                  </a:lnTo>
                  <a:lnTo>
                    <a:pt x="179413" y="37407"/>
                  </a:lnTo>
                  <a:lnTo>
                    <a:pt x="180860" y="39157"/>
                  </a:lnTo>
                  <a:cubicBezTo>
                    <a:pt x="180860" y="39157"/>
                    <a:pt x="180860" y="42050"/>
                    <a:pt x="180860" y="43126"/>
                  </a:cubicBezTo>
                  <a:cubicBezTo>
                    <a:pt x="180860" y="44169"/>
                    <a:pt x="177662" y="46120"/>
                    <a:pt x="177662" y="46120"/>
                  </a:cubicBezTo>
                  <a:lnTo>
                    <a:pt x="174196" y="48441"/>
                  </a:lnTo>
                  <a:lnTo>
                    <a:pt x="168677" y="51334"/>
                  </a:lnTo>
                  <a:lnTo>
                    <a:pt x="166085" y="56245"/>
                  </a:lnTo>
                  <a:cubicBezTo>
                    <a:pt x="166085" y="56245"/>
                    <a:pt x="159422" y="61191"/>
                    <a:pt x="158547" y="61191"/>
                  </a:cubicBezTo>
                  <a:cubicBezTo>
                    <a:pt x="157672" y="61191"/>
                    <a:pt x="153330" y="58869"/>
                    <a:pt x="153330" y="58869"/>
                  </a:cubicBezTo>
                  <a:lnTo>
                    <a:pt x="150705" y="55102"/>
                  </a:lnTo>
                  <a:cubicBezTo>
                    <a:pt x="150705" y="55102"/>
                    <a:pt x="149258" y="52209"/>
                    <a:pt x="148080" y="51906"/>
                  </a:cubicBezTo>
                  <a:cubicBezTo>
                    <a:pt x="146936" y="51637"/>
                    <a:pt x="144311" y="49013"/>
                    <a:pt x="144311" y="49013"/>
                  </a:cubicBezTo>
                  <a:cubicBezTo>
                    <a:pt x="144311" y="49013"/>
                    <a:pt x="144311" y="49013"/>
                    <a:pt x="142292" y="47869"/>
                  </a:cubicBezTo>
                  <a:cubicBezTo>
                    <a:pt x="140239" y="46726"/>
                    <a:pt x="138522" y="45245"/>
                    <a:pt x="138522" y="45245"/>
                  </a:cubicBezTo>
                  <a:lnTo>
                    <a:pt x="130681" y="44673"/>
                  </a:lnTo>
                  <a:cubicBezTo>
                    <a:pt x="130681" y="44673"/>
                    <a:pt x="126339" y="44371"/>
                    <a:pt x="125161" y="44371"/>
                  </a:cubicBezTo>
                  <a:cubicBezTo>
                    <a:pt x="124017" y="44371"/>
                    <a:pt x="121392" y="44371"/>
                    <a:pt x="119642" y="43496"/>
                  </a:cubicBezTo>
                  <a:cubicBezTo>
                    <a:pt x="117892" y="42621"/>
                    <a:pt x="115570" y="43496"/>
                    <a:pt x="115570" y="43496"/>
                  </a:cubicBezTo>
                  <a:lnTo>
                    <a:pt x="110353" y="43496"/>
                  </a:lnTo>
                  <a:lnTo>
                    <a:pt x="107459" y="43496"/>
                  </a:lnTo>
                  <a:cubicBezTo>
                    <a:pt x="107459" y="43496"/>
                    <a:pt x="101368" y="47129"/>
                    <a:pt x="100493" y="47701"/>
                  </a:cubicBezTo>
                  <a:cubicBezTo>
                    <a:pt x="99617" y="48273"/>
                    <a:pt x="99315" y="49282"/>
                    <a:pt x="98473" y="50157"/>
                  </a:cubicBezTo>
                  <a:cubicBezTo>
                    <a:pt x="97598" y="51031"/>
                    <a:pt x="95848" y="52175"/>
                    <a:pt x="94704" y="52478"/>
                  </a:cubicBezTo>
                  <a:cubicBezTo>
                    <a:pt x="93560" y="52781"/>
                    <a:pt x="92113" y="55674"/>
                    <a:pt x="92113" y="55674"/>
                  </a:cubicBezTo>
                  <a:cubicBezTo>
                    <a:pt x="92113" y="55674"/>
                    <a:pt x="89790" y="58264"/>
                    <a:pt x="87771" y="58567"/>
                  </a:cubicBezTo>
                  <a:cubicBezTo>
                    <a:pt x="85752" y="58869"/>
                    <a:pt x="87771" y="58567"/>
                    <a:pt x="84305" y="58567"/>
                  </a:cubicBezTo>
                  <a:cubicBezTo>
                    <a:pt x="80805" y="58567"/>
                    <a:pt x="80805" y="58264"/>
                    <a:pt x="79358" y="58264"/>
                  </a:cubicBezTo>
                  <a:cubicBezTo>
                    <a:pt x="77910" y="58264"/>
                    <a:pt x="77338" y="55674"/>
                    <a:pt x="77338" y="55674"/>
                  </a:cubicBezTo>
                  <a:lnTo>
                    <a:pt x="70372" y="55674"/>
                  </a:lnTo>
                  <a:lnTo>
                    <a:pt x="70675" y="60316"/>
                  </a:lnTo>
                  <a:lnTo>
                    <a:pt x="71550" y="65227"/>
                  </a:lnTo>
                  <a:cubicBezTo>
                    <a:pt x="71550" y="65227"/>
                    <a:pt x="70405" y="68120"/>
                    <a:pt x="70405" y="69298"/>
                  </a:cubicBezTo>
                  <a:cubicBezTo>
                    <a:pt x="70405" y="70441"/>
                    <a:pt x="68958" y="71047"/>
                    <a:pt x="67511" y="72493"/>
                  </a:cubicBezTo>
                  <a:cubicBezTo>
                    <a:pt x="66064" y="73940"/>
                    <a:pt x="63170" y="74243"/>
                    <a:pt x="62295" y="74512"/>
                  </a:cubicBezTo>
                  <a:cubicBezTo>
                    <a:pt x="61420" y="74815"/>
                    <a:pt x="60275" y="77977"/>
                    <a:pt x="60275" y="77977"/>
                  </a:cubicBezTo>
                  <a:cubicBezTo>
                    <a:pt x="60275" y="77977"/>
                    <a:pt x="59400" y="82619"/>
                    <a:pt x="59131" y="86084"/>
                  </a:cubicBezTo>
                  <a:cubicBezTo>
                    <a:pt x="58828" y="89549"/>
                    <a:pt x="58256" y="90726"/>
                    <a:pt x="57684" y="91601"/>
                  </a:cubicBezTo>
                  <a:cubicBezTo>
                    <a:pt x="57112" y="92475"/>
                    <a:pt x="55665" y="93922"/>
                    <a:pt x="54217" y="96512"/>
                  </a:cubicBezTo>
                  <a:cubicBezTo>
                    <a:pt x="52770" y="99136"/>
                    <a:pt x="51895" y="98530"/>
                    <a:pt x="50145" y="100582"/>
                  </a:cubicBezTo>
                  <a:cubicBezTo>
                    <a:pt x="48395" y="102601"/>
                    <a:pt x="48395" y="104922"/>
                    <a:pt x="47823" y="106099"/>
                  </a:cubicBezTo>
                  <a:cubicBezTo>
                    <a:pt x="47251" y="107243"/>
                    <a:pt x="46073" y="109867"/>
                    <a:pt x="45804" y="111011"/>
                  </a:cubicBezTo>
                  <a:cubicBezTo>
                    <a:pt x="45501" y="112188"/>
                    <a:pt x="44626" y="115653"/>
                    <a:pt x="44626" y="115653"/>
                  </a:cubicBezTo>
                  <a:lnTo>
                    <a:pt x="46376" y="121742"/>
                  </a:lnTo>
                  <a:lnTo>
                    <a:pt x="49876" y="125812"/>
                  </a:lnTo>
                  <a:lnTo>
                    <a:pt x="50448" y="132473"/>
                  </a:lnTo>
                  <a:cubicBezTo>
                    <a:pt x="50448" y="132473"/>
                    <a:pt x="47857" y="135938"/>
                    <a:pt x="46679" y="137990"/>
                  </a:cubicBezTo>
                  <a:cubicBezTo>
                    <a:pt x="45535" y="140008"/>
                    <a:pt x="44087" y="142632"/>
                    <a:pt x="44087" y="142632"/>
                  </a:cubicBezTo>
                  <a:lnTo>
                    <a:pt x="43515" y="145222"/>
                  </a:lnTo>
                  <a:lnTo>
                    <a:pt x="43515" y="149293"/>
                  </a:lnTo>
                  <a:lnTo>
                    <a:pt x="44087" y="152489"/>
                  </a:lnTo>
                  <a:lnTo>
                    <a:pt x="47285" y="155381"/>
                  </a:lnTo>
                  <a:lnTo>
                    <a:pt x="49304" y="156525"/>
                  </a:lnTo>
                  <a:lnTo>
                    <a:pt x="49001" y="160865"/>
                  </a:lnTo>
                  <a:lnTo>
                    <a:pt x="48429" y="163758"/>
                  </a:lnTo>
                  <a:cubicBezTo>
                    <a:pt x="48429" y="163758"/>
                    <a:pt x="46679" y="164901"/>
                    <a:pt x="45804" y="165776"/>
                  </a:cubicBezTo>
                  <a:cubicBezTo>
                    <a:pt x="44929" y="166651"/>
                    <a:pt x="44054" y="166954"/>
                    <a:pt x="43482" y="168097"/>
                  </a:cubicBezTo>
                  <a:cubicBezTo>
                    <a:pt x="42910" y="169241"/>
                    <a:pt x="40015" y="169544"/>
                    <a:pt x="40015" y="169544"/>
                  </a:cubicBezTo>
                  <a:cubicBezTo>
                    <a:pt x="40015" y="169544"/>
                    <a:pt x="40015" y="171293"/>
                    <a:pt x="40015" y="172168"/>
                  </a:cubicBezTo>
                  <a:cubicBezTo>
                    <a:pt x="40015" y="173042"/>
                    <a:pt x="42338" y="175061"/>
                    <a:pt x="42338" y="175061"/>
                  </a:cubicBezTo>
                  <a:cubicBezTo>
                    <a:pt x="42338" y="175061"/>
                    <a:pt x="44660" y="176204"/>
                    <a:pt x="46107" y="176507"/>
                  </a:cubicBezTo>
                  <a:cubicBezTo>
                    <a:pt x="47554" y="176810"/>
                    <a:pt x="48732" y="176507"/>
                    <a:pt x="48732" y="176507"/>
                  </a:cubicBezTo>
                  <a:lnTo>
                    <a:pt x="48732" y="178526"/>
                  </a:lnTo>
                  <a:cubicBezTo>
                    <a:pt x="48732" y="178526"/>
                    <a:pt x="48867" y="180847"/>
                    <a:pt x="48597" y="181990"/>
                  </a:cubicBezTo>
                  <a:cubicBezTo>
                    <a:pt x="48294" y="183134"/>
                    <a:pt x="48463" y="184311"/>
                    <a:pt x="48160" y="185455"/>
                  </a:cubicBezTo>
                  <a:cubicBezTo>
                    <a:pt x="47890" y="186599"/>
                    <a:pt x="47016" y="187776"/>
                    <a:pt x="47016" y="187776"/>
                  </a:cubicBezTo>
                  <a:lnTo>
                    <a:pt x="46443" y="191544"/>
                  </a:lnTo>
                  <a:cubicBezTo>
                    <a:pt x="46443" y="191544"/>
                    <a:pt x="47016" y="194740"/>
                    <a:pt x="47318" y="197633"/>
                  </a:cubicBezTo>
                  <a:cubicBezTo>
                    <a:pt x="47621" y="200526"/>
                    <a:pt x="46174" y="199954"/>
                    <a:pt x="45871" y="202847"/>
                  </a:cubicBezTo>
                  <a:cubicBezTo>
                    <a:pt x="45568" y="205740"/>
                    <a:pt x="46443" y="206917"/>
                    <a:pt x="46746" y="209508"/>
                  </a:cubicBezTo>
                  <a:cubicBezTo>
                    <a:pt x="47049" y="212098"/>
                    <a:pt x="47621" y="211257"/>
                    <a:pt x="47890" y="214150"/>
                  </a:cubicBezTo>
                  <a:cubicBezTo>
                    <a:pt x="48193" y="217043"/>
                    <a:pt x="52535" y="217917"/>
                    <a:pt x="52535" y="217917"/>
                  </a:cubicBezTo>
                  <a:cubicBezTo>
                    <a:pt x="52535" y="217917"/>
                    <a:pt x="52535" y="217917"/>
                    <a:pt x="53107" y="219095"/>
                  </a:cubicBezTo>
                  <a:cubicBezTo>
                    <a:pt x="53679" y="220239"/>
                    <a:pt x="54251" y="222291"/>
                    <a:pt x="54251" y="223434"/>
                  </a:cubicBezTo>
                  <a:cubicBezTo>
                    <a:pt x="54251" y="224578"/>
                    <a:pt x="52501" y="225453"/>
                    <a:pt x="52501" y="227774"/>
                  </a:cubicBezTo>
                  <a:cubicBezTo>
                    <a:pt x="52501" y="230095"/>
                    <a:pt x="50751" y="230095"/>
                    <a:pt x="49607" y="232416"/>
                  </a:cubicBezTo>
                  <a:cubicBezTo>
                    <a:pt x="48463" y="234737"/>
                    <a:pt x="49910" y="234737"/>
                    <a:pt x="50751" y="235612"/>
                  </a:cubicBezTo>
                  <a:cubicBezTo>
                    <a:pt x="51626" y="236487"/>
                    <a:pt x="52770" y="238808"/>
                    <a:pt x="52770" y="241970"/>
                  </a:cubicBezTo>
                  <a:cubicBezTo>
                    <a:pt x="52770" y="245166"/>
                    <a:pt x="52198" y="243988"/>
                    <a:pt x="51020" y="245737"/>
                  </a:cubicBezTo>
                  <a:cubicBezTo>
                    <a:pt x="49876" y="247487"/>
                    <a:pt x="51020" y="245737"/>
                    <a:pt x="50448" y="246881"/>
                  </a:cubicBezTo>
                  <a:cubicBezTo>
                    <a:pt x="49876" y="248059"/>
                    <a:pt x="48698" y="249774"/>
                    <a:pt x="49001" y="250649"/>
                  </a:cubicBezTo>
                  <a:cubicBezTo>
                    <a:pt x="49304" y="251523"/>
                    <a:pt x="50145" y="252398"/>
                    <a:pt x="51323" y="254114"/>
                  </a:cubicBezTo>
                  <a:cubicBezTo>
                    <a:pt x="52468" y="255863"/>
                    <a:pt x="51323" y="258184"/>
                    <a:pt x="51054" y="259025"/>
                  </a:cubicBezTo>
                  <a:cubicBezTo>
                    <a:pt x="50751" y="259900"/>
                    <a:pt x="50751" y="263936"/>
                    <a:pt x="50751" y="265114"/>
                  </a:cubicBezTo>
                  <a:cubicBezTo>
                    <a:pt x="50751" y="266291"/>
                    <a:pt x="52501" y="269184"/>
                    <a:pt x="52501" y="270328"/>
                  </a:cubicBezTo>
                  <a:cubicBezTo>
                    <a:pt x="52501" y="271472"/>
                    <a:pt x="54251" y="273524"/>
                    <a:pt x="55126" y="274668"/>
                  </a:cubicBezTo>
                  <a:cubicBezTo>
                    <a:pt x="56001" y="275845"/>
                    <a:pt x="57718" y="276686"/>
                    <a:pt x="57718" y="276686"/>
                  </a:cubicBezTo>
                  <a:lnTo>
                    <a:pt x="62059" y="282203"/>
                  </a:lnTo>
                  <a:lnTo>
                    <a:pt x="64381" y="285399"/>
                  </a:lnTo>
                  <a:lnTo>
                    <a:pt x="64078" y="291185"/>
                  </a:lnTo>
                  <a:cubicBezTo>
                    <a:pt x="64078" y="291185"/>
                    <a:pt x="63775" y="294649"/>
                    <a:pt x="63775" y="296971"/>
                  </a:cubicBezTo>
                  <a:cubicBezTo>
                    <a:pt x="63775" y="299292"/>
                    <a:pt x="62597" y="300166"/>
                    <a:pt x="62597" y="300166"/>
                  </a:cubicBezTo>
                  <a:cubicBezTo>
                    <a:pt x="62597" y="300166"/>
                    <a:pt x="61723" y="302185"/>
                    <a:pt x="60881" y="302488"/>
                  </a:cubicBezTo>
                  <a:cubicBezTo>
                    <a:pt x="60006" y="302790"/>
                    <a:pt x="56809" y="304506"/>
                    <a:pt x="55665" y="304809"/>
                  </a:cubicBezTo>
                  <a:cubicBezTo>
                    <a:pt x="54520" y="305112"/>
                    <a:pt x="53915" y="306558"/>
                    <a:pt x="51626" y="307130"/>
                  </a:cubicBezTo>
                  <a:cubicBezTo>
                    <a:pt x="49304" y="307702"/>
                    <a:pt x="50179" y="308274"/>
                    <a:pt x="49001" y="308576"/>
                  </a:cubicBezTo>
                  <a:cubicBezTo>
                    <a:pt x="47857" y="308879"/>
                    <a:pt x="45232" y="310326"/>
                    <a:pt x="44087" y="311200"/>
                  </a:cubicBezTo>
                  <a:cubicBezTo>
                    <a:pt x="42910" y="312075"/>
                    <a:pt x="40890" y="311200"/>
                    <a:pt x="40890" y="311200"/>
                  </a:cubicBezTo>
                  <a:cubicBezTo>
                    <a:pt x="40890" y="311200"/>
                    <a:pt x="38265" y="311200"/>
                    <a:pt x="36381" y="311200"/>
                  </a:cubicBezTo>
                  <a:cubicBezTo>
                    <a:pt x="34496" y="311200"/>
                    <a:pt x="35068" y="312647"/>
                    <a:pt x="34193" y="312647"/>
                  </a:cubicBezTo>
                  <a:cubicBezTo>
                    <a:pt x="33318" y="312647"/>
                    <a:pt x="32443" y="315271"/>
                    <a:pt x="31568" y="316112"/>
                  </a:cubicBezTo>
                  <a:cubicBezTo>
                    <a:pt x="30693" y="316986"/>
                    <a:pt x="30121" y="319307"/>
                    <a:pt x="30121" y="320451"/>
                  </a:cubicBezTo>
                  <a:cubicBezTo>
                    <a:pt x="30121" y="321595"/>
                    <a:pt x="29852" y="323344"/>
                    <a:pt x="29852" y="324521"/>
                  </a:cubicBezTo>
                  <a:cubicBezTo>
                    <a:pt x="29852" y="325665"/>
                    <a:pt x="28404" y="325968"/>
                    <a:pt x="28404" y="325968"/>
                  </a:cubicBezTo>
                  <a:lnTo>
                    <a:pt x="25510" y="327145"/>
                  </a:lnTo>
                  <a:cubicBezTo>
                    <a:pt x="25510" y="327145"/>
                    <a:pt x="21741" y="328592"/>
                    <a:pt x="20597" y="328895"/>
                  </a:cubicBezTo>
                  <a:cubicBezTo>
                    <a:pt x="19419" y="329197"/>
                    <a:pt x="18846" y="330341"/>
                    <a:pt x="18846" y="330341"/>
                  </a:cubicBezTo>
                  <a:lnTo>
                    <a:pt x="17097" y="332931"/>
                  </a:lnTo>
                  <a:lnTo>
                    <a:pt x="15952" y="335253"/>
                  </a:lnTo>
                  <a:lnTo>
                    <a:pt x="9861" y="340769"/>
                  </a:lnTo>
                  <a:cubicBezTo>
                    <a:pt x="9861" y="340769"/>
                    <a:pt x="6664" y="343662"/>
                    <a:pt x="5789" y="344840"/>
                  </a:cubicBezTo>
                  <a:cubicBezTo>
                    <a:pt x="4914" y="345984"/>
                    <a:pt x="2591" y="347430"/>
                    <a:pt x="2591" y="347430"/>
                  </a:cubicBezTo>
                  <a:lnTo>
                    <a:pt x="0" y="350323"/>
                  </a:lnTo>
                  <a:lnTo>
                    <a:pt x="0" y="354393"/>
                  </a:lnTo>
                  <a:lnTo>
                    <a:pt x="7842" y="352947"/>
                  </a:lnTo>
                  <a:lnTo>
                    <a:pt x="14202" y="351803"/>
                  </a:lnTo>
                  <a:lnTo>
                    <a:pt x="15952" y="351231"/>
                  </a:lnTo>
                  <a:lnTo>
                    <a:pt x="22616" y="349482"/>
                  </a:lnTo>
                  <a:lnTo>
                    <a:pt x="27260" y="346286"/>
                  </a:lnTo>
                  <a:lnTo>
                    <a:pt x="30155" y="345412"/>
                  </a:lnTo>
                  <a:lnTo>
                    <a:pt x="33049" y="345109"/>
                  </a:lnTo>
                  <a:lnTo>
                    <a:pt x="33049" y="346858"/>
                  </a:lnTo>
                  <a:lnTo>
                    <a:pt x="34933" y="349179"/>
                  </a:lnTo>
                  <a:lnTo>
                    <a:pt x="38837" y="348608"/>
                  </a:lnTo>
                  <a:lnTo>
                    <a:pt x="41159" y="346286"/>
                  </a:lnTo>
                  <a:lnTo>
                    <a:pt x="43482" y="343091"/>
                  </a:lnTo>
                  <a:lnTo>
                    <a:pt x="46039" y="342519"/>
                  </a:lnTo>
                  <a:lnTo>
                    <a:pt x="53040" y="340769"/>
                  </a:lnTo>
                  <a:lnTo>
                    <a:pt x="57381" y="340769"/>
                  </a:lnTo>
                  <a:lnTo>
                    <a:pt x="63775" y="344403"/>
                  </a:lnTo>
                  <a:lnTo>
                    <a:pt x="63203" y="349179"/>
                  </a:lnTo>
                  <a:lnTo>
                    <a:pt x="66670" y="353519"/>
                  </a:lnTo>
                  <a:lnTo>
                    <a:pt x="71011" y="357286"/>
                  </a:lnTo>
                  <a:lnTo>
                    <a:pt x="72761" y="361626"/>
                  </a:lnTo>
                  <a:lnTo>
                    <a:pt x="70439" y="365091"/>
                  </a:lnTo>
                  <a:lnTo>
                    <a:pt x="69295" y="365091"/>
                  </a:lnTo>
                  <a:lnTo>
                    <a:pt x="65223" y="367984"/>
                  </a:lnTo>
                  <a:cubicBezTo>
                    <a:pt x="65223" y="367984"/>
                    <a:pt x="64348" y="369699"/>
                    <a:pt x="63472" y="371449"/>
                  </a:cubicBezTo>
                  <a:cubicBezTo>
                    <a:pt x="62597" y="373198"/>
                    <a:pt x="63472" y="373770"/>
                    <a:pt x="63472" y="373770"/>
                  </a:cubicBezTo>
                  <a:lnTo>
                    <a:pt x="64920" y="373770"/>
                  </a:lnTo>
                  <a:lnTo>
                    <a:pt x="69564" y="375082"/>
                  </a:lnTo>
                  <a:lnTo>
                    <a:pt x="72761" y="377538"/>
                  </a:lnTo>
                  <a:lnTo>
                    <a:pt x="71011" y="381608"/>
                  </a:lnTo>
                  <a:cubicBezTo>
                    <a:pt x="71011" y="381608"/>
                    <a:pt x="66939" y="384804"/>
                    <a:pt x="64348" y="386250"/>
                  </a:cubicBezTo>
                  <a:cubicBezTo>
                    <a:pt x="61723" y="387697"/>
                    <a:pt x="60881" y="387697"/>
                    <a:pt x="60881" y="387697"/>
                  </a:cubicBezTo>
                  <a:lnTo>
                    <a:pt x="56943" y="388840"/>
                  </a:lnTo>
                  <a:lnTo>
                    <a:pt x="49876" y="392305"/>
                  </a:lnTo>
                  <a:lnTo>
                    <a:pt x="46073" y="396073"/>
                  </a:lnTo>
                  <a:cubicBezTo>
                    <a:pt x="46073" y="396073"/>
                    <a:pt x="46982" y="398394"/>
                    <a:pt x="48429" y="398697"/>
                  </a:cubicBezTo>
                  <a:cubicBezTo>
                    <a:pt x="49876" y="399000"/>
                    <a:pt x="52198" y="401590"/>
                    <a:pt x="52198" y="401590"/>
                  </a:cubicBezTo>
                  <a:cubicBezTo>
                    <a:pt x="52198" y="401590"/>
                    <a:pt x="54823" y="407107"/>
                    <a:pt x="56977" y="408251"/>
                  </a:cubicBezTo>
                  <a:cubicBezTo>
                    <a:pt x="59131" y="409394"/>
                    <a:pt x="55968" y="410000"/>
                    <a:pt x="56977" y="411144"/>
                  </a:cubicBezTo>
                  <a:cubicBezTo>
                    <a:pt x="57953" y="412287"/>
                    <a:pt x="55126" y="416930"/>
                    <a:pt x="55126" y="416930"/>
                  </a:cubicBezTo>
                  <a:lnTo>
                    <a:pt x="51929" y="421269"/>
                  </a:lnTo>
                  <a:lnTo>
                    <a:pt x="48463" y="426181"/>
                  </a:lnTo>
                  <a:lnTo>
                    <a:pt x="46107" y="431966"/>
                  </a:lnTo>
                  <a:cubicBezTo>
                    <a:pt x="46107" y="431966"/>
                    <a:pt x="46443" y="436878"/>
                    <a:pt x="46141" y="439771"/>
                  </a:cubicBezTo>
                  <a:cubicBezTo>
                    <a:pt x="45838" y="442664"/>
                    <a:pt x="47588" y="442361"/>
                    <a:pt x="47588" y="442361"/>
                  </a:cubicBezTo>
                  <a:cubicBezTo>
                    <a:pt x="47588" y="442361"/>
                    <a:pt x="51660" y="446431"/>
                    <a:pt x="52501" y="446129"/>
                  </a:cubicBezTo>
                  <a:cubicBezTo>
                    <a:pt x="53376" y="445826"/>
                    <a:pt x="55126" y="442933"/>
                    <a:pt x="55126" y="442933"/>
                  </a:cubicBezTo>
                  <a:lnTo>
                    <a:pt x="58323" y="439737"/>
                  </a:lnTo>
                  <a:lnTo>
                    <a:pt x="63102" y="439737"/>
                  </a:lnTo>
                  <a:lnTo>
                    <a:pt x="65862" y="442496"/>
                  </a:lnTo>
                  <a:cubicBezTo>
                    <a:pt x="65862" y="442496"/>
                    <a:pt x="59771" y="445826"/>
                    <a:pt x="59501" y="446701"/>
                  </a:cubicBezTo>
                  <a:cubicBezTo>
                    <a:pt x="59199" y="447575"/>
                    <a:pt x="58357" y="450737"/>
                    <a:pt x="58357" y="450737"/>
                  </a:cubicBezTo>
                  <a:lnTo>
                    <a:pt x="65896" y="454808"/>
                  </a:lnTo>
                  <a:lnTo>
                    <a:pt x="67915" y="461468"/>
                  </a:lnTo>
                  <a:lnTo>
                    <a:pt x="67915" y="467389"/>
                  </a:lnTo>
                  <a:cubicBezTo>
                    <a:pt x="69261" y="467322"/>
                    <a:pt x="71550" y="467557"/>
                    <a:pt x="71550" y="467557"/>
                  </a:cubicBezTo>
                  <a:lnTo>
                    <a:pt x="72425" y="470316"/>
                  </a:lnTo>
                  <a:lnTo>
                    <a:pt x="74881" y="471190"/>
                  </a:lnTo>
                  <a:cubicBezTo>
                    <a:pt x="74881" y="471190"/>
                    <a:pt x="78079" y="471325"/>
                    <a:pt x="79391" y="471056"/>
                  </a:cubicBezTo>
                  <a:cubicBezTo>
                    <a:pt x="80704" y="470753"/>
                    <a:pt x="83161" y="469037"/>
                    <a:pt x="83733" y="468869"/>
                  </a:cubicBezTo>
                  <a:cubicBezTo>
                    <a:pt x="84305" y="468735"/>
                    <a:pt x="86358" y="471056"/>
                    <a:pt x="86358" y="471056"/>
                  </a:cubicBezTo>
                  <a:lnTo>
                    <a:pt x="91877" y="473242"/>
                  </a:lnTo>
                  <a:lnTo>
                    <a:pt x="92752" y="476573"/>
                  </a:lnTo>
                  <a:cubicBezTo>
                    <a:pt x="92752" y="476573"/>
                    <a:pt x="88276" y="480340"/>
                    <a:pt x="87838" y="480475"/>
                  </a:cubicBezTo>
                  <a:cubicBezTo>
                    <a:pt x="87401" y="480609"/>
                    <a:pt x="85954" y="483233"/>
                    <a:pt x="85954" y="483233"/>
                  </a:cubicBezTo>
                  <a:cubicBezTo>
                    <a:pt x="85954" y="483233"/>
                    <a:pt x="88141" y="486866"/>
                    <a:pt x="88713" y="486866"/>
                  </a:cubicBezTo>
                  <a:cubicBezTo>
                    <a:pt x="89286" y="486866"/>
                    <a:pt x="93358" y="488178"/>
                    <a:pt x="95074" y="488178"/>
                  </a:cubicBezTo>
                  <a:cubicBezTo>
                    <a:pt x="96824" y="488178"/>
                    <a:pt x="99584" y="488178"/>
                    <a:pt x="100156" y="487741"/>
                  </a:cubicBezTo>
                  <a:cubicBezTo>
                    <a:pt x="100728" y="487304"/>
                    <a:pt x="101738" y="487876"/>
                    <a:pt x="102343" y="486866"/>
                  </a:cubicBezTo>
                  <a:cubicBezTo>
                    <a:pt x="102848" y="485992"/>
                    <a:pt x="103656" y="484377"/>
                    <a:pt x="103892" y="483940"/>
                  </a:cubicBezTo>
                  <a:cubicBezTo>
                    <a:pt x="103791" y="483872"/>
                    <a:pt x="103589" y="483671"/>
                    <a:pt x="103219" y="483233"/>
                  </a:cubicBezTo>
                  <a:cubicBezTo>
                    <a:pt x="102209" y="482090"/>
                    <a:pt x="102041" y="481047"/>
                    <a:pt x="102041" y="481047"/>
                  </a:cubicBezTo>
                  <a:cubicBezTo>
                    <a:pt x="102041" y="481047"/>
                    <a:pt x="102175" y="480609"/>
                    <a:pt x="101771" y="480172"/>
                  </a:cubicBezTo>
                  <a:cubicBezTo>
                    <a:pt x="101401" y="479802"/>
                    <a:pt x="101132" y="476505"/>
                    <a:pt x="101368" y="475530"/>
                  </a:cubicBezTo>
                  <a:cubicBezTo>
                    <a:pt x="101098" y="475799"/>
                    <a:pt x="101233" y="475631"/>
                    <a:pt x="101401" y="475462"/>
                  </a:cubicBezTo>
                  <a:cubicBezTo>
                    <a:pt x="101435" y="475362"/>
                    <a:pt x="101469" y="475294"/>
                    <a:pt x="101502" y="475261"/>
                  </a:cubicBezTo>
                  <a:cubicBezTo>
                    <a:pt x="101671" y="475160"/>
                    <a:pt x="101536" y="475328"/>
                    <a:pt x="101401" y="475462"/>
                  </a:cubicBezTo>
                  <a:cubicBezTo>
                    <a:pt x="101401" y="475496"/>
                    <a:pt x="101368" y="475496"/>
                    <a:pt x="101368" y="475530"/>
                  </a:cubicBezTo>
                  <a:cubicBezTo>
                    <a:pt x="101469" y="475429"/>
                    <a:pt x="101637" y="475261"/>
                    <a:pt x="101940" y="474958"/>
                  </a:cubicBezTo>
                  <a:cubicBezTo>
                    <a:pt x="103522" y="473377"/>
                    <a:pt x="105137" y="471493"/>
                    <a:pt x="105574" y="471056"/>
                  </a:cubicBezTo>
                  <a:cubicBezTo>
                    <a:pt x="106012" y="470618"/>
                    <a:pt x="107156" y="469744"/>
                    <a:pt x="107156" y="469744"/>
                  </a:cubicBezTo>
                  <a:cubicBezTo>
                    <a:pt x="107156" y="469744"/>
                    <a:pt x="108300" y="468936"/>
                    <a:pt x="108166" y="467389"/>
                  </a:cubicBezTo>
                  <a:cubicBezTo>
                    <a:pt x="108031" y="465842"/>
                    <a:pt x="107762" y="462377"/>
                    <a:pt x="108166" y="460930"/>
                  </a:cubicBezTo>
                  <a:cubicBezTo>
                    <a:pt x="108570" y="459484"/>
                    <a:pt x="109310" y="458912"/>
                    <a:pt x="109748" y="458609"/>
                  </a:cubicBezTo>
                  <a:cubicBezTo>
                    <a:pt x="110185" y="458306"/>
                    <a:pt x="114964" y="454135"/>
                    <a:pt x="114964" y="454135"/>
                  </a:cubicBezTo>
                  <a:lnTo>
                    <a:pt x="119743" y="452386"/>
                  </a:lnTo>
                  <a:lnTo>
                    <a:pt x="122065" y="453395"/>
                  </a:lnTo>
                  <a:lnTo>
                    <a:pt x="130613" y="456591"/>
                  </a:lnTo>
                  <a:lnTo>
                    <a:pt x="130613" y="463251"/>
                  </a:lnTo>
                  <a:cubicBezTo>
                    <a:pt x="130613" y="463251"/>
                    <a:pt x="131185" y="467322"/>
                    <a:pt x="131488" y="467759"/>
                  </a:cubicBezTo>
                  <a:cubicBezTo>
                    <a:pt x="131758" y="468196"/>
                    <a:pt x="133373" y="470955"/>
                    <a:pt x="133945" y="470955"/>
                  </a:cubicBezTo>
                  <a:cubicBezTo>
                    <a:pt x="134517" y="470955"/>
                    <a:pt x="139465" y="468499"/>
                    <a:pt x="139465" y="468499"/>
                  </a:cubicBezTo>
                  <a:lnTo>
                    <a:pt x="140609" y="466918"/>
                  </a:lnTo>
                  <a:lnTo>
                    <a:pt x="142494" y="466784"/>
                  </a:lnTo>
                  <a:lnTo>
                    <a:pt x="145960" y="468230"/>
                  </a:lnTo>
                  <a:cubicBezTo>
                    <a:pt x="145960" y="468230"/>
                    <a:pt x="147104" y="469677"/>
                    <a:pt x="147272" y="470114"/>
                  </a:cubicBezTo>
                  <a:cubicBezTo>
                    <a:pt x="147407" y="470551"/>
                    <a:pt x="148013" y="471998"/>
                    <a:pt x="148450" y="472570"/>
                  </a:cubicBezTo>
                  <a:cubicBezTo>
                    <a:pt x="148888" y="473141"/>
                    <a:pt x="149157" y="474891"/>
                    <a:pt x="150335" y="475160"/>
                  </a:cubicBezTo>
                  <a:cubicBezTo>
                    <a:pt x="151513" y="475462"/>
                    <a:pt x="153532" y="474857"/>
                    <a:pt x="153532" y="474857"/>
                  </a:cubicBezTo>
                  <a:cubicBezTo>
                    <a:pt x="153532" y="474857"/>
                    <a:pt x="154979" y="473545"/>
                    <a:pt x="155249" y="472536"/>
                  </a:cubicBezTo>
                  <a:cubicBezTo>
                    <a:pt x="155552" y="471527"/>
                    <a:pt x="156124" y="468028"/>
                    <a:pt x="156124" y="467625"/>
                  </a:cubicBezTo>
                  <a:cubicBezTo>
                    <a:pt x="156124" y="467187"/>
                    <a:pt x="157571" y="465606"/>
                    <a:pt x="157571" y="465169"/>
                  </a:cubicBezTo>
                  <a:cubicBezTo>
                    <a:pt x="157571" y="464731"/>
                    <a:pt x="158143" y="463150"/>
                    <a:pt x="158446" y="461973"/>
                  </a:cubicBezTo>
                  <a:cubicBezTo>
                    <a:pt x="158749" y="460829"/>
                    <a:pt x="159455" y="459652"/>
                    <a:pt x="160027" y="459215"/>
                  </a:cubicBezTo>
                  <a:cubicBezTo>
                    <a:pt x="160600" y="458777"/>
                    <a:pt x="161206" y="457768"/>
                    <a:pt x="161778" y="457465"/>
                  </a:cubicBezTo>
                  <a:cubicBezTo>
                    <a:pt x="162350" y="457163"/>
                    <a:pt x="163225" y="456288"/>
                    <a:pt x="163965" y="456019"/>
                  </a:cubicBezTo>
                  <a:cubicBezTo>
                    <a:pt x="164706" y="455716"/>
                    <a:pt x="164975" y="455716"/>
                    <a:pt x="165850" y="455010"/>
                  </a:cubicBezTo>
                  <a:cubicBezTo>
                    <a:pt x="166725" y="454270"/>
                    <a:pt x="166859" y="452554"/>
                    <a:pt x="168172" y="452386"/>
                  </a:cubicBezTo>
                  <a:cubicBezTo>
                    <a:pt x="169484" y="452251"/>
                    <a:pt x="171235" y="450939"/>
                    <a:pt x="171807" y="450367"/>
                  </a:cubicBezTo>
                  <a:cubicBezTo>
                    <a:pt x="172379" y="449795"/>
                    <a:pt x="175138" y="448214"/>
                    <a:pt x="175273" y="447340"/>
                  </a:cubicBezTo>
                  <a:cubicBezTo>
                    <a:pt x="175408" y="446465"/>
                    <a:pt x="176586" y="445759"/>
                    <a:pt x="176720" y="443875"/>
                  </a:cubicBezTo>
                  <a:cubicBezTo>
                    <a:pt x="176855" y="441991"/>
                    <a:pt x="177595" y="439098"/>
                    <a:pt x="177595" y="439098"/>
                  </a:cubicBezTo>
                  <a:lnTo>
                    <a:pt x="185571" y="438156"/>
                  </a:lnTo>
                  <a:lnTo>
                    <a:pt x="189206" y="436340"/>
                  </a:lnTo>
                  <a:lnTo>
                    <a:pt x="192403" y="436340"/>
                  </a:lnTo>
                  <a:lnTo>
                    <a:pt x="194423" y="437786"/>
                  </a:lnTo>
                  <a:cubicBezTo>
                    <a:pt x="194423" y="437786"/>
                    <a:pt x="199201" y="443000"/>
                    <a:pt x="199774" y="443135"/>
                  </a:cubicBezTo>
                  <a:cubicBezTo>
                    <a:pt x="200346" y="443269"/>
                    <a:pt x="201524" y="444010"/>
                    <a:pt x="201961" y="444144"/>
                  </a:cubicBezTo>
                  <a:cubicBezTo>
                    <a:pt x="202399" y="444279"/>
                    <a:pt x="206606" y="444010"/>
                    <a:pt x="207750" y="443841"/>
                  </a:cubicBezTo>
                  <a:cubicBezTo>
                    <a:pt x="208894" y="443707"/>
                    <a:pt x="210509" y="442260"/>
                    <a:pt x="210947" y="441823"/>
                  </a:cubicBezTo>
                  <a:cubicBezTo>
                    <a:pt x="211384" y="441386"/>
                    <a:pt x="212562" y="440242"/>
                    <a:pt x="212697" y="439636"/>
                  </a:cubicBezTo>
                  <a:cubicBezTo>
                    <a:pt x="212832" y="439064"/>
                    <a:pt x="213135" y="438896"/>
                    <a:pt x="213404" y="437618"/>
                  </a:cubicBezTo>
                  <a:cubicBezTo>
                    <a:pt x="213707" y="436306"/>
                    <a:pt x="214582" y="435431"/>
                    <a:pt x="214582" y="434288"/>
                  </a:cubicBezTo>
                  <a:cubicBezTo>
                    <a:pt x="214582" y="433144"/>
                    <a:pt x="215288" y="432707"/>
                    <a:pt x="215894" y="431832"/>
                  </a:cubicBezTo>
                  <a:cubicBezTo>
                    <a:pt x="216466" y="430957"/>
                    <a:pt x="215759" y="431092"/>
                    <a:pt x="216466" y="430957"/>
                  </a:cubicBezTo>
                  <a:cubicBezTo>
                    <a:pt x="217173" y="430823"/>
                    <a:pt x="217476" y="429074"/>
                    <a:pt x="218485" y="429645"/>
                  </a:cubicBezTo>
                  <a:cubicBezTo>
                    <a:pt x="219495" y="430217"/>
                    <a:pt x="221380" y="432101"/>
                    <a:pt x="221380" y="432101"/>
                  </a:cubicBezTo>
                  <a:cubicBezTo>
                    <a:pt x="221380" y="432101"/>
                    <a:pt x="223567" y="433850"/>
                    <a:pt x="224409" y="434119"/>
                  </a:cubicBezTo>
                  <a:cubicBezTo>
                    <a:pt x="225284" y="434422"/>
                    <a:pt x="226596" y="436138"/>
                    <a:pt x="226596" y="436138"/>
                  </a:cubicBezTo>
                  <a:lnTo>
                    <a:pt x="232553" y="438594"/>
                  </a:lnTo>
                  <a:cubicBezTo>
                    <a:pt x="232553" y="438594"/>
                    <a:pt x="235885" y="439031"/>
                    <a:pt x="236154" y="438459"/>
                  </a:cubicBezTo>
                  <a:cubicBezTo>
                    <a:pt x="236457" y="437887"/>
                    <a:pt x="237298" y="436878"/>
                    <a:pt x="237904" y="436710"/>
                  </a:cubicBezTo>
                  <a:cubicBezTo>
                    <a:pt x="238476" y="436575"/>
                    <a:pt x="241674" y="435835"/>
                    <a:pt x="241674" y="435835"/>
                  </a:cubicBezTo>
                  <a:cubicBezTo>
                    <a:pt x="241674" y="435835"/>
                    <a:pt x="243558" y="438022"/>
                    <a:pt x="244736" y="438459"/>
                  </a:cubicBezTo>
                  <a:cubicBezTo>
                    <a:pt x="245880" y="438896"/>
                    <a:pt x="246688" y="441352"/>
                    <a:pt x="247395" y="441487"/>
                  </a:cubicBezTo>
                  <a:cubicBezTo>
                    <a:pt x="248102" y="441621"/>
                    <a:pt x="248909" y="443673"/>
                    <a:pt x="248909" y="443673"/>
                  </a:cubicBezTo>
                  <a:lnTo>
                    <a:pt x="248909" y="447575"/>
                  </a:lnTo>
                  <a:lnTo>
                    <a:pt x="248034" y="451780"/>
                  </a:lnTo>
                  <a:cubicBezTo>
                    <a:pt x="248034" y="451780"/>
                    <a:pt x="247294" y="453967"/>
                    <a:pt x="247159" y="454808"/>
                  </a:cubicBezTo>
                  <a:cubicBezTo>
                    <a:pt x="247025" y="455682"/>
                    <a:pt x="247294" y="457129"/>
                    <a:pt x="247462" y="457566"/>
                  </a:cubicBezTo>
                  <a:cubicBezTo>
                    <a:pt x="247597" y="458004"/>
                    <a:pt x="247597" y="460022"/>
                    <a:pt x="247900" y="460594"/>
                  </a:cubicBezTo>
                  <a:cubicBezTo>
                    <a:pt x="248169" y="461166"/>
                    <a:pt x="248169" y="461300"/>
                    <a:pt x="248169" y="462040"/>
                  </a:cubicBezTo>
                  <a:cubicBezTo>
                    <a:pt x="248169" y="462780"/>
                    <a:pt x="246587" y="464227"/>
                    <a:pt x="246015" y="465102"/>
                  </a:cubicBezTo>
                  <a:cubicBezTo>
                    <a:pt x="245443" y="465976"/>
                    <a:pt x="245578" y="466111"/>
                    <a:pt x="245005" y="467120"/>
                  </a:cubicBezTo>
                  <a:cubicBezTo>
                    <a:pt x="244433" y="468129"/>
                    <a:pt x="243424" y="469441"/>
                    <a:pt x="242986" y="470013"/>
                  </a:cubicBezTo>
                  <a:cubicBezTo>
                    <a:pt x="242549" y="470585"/>
                    <a:pt x="241404" y="474353"/>
                    <a:pt x="241404" y="474353"/>
                  </a:cubicBezTo>
                  <a:lnTo>
                    <a:pt x="241674" y="477985"/>
                  </a:lnTo>
                  <a:lnTo>
                    <a:pt x="242818" y="479735"/>
                  </a:lnTo>
                  <a:cubicBezTo>
                    <a:pt x="242818" y="479735"/>
                    <a:pt x="243693" y="481753"/>
                    <a:pt x="244265" y="481921"/>
                  </a:cubicBezTo>
                  <a:cubicBezTo>
                    <a:pt x="244837" y="482056"/>
                    <a:pt x="245712" y="484377"/>
                    <a:pt x="246150" y="484545"/>
                  </a:cubicBezTo>
                  <a:cubicBezTo>
                    <a:pt x="246587" y="484680"/>
                    <a:pt x="247462" y="485689"/>
                    <a:pt x="248909" y="485420"/>
                  </a:cubicBezTo>
                  <a:cubicBezTo>
                    <a:pt x="250356" y="485117"/>
                    <a:pt x="252106" y="484276"/>
                    <a:pt x="252106" y="484276"/>
                  </a:cubicBezTo>
                  <a:cubicBezTo>
                    <a:pt x="252106" y="484276"/>
                    <a:pt x="253554" y="483973"/>
                    <a:pt x="254126" y="483839"/>
                  </a:cubicBezTo>
                  <a:cubicBezTo>
                    <a:pt x="254698" y="483704"/>
                    <a:pt x="258030" y="483402"/>
                    <a:pt x="258030" y="483402"/>
                  </a:cubicBezTo>
                  <a:cubicBezTo>
                    <a:pt x="258030" y="483402"/>
                    <a:pt x="259780" y="483536"/>
                    <a:pt x="260352" y="483536"/>
                  </a:cubicBezTo>
                  <a:cubicBezTo>
                    <a:pt x="260924" y="483536"/>
                    <a:pt x="262539" y="483402"/>
                    <a:pt x="263112" y="483536"/>
                  </a:cubicBezTo>
                  <a:cubicBezTo>
                    <a:pt x="263684" y="483671"/>
                    <a:pt x="265434" y="484108"/>
                    <a:pt x="265434" y="484108"/>
                  </a:cubicBezTo>
                  <a:cubicBezTo>
                    <a:pt x="265434" y="484108"/>
                    <a:pt x="267251" y="485117"/>
                    <a:pt x="267823" y="485252"/>
                  </a:cubicBezTo>
                  <a:cubicBezTo>
                    <a:pt x="268395" y="485386"/>
                    <a:pt x="269775" y="486429"/>
                    <a:pt x="269775" y="487001"/>
                  </a:cubicBezTo>
                  <a:cubicBezTo>
                    <a:pt x="269775" y="487573"/>
                    <a:pt x="269775" y="491071"/>
                    <a:pt x="269775" y="491071"/>
                  </a:cubicBezTo>
                  <a:lnTo>
                    <a:pt x="267318" y="493695"/>
                  </a:lnTo>
                  <a:lnTo>
                    <a:pt x="265871" y="495882"/>
                  </a:lnTo>
                  <a:lnTo>
                    <a:pt x="264256" y="496588"/>
                  </a:lnTo>
                  <a:lnTo>
                    <a:pt x="262674" y="497328"/>
                  </a:lnTo>
                  <a:lnTo>
                    <a:pt x="260352" y="498909"/>
                  </a:lnTo>
                  <a:lnTo>
                    <a:pt x="258467" y="500928"/>
                  </a:lnTo>
                  <a:cubicBezTo>
                    <a:pt x="258467" y="500928"/>
                    <a:pt x="256885" y="503114"/>
                    <a:pt x="256717" y="503552"/>
                  </a:cubicBezTo>
                  <a:cubicBezTo>
                    <a:pt x="256583" y="503989"/>
                    <a:pt x="254530" y="506579"/>
                    <a:pt x="254530" y="506579"/>
                  </a:cubicBezTo>
                  <a:lnTo>
                    <a:pt x="254092" y="510347"/>
                  </a:lnTo>
                  <a:lnTo>
                    <a:pt x="253520" y="514686"/>
                  </a:lnTo>
                  <a:lnTo>
                    <a:pt x="256414" y="525417"/>
                  </a:lnTo>
                  <a:lnTo>
                    <a:pt x="255707" y="530934"/>
                  </a:lnTo>
                  <a:lnTo>
                    <a:pt x="254698" y="535577"/>
                  </a:lnTo>
                  <a:lnTo>
                    <a:pt x="254126" y="537158"/>
                  </a:lnTo>
                  <a:cubicBezTo>
                    <a:pt x="254126" y="537158"/>
                    <a:pt x="252981" y="539041"/>
                    <a:pt x="252544" y="539176"/>
                  </a:cubicBezTo>
                  <a:cubicBezTo>
                    <a:pt x="252106" y="539311"/>
                    <a:pt x="249650" y="540757"/>
                    <a:pt x="249650" y="540757"/>
                  </a:cubicBezTo>
                  <a:lnTo>
                    <a:pt x="247462" y="541329"/>
                  </a:lnTo>
                  <a:cubicBezTo>
                    <a:pt x="247462" y="541329"/>
                    <a:pt x="246452" y="542338"/>
                    <a:pt x="245578" y="543213"/>
                  </a:cubicBezTo>
                  <a:cubicBezTo>
                    <a:pt x="244703" y="544087"/>
                    <a:pt x="243827" y="545097"/>
                    <a:pt x="243121" y="545534"/>
                  </a:cubicBezTo>
                  <a:cubicBezTo>
                    <a:pt x="242414" y="545971"/>
                    <a:pt x="239486" y="546980"/>
                    <a:pt x="239217" y="547418"/>
                  </a:cubicBezTo>
                  <a:cubicBezTo>
                    <a:pt x="238914" y="547855"/>
                    <a:pt x="238914" y="547855"/>
                    <a:pt x="238914" y="547855"/>
                  </a:cubicBezTo>
                  <a:lnTo>
                    <a:pt x="237029" y="550883"/>
                  </a:lnTo>
                  <a:lnTo>
                    <a:pt x="236726" y="552767"/>
                  </a:lnTo>
                  <a:cubicBezTo>
                    <a:pt x="236726" y="552767"/>
                    <a:pt x="236726" y="554953"/>
                    <a:pt x="236592" y="555357"/>
                  </a:cubicBezTo>
                  <a:cubicBezTo>
                    <a:pt x="236457" y="555794"/>
                    <a:pt x="236726" y="557812"/>
                    <a:pt x="236726" y="557812"/>
                  </a:cubicBezTo>
                  <a:lnTo>
                    <a:pt x="230938" y="559696"/>
                  </a:lnTo>
                  <a:cubicBezTo>
                    <a:pt x="230938" y="559696"/>
                    <a:pt x="231072" y="560268"/>
                    <a:pt x="229625" y="560840"/>
                  </a:cubicBezTo>
                  <a:cubicBezTo>
                    <a:pt x="228178" y="561412"/>
                    <a:pt x="226293" y="562858"/>
                    <a:pt x="225553" y="563598"/>
                  </a:cubicBezTo>
                  <a:cubicBezTo>
                    <a:pt x="224813" y="564339"/>
                    <a:pt x="224813" y="566794"/>
                    <a:pt x="224409" y="566929"/>
                  </a:cubicBezTo>
                  <a:cubicBezTo>
                    <a:pt x="223971" y="567063"/>
                    <a:pt x="223971" y="567063"/>
                    <a:pt x="223971" y="567063"/>
                  </a:cubicBezTo>
                  <a:lnTo>
                    <a:pt x="218889" y="573287"/>
                  </a:lnTo>
                  <a:lnTo>
                    <a:pt x="218587" y="577626"/>
                  </a:lnTo>
                  <a:lnTo>
                    <a:pt x="218721" y="581528"/>
                  </a:lnTo>
                  <a:cubicBezTo>
                    <a:pt x="218721" y="581528"/>
                    <a:pt x="219024" y="583715"/>
                    <a:pt x="219159" y="584556"/>
                  </a:cubicBezTo>
                  <a:cubicBezTo>
                    <a:pt x="219293" y="585430"/>
                    <a:pt x="219293" y="588458"/>
                    <a:pt x="219293" y="588458"/>
                  </a:cubicBezTo>
                  <a:cubicBezTo>
                    <a:pt x="219293" y="588458"/>
                    <a:pt x="218856" y="590342"/>
                    <a:pt x="220168" y="591923"/>
                  </a:cubicBezTo>
                  <a:cubicBezTo>
                    <a:pt x="221481" y="593504"/>
                    <a:pt x="221178" y="594379"/>
                    <a:pt x="223063" y="595253"/>
                  </a:cubicBezTo>
                  <a:cubicBezTo>
                    <a:pt x="224947" y="596128"/>
                    <a:pt x="226967" y="597272"/>
                    <a:pt x="228414" y="597272"/>
                  </a:cubicBezTo>
                  <a:cubicBezTo>
                    <a:pt x="229861" y="597272"/>
                    <a:pt x="232318" y="598718"/>
                    <a:pt x="233630" y="596094"/>
                  </a:cubicBezTo>
                  <a:cubicBezTo>
                    <a:pt x="234943" y="593504"/>
                    <a:pt x="235952" y="592192"/>
                    <a:pt x="235952" y="591620"/>
                  </a:cubicBezTo>
                  <a:cubicBezTo>
                    <a:pt x="235952" y="591048"/>
                    <a:pt x="236525" y="591183"/>
                    <a:pt x="236087" y="589030"/>
                  </a:cubicBezTo>
                  <a:cubicBezTo>
                    <a:pt x="235649" y="586843"/>
                    <a:pt x="234505" y="587146"/>
                    <a:pt x="235952" y="584119"/>
                  </a:cubicBezTo>
                  <a:cubicBezTo>
                    <a:pt x="237399" y="581091"/>
                    <a:pt x="238577" y="581091"/>
                    <a:pt x="238577" y="581091"/>
                  </a:cubicBezTo>
                  <a:lnTo>
                    <a:pt x="241472" y="579342"/>
                  </a:lnTo>
                  <a:cubicBezTo>
                    <a:pt x="241472" y="579342"/>
                    <a:pt x="244097" y="578467"/>
                    <a:pt x="244938" y="577155"/>
                  </a:cubicBezTo>
                  <a:cubicBezTo>
                    <a:pt x="245813" y="575843"/>
                    <a:pt x="245948" y="576146"/>
                    <a:pt x="247092" y="574699"/>
                  </a:cubicBezTo>
                  <a:cubicBezTo>
                    <a:pt x="248236" y="573253"/>
                    <a:pt x="247227" y="574397"/>
                    <a:pt x="248236" y="573522"/>
                  </a:cubicBezTo>
                  <a:cubicBezTo>
                    <a:pt x="249246" y="572647"/>
                    <a:pt x="250424" y="571773"/>
                    <a:pt x="250424" y="571773"/>
                  </a:cubicBezTo>
                  <a:lnTo>
                    <a:pt x="253183" y="571773"/>
                  </a:lnTo>
                  <a:cubicBezTo>
                    <a:pt x="253183" y="571773"/>
                    <a:pt x="256078" y="571033"/>
                    <a:pt x="256650" y="571033"/>
                  </a:cubicBezTo>
                  <a:cubicBezTo>
                    <a:pt x="257222" y="571033"/>
                    <a:pt x="260991" y="571605"/>
                    <a:pt x="260991" y="571605"/>
                  </a:cubicBezTo>
                  <a:lnTo>
                    <a:pt x="264895" y="572748"/>
                  </a:lnTo>
                  <a:lnTo>
                    <a:pt x="266645" y="573623"/>
                  </a:lnTo>
                  <a:lnTo>
                    <a:pt x="267958" y="578131"/>
                  </a:lnTo>
                  <a:lnTo>
                    <a:pt x="267958" y="581327"/>
                  </a:lnTo>
                  <a:lnTo>
                    <a:pt x="268530" y="585094"/>
                  </a:lnTo>
                  <a:lnTo>
                    <a:pt x="267958" y="591048"/>
                  </a:lnTo>
                  <a:cubicBezTo>
                    <a:pt x="267958" y="591048"/>
                    <a:pt x="268092" y="592798"/>
                    <a:pt x="267958" y="593672"/>
                  </a:cubicBezTo>
                  <a:cubicBezTo>
                    <a:pt x="267823" y="594547"/>
                    <a:pt x="267823" y="596868"/>
                    <a:pt x="267823" y="596868"/>
                  </a:cubicBezTo>
                  <a:cubicBezTo>
                    <a:pt x="267823" y="596868"/>
                    <a:pt x="268395" y="598752"/>
                    <a:pt x="267958" y="600198"/>
                  </a:cubicBezTo>
                  <a:cubicBezTo>
                    <a:pt x="267520" y="601645"/>
                    <a:pt x="267520" y="603394"/>
                    <a:pt x="267520" y="604706"/>
                  </a:cubicBezTo>
                  <a:cubicBezTo>
                    <a:pt x="267520" y="606018"/>
                    <a:pt x="267655" y="610189"/>
                    <a:pt x="267386" y="610627"/>
                  </a:cubicBezTo>
                  <a:cubicBezTo>
                    <a:pt x="267083" y="611064"/>
                    <a:pt x="266948" y="612813"/>
                    <a:pt x="266948" y="613385"/>
                  </a:cubicBezTo>
                  <a:cubicBezTo>
                    <a:pt x="266948" y="613957"/>
                    <a:pt x="266511" y="614966"/>
                    <a:pt x="267823" y="615841"/>
                  </a:cubicBezTo>
                  <a:cubicBezTo>
                    <a:pt x="269136" y="616715"/>
                    <a:pt x="270280" y="617422"/>
                    <a:pt x="271593" y="618162"/>
                  </a:cubicBezTo>
                  <a:cubicBezTo>
                    <a:pt x="272905" y="618868"/>
                    <a:pt x="275665" y="619911"/>
                    <a:pt x="275934" y="620348"/>
                  </a:cubicBezTo>
                  <a:cubicBezTo>
                    <a:pt x="276203" y="620786"/>
                    <a:pt x="276506" y="621089"/>
                    <a:pt x="277516" y="621223"/>
                  </a:cubicBezTo>
                  <a:cubicBezTo>
                    <a:pt x="278525" y="621358"/>
                    <a:pt x="278525" y="622670"/>
                    <a:pt x="280982" y="621223"/>
                  </a:cubicBezTo>
                  <a:cubicBezTo>
                    <a:pt x="283439" y="619777"/>
                    <a:pt x="284314" y="618599"/>
                    <a:pt x="286198" y="617455"/>
                  </a:cubicBezTo>
                  <a:cubicBezTo>
                    <a:pt x="288083" y="616312"/>
                    <a:pt x="288521" y="616581"/>
                    <a:pt x="290103" y="615875"/>
                  </a:cubicBezTo>
                  <a:cubicBezTo>
                    <a:pt x="291684" y="615168"/>
                    <a:pt x="291853" y="613419"/>
                    <a:pt x="294007" y="612847"/>
                  </a:cubicBezTo>
                  <a:cubicBezTo>
                    <a:pt x="296194" y="612275"/>
                    <a:pt x="298079" y="611838"/>
                    <a:pt x="298651" y="611266"/>
                  </a:cubicBezTo>
                  <a:cubicBezTo>
                    <a:pt x="299223" y="610694"/>
                    <a:pt x="301276" y="610122"/>
                    <a:pt x="302285" y="610257"/>
                  </a:cubicBezTo>
                  <a:cubicBezTo>
                    <a:pt x="303295" y="610391"/>
                    <a:pt x="305617" y="610257"/>
                    <a:pt x="305617" y="610257"/>
                  </a:cubicBezTo>
                  <a:cubicBezTo>
                    <a:pt x="305617" y="610257"/>
                    <a:pt x="308646" y="610391"/>
                    <a:pt x="309252" y="610391"/>
                  </a:cubicBezTo>
                  <a:cubicBezTo>
                    <a:pt x="309824" y="610391"/>
                    <a:pt x="312449" y="610391"/>
                    <a:pt x="313459" y="610694"/>
                  </a:cubicBezTo>
                  <a:cubicBezTo>
                    <a:pt x="314468" y="610997"/>
                    <a:pt x="316656" y="611703"/>
                    <a:pt x="318103" y="611703"/>
                  </a:cubicBezTo>
                  <a:cubicBezTo>
                    <a:pt x="319550" y="611703"/>
                    <a:pt x="321300" y="611400"/>
                    <a:pt x="322747" y="611131"/>
                  </a:cubicBezTo>
                  <a:cubicBezTo>
                    <a:pt x="324195" y="610829"/>
                    <a:pt x="326517" y="610559"/>
                    <a:pt x="326517" y="610559"/>
                  </a:cubicBezTo>
                  <a:lnTo>
                    <a:pt x="329848" y="611299"/>
                  </a:lnTo>
                  <a:lnTo>
                    <a:pt x="332877" y="609718"/>
                  </a:lnTo>
                  <a:lnTo>
                    <a:pt x="336781" y="607532"/>
                  </a:lnTo>
                  <a:lnTo>
                    <a:pt x="339541" y="606657"/>
                  </a:lnTo>
                  <a:lnTo>
                    <a:pt x="341863" y="606657"/>
                  </a:lnTo>
                  <a:lnTo>
                    <a:pt x="342301" y="604504"/>
                  </a:lnTo>
                  <a:lnTo>
                    <a:pt x="343445" y="603192"/>
                  </a:lnTo>
                  <a:lnTo>
                    <a:pt x="343580" y="601746"/>
                  </a:lnTo>
                  <a:lnTo>
                    <a:pt x="343714" y="599559"/>
                  </a:lnTo>
                  <a:lnTo>
                    <a:pt x="342267" y="596363"/>
                  </a:lnTo>
                  <a:lnTo>
                    <a:pt x="338498" y="593773"/>
                  </a:lnTo>
                  <a:lnTo>
                    <a:pt x="337354" y="591889"/>
                  </a:lnTo>
                  <a:lnTo>
                    <a:pt x="338363" y="589131"/>
                  </a:lnTo>
                  <a:lnTo>
                    <a:pt x="340248" y="587987"/>
                  </a:lnTo>
                  <a:lnTo>
                    <a:pt x="340955" y="585397"/>
                  </a:lnTo>
                  <a:lnTo>
                    <a:pt x="340955" y="583210"/>
                  </a:lnTo>
                  <a:lnTo>
                    <a:pt x="340955" y="580452"/>
                  </a:lnTo>
                  <a:lnTo>
                    <a:pt x="340955" y="577996"/>
                  </a:lnTo>
                  <a:lnTo>
                    <a:pt x="340517" y="572917"/>
                  </a:lnTo>
                  <a:lnTo>
                    <a:pt x="338363" y="571335"/>
                  </a:lnTo>
                  <a:lnTo>
                    <a:pt x="339070" y="569754"/>
                  </a:lnTo>
                  <a:lnTo>
                    <a:pt x="340652" y="568880"/>
                  </a:lnTo>
                  <a:lnTo>
                    <a:pt x="344724" y="567803"/>
                  </a:lnTo>
                  <a:lnTo>
                    <a:pt x="346609" y="566727"/>
                  </a:lnTo>
                  <a:lnTo>
                    <a:pt x="353979" y="566727"/>
                  </a:lnTo>
                  <a:lnTo>
                    <a:pt x="362662" y="566727"/>
                  </a:lnTo>
                  <a:lnTo>
                    <a:pt x="363537" y="568039"/>
                  </a:lnTo>
                  <a:cubicBezTo>
                    <a:pt x="363537" y="568039"/>
                    <a:pt x="368585" y="568173"/>
                    <a:pt x="369191" y="568039"/>
                  </a:cubicBezTo>
                  <a:cubicBezTo>
                    <a:pt x="369763" y="567904"/>
                    <a:pt x="372220" y="566727"/>
                    <a:pt x="372220" y="566727"/>
                  </a:cubicBezTo>
                  <a:lnTo>
                    <a:pt x="373801" y="565146"/>
                  </a:lnTo>
                  <a:lnTo>
                    <a:pt x="379321" y="566727"/>
                  </a:lnTo>
                  <a:lnTo>
                    <a:pt x="383225" y="568476"/>
                  </a:lnTo>
                  <a:lnTo>
                    <a:pt x="390056" y="569788"/>
                  </a:lnTo>
                  <a:lnTo>
                    <a:pt x="396283" y="576011"/>
                  </a:lnTo>
                  <a:lnTo>
                    <a:pt x="400927" y="580654"/>
                  </a:lnTo>
                  <a:lnTo>
                    <a:pt x="404697" y="586440"/>
                  </a:lnTo>
                  <a:lnTo>
                    <a:pt x="409172" y="592831"/>
                  </a:lnTo>
                  <a:lnTo>
                    <a:pt x="414523" y="595455"/>
                  </a:lnTo>
                  <a:cubicBezTo>
                    <a:pt x="414523" y="595455"/>
                    <a:pt x="417855" y="594715"/>
                    <a:pt x="419000" y="594446"/>
                  </a:cubicBezTo>
                  <a:cubicBezTo>
                    <a:pt x="420144" y="594143"/>
                    <a:pt x="422466" y="592428"/>
                    <a:pt x="422466" y="592428"/>
                  </a:cubicBezTo>
                  <a:cubicBezTo>
                    <a:pt x="422466" y="592428"/>
                    <a:pt x="424923" y="592125"/>
                    <a:pt x="425495" y="592125"/>
                  </a:cubicBezTo>
                  <a:cubicBezTo>
                    <a:pt x="426067" y="592125"/>
                    <a:pt x="429567" y="591553"/>
                    <a:pt x="429567" y="591553"/>
                  </a:cubicBezTo>
                  <a:lnTo>
                    <a:pt x="430880" y="589097"/>
                  </a:lnTo>
                  <a:cubicBezTo>
                    <a:pt x="430880" y="589097"/>
                    <a:pt x="431587" y="586204"/>
                    <a:pt x="431183" y="585901"/>
                  </a:cubicBezTo>
                  <a:cubicBezTo>
                    <a:pt x="430745" y="585599"/>
                    <a:pt x="427985" y="581697"/>
                    <a:pt x="427985" y="581697"/>
                  </a:cubicBezTo>
                  <a:cubicBezTo>
                    <a:pt x="427985" y="581697"/>
                    <a:pt x="427548" y="579510"/>
                    <a:pt x="427548" y="579106"/>
                  </a:cubicBezTo>
                  <a:cubicBezTo>
                    <a:pt x="427548" y="578669"/>
                    <a:pt x="427985" y="576920"/>
                    <a:pt x="427985" y="576920"/>
                  </a:cubicBezTo>
                  <a:lnTo>
                    <a:pt x="428726" y="574161"/>
                  </a:lnTo>
                  <a:lnTo>
                    <a:pt x="426706" y="570831"/>
                  </a:lnTo>
                  <a:lnTo>
                    <a:pt x="426135" y="569385"/>
                  </a:lnTo>
                  <a:lnTo>
                    <a:pt x="425259" y="566357"/>
                  </a:lnTo>
                  <a:lnTo>
                    <a:pt x="427144" y="565180"/>
                  </a:lnTo>
                  <a:lnTo>
                    <a:pt x="429029" y="562993"/>
                  </a:lnTo>
                  <a:lnTo>
                    <a:pt x="430173" y="561244"/>
                  </a:lnTo>
                  <a:cubicBezTo>
                    <a:pt x="430173" y="561244"/>
                    <a:pt x="429433" y="559225"/>
                    <a:pt x="428423" y="559057"/>
                  </a:cubicBezTo>
                  <a:cubicBezTo>
                    <a:pt x="427413" y="558922"/>
                    <a:pt x="420447" y="555155"/>
                    <a:pt x="420447" y="555155"/>
                  </a:cubicBezTo>
                  <a:lnTo>
                    <a:pt x="419000" y="553708"/>
                  </a:lnTo>
                  <a:lnTo>
                    <a:pt x="418125" y="550513"/>
                  </a:lnTo>
                  <a:cubicBezTo>
                    <a:pt x="418125" y="550513"/>
                    <a:pt x="420009" y="549503"/>
                    <a:pt x="420447" y="549066"/>
                  </a:cubicBezTo>
                  <a:cubicBezTo>
                    <a:pt x="420884" y="548629"/>
                    <a:pt x="422197" y="547754"/>
                    <a:pt x="423072" y="547754"/>
                  </a:cubicBezTo>
                  <a:cubicBezTo>
                    <a:pt x="423947" y="547754"/>
                    <a:pt x="425529" y="547889"/>
                    <a:pt x="425966" y="547754"/>
                  </a:cubicBezTo>
                  <a:cubicBezTo>
                    <a:pt x="426404" y="547620"/>
                    <a:pt x="429735" y="545736"/>
                    <a:pt x="429735" y="545736"/>
                  </a:cubicBezTo>
                  <a:cubicBezTo>
                    <a:pt x="429735" y="545736"/>
                    <a:pt x="432057" y="544155"/>
                    <a:pt x="432495" y="543986"/>
                  </a:cubicBezTo>
                  <a:cubicBezTo>
                    <a:pt x="432932" y="543852"/>
                    <a:pt x="434077" y="543246"/>
                    <a:pt x="434077" y="543246"/>
                  </a:cubicBezTo>
                  <a:lnTo>
                    <a:pt x="437543" y="541934"/>
                  </a:lnTo>
                  <a:lnTo>
                    <a:pt x="442760" y="536720"/>
                  </a:lnTo>
                  <a:cubicBezTo>
                    <a:pt x="442760" y="536720"/>
                    <a:pt x="444207" y="533525"/>
                    <a:pt x="444207" y="532953"/>
                  </a:cubicBezTo>
                  <a:cubicBezTo>
                    <a:pt x="444207" y="532381"/>
                    <a:pt x="446832" y="526292"/>
                    <a:pt x="446832" y="526292"/>
                  </a:cubicBezTo>
                  <a:cubicBezTo>
                    <a:pt x="446832" y="526292"/>
                    <a:pt x="448851" y="523971"/>
                    <a:pt x="449423" y="523971"/>
                  </a:cubicBezTo>
                  <a:cubicBezTo>
                    <a:pt x="449995" y="523971"/>
                    <a:pt x="453630" y="523836"/>
                    <a:pt x="455649" y="523971"/>
                  </a:cubicBezTo>
                  <a:cubicBezTo>
                    <a:pt x="457669" y="524105"/>
                    <a:pt x="459553" y="523904"/>
                    <a:pt x="459553" y="523904"/>
                  </a:cubicBezTo>
                  <a:cubicBezTo>
                    <a:pt x="459553" y="523904"/>
                    <a:pt x="462010" y="526292"/>
                    <a:pt x="462313" y="526729"/>
                  </a:cubicBezTo>
                  <a:cubicBezTo>
                    <a:pt x="462616" y="527167"/>
                    <a:pt x="464770" y="530632"/>
                    <a:pt x="464770" y="531069"/>
                  </a:cubicBezTo>
                  <a:cubicBezTo>
                    <a:pt x="464770" y="531506"/>
                    <a:pt x="466352" y="534399"/>
                    <a:pt x="466654" y="534837"/>
                  </a:cubicBezTo>
                  <a:cubicBezTo>
                    <a:pt x="466958" y="535274"/>
                    <a:pt x="470424" y="538470"/>
                    <a:pt x="470424" y="538470"/>
                  </a:cubicBezTo>
                  <a:cubicBezTo>
                    <a:pt x="470424" y="538470"/>
                    <a:pt x="475943" y="541060"/>
                    <a:pt x="476381" y="541060"/>
                  </a:cubicBezTo>
                  <a:cubicBezTo>
                    <a:pt x="476818" y="541060"/>
                    <a:pt x="480285" y="541194"/>
                    <a:pt x="481462" y="541497"/>
                  </a:cubicBezTo>
                  <a:cubicBezTo>
                    <a:pt x="482607" y="541800"/>
                    <a:pt x="488261" y="541934"/>
                    <a:pt x="488261" y="541934"/>
                  </a:cubicBezTo>
                  <a:lnTo>
                    <a:pt x="495665" y="543246"/>
                  </a:lnTo>
                  <a:lnTo>
                    <a:pt x="500746" y="541665"/>
                  </a:lnTo>
                  <a:cubicBezTo>
                    <a:pt x="500746" y="541665"/>
                    <a:pt x="504213" y="540656"/>
                    <a:pt x="504819" y="540656"/>
                  </a:cubicBezTo>
                  <a:cubicBezTo>
                    <a:pt x="505391" y="540656"/>
                    <a:pt x="512189" y="540656"/>
                    <a:pt x="512189" y="540656"/>
                  </a:cubicBezTo>
                  <a:cubicBezTo>
                    <a:pt x="512189" y="540656"/>
                    <a:pt x="512627" y="539647"/>
                    <a:pt x="514074" y="539344"/>
                  </a:cubicBezTo>
                  <a:cubicBezTo>
                    <a:pt x="515521" y="539041"/>
                    <a:pt x="517406" y="536889"/>
                    <a:pt x="517843" y="536754"/>
                  </a:cubicBezTo>
                  <a:cubicBezTo>
                    <a:pt x="518281" y="536619"/>
                    <a:pt x="521175" y="534870"/>
                    <a:pt x="521175" y="534870"/>
                  </a:cubicBezTo>
                  <a:cubicBezTo>
                    <a:pt x="521175" y="534870"/>
                    <a:pt x="522050" y="533726"/>
                    <a:pt x="522757" y="533121"/>
                  </a:cubicBezTo>
                  <a:cubicBezTo>
                    <a:pt x="523497" y="532549"/>
                    <a:pt x="525079" y="530228"/>
                    <a:pt x="525079" y="530228"/>
                  </a:cubicBezTo>
                  <a:lnTo>
                    <a:pt x="526088" y="525586"/>
                  </a:lnTo>
                  <a:lnTo>
                    <a:pt x="524607" y="522356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26" name="Freeform 892">
              <a:extLst>
                <a:ext uri="{FF2B5EF4-FFF2-40B4-BE49-F238E27FC236}">
                  <a16:creationId xmlns:a16="http://schemas.microsoft.com/office/drawing/2014/main" id="{33E43021-E417-64C2-0671-124CECB9E008}"/>
                </a:ext>
              </a:extLst>
            </p:cNvPr>
            <p:cNvSpPr/>
            <p:nvPr/>
          </p:nvSpPr>
          <p:spPr>
            <a:xfrm>
              <a:off x="7665171" y="2926925"/>
              <a:ext cx="397556" cy="249384"/>
            </a:xfrm>
            <a:custGeom>
              <a:avLst/>
              <a:gdLst>
                <a:gd name="connsiteX0" fmla="*/ 761719 w 763267"/>
                <a:gd name="connsiteY0" fmla="*/ 373164 h 478792"/>
                <a:gd name="connsiteX1" fmla="*/ 756200 w 763267"/>
                <a:gd name="connsiteY1" fmla="*/ 364755 h 478792"/>
                <a:gd name="connsiteX2" fmla="*/ 755897 w 763267"/>
                <a:gd name="connsiteY2" fmla="*/ 359238 h 478792"/>
                <a:gd name="connsiteX3" fmla="*/ 756200 w 763267"/>
                <a:gd name="connsiteY3" fmla="*/ 353721 h 478792"/>
                <a:gd name="connsiteX4" fmla="*/ 755897 w 763267"/>
                <a:gd name="connsiteY4" fmla="*/ 348809 h 478792"/>
                <a:gd name="connsiteX5" fmla="*/ 754450 w 763267"/>
                <a:gd name="connsiteY5" fmla="*/ 343595 h 478792"/>
                <a:gd name="connsiteX6" fmla="*/ 752128 w 763267"/>
                <a:gd name="connsiteY6" fmla="*/ 337237 h 478792"/>
                <a:gd name="connsiteX7" fmla="*/ 750377 w 763267"/>
                <a:gd name="connsiteY7" fmla="*/ 333167 h 478792"/>
                <a:gd name="connsiteX8" fmla="*/ 745733 w 763267"/>
                <a:gd name="connsiteY8" fmla="*/ 325934 h 478792"/>
                <a:gd name="connsiteX9" fmla="*/ 741661 w 763267"/>
                <a:gd name="connsiteY9" fmla="*/ 323310 h 478792"/>
                <a:gd name="connsiteX10" fmla="*/ 736748 w 763267"/>
                <a:gd name="connsiteY10" fmla="*/ 321864 h 478792"/>
                <a:gd name="connsiteX11" fmla="*/ 733853 w 763267"/>
                <a:gd name="connsiteY11" fmla="*/ 318668 h 478792"/>
                <a:gd name="connsiteX12" fmla="*/ 738498 w 763267"/>
                <a:gd name="connsiteY12" fmla="*/ 314598 h 478792"/>
                <a:gd name="connsiteX13" fmla="*/ 736175 w 763267"/>
                <a:gd name="connsiteY13" fmla="*/ 307365 h 478792"/>
                <a:gd name="connsiteX14" fmla="*/ 736175 w 763267"/>
                <a:gd name="connsiteY14" fmla="*/ 302723 h 478792"/>
                <a:gd name="connsiteX15" fmla="*/ 733416 w 763267"/>
                <a:gd name="connsiteY15" fmla="*/ 299258 h 478792"/>
                <a:gd name="connsiteX16" fmla="*/ 730084 w 763267"/>
                <a:gd name="connsiteY16" fmla="*/ 295188 h 478792"/>
                <a:gd name="connsiteX17" fmla="*/ 725742 w 763267"/>
                <a:gd name="connsiteY17" fmla="*/ 289973 h 478792"/>
                <a:gd name="connsiteX18" fmla="*/ 721098 w 763267"/>
                <a:gd name="connsiteY18" fmla="*/ 283885 h 478792"/>
                <a:gd name="connsiteX19" fmla="*/ 721367 w 763267"/>
                <a:gd name="connsiteY19" fmla="*/ 277224 h 478792"/>
                <a:gd name="connsiteX20" fmla="*/ 725136 w 763267"/>
                <a:gd name="connsiteY20" fmla="*/ 274028 h 478792"/>
                <a:gd name="connsiteX21" fmla="*/ 727156 w 763267"/>
                <a:gd name="connsiteY21" fmla="*/ 268242 h 478792"/>
                <a:gd name="connsiteX22" fmla="*/ 727728 w 763267"/>
                <a:gd name="connsiteY22" fmla="*/ 262725 h 478792"/>
                <a:gd name="connsiteX23" fmla="*/ 726584 w 763267"/>
                <a:gd name="connsiteY23" fmla="*/ 257814 h 478792"/>
                <a:gd name="connsiteX24" fmla="*/ 731497 w 763267"/>
                <a:gd name="connsiteY24" fmla="*/ 257814 h 478792"/>
                <a:gd name="connsiteX25" fmla="*/ 735570 w 763267"/>
                <a:gd name="connsiteY25" fmla="*/ 254921 h 478792"/>
                <a:gd name="connsiteX26" fmla="*/ 740483 w 763267"/>
                <a:gd name="connsiteY26" fmla="*/ 250851 h 478792"/>
                <a:gd name="connsiteX27" fmla="*/ 745127 w 763267"/>
                <a:gd name="connsiteY27" fmla="*/ 247386 h 478792"/>
                <a:gd name="connsiteX28" fmla="*/ 746003 w 763267"/>
                <a:gd name="connsiteY28" fmla="*/ 244493 h 478792"/>
                <a:gd name="connsiteX29" fmla="*/ 742233 w 763267"/>
                <a:gd name="connsiteY29" fmla="*/ 242172 h 478792"/>
                <a:gd name="connsiteX30" fmla="*/ 737017 w 763267"/>
                <a:gd name="connsiteY30" fmla="*/ 242172 h 478792"/>
                <a:gd name="connsiteX31" fmla="*/ 735872 w 763267"/>
                <a:gd name="connsiteY31" fmla="*/ 237092 h 478792"/>
                <a:gd name="connsiteX32" fmla="*/ 731800 w 763267"/>
                <a:gd name="connsiteY32" fmla="*/ 231743 h 478792"/>
                <a:gd name="connsiteX33" fmla="*/ 728334 w 763267"/>
                <a:gd name="connsiteY33" fmla="*/ 231743 h 478792"/>
                <a:gd name="connsiteX34" fmla="*/ 722242 w 763267"/>
                <a:gd name="connsiteY34" fmla="*/ 231743 h 478792"/>
                <a:gd name="connsiteX35" fmla="*/ 717901 w 763267"/>
                <a:gd name="connsiteY35" fmla="*/ 228682 h 478792"/>
                <a:gd name="connsiteX36" fmla="*/ 714131 w 763267"/>
                <a:gd name="connsiteY36" fmla="*/ 223031 h 478792"/>
                <a:gd name="connsiteX37" fmla="*/ 707468 w 763267"/>
                <a:gd name="connsiteY37" fmla="*/ 220407 h 478792"/>
                <a:gd name="connsiteX38" fmla="*/ 704843 w 763267"/>
                <a:gd name="connsiteY38" fmla="*/ 222425 h 478792"/>
                <a:gd name="connsiteX39" fmla="*/ 702218 w 763267"/>
                <a:gd name="connsiteY39" fmla="*/ 226496 h 478792"/>
                <a:gd name="connsiteX40" fmla="*/ 699458 w 763267"/>
                <a:gd name="connsiteY40" fmla="*/ 226496 h 478792"/>
                <a:gd name="connsiteX41" fmla="*/ 692660 w 763267"/>
                <a:gd name="connsiteY41" fmla="*/ 222156 h 478792"/>
                <a:gd name="connsiteX42" fmla="*/ 692660 w 763267"/>
                <a:gd name="connsiteY42" fmla="*/ 217245 h 478792"/>
                <a:gd name="connsiteX43" fmla="*/ 690506 w 763267"/>
                <a:gd name="connsiteY43" fmla="*/ 212905 h 478792"/>
                <a:gd name="connsiteX44" fmla="*/ 684852 w 763267"/>
                <a:gd name="connsiteY44" fmla="*/ 207388 h 478792"/>
                <a:gd name="connsiteX45" fmla="*/ 683102 w 763267"/>
                <a:gd name="connsiteY45" fmla="*/ 207388 h 478792"/>
                <a:gd name="connsiteX46" fmla="*/ 676707 w 763267"/>
                <a:gd name="connsiteY46" fmla="*/ 207388 h 478792"/>
                <a:gd name="connsiteX47" fmla="*/ 675833 w 763267"/>
                <a:gd name="connsiteY47" fmla="*/ 202040 h 478792"/>
                <a:gd name="connsiteX48" fmla="*/ 673510 w 763267"/>
                <a:gd name="connsiteY48" fmla="*/ 202510 h 478792"/>
                <a:gd name="connsiteX49" fmla="*/ 671760 w 763267"/>
                <a:gd name="connsiteY49" fmla="*/ 203049 h 478792"/>
                <a:gd name="connsiteX50" fmla="*/ 669270 w 763267"/>
                <a:gd name="connsiteY50" fmla="*/ 202174 h 478792"/>
                <a:gd name="connsiteX51" fmla="*/ 666544 w 763267"/>
                <a:gd name="connsiteY51" fmla="*/ 203251 h 478792"/>
                <a:gd name="connsiteX52" fmla="*/ 663078 w 763267"/>
                <a:gd name="connsiteY52" fmla="*/ 203150 h 478792"/>
                <a:gd name="connsiteX53" fmla="*/ 661429 w 763267"/>
                <a:gd name="connsiteY53" fmla="*/ 201064 h 478792"/>
                <a:gd name="connsiteX54" fmla="*/ 663078 w 763267"/>
                <a:gd name="connsiteY54" fmla="*/ 197801 h 478792"/>
                <a:gd name="connsiteX55" fmla="*/ 663078 w 763267"/>
                <a:gd name="connsiteY55" fmla="*/ 194336 h 478792"/>
                <a:gd name="connsiteX56" fmla="*/ 663078 w 763267"/>
                <a:gd name="connsiteY56" fmla="*/ 192587 h 478792"/>
                <a:gd name="connsiteX57" fmla="*/ 663078 w 763267"/>
                <a:gd name="connsiteY57" fmla="*/ 187373 h 478792"/>
                <a:gd name="connsiteX58" fmla="*/ 663078 w 763267"/>
                <a:gd name="connsiteY58" fmla="*/ 183908 h 478792"/>
                <a:gd name="connsiteX59" fmla="*/ 658601 w 763267"/>
                <a:gd name="connsiteY59" fmla="*/ 181957 h 478792"/>
                <a:gd name="connsiteX60" fmla="*/ 655808 w 763267"/>
                <a:gd name="connsiteY60" fmla="*/ 180880 h 478792"/>
                <a:gd name="connsiteX61" fmla="*/ 653924 w 763267"/>
                <a:gd name="connsiteY61" fmla="*/ 183134 h 478792"/>
                <a:gd name="connsiteX62" fmla="*/ 650659 w 763267"/>
                <a:gd name="connsiteY62" fmla="*/ 190737 h 478792"/>
                <a:gd name="connsiteX63" fmla="*/ 645880 w 763267"/>
                <a:gd name="connsiteY63" fmla="*/ 194067 h 478792"/>
                <a:gd name="connsiteX64" fmla="*/ 639149 w 763267"/>
                <a:gd name="connsiteY64" fmla="*/ 196388 h 478792"/>
                <a:gd name="connsiteX65" fmla="*/ 633630 w 763267"/>
                <a:gd name="connsiteY65" fmla="*/ 197969 h 478792"/>
                <a:gd name="connsiteX66" fmla="*/ 629490 w 763267"/>
                <a:gd name="connsiteY66" fmla="*/ 197969 h 478792"/>
                <a:gd name="connsiteX67" fmla="*/ 623635 w 763267"/>
                <a:gd name="connsiteY67" fmla="*/ 195076 h 478792"/>
                <a:gd name="connsiteX68" fmla="*/ 619428 w 763267"/>
                <a:gd name="connsiteY68" fmla="*/ 192049 h 478792"/>
                <a:gd name="connsiteX69" fmla="*/ 614144 w 763267"/>
                <a:gd name="connsiteY69" fmla="*/ 189795 h 478792"/>
                <a:gd name="connsiteX70" fmla="*/ 610004 w 763267"/>
                <a:gd name="connsiteY70" fmla="*/ 185085 h 478792"/>
                <a:gd name="connsiteX71" fmla="*/ 604047 w 763267"/>
                <a:gd name="connsiteY71" fmla="*/ 184076 h 478792"/>
                <a:gd name="connsiteX72" fmla="*/ 601018 w 763267"/>
                <a:gd name="connsiteY72" fmla="*/ 182394 h 478792"/>
                <a:gd name="connsiteX73" fmla="*/ 600749 w 763267"/>
                <a:gd name="connsiteY73" fmla="*/ 179871 h 478792"/>
                <a:gd name="connsiteX74" fmla="*/ 601759 w 763267"/>
                <a:gd name="connsiteY74" fmla="*/ 177045 h 478792"/>
                <a:gd name="connsiteX75" fmla="*/ 603206 w 763267"/>
                <a:gd name="connsiteY75" fmla="*/ 174590 h 478792"/>
                <a:gd name="connsiteX76" fmla="*/ 603846 w 763267"/>
                <a:gd name="connsiteY76" fmla="*/ 171764 h 478792"/>
                <a:gd name="connsiteX77" fmla="*/ 603846 w 763267"/>
                <a:gd name="connsiteY77" fmla="*/ 169073 h 478792"/>
                <a:gd name="connsiteX78" fmla="*/ 602634 w 763267"/>
                <a:gd name="connsiteY78" fmla="*/ 165305 h 478792"/>
                <a:gd name="connsiteX79" fmla="*/ 600009 w 763267"/>
                <a:gd name="connsiteY79" fmla="*/ 163926 h 478792"/>
                <a:gd name="connsiteX80" fmla="*/ 598057 w 763267"/>
                <a:gd name="connsiteY80" fmla="*/ 162177 h 478792"/>
                <a:gd name="connsiteX81" fmla="*/ 594725 w 763267"/>
                <a:gd name="connsiteY81" fmla="*/ 163758 h 478792"/>
                <a:gd name="connsiteX82" fmla="*/ 589744 w 763267"/>
                <a:gd name="connsiteY82" fmla="*/ 165339 h 478792"/>
                <a:gd name="connsiteX83" fmla="*/ 582004 w 763267"/>
                <a:gd name="connsiteY83" fmla="*/ 166483 h 478792"/>
                <a:gd name="connsiteX84" fmla="*/ 577157 w 763267"/>
                <a:gd name="connsiteY84" fmla="*/ 165473 h 478792"/>
                <a:gd name="connsiteX85" fmla="*/ 574701 w 763267"/>
                <a:gd name="connsiteY85" fmla="*/ 162278 h 478792"/>
                <a:gd name="connsiteX86" fmla="*/ 571369 w 763267"/>
                <a:gd name="connsiteY86" fmla="*/ 158644 h 478792"/>
                <a:gd name="connsiteX87" fmla="*/ 567397 w 763267"/>
                <a:gd name="connsiteY87" fmla="*/ 155179 h 478792"/>
                <a:gd name="connsiteX88" fmla="*/ 564638 w 763267"/>
                <a:gd name="connsiteY88" fmla="*/ 153161 h 478792"/>
                <a:gd name="connsiteX89" fmla="*/ 562888 w 763267"/>
                <a:gd name="connsiteY89" fmla="*/ 152522 h 478792"/>
                <a:gd name="connsiteX90" fmla="*/ 557099 w 763267"/>
                <a:gd name="connsiteY90" fmla="*/ 152589 h 478792"/>
                <a:gd name="connsiteX91" fmla="*/ 555955 w 763267"/>
                <a:gd name="connsiteY91" fmla="*/ 153397 h 478792"/>
                <a:gd name="connsiteX92" fmla="*/ 554272 w 763267"/>
                <a:gd name="connsiteY92" fmla="*/ 155987 h 478792"/>
                <a:gd name="connsiteX93" fmla="*/ 552522 w 763267"/>
                <a:gd name="connsiteY93" fmla="*/ 158880 h 478792"/>
                <a:gd name="connsiteX94" fmla="*/ 550133 w 763267"/>
                <a:gd name="connsiteY94" fmla="*/ 161134 h 478792"/>
                <a:gd name="connsiteX95" fmla="*/ 548753 w 763267"/>
                <a:gd name="connsiteY95" fmla="*/ 162883 h 478792"/>
                <a:gd name="connsiteX96" fmla="*/ 546733 w 763267"/>
                <a:gd name="connsiteY96" fmla="*/ 165339 h 478792"/>
                <a:gd name="connsiteX97" fmla="*/ 545522 w 763267"/>
                <a:gd name="connsiteY97" fmla="*/ 167592 h 478792"/>
                <a:gd name="connsiteX98" fmla="*/ 544950 w 763267"/>
                <a:gd name="connsiteY98" fmla="*/ 170216 h 478792"/>
                <a:gd name="connsiteX99" fmla="*/ 543705 w 763267"/>
                <a:gd name="connsiteY99" fmla="*/ 171528 h 478792"/>
                <a:gd name="connsiteX100" fmla="*/ 542123 w 763267"/>
                <a:gd name="connsiteY100" fmla="*/ 172538 h 478792"/>
                <a:gd name="connsiteX101" fmla="*/ 539666 w 763267"/>
                <a:gd name="connsiteY101" fmla="*/ 171327 h 478792"/>
                <a:gd name="connsiteX102" fmla="*/ 537478 w 763267"/>
                <a:gd name="connsiteY102" fmla="*/ 170250 h 478792"/>
                <a:gd name="connsiteX103" fmla="*/ 536603 w 763267"/>
                <a:gd name="connsiteY103" fmla="*/ 166550 h 478792"/>
                <a:gd name="connsiteX104" fmla="*/ 539666 w 763267"/>
                <a:gd name="connsiteY104" fmla="*/ 163085 h 478792"/>
                <a:gd name="connsiteX105" fmla="*/ 539666 w 763267"/>
                <a:gd name="connsiteY105" fmla="*/ 159620 h 478792"/>
                <a:gd name="connsiteX106" fmla="*/ 539666 w 763267"/>
                <a:gd name="connsiteY106" fmla="*/ 157232 h 478792"/>
                <a:gd name="connsiteX107" fmla="*/ 536738 w 763267"/>
                <a:gd name="connsiteY107" fmla="*/ 158745 h 478792"/>
                <a:gd name="connsiteX108" fmla="*/ 534685 w 763267"/>
                <a:gd name="connsiteY108" fmla="*/ 158106 h 478792"/>
                <a:gd name="connsiteX109" fmla="*/ 533474 w 763267"/>
                <a:gd name="connsiteY109" fmla="*/ 156895 h 478792"/>
                <a:gd name="connsiteX110" fmla="*/ 530647 w 763267"/>
                <a:gd name="connsiteY110" fmla="*/ 153195 h 478792"/>
                <a:gd name="connsiteX111" fmla="*/ 527382 w 763267"/>
                <a:gd name="connsiteY111" fmla="*/ 151143 h 478792"/>
                <a:gd name="connsiteX112" fmla="*/ 524252 w 763267"/>
                <a:gd name="connsiteY112" fmla="*/ 149730 h 478792"/>
                <a:gd name="connsiteX113" fmla="*/ 520551 w 763267"/>
                <a:gd name="connsiteY113" fmla="*/ 144415 h 478792"/>
                <a:gd name="connsiteX114" fmla="*/ 521291 w 763267"/>
                <a:gd name="connsiteY114" fmla="*/ 141926 h 478792"/>
                <a:gd name="connsiteX115" fmla="*/ 524219 w 763267"/>
                <a:gd name="connsiteY115" fmla="*/ 137250 h 478792"/>
                <a:gd name="connsiteX116" fmla="*/ 520315 w 763267"/>
                <a:gd name="connsiteY116" fmla="*/ 135299 h 478792"/>
                <a:gd name="connsiteX117" fmla="*/ 515974 w 763267"/>
                <a:gd name="connsiteY117" fmla="*/ 130623 h 478792"/>
                <a:gd name="connsiteX118" fmla="*/ 515872 w 763267"/>
                <a:gd name="connsiteY118" fmla="*/ 127360 h 478792"/>
                <a:gd name="connsiteX119" fmla="*/ 517387 w 763267"/>
                <a:gd name="connsiteY119" fmla="*/ 126283 h 478792"/>
                <a:gd name="connsiteX120" fmla="*/ 519776 w 763267"/>
                <a:gd name="connsiteY120" fmla="*/ 125207 h 478792"/>
                <a:gd name="connsiteX121" fmla="*/ 522065 w 763267"/>
                <a:gd name="connsiteY121" fmla="*/ 123155 h 478792"/>
                <a:gd name="connsiteX122" fmla="*/ 522704 w 763267"/>
                <a:gd name="connsiteY122" fmla="*/ 118479 h 478792"/>
                <a:gd name="connsiteX123" fmla="*/ 517925 w 763267"/>
                <a:gd name="connsiteY123" fmla="*/ 114577 h 478792"/>
                <a:gd name="connsiteX124" fmla="*/ 516041 w 763267"/>
                <a:gd name="connsiteY124" fmla="*/ 113063 h 478792"/>
                <a:gd name="connsiteX125" fmla="*/ 515334 w 763267"/>
                <a:gd name="connsiteY125" fmla="*/ 111011 h 478792"/>
                <a:gd name="connsiteX126" fmla="*/ 515334 w 763267"/>
                <a:gd name="connsiteY126" fmla="*/ 107546 h 478792"/>
                <a:gd name="connsiteX127" fmla="*/ 515603 w 763267"/>
                <a:gd name="connsiteY127" fmla="*/ 103846 h 478792"/>
                <a:gd name="connsiteX128" fmla="*/ 515974 w 763267"/>
                <a:gd name="connsiteY128" fmla="*/ 97992 h 478792"/>
                <a:gd name="connsiteX129" fmla="*/ 515974 w 763267"/>
                <a:gd name="connsiteY129" fmla="*/ 94527 h 478792"/>
                <a:gd name="connsiteX130" fmla="*/ 511867 w 763267"/>
                <a:gd name="connsiteY130" fmla="*/ 92341 h 478792"/>
                <a:gd name="connsiteX131" fmla="*/ 508603 w 763267"/>
                <a:gd name="connsiteY131" fmla="*/ 93215 h 478792"/>
                <a:gd name="connsiteX132" fmla="*/ 505978 w 763267"/>
                <a:gd name="connsiteY132" fmla="*/ 94965 h 478792"/>
                <a:gd name="connsiteX133" fmla="*/ 504228 w 763267"/>
                <a:gd name="connsiteY133" fmla="*/ 96916 h 478792"/>
                <a:gd name="connsiteX134" fmla="*/ 502916 w 763267"/>
                <a:gd name="connsiteY134" fmla="*/ 99741 h 478792"/>
                <a:gd name="connsiteX135" fmla="*/ 500324 w 763267"/>
                <a:gd name="connsiteY135" fmla="*/ 101928 h 478792"/>
                <a:gd name="connsiteX136" fmla="*/ 498372 w 763267"/>
                <a:gd name="connsiteY136" fmla="*/ 102803 h 478792"/>
                <a:gd name="connsiteX137" fmla="*/ 495343 w 763267"/>
                <a:gd name="connsiteY137" fmla="*/ 103677 h 478792"/>
                <a:gd name="connsiteX138" fmla="*/ 493391 w 763267"/>
                <a:gd name="connsiteY138" fmla="*/ 104754 h 478792"/>
                <a:gd name="connsiteX139" fmla="*/ 491641 w 763267"/>
                <a:gd name="connsiteY139" fmla="*/ 106267 h 478792"/>
                <a:gd name="connsiteX140" fmla="*/ 488814 w 763267"/>
                <a:gd name="connsiteY140" fmla="*/ 108656 h 478792"/>
                <a:gd name="connsiteX141" fmla="*/ 487501 w 763267"/>
                <a:gd name="connsiteY141" fmla="*/ 109531 h 478792"/>
                <a:gd name="connsiteX142" fmla="*/ 484675 w 763267"/>
                <a:gd name="connsiteY142" fmla="*/ 108891 h 478792"/>
                <a:gd name="connsiteX143" fmla="*/ 482049 w 763267"/>
                <a:gd name="connsiteY143" fmla="*/ 108252 h 478792"/>
                <a:gd name="connsiteX144" fmla="*/ 479223 w 763267"/>
                <a:gd name="connsiteY144" fmla="*/ 105225 h 478792"/>
                <a:gd name="connsiteX145" fmla="*/ 477035 w 763267"/>
                <a:gd name="connsiteY145" fmla="*/ 104148 h 478792"/>
                <a:gd name="connsiteX146" fmla="*/ 473535 w 763267"/>
                <a:gd name="connsiteY146" fmla="*/ 100683 h 478792"/>
                <a:gd name="connsiteX147" fmla="*/ 473535 w 763267"/>
                <a:gd name="connsiteY147" fmla="*/ 98732 h 478792"/>
                <a:gd name="connsiteX148" fmla="*/ 474747 w 763267"/>
                <a:gd name="connsiteY148" fmla="*/ 94393 h 478792"/>
                <a:gd name="connsiteX149" fmla="*/ 473535 w 763267"/>
                <a:gd name="connsiteY149" fmla="*/ 92442 h 478792"/>
                <a:gd name="connsiteX150" fmla="*/ 468319 w 763267"/>
                <a:gd name="connsiteY150" fmla="*/ 92004 h 478792"/>
                <a:gd name="connsiteX151" fmla="*/ 468319 w 763267"/>
                <a:gd name="connsiteY151" fmla="*/ 93955 h 478792"/>
                <a:gd name="connsiteX152" fmla="*/ 465492 w 763267"/>
                <a:gd name="connsiteY152" fmla="*/ 95705 h 478792"/>
                <a:gd name="connsiteX153" fmla="*/ 460713 w 763267"/>
                <a:gd name="connsiteY153" fmla="*/ 96781 h 478792"/>
                <a:gd name="connsiteX154" fmla="*/ 457011 w 763267"/>
                <a:gd name="connsiteY154" fmla="*/ 96344 h 478792"/>
                <a:gd name="connsiteX155" fmla="*/ 454621 w 763267"/>
                <a:gd name="connsiteY155" fmla="*/ 96344 h 478792"/>
                <a:gd name="connsiteX156" fmla="*/ 450044 w 763267"/>
                <a:gd name="connsiteY156" fmla="*/ 97319 h 478792"/>
                <a:gd name="connsiteX157" fmla="*/ 445501 w 763267"/>
                <a:gd name="connsiteY157" fmla="*/ 98093 h 478792"/>
                <a:gd name="connsiteX158" fmla="*/ 441799 w 763267"/>
                <a:gd name="connsiteY158" fmla="*/ 98295 h 478792"/>
                <a:gd name="connsiteX159" fmla="*/ 436582 w 763267"/>
                <a:gd name="connsiteY159" fmla="*/ 98295 h 478792"/>
                <a:gd name="connsiteX160" fmla="*/ 433318 w 763267"/>
                <a:gd name="connsiteY160" fmla="*/ 99607 h 478792"/>
                <a:gd name="connsiteX161" fmla="*/ 425039 w 763267"/>
                <a:gd name="connsiteY161" fmla="*/ 101793 h 478792"/>
                <a:gd name="connsiteX162" fmla="*/ 420024 w 763267"/>
                <a:gd name="connsiteY162" fmla="*/ 101356 h 478792"/>
                <a:gd name="connsiteX163" fmla="*/ 409154 w 763267"/>
                <a:gd name="connsiteY163" fmla="*/ 100044 h 478792"/>
                <a:gd name="connsiteX164" fmla="*/ 406562 w 763267"/>
                <a:gd name="connsiteY164" fmla="*/ 101558 h 478792"/>
                <a:gd name="connsiteX165" fmla="*/ 399832 w 763267"/>
                <a:gd name="connsiteY165" fmla="*/ 101558 h 478792"/>
                <a:gd name="connsiteX166" fmla="*/ 393740 w 763267"/>
                <a:gd name="connsiteY166" fmla="*/ 102769 h 478792"/>
                <a:gd name="connsiteX167" fmla="*/ 390038 w 763267"/>
                <a:gd name="connsiteY167" fmla="*/ 102231 h 478792"/>
                <a:gd name="connsiteX168" fmla="*/ 388288 w 763267"/>
                <a:gd name="connsiteY168" fmla="*/ 102668 h 478792"/>
                <a:gd name="connsiteX169" fmla="*/ 385225 w 763267"/>
                <a:gd name="connsiteY169" fmla="*/ 103980 h 478792"/>
                <a:gd name="connsiteX170" fmla="*/ 383273 w 763267"/>
                <a:gd name="connsiteY170" fmla="*/ 104619 h 478792"/>
                <a:gd name="connsiteX171" fmla="*/ 380446 w 763267"/>
                <a:gd name="connsiteY171" fmla="*/ 105696 h 478792"/>
                <a:gd name="connsiteX172" fmla="*/ 376980 w 763267"/>
                <a:gd name="connsiteY172" fmla="*/ 105057 h 478792"/>
                <a:gd name="connsiteX173" fmla="*/ 375028 w 763267"/>
                <a:gd name="connsiteY173" fmla="*/ 105057 h 478792"/>
                <a:gd name="connsiteX174" fmla="*/ 372638 w 763267"/>
                <a:gd name="connsiteY174" fmla="*/ 103005 h 478792"/>
                <a:gd name="connsiteX175" fmla="*/ 369812 w 763267"/>
                <a:gd name="connsiteY175" fmla="*/ 100515 h 478792"/>
                <a:gd name="connsiteX176" fmla="*/ 367860 w 763267"/>
                <a:gd name="connsiteY176" fmla="*/ 99876 h 478792"/>
                <a:gd name="connsiteX177" fmla="*/ 365032 w 763267"/>
                <a:gd name="connsiteY177" fmla="*/ 99641 h 478792"/>
                <a:gd name="connsiteX178" fmla="*/ 360893 w 763267"/>
                <a:gd name="connsiteY178" fmla="*/ 98766 h 478792"/>
                <a:gd name="connsiteX179" fmla="*/ 357426 w 763267"/>
                <a:gd name="connsiteY179" fmla="*/ 97017 h 478792"/>
                <a:gd name="connsiteX180" fmla="*/ 354600 w 763267"/>
                <a:gd name="connsiteY180" fmla="*/ 96142 h 478792"/>
                <a:gd name="connsiteX181" fmla="*/ 352849 w 763267"/>
                <a:gd name="connsiteY181" fmla="*/ 93316 h 478792"/>
                <a:gd name="connsiteX182" fmla="*/ 350898 w 763267"/>
                <a:gd name="connsiteY182" fmla="*/ 92004 h 478792"/>
                <a:gd name="connsiteX183" fmla="*/ 348306 w 763267"/>
                <a:gd name="connsiteY183" fmla="*/ 91365 h 478792"/>
                <a:gd name="connsiteX184" fmla="*/ 343292 w 763267"/>
                <a:gd name="connsiteY184" fmla="*/ 90289 h 478792"/>
                <a:gd name="connsiteX185" fmla="*/ 341104 w 763267"/>
                <a:gd name="connsiteY185" fmla="*/ 89650 h 478792"/>
                <a:gd name="connsiteX186" fmla="*/ 339791 w 763267"/>
                <a:gd name="connsiteY186" fmla="*/ 89010 h 478792"/>
                <a:gd name="connsiteX187" fmla="*/ 335013 w 763267"/>
                <a:gd name="connsiteY187" fmla="*/ 87698 h 478792"/>
                <a:gd name="connsiteX188" fmla="*/ 333061 w 763267"/>
                <a:gd name="connsiteY188" fmla="*/ 86824 h 478792"/>
                <a:gd name="connsiteX189" fmla="*/ 330234 w 763267"/>
                <a:gd name="connsiteY189" fmla="*/ 85949 h 478792"/>
                <a:gd name="connsiteX190" fmla="*/ 328046 w 763267"/>
                <a:gd name="connsiteY190" fmla="*/ 84873 h 478792"/>
                <a:gd name="connsiteX191" fmla="*/ 326734 w 763267"/>
                <a:gd name="connsiteY191" fmla="*/ 82922 h 478792"/>
                <a:gd name="connsiteX192" fmla="*/ 324984 w 763267"/>
                <a:gd name="connsiteY192" fmla="*/ 78347 h 478792"/>
                <a:gd name="connsiteX193" fmla="*/ 323032 w 763267"/>
                <a:gd name="connsiteY193" fmla="*/ 74646 h 478792"/>
                <a:gd name="connsiteX194" fmla="*/ 321719 w 763267"/>
                <a:gd name="connsiteY194" fmla="*/ 74209 h 478792"/>
                <a:gd name="connsiteX195" fmla="*/ 318017 w 763267"/>
                <a:gd name="connsiteY195" fmla="*/ 74646 h 478792"/>
                <a:gd name="connsiteX196" fmla="*/ 316065 w 763267"/>
                <a:gd name="connsiteY196" fmla="*/ 76160 h 478792"/>
                <a:gd name="connsiteX197" fmla="*/ 312363 w 763267"/>
                <a:gd name="connsiteY197" fmla="*/ 75521 h 478792"/>
                <a:gd name="connsiteX198" fmla="*/ 305834 w 763267"/>
                <a:gd name="connsiteY198" fmla="*/ 74007 h 478792"/>
                <a:gd name="connsiteX199" fmla="*/ 301493 w 763267"/>
                <a:gd name="connsiteY199" fmla="*/ 72695 h 478792"/>
                <a:gd name="connsiteX200" fmla="*/ 299103 w 763267"/>
                <a:gd name="connsiteY200" fmla="*/ 70307 h 478792"/>
                <a:gd name="connsiteX201" fmla="*/ 297791 w 763267"/>
                <a:gd name="connsiteY201" fmla="*/ 67918 h 478792"/>
                <a:gd name="connsiteX202" fmla="*/ 296478 w 763267"/>
                <a:gd name="connsiteY202" fmla="*/ 65294 h 478792"/>
                <a:gd name="connsiteX203" fmla="*/ 294728 w 763267"/>
                <a:gd name="connsiteY203" fmla="*/ 59879 h 478792"/>
                <a:gd name="connsiteX204" fmla="*/ 292339 w 763267"/>
                <a:gd name="connsiteY204" fmla="*/ 56178 h 478792"/>
                <a:gd name="connsiteX205" fmla="*/ 286483 w 763267"/>
                <a:gd name="connsiteY205" fmla="*/ 51401 h 478792"/>
                <a:gd name="connsiteX206" fmla="*/ 278641 w 763267"/>
                <a:gd name="connsiteY206" fmla="*/ 49652 h 478792"/>
                <a:gd name="connsiteX207" fmla="*/ 276454 w 763267"/>
                <a:gd name="connsiteY207" fmla="*/ 45952 h 478792"/>
                <a:gd name="connsiteX208" fmla="*/ 275713 w 763267"/>
                <a:gd name="connsiteY208" fmla="*/ 41377 h 478792"/>
                <a:gd name="connsiteX209" fmla="*/ 276454 w 763267"/>
                <a:gd name="connsiteY209" fmla="*/ 36701 h 478792"/>
                <a:gd name="connsiteX210" fmla="*/ 274939 w 763267"/>
                <a:gd name="connsiteY210" fmla="*/ 32462 h 478792"/>
                <a:gd name="connsiteX211" fmla="*/ 270261 w 763267"/>
                <a:gd name="connsiteY211" fmla="*/ 24624 h 478792"/>
                <a:gd name="connsiteX212" fmla="*/ 267872 w 763267"/>
                <a:gd name="connsiteY212" fmla="*/ 18973 h 478792"/>
                <a:gd name="connsiteX213" fmla="*/ 265583 w 763267"/>
                <a:gd name="connsiteY213" fmla="*/ 16483 h 478792"/>
                <a:gd name="connsiteX214" fmla="*/ 262655 w 763267"/>
                <a:gd name="connsiteY214" fmla="*/ 11807 h 478792"/>
                <a:gd name="connsiteX215" fmla="*/ 259626 w 763267"/>
                <a:gd name="connsiteY215" fmla="*/ 5954 h 478792"/>
                <a:gd name="connsiteX216" fmla="*/ 257876 w 763267"/>
                <a:gd name="connsiteY216" fmla="*/ 2590 h 478792"/>
                <a:gd name="connsiteX217" fmla="*/ 256900 w 763267"/>
                <a:gd name="connsiteY217" fmla="*/ 538 h 478792"/>
                <a:gd name="connsiteX218" fmla="*/ 254948 w 763267"/>
                <a:gd name="connsiteY218" fmla="*/ 0 h 478792"/>
                <a:gd name="connsiteX219" fmla="*/ 249833 w 763267"/>
                <a:gd name="connsiteY219" fmla="*/ 3902 h 478792"/>
                <a:gd name="connsiteX220" fmla="*/ 246467 w 763267"/>
                <a:gd name="connsiteY220" fmla="*/ 6089 h 478792"/>
                <a:gd name="connsiteX221" fmla="*/ 241890 w 763267"/>
                <a:gd name="connsiteY221" fmla="*/ 7838 h 478792"/>
                <a:gd name="connsiteX222" fmla="*/ 239501 w 763267"/>
                <a:gd name="connsiteY222" fmla="*/ 10125 h 478792"/>
                <a:gd name="connsiteX223" fmla="*/ 237650 w 763267"/>
                <a:gd name="connsiteY223" fmla="*/ 12514 h 478792"/>
                <a:gd name="connsiteX224" fmla="*/ 235261 w 763267"/>
                <a:gd name="connsiteY224" fmla="*/ 14364 h 478792"/>
                <a:gd name="connsiteX225" fmla="*/ 232097 w 763267"/>
                <a:gd name="connsiteY225" fmla="*/ 16551 h 478792"/>
                <a:gd name="connsiteX226" fmla="*/ 228832 w 763267"/>
                <a:gd name="connsiteY226" fmla="*/ 16988 h 478792"/>
                <a:gd name="connsiteX227" fmla="*/ 226746 w 763267"/>
                <a:gd name="connsiteY227" fmla="*/ 16887 h 478792"/>
                <a:gd name="connsiteX228" fmla="*/ 223044 w 763267"/>
                <a:gd name="connsiteY228" fmla="*/ 15911 h 478792"/>
                <a:gd name="connsiteX229" fmla="*/ 219577 w 763267"/>
                <a:gd name="connsiteY229" fmla="*/ 13422 h 478792"/>
                <a:gd name="connsiteX230" fmla="*/ 216751 w 763267"/>
                <a:gd name="connsiteY230" fmla="*/ 10596 h 478792"/>
                <a:gd name="connsiteX231" fmla="*/ 216212 w 763267"/>
                <a:gd name="connsiteY231" fmla="*/ 8107 h 478792"/>
                <a:gd name="connsiteX232" fmla="*/ 216751 w 763267"/>
                <a:gd name="connsiteY232" fmla="*/ 4945 h 478792"/>
                <a:gd name="connsiteX233" fmla="*/ 215976 w 763267"/>
                <a:gd name="connsiteY233" fmla="*/ 3095 h 478792"/>
                <a:gd name="connsiteX234" fmla="*/ 213923 w 763267"/>
                <a:gd name="connsiteY234" fmla="*/ 2119 h 478792"/>
                <a:gd name="connsiteX235" fmla="*/ 211299 w 763267"/>
                <a:gd name="connsiteY235" fmla="*/ 2321 h 478792"/>
                <a:gd name="connsiteX236" fmla="*/ 208471 w 763267"/>
                <a:gd name="connsiteY236" fmla="*/ 5920 h 478792"/>
                <a:gd name="connsiteX237" fmla="*/ 205745 w 763267"/>
                <a:gd name="connsiteY237" fmla="*/ 7973 h 478792"/>
                <a:gd name="connsiteX238" fmla="*/ 199452 w 763267"/>
                <a:gd name="connsiteY238" fmla="*/ 10596 h 478792"/>
                <a:gd name="connsiteX239" fmla="*/ 189255 w 763267"/>
                <a:gd name="connsiteY239" fmla="*/ 10798 h 478792"/>
                <a:gd name="connsiteX240" fmla="*/ 186630 w 763267"/>
                <a:gd name="connsiteY240" fmla="*/ 12312 h 478792"/>
                <a:gd name="connsiteX241" fmla="*/ 178788 w 763267"/>
                <a:gd name="connsiteY241" fmla="*/ 13725 h 478792"/>
                <a:gd name="connsiteX242" fmla="*/ 168927 w 763267"/>
                <a:gd name="connsiteY242" fmla="*/ 12110 h 478792"/>
                <a:gd name="connsiteX243" fmla="*/ 159470 w 763267"/>
                <a:gd name="connsiteY243" fmla="*/ 9722 h 478792"/>
                <a:gd name="connsiteX244" fmla="*/ 152201 w 763267"/>
                <a:gd name="connsiteY244" fmla="*/ 7771 h 478792"/>
                <a:gd name="connsiteX245" fmla="*/ 144797 w 763267"/>
                <a:gd name="connsiteY245" fmla="*/ 5281 h 478792"/>
                <a:gd name="connsiteX246" fmla="*/ 139378 w 763267"/>
                <a:gd name="connsiteY246" fmla="*/ 2792 h 478792"/>
                <a:gd name="connsiteX247" fmla="*/ 135138 w 763267"/>
                <a:gd name="connsiteY247" fmla="*/ 841 h 478792"/>
                <a:gd name="connsiteX248" fmla="*/ 131234 w 763267"/>
                <a:gd name="connsiteY248" fmla="*/ 841 h 478792"/>
                <a:gd name="connsiteX249" fmla="*/ 126253 w 763267"/>
                <a:gd name="connsiteY249" fmla="*/ 2960 h 478792"/>
                <a:gd name="connsiteX250" fmla="*/ 121676 w 763267"/>
                <a:gd name="connsiteY250" fmla="*/ 4306 h 478792"/>
                <a:gd name="connsiteX251" fmla="*/ 117335 w 763267"/>
                <a:gd name="connsiteY251" fmla="*/ 4306 h 478792"/>
                <a:gd name="connsiteX252" fmla="*/ 112758 w 763267"/>
                <a:gd name="connsiteY252" fmla="*/ 6257 h 478792"/>
                <a:gd name="connsiteX253" fmla="*/ 111681 w 763267"/>
                <a:gd name="connsiteY253" fmla="*/ 7333 h 478792"/>
                <a:gd name="connsiteX254" fmla="*/ 108955 w 763267"/>
                <a:gd name="connsiteY254" fmla="*/ 10697 h 478792"/>
                <a:gd name="connsiteX255" fmla="*/ 108181 w 763267"/>
                <a:gd name="connsiteY255" fmla="*/ 13624 h 478792"/>
                <a:gd name="connsiteX256" fmla="*/ 109056 w 763267"/>
                <a:gd name="connsiteY256" fmla="*/ 15575 h 478792"/>
                <a:gd name="connsiteX257" fmla="*/ 117739 w 763267"/>
                <a:gd name="connsiteY257" fmla="*/ 19645 h 478792"/>
                <a:gd name="connsiteX258" fmla="*/ 121508 w 763267"/>
                <a:gd name="connsiteY258" fmla="*/ 21126 h 478792"/>
                <a:gd name="connsiteX259" fmla="*/ 126422 w 763267"/>
                <a:gd name="connsiteY259" fmla="*/ 21395 h 478792"/>
                <a:gd name="connsiteX260" fmla="*/ 131335 w 763267"/>
                <a:gd name="connsiteY260" fmla="*/ 21395 h 478792"/>
                <a:gd name="connsiteX261" fmla="*/ 137427 w 763267"/>
                <a:gd name="connsiteY261" fmla="*/ 24288 h 478792"/>
                <a:gd name="connsiteX262" fmla="*/ 137999 w 763267"/>
                <a:gd name="connsiteY262" fmla="*/ 28930 h 478792"/>
                <a:gd name="connsiteX263" fmla="*/ 138571 w 763267"/>
                <a:gd name="connsiteY263" fmla="*/ 33841 h 478792"/>
                <a:gd name="connsiteX264" fmla="*/ 136383 w 763267"/>
                <a:gd name="connsiteY264" fmla="*/ 37912 h 478792"/>
                <a:gd name="connsiteX265" fmla="*/ 136080 w 763267"/>
                <a:gd name="connsiteY265" fmla="*/ 42689 h 478792"/>
                <a:gd name="connsiteX266" fmla="*/ 141028 w 763267"/>
                <a:gd name="connsiteY266" fmla="*/ 47768 h 478792"/>
                <a:gd name="connsiteX267" fmla="*/ 145100 w 763267"/>
                <a:gd name="connsiteY267" fmla="*/ 47465 h 478792"/>
                <a:gd name="connsiteX268" fmla="*/ 151898 w 763267"/>
                <a:gd name="connsiteY268" fmla="*/ 46759 h 478792"/>
                <a:gd name="connsiteX269" fmla="*/ 160446 w 763267"/>
                <a:gd name="connsiteY269" fmla="*/ 48205 h 478792"/>
                <a:gd name="connsiteX270" fmla="*/ 165663 w 763267"/>
                <a:gd name="connsiteY270" fmla="*/ 51536 h 478792"/>
                <a:gd name="connsiteX271" fmla="*/ 173336 w 763267"/>
                <a:gd name="connsiteY271" fmla="*/ 57019 h 478792"/>
                <a:gd name="connsiteX272" fmla="*/ 174783 w 763267"/>
                <a:gd name="connsiteY272" fmla="*/ 62670 h 478792"/>
                <a:gd name="connsiteX273" fmla="*/ 173336 w 763267"/>
                <a:gd name="connsiteY273" fmla="*/ 67447 h 478792"/>
                <a:gd name="connsiteX274" fmla="*/ 170442 w 763267"/>
                <a:gd name="connsiteY274" fmla="*/ 72359 h 478792"/>
                <a:gd name="connsiteX275" fmla="*/ 164350 w 763267"/>
                <a:gd name="connsiteY275" fmla="*/ 75554 h 478792"/>
                <a:gd name="connsiteX276" fmla="*/ 155802 w 763267"/>
                <a:gd name="connsiteY276" fmla="*/ 77304 h 478792"/>
                <a:gd name="connsiteX277" fmla="*/ 151158 w 763267"/>
                <a:gd name="connsiteY277" fmla="*/ 77304 h 478792"/>
                <a:gd name="connsiteX278" fmla="*/ 142744 w 763267"/>
                <a:gd name="connsiteY278" fmla="*/ 80197 h 478792"/>
                <a:gd name="connsiteX279" fmla="*/ 133624 w 763267"/>
                <a:gd name="connsiteY279" fmla="*/ 80634 h 478792"/>
                <a:gd name="connsiteX280" fmla="*/ 128138 w 763267"/>
                <a:gd name="connsiteY280" fmla="*/ 77304 h 478792"/>
                <a:gd name="connsiteX281" fmla="*/ 121744 w 763267"/>
                <a:gd name="connsiteY281" fmla="*/ 77304 h 478792"/>
                <a:gd name="connsiteX282" fmla="*/ 119421 w 763267"/>
                <a:gd name="connsiteY282" fmla="*/ 80129 h 478792"/>
                <a:gd name="connsiteX283" fmla="*/ 116393 w 763267"/>
                <a:gd name="connsiteY283" fmla="*/ 81206 h 478792"/>
                <a:gd name="connsiteX284" fmla="*/ 115518 w 763267"/>
                <a:gd name="connsiteY284" fmla="*/ 91197 h 478792"/>
                <a:gd name="connsiteX285" fmla="*/ 114811 w 763267"/>
                <a:gd name="connsiteY285" fmla="*/ 99001 h 478792"/>
                <a:gd name="connsiteX286" fmla="*/ 111613 w 763267"/>
                <a:gd name="connsiteY286" fmla="*/ 102769 h 478792"/>
                <a:gd name="connsiteX287" fmla="*/ 107710 w 763267"/>
                <a:gd name="connsiteY287" fmla="*/ 109732 h 478792"/>
                <a:gd name="connsiteX288" fmla="*/ 108282 w 763267"/>
                <a:gd name="connsiteY288" fmla="*/ 114375 h 478792"/>
                <a:gd name="connsiteX289" fmla="*/ 113936 w 763267"/>
                <a:gd name="connsiteY289" fmla="*/ 121170 h 478792"/>
                <a:gd name="connsiteX290" fmla="*/ 118277 w 763267"/>
                <a:gd name="connsiteY290" fmla="*/ 125947 h 478792"/>
                <a:gd name="connsiteX291" fmla="*/ 120465 w 763267"/>
                <a:gd name="connsiteY291" fmla="*/ 131295 h 478792"/>
                <a:gd name="connsiteX292" fmla="*/ 120599 w 763267"/>
                <a:gd name="connsiteY292" fmla="*/ 139537 h 478792"/>
                <a:gd name="connsiteX293" fmla="*/ 120162 w 763267"/>
                <a:gd name="connsiteY293" fmla="*/ 148384 h 478792"/>
                <a:gd name="connsiteX294" fmla="*/ 119724 w 763267"/>
                <a:gd name="connsiteY294" fmla="*/ 156626 h 478792"/>
                <a:gd name="connsiteX295" fmla="*/ 120027 w 763267"/>
                <a:gd name="connsiteY295" fmla="*/ 163287 h 478792"/>
                <a:gd name="connsiteX296" fmla="*/ 123797 w 763267"/>
                <a:gd name="connsiteY296" fmla="*/ 174287 h 478792"/>
                <a:gd name="connsiteX297" fmla="*/ 124941 w 763267"/>
                <a:gd name="connsiteY297" fmla="*/ 178492 h 478792"/>
                <a:gd name="connsiteX298" fmla="*/ 128340 w 763267"/>
                <a:gd name="connsiteY298" fmla="*/ 181519 h 478792"/>
                <a:gd name="connsiteX299" fmla="*/ 132479 w 763267"/>
                <a:gd name="connsiteY299" fmla="*/ 183269 h 478792"/>
                <a:gd name="connsiteX300" fmla="*/ 135071 w 763267"/>
                <a:gd name="connsiteY300" fmla="*/ 187171 h 478792"/>
                <a:gd name="connsiteX301" fmla="*/ 132244 w 763267"/>
                <a:gd name="connsiteY301" fmla="*/ 192183 h 478792"/>
                <a:gd name="connsiteX302" fmla="*/ 130292 w 763267"/>
                <a:gd name="connsiteY302" fmla="*/ 197835 h 478792"/>
                <a:gd name="connsiteX303" fmla="*/ 135071 w 763267"/>
                <a:gd name="connsiteY303" fmla="*/ 198911 h 478792"/>
                <a:gd name="connsiteX304" fmla="*/ 145504 w 763267"/>
                <a:gd name="connsiteY304" fmla="*/ 198911 h 478792"/>
                <a:gd name="connsiteX305" fmla="*/ 147658 w 763267"/>
                <a:gd name="connsiteY305" fmla="*/ 198911 h 478792"/>
                <a:gd name="connsiteX306" fmla="*/ 148970 w 763267"/>
                <a:gd name="connsiteY306" fmla="*/ 202275 h 478792"/>
                <a:gd name="connsiteX307" fmla="*/ 154389 w 763267"/>
                <a:gd name="connsiteY307" fmla="*/ 207590 h 478792"/>
                <a:gd name="connsiteX308" fmla="*/ 158965 w 763267"/>
                <a:gd name="connsiteY308" fmla="*/ 210180 h 478792"/>
                <a:gd name="connsiteX309" fmla="*/ 165259 w 763267"/>
                <a:gd name="connsiteY309" fmla="*/ 213006 h 478792"/>
                <a:gd name="connsiteX310" fmla="*/ 167648 w 763267"/>
                <a:gd name="connsiteY310" fmla="*/ 214755 h 478792"/>
                <a:gd name="connsiteX311" fmla="*/ 169836 w 763267"/>
                <a:gd name="connsiteY311" fmla="*/ 216942 h 478792"/>
                <a:gd name="connsiteX312" fmla="*/ 173538 w 763267"/>
                <a:gd name="connsiteY312" fmla="*/ 221921 h 478792"/>
                <a:gd name="connsiteX313" fmla="*/ 172461 w 763267"/>
                <a:gd name="connsiteY313" fmla="*/ 227572 h 478792"/>
                <a:gd name="connsiteX314" fmla="*/ 172461 w 763267"/>
                <a:gd name="connsiteY314" fmla="*/ 230835 h 478792"/>
                <a:gd name="connsiteX315" fmla="*/ 173774 w 763267"/>
                <a:gd name="connsiteY315" fmla="*/ 234535 h 478792"/>
                <a:gd name="connsiteX316" fmla="*/ 175961 w 763267"/>
                <a:gd name="connsiteY316" fmla="*/ 239750 h 478792"/>
                <a:gd name="connsiteX317" fmla="*/ 175961 w 763267"/>
                <a:gd name="connsiteY317" fmla="*/ 241499 h 478792"/>
                <a:gd name="connsiteX318" fmla="*/ 175961 w 763267"/>
                <a:gd name="connsiteY318" fmla="*/ 243887 h 478792"/>
                <a:gd name="connsiteX319" fmla="*/ 172427 w 763267"/>
                <a:gd name="connsiteY319" fmla="*/ 245636 h 478792"/>
                <a:gd name="connsiteX320" fmla="*/ 171182 w 763267"/>
                <a:gd name="connsiteY320" fmla="*/ 248260 h 478792"/>
                <a:gd name="connsiteX321" fmla="*/ 172057 w 763267"/>
                <a:gd name="connsiteY321" fmla="*/ 251086 h 478792"/>
                <a:gd name="connsiteX322" fmla="*/ 173807 w 763267"/>
                <a:gd name="connsiteY322" fmla="*/ 257814 h 478792"/>
                <a:gd name="connsiteX323" fmla="*/ 175120 w 763267"/>
                <a:gd name="connsiteY323" fmla="*/ 264105 h 478792"/>
                <a:gd name="connsiteX324" fmla="*/ 175120 w 763267"/>
                <a:gd name="connsiteY324" fmla="*/ 268882 h 478792"/>
                <a:gd name="connsiteX325" fmla="*/ 172528 w 763267"/>
                <a:gd name="connsiteY325" fmla="*/ 274533 h 478792"/>
                <a:gd name="connsiteX326" fmla="*/ 172528 w 763267"/>
                <a:gd name="connsiteY326" fmla="*/ 277224 h 478792"/>
                <a:gd name="connsiteX327" fmla="*/ 169365 w 763267"/>
                <a:gd name="connsiteY327" fmla="*/ 281126 h 478792"/>
                <a:gd name="connsiteX328" fmla="*/ 165562 w 763267"/>
                <a:gd name="connsiteY328" fmla="*/ 282203 h 478792"/>
                <a:gd name="connsiteX329" fmla="*/ 162095 w 763267"/>
                <a:gd name="connsiteY329" fmla="*/ 281328 h 478792"/>
                <a:gd name="connsiteX330" fmla="*/ 162095 w 763267"/>
                <a:gd name="connsiteY330" fmla="*/ 278502 h 478792"/>
                <a:gd name="connsiteX331" fmla="*/ 160379 w 763267"/>
                <a:gd name="connsiteY331" fmla="*/ 274365 h 478792"/>
                <a:gd name="connsiteX332" fmla="*/ 160379 w 763267"/>
                <a:gd name="connsiteY332" fmla="*/ 271775 h 478792"/>
                <a:gd name="connsiteX333" fmla="*/ 158191 w 763267"/>
                <a:gd name="connsiteY333" fmla="*/ 271775 h 478792"/>
                <a:gd name="connsiteX334" fmla="*/ 154288 w 763267"/>
                <a:gd name="connsiteY334" fmla="*/ 273524 h 478792"/>
                <a:gd name="connsiteX335" fmla="*/ 149071 w 763267"/>
                <a:gd name="connsiteY335" fmla="*/ 273524 h 478792"/>
                <a:gd name="connsiteX336" fmla="*/ 142340 w 763267"/>
                <a:gd name="connsiteY336" fmla="*/ 273524 h 478792"/>
                <a:gd name="connsiteX337" fmla="*/ 134970 w 763267"/>
                <a:gd name="connsiteY337" fmla="*/ 275374 h 478792"/>
                <a:gd name="connsiteX338" fmla="*/ 131066 w 763267"/>
                <a:gd name="connsiteY338" fmla="*/ 278536 h 478792"/>
                <a:gd name="connsiteX339" fmla="*/ 128037 w 763267"/>
                <a:gd name="connsiteY339" fmla="*/ 281160 h 478792"/>
                <a:gd name="connsiteX340" fmla="*/ 125210 w 763267"/>
                <a:gd name="connsiteY340" fmla="*/ 285298 h 478792"/>
                <a:gd name="connsiteX341" fmla="*/ 122585 w 763267"/>
                <a:gd name="connsiteY341" fmla="*/ 289637 h 478792"/>
                <a:gd name="connsiteX342" fmla="*/ 121508 w 763267"/>
                <a:gd name="connsiteY342" fmla="*/ 291824 h 478792"/>
                <a:gd name="connsiteX343" fmla="*/ 119556 w 763267"/>
                <a:gd name="connsiteY343" fmla="*/ 295289 h 478792"/>
                <a:gd name="connsiteX344" fmla="*/ 118244 w 763267"/>
                <a:gd name="connsiteY344" fmla="*/ 297038 h 478792"/>
                <a:gd name="connsiteX345" fmla="*/ 113229 w 763267"/>
                <a:gd name="connsiteY345" fmla="*/ 298787 h 478792"/>
                <a:gd name="connsiteX346" fmla="*/ 110200 w 763267"/>
                <a:gd name="connsiteY346" fmla="*/ 301411 h 478792"/>
                <a:gd name="connsiteX347" fmla="*/ 106296 w 763267"/>
                <a:gd name="connsiteY347" fmla="*/ 304237 h 478792"/>
                <a:gd name="connsiteX348" fmla="*/ 103032 w 763267"/>
                <a:gd name="connsiteY348" fmla="*/ 307500 h 478792"/>
                <a:gd name="connsiteX349" fmla="*/ 103032 w 763267"/>
                <a:gd name="connsiteY349" fmla="*/ 312714 h 478792"/>
                <a:gd name="connsiteX350" fmla="*/ 103032 w 763267"/>
                <a:gd name="connsiteY350" fmla="*/ 318130 h 478792"/>
                <a:gd name="connsiteX351" fmla="*/ 101315 w 763267"/>
                <a:gd name="connsiteY351" fmla="*/ 323983 h 478792"/>
                <a:gd name="connsiteX352" fmla="*/ 97176 w 763267"/>
                <a:gd name="connsiteY352" fmla="*/ 327448 h 478792"/>
                <a:gd name="connsiteX353" fmla="*/ 96065 w 763267"/>
                <a:gd name="connsiteY353" fmla="*/ 324858 h 478792"/>
                <a:gd name="connsiteX354" fmla="*/ 96065 w 763267"/>
                <a:gd name="connsiteY354" fmla="*/ 317895 h 478792"/>
                <a:gd name="connsiteX355" fmla="*/ 96065 w 763267"/>
                <a:gd name="connsiteY355" fmla="*/ 312680 h 478792"/>
                <a:gd name="connsiteX356" fmla="*/ 96065 w 763267"/>
                <a:gd name="connsiteY356" fmla="*/ 309215 h 478792"/>
                <a:gd name="connsiteX357" fmla="*/ 96065 w 763267"/>
                <a:gd name="connsiteY357" fmla="*/ 305750 h 478792"/>
                <a:gd name="connsiteX358" fmla="*/ 92262 w 763267"/>
                <a:gd name="connsiteY358" fmla="*/ 303127 h 478792"/>
                <a:gd name="connsiteX359" fmla="*/ 89099 w 763267"/>
                <a:gd name="connsiteY359" fmla="*/ 302252 h 478792"/>
                <a:gd name="connsiteX360" fmla="*/ 89099 w 763267"/>
                <a:gd name="connsiteY360" fmla="*/ 304439 h 478792"/>
                <a:gd name="connsiteX361" fmla="*/ 87685 w 763267"/>
                <a:gd name="connsiteY361" fmla="*/ 307062 h 478792"/>
                <a:gd name="connsiteX362" fmla="*/ 84387 w 763267"/>
                <a:gd name="connsiteY362" fmla="*/ 310763 h 478792"/>
                <a:gd name="connsiteX363" fmla="*/ 81291 w 763267"/>
                <a:gd name="connsiteY363" fmla="*/ 312512 h 478792"/>
                <a:gd name="connsiteX364" fmla="*/ 77824 w 763267"/>
                <a:gd name="connsiteY364" fmla="*/ 312748 h 478792"/>
                <a:gd name="connsiteX365" fmla="*/ 74762 w 763267"/>
                <a:gd name="connsiteY365" fmla="*/ 307096 h 478792"/>
                <a:gd name="connsiteX366" fmla="*/ 72170 w 763267"/>
                <a:gd name="connsiteY366" fmla="*/ 304069 h 478792"/>
                <a:gd name="connsiteX367" fmla="*/ 68031 w 763267"/>
                <a:gd name="connsiteY367" fmla="*/ 302757 h 478792"/>
                <a:gd name="connsiteX368" fmla="*/ 63891 w 763267"/>
                <a:gd name="connsiteY368" fmla="*/ 301445 h 478792"/>
                <a:gd name="connsiteX369" fmla="*/ 59314 w 763267"/>
                <a:gd name="connsiteY369" fmla="*/ 301445 h 478792"/>
                <a:gd name="connsiteX370" fmla="*/ 58237 w 763267"/>
                <a:gd name="connsiteY370" fmla="*/ 302757 h 478792"/>
                <a:gd name="connsiteX371" fmla="*/ 56723 w 763267"/>
                <a:gd name="connsiteY371" fmla="*/ 304708 h 478792"/>
                <a:gd name="connsiteX372" fmla="*/ 53458 w 763267"/>
                <a:gd name="connsiteY372" fmla="*/ 306659 h 478792"/>
                <a:gd name="connsiteX373" fmla="*/ 50631 w 763267"/>
                <a:gd name="connsiteY373" fmla="*/ 307971 h 478792"/>
                <a:gd name="connsiteX374" fmla="*/ 49554 w 763267"/>
                <a:gd name="connsiteY374" fmla="*/ 310157 h 478792"/>
                <a:gd name="connsiteX375" fmla="*/ 49117 w 763267"/>
                <a:gd name="connsiteY375" fmla="*/ 312108 h 478792"/>
                <a:gd name="connsiteX376" fmla="*/ 48040 w 763267"/>
                <a:gd name="connsiteY376" fmla="*/ 313622 h 478792"/>
                <a:gd name="connsiteX377" fmla="*/ 46324 w 763267"/>
                <a:gd name="connsiteY377" fmla="*/ 316246 h 478792"/>
                <a:gd name="connsiteX378" fmla="*/ 43261 w 763267"/>
                <a:gd name="connsiteY378" fmla="*/ 316885 h 478792"/>
                <a:gd name="connsiteX379" fmla="*/ 40434 w 763267"/>
                <a:gd name="connsiteY379" fmla="*/ 312748 h 478792"/>
                <a:gd name="connsiteX380" fmla="*/ 34545 w 763267"/>
                <a:gd name="connsiteY380" fmla="*/ 306221 h 478792"/>
                <a:gd name="connsiteX381" fmla="*/ 29126 w 763267"/>
                <a:gd name="connsiteY381" fmla="*/ 301445 h 478792"/>
                <a:gd name="connsiteX382" fmla="*/ 27376 w 763267"/>
                <a:gd name="connsiteY382" fmla="*/ 301445 h 478792"/>
                <a:gd name="connsiteX383" fmla="*/ 24785 w 763267"/>
                <a:gd name="connsiteY383" fmla="*/ 305784 h 478792"/>
                <a:gd name="connsiteX384" fmla="*/ 24785 w 763267"/>
                <a:gd name="connsiteY384" fmla="*/ 308812 h 478792"/>
                <a:gd name="connsiteX385" fmla="*/ 24347 w 763267"/>
                <a:gd name="connsiteY385" fmla="*/ 312277 h 478792"/>
                <a:gd name="connsiteX386" fmla="*/ 24549 w 763267"/>
                <a:gd name="connsiteY386" fmla="*/ 316784 h 478792"/>
                <a:gd name="connsiteX387" fmla="*/ 17145 w 763267"/>
                <a:gd name="connsiteY387" fmla="*/ 317087 h 478792"/>
                <a:gd name="connsiteX388" fmla="*/ 13443 w 763267"/>
                <a:gd name="connsiteY388" fmla="*/ 317087 h 478792"/>
                <a:gd name="connsiteX389" fmla="*/ 11693 w 763267"/>
                <a:gd name="connsiteY389" fmla="*/ 317087 h 478792"/>
                <a:gd name="connsiteX390" fmla="*/ 8227 w 763267"/>
                <a:gd name="connsiteY390" fmla="*/ 317087 h 478792"/>
                <a:gd name="connsiteX391" fmla="*/ 4962 w 763267"/>
                <a:gd name="connsiteY391" fmla="*/ 317087 h 478792"/>
                <a:gd name="connsiteX392" fmla="*/ 3448 w 763267"/>
                <a:gd name="connsiteY392" fmla="*/ 318836 h 478792"/>
                <a:gd name="connsiteX393" fmla="*/ 2337 w 763267"/>
                <a:gd name="connsiteY393" fmla="*/ 323613 h 478792"/>
                <a:gd name="connsiteX394" fmla="*/ 3650 w 763267"/>
                <a:gd name="connsiteY394" fmla="*/ 329265 h 478792"/>
                <a:gd name="connsiteX395" fmla="*/ 6039 w 763267"/>
                <a:gd name="connsiteY395" fmla="*/ 336665 h 478792"/>
                <a:gd name="connsiteX396" fmla="*/ 11929 w 763267"/>
                <a:gd name="connsiteY396" fmla="*/ 340130 h 478792"/>
                <a:gd name="connsiteX397" fmla="*/ 14756 w 763267"/>
                <a:gd name="connsiteY397" fmla="*/ 343831 h 478792"/>
                <a:gd name="connsiteX398" fmla="*/ 15631 w 763267"/>
                <a:gd name="connsiteY398" fmla="*/ 350996 h 478792"/>
                <a:gd name="connsiteX399" fmla="*/ 17381 w 763267"/>
                <a:gd name="connsiteY399" fmla="*/ 357085 h 478792"/>
                <a:gd name="connsiteX400" fmla="*/ 16943 w 763267"/>
                <a:gd name="connsiteY400" fmla="*/ 362501 h 478792"/>
                <a:gd name="connsiteX401" fmla="*/ 14554 w 763267"/>
                <a:gd name="connsiteY401" fmla="*/ 363577 h 478792"/>
                <a:gd name="connsiteX402" fmla="*/ 9337 w 763267"/>
                <a:gd name="connsiteY402" fmla="*/ 366403 h 478792"/>
                <a:gd name="connsiteX403" fmla="*/ 8260 w 763267"/>
                <a:gd name="connsiteY403" fmla="*/ 369430 h 478792"/>
                <a:gd name="connsiteX404" fmla="*/ 13039 w 763267"/>
                <a:gd name="connsiteY404" fmla="*/ 371617 h 478792"/>
                <a:gd name="connsiteX405" fmla="*/ 19131 w 763267"/>
                <a:gd name="connsiteY405" fmla="*/ 374443 h 478792"/>
                <a:gd name="connsiteX406" fmla="*/ 15866 w 763267"/>
                <a:gd name="connsiteY406" fmla="*/ 377067 h 478792"/>
                <a:gd name="connsiteX407" fmla="*/ 15664 w 763267"/>
                <a:gd name="connsiteY407" fmla="*/ 380330 h 478792"/>
                <a:gd name="connsiteX408" fmla="*/ 16102 w 763267"/>
                <a:gd name="connsiteY408" fmla="*/ 387932 h 478792"/>
                <a:gd name="connsiteX409" fmla="*/ 12635 w 763267"/>
                <a:gd name="connsiteY409" fmla="*/ 388134 h 478792"/>
                <a:gd name="connsiteX410" fmla="*/ 6981 w 763267"/>
                <a:gd name="connsiteY410" fmla="*/ 384669 h 478792"/>
                <a:gd name="connsiteX411" fmla="*/ 2405 w 763267"/>
                <a:gd name="connsiteY411" fmla="*/ 386856 h 478792"/>
                <a:gd name="connsiteX412" fmla="*/ 15 w 763267"/>
                <a:gd name="connsiteY412" fmla="*/ 389244 h 478792"/>
                <a:gd name="connsiteX413" fmla="*/ 15 w 763267"/>
                <a:gd name="connsiteY413" fmla="*/ 394458 h 478792"/>
                <a:gd name="connsiteX414" fmla="*/ 3279 w 763267"/>
                <a:gd name="connsiteY414" fmla="*/ 400110 h 478792"/>
                <a:gd name="connsiteX415" fmla="*/ 6746 w 763267"/>
                <a:gd name="connsiteY415" fmla="*/ 404012 h 478792"/>
                <a:gd name="connsiteX416" fmla="*/ 13477 w 763267"/>
                <a:gd name="connsiteY416" fmla="*/ 402935 h 478792"/>
                <a:gd name="connsiteX417" fmla="*/ 15664 w 763267"/>
                <a:gd name="connsiteY417" fmla="*/ 401186 h 478792"/>
                <a:gd name="connsiteX418" fmla="*/ 17852 w 763267"/>
                <a:gd name="connsiteY418" fmla="*/ 399672 h 478792"/>
                <a:gd name="connsiteX419" fmla="*/ 17852 w 763267"/>
                <a:gd name="connsiteY419" fmla="*/ 394458 h 478792"/>
                <a:gd name="connsiteX420" fmla="*/ 22092 w 763267"/>
                <a:gd name="connsiteY420" fmla="*/ 392709 h 478792"/>
                <a:gd name="connsiteX421" fmla="*/ 25256 w 763267"/>
                <a:gd name="connsiteY421" fmla="*/ 394862 h 478792"/>
                <a:gd name="connsiteX422" fmla="*/ 26568 w 763267"/>
                <a:gd name="connsiteY422" fmla="*/ 399639 h 478792"/>
                <a:gd name="connsiteX423" fmla="*/ 26568 w 763267"/>
                <a:gd name="connsiteY423" fmla="*/ 406165 h 478792"/>
                <a:gd name="connsiteX424" fmla="*/ 32021 w 763267"/>
                <a:gd name="connsiteY424" fmla="*/ 408553 h 478792"/>
                <a:gd name="connsiteX425" fmla="*/ 40502 w 763267"/>
                <a:gd name="connsiteY425" fmla="*/ 413566 h 478792"/>
                <a:gd name="connsiteX426" fmla="*/ 47468 w 763267"/>
                <a:gd name="connsiteY426" fmla="*/ 419217 h 478792"/>
                <a:gd name="connsiteX427" fmla="*/ 49420 w 763267"/>
                <a:gd name="connsiteY427" fmla="*/ 422917 h 478792"/>
                <a:gd name="connsiteX428" fmla="*/ 48780 w 763267"/>
                <a:gd name="connsiteY428" fmla="*/ 427055 h 478792"/>
                <a:gd name="connsiteX429" fmla="*/ 47468 w 763267"/>
                <a:gd name="connsiteY429" fmla="*/ 432706 h 478792"/>
                <a:gd name="connsiteX430" fmla="*/ 47468 w 763267"/>
                <a:gd name="connsiteY430" fmla="*/ 435532 h 478792"/>
                <a:gd name="connsiteX431" fmla="*/ 52684 w 763267"/>
                <a:gd name="connsiteY431" fmla="*/ 439872 h 478792"/>
                <a:gd name="connsiteX432" fmla="*/ 52684 w 763267"/>
                <a:gd name="connsiteY432" fmla="*/ 441621 h 478792"/>
                <a:gd name="connsiteX433" fmla="*/ 51271 w 763267"/>
                <a:gd name="connsiteY433" fmla="*/ 443370 h 478792"/>
                <a:gd name="connsiteX434" fmla="*/ 52684 w 763267"/>
                <a:gd name="connsiteY434" fmla="*/ 448147 h 478792"/>
                <a:gd name="connsiteX435" fmla="*/ 57261 w 763267"/>
                <a:gd name="connsiteY435" fmla="*/ 450737 h 478792"/>
                <a:gd name="connsiteX436" fmla="*/ 64665 w 763267"/>
                <a:gd name="connsiteY436" fmla="*/ 445523 h 478792"/>
                <a:gd name="connsiteX437" fmla="*/ 70118 w 763267"/>
                <a:gd name="connsiteY437" fmla="*/ 446600 h 478792"/>
                <a:gd name="connsiteX438" fmla="*/ 71867 w 763267"/>
                <a:gd name="connsiteY438" fmla="*/ 450939 h 478792"/>
                <a:gd name="connsiteX439" fmla="*/ 73819 w 763267"/>
                <a:gd name="connsiteY439" fmla="*/ 457230 h 478792"/>
                <a:gd name="connsiteX440" fmla="*/ 70118 w 763267"/>
                <a:gd name="connsiteY440" fmla="*/ 458744 h 478792"/>
                <a:gd name="connsiteX441" fmla="*/ 70118 w 763267"/>
                <a:gd name="connsiteY441" fmla="*/ 463520 h 478792"/>
                <a:gd name="connsiteX442" fmla="*/ 71733 w 763267"/>
                <a:gd name="connsiteY442" fmla="*/ 468129 h 478792"/>
                <a:gd name="connsiteX443" fmla="*/ 78127 w 763267"/>
                <a:gd name="connsiteY443" fmla="*/ 470988 h 478792"/>
                <a:gd name="connsiteX444" fmla="*/ 84252 w 763267"/>
                <a:gd name="connsiteY444" fmla="*/ 473680 h 478792"/>
                <a:gd name="connsiteX445" fmla="*/ 85599 w 763267"/>
                <a:gd name="connsiteY445" fmla="*/ 474016 h 478792"/>
                <a:gd name="connsiteX446" fmla="*/ 85195 w 763267"/>
                <a:gd name="connsiteY446" fmla="*/ 472637 h 478792"/>
                <a:gd name="connsiteX447" fmla="*/ 86373 w 763267"/>
                <a:gd name="connsiteY447" fmla="*/ 467995 h 478792"/>
                <a:gd name="connsiteX448" fmla="*/ 88392 w 763267"/>
                <a:gd name="connsiteY448" fmla="*/ 463083 h 478792"/>
                <a:gd name="connsiteX449" fmla="*/ 90714 w 763267"/>
                <a:gd name="connsiteY449" fmla="*/ 457566 h 478792"/>
                <a:gd name="connsiteX450" fmla="*/ 94786 w 763267"/>
                <a:gd name="connsiteY450" fmla="*/ 453496 h 478792"/>
                <a:gd name="connsiteX451" fmla="*/ 98253 w 763267"/>
                <a:gd name="connsiteY451" fmla="*/ 448584 h 478792"/>
                <a:gd name="connsiteX452" fmla="*/ 99700 w 763267"/>
                <a:gd name="connsiteY452" fmla="*/ 443068 h 478792"/>
                <a:gd name="connsiteX453" fmla="*/ 100844 w 763267"/>
                <a:gd name="connsiteY453" fmla="*/ 434960 h 478792"/>
                <a:gd name="connsiteX454" fmla="*/ 102863 w 763267"/>
                <a:gd name="connsiteY454" fmla="*/ 431495 h 478792"/>
                <a:gd name="connsiteX455" fmla="*/ 108080 w 763267"/>
                <a:gd name="connsiteY455" fmla="*/ 429477 h 478792"/>
                <a:gd name="connsiteX456" fmla="*/ 110974 w 763267"/>
                <a:gd name="connsiteY456" fmla="*/ 426281 h 478792"/>
                <a:gd name="connsiteX457" fmla="*/ 112118 w 763267"/>
                <a:gd name="connsiteY457" fmla="*/ 422211 h 478792"/>
                <a:gd name="connsiteX458" fmla="*/ 111243 w 763267"/>
                <a:gd name="connsiteY458" fmla="*/ 417300 h 478792"/>
                <a:gd name="connsiteX459" fmla="*/ 110941 w 763267"/>
                <a:gd name="connsiteY459" fmla="*/ 412657 h 478792"/>
                <a:gd name="connsiteX460" fmla="*/ 117907 w 763267"/>
                <a:gd name="connsiteY460" fmla="*/ 412657 h 478792"/>
                <a:gd name="connsiteX461" fmla="*/ 119926 w 763267"/>
                <a:gd name="connsiteY461" fmla="*/ 415248 h 478792"/>
                <a:gd name="connsiteX462" fmla="*/ 124873 w 763267"/>
                <a:gd name="connsiteY462" fmla="*/ 415550 h 478792"/>
                <a:gd name="connsiteX463" fmla="*/ 128340 w 763267"/>
                <a:gd name="connsiteY463" fmla="*/ 415550 h 478792"/>
                <a:gd name="connsiteX464" fmla="*/ 132681 w 763267"/>
                <a:gd name="connsiteY464" fmla="*/ 412657 h 478792"/>
                <a:gd name="connsiteX465" fmla="*/ 135273 w 763267"/>
                <a:gd name="connsiteY465" fmla="*/ 409462 h 478792"/>
                <a:gd name="connsiteX466" fmla="*/ 139042 w 763267"/>
                <a:gd name="connsiteY466" fmla="*/ 407140 h 478792"/>
                <a:gd name="connsiteX467" fmla="*/ 141061 w 763267"/>
                <a:gd name="connsiteY467" fmla="*/ 404685 h 478792"/>
                <a:gd name="connsiteX468" fmla="*/ 148028 w 763267"/>
                <a:gd name="connsiteY468" fmla="*/ 400480 h 478792"/>
                <a:gd name="connsiteX469" fmla="*/ 150922 w 763267"/>
                <a:gd name="connsiteY469" fmla="*/ 400480 h 478792"/>
                <a:gd name="connsiteX470" fmla="*/ 156139 w 763267"/>
                <a:gd name="connsiteY470" fmla="*/ 400480 h 478792"/>
                <a:gd name="connsiteX471" fmla="*/ 160211 w 763267"/>
                <a:gd name="connsiteY471" fmla="*/ 400480 h 478792"/>
                <a:gd name="connsiteX472" fmla="*/ 165730 w 763267"/>
                <a:gd name="connsiteY472" fmla="*/ 401354 h 478792"/>
                <a:gd name="connsiteX473" fmla="*/ 171249 w 763267"/>
                <a:gd name="connsiteY473" fmla="*/ 401657 h 478792"/>
                <a:gd name="connsiteX474" fmla="*/ 179091 w 763267"/>
                <a:gd name="connsiteY474" fmla="*/ 402229 h 478792"/>
                <a:gd name="connsiteX475" fmla="*/ 182860 w 763267"/>
                <a:gd name="connsiteY475" fmla="*/ 404853 h 478792"/>
                <a:gd name="connsiteX476" fmla="*/ 184880 w 763267"/>
                <a:gd name="connsiteY476" fmla="*/ 405997 h 478792"/>
                <a:gd name="connsiteX477" fmla="*/ 188649 w 763267"/>
                <a:gd name="connsiteY477" fmla="*/ 408890 h 478792"/>
                <a:gd name="connsiteX478" fmla="*/ 191274 w 763267"/>
                <a:gd name="connsiteY478" fmla="*/ 412086 h 478792"/>
                <a:gd name="connsiteX479" fmla="*/ 193899 w 763267"/>
                <a:gd name="connsiteY479" fmla="*/ 415853 h 478792"/>
                <a:gd name="connsiteX480" fmla="*/ 199115 w 763267"/>
                <a:gd name="connsiteY480" fmla="*/ 418174 h 478792"/>
                <a:gd name="connsiteX481" fmla="*/ 206654 w 763267"/>
                <a:gd name="connsiteY481" fmla="*/ 413229 h 478792"/>
                <a:gd name="connsiteX482" fmla="*/ 209245 w 763267"/>
                <a:gd name="connsiteY482" fmla="*/ 408318 h 478792"/>
                <a:gd name="connsiteX483" fmla="*/ 214765 w 763267"/>
                <a:gd name="connsiteY483" fmla="*/ 405425 h 478792"/>
                <a:gd name="connsiteX484" fmla="*/ 218231 w 763267"/>
                <a:gd name="connsiteY484" fmla="*/ 403104 h 478792"/>
                <a:gd name="connsiteX485" fmla="*/ 221428 w 763267"/>
                <a:gd name="connsiteY485" fmla="*/ 400110 h 478792"/>
                <a:gd name="connsiteX486" fmla="*/ 221428 w 763267"/>
                <a:gd name="connsiteY486" fmla="*/ 396140 h 478792"/>
                <a:gd name="connsiteX487" fmla="*/ 219981 w 763267"/>
                <a:gd name="connsiteY487" fmla="*/ 394391 h 478792"/>
                <a:gd name="connsiteX488" fmla="*/ 218231 w 763267"/>
                <a:gd name="connsiteY488" fmla="*/ 393214 h 478792"/>
                <a:gd name="connsiteX489" fmla="*/ 215034 w 763267"/>
                <a:gd name="connsiteY489" fmla="*/ 391767 h 478792"/>
                <a:gd name="connsiteX490" fmla="*/ 211568 w 763267"/>
                <a:gd name="connsiteY490" fmla="*/ 389446 h 478792"/>
                <a:gd name="connsiteX491" fmla="*/ 209548 w 763267"/>
                <a:gd name="connsiteY491" fmla="*/ 389446 h 478792"/>
                <a:gd name="connsiteX492" fmla="*/ 207226 w 763267"/>
                <a:gd name="connsiteY492" fmla="*/ 386553 h 478792"/>
                <a:gd name="connsiteX493" fmla="*/ 205207 w 763267"/>
                <a:gd name="connsiteY493" fmla="*/ 382482 h 478792"/>
                <a:gd name="connsiteX494" fmla="*/ 205779 w 763267"/>
                <a:gd name="connsiteY494" fmla="*/ 379590 h 478792"/>
                <a:gd name="connsiteX495" fmla="*/ 206082 w 763267"/>
                <a:gd name="connsiteY495" fmla="*/ 374947 h 478792"/>
                <a:gd name="connsiteX496" fmla="*/ 205779 w 763267"/>
                <a:gd name="connsiteY496" fmla="*/ 369161 h 478792"/>
                <a:gd name="connsiteX497" fmla="*/ 206957 w 763267"/>
                <a:gd name="connsiteY497" fmla="*/ 367143 h 478792"/>
                <a:gd name="connsiteX498" fmla="*/ 211299 w 763267"/>
                <a:gd name="connsiteY498" fmla="*/ 367143 h 478792"/>
                <a:gd name="connsiteX499" fmla="*/ 218837 w 763267"/>
                <a:gd name="connsiteY499" fmla="*/ 367008 h 478792"/>
                <a:gd name="connsiteX500" fmla="*/ 220284 w 763267"/>
                <a:gd name="connsiteY500" fmla="*/ 367008 h 478792"/>
                <a:gd name="connsiteX501" fmla="*/ 224626 w 763267"/>
                <a:gd name="connsiteY501" fmla="*/ 367008 h 478792"/>
                <a:gd name="connsiteX502" fmla="*/ 231289 w 763267"/>
                <a:gd name="connsiteY502" fmla="*/ 366773 h 478792"/>
                <a:gd name="connsiteX503" fmla="*/ 235059 w 763267"/>
                <a:gd name="connsiteY503" fmla="*/ 363644 h 478792"/>
                <a:gd name="connsiteX504" fmla="*/ 237381 w 763267"/>
                <a:gd name="connsiteY504" fmla="*/ 360449 h 478792"/>
                <a:gd name="connsiteX505" fmla="*/ 240006 w 763267"/>
                <a:gd name="connsiteY505" fmla="*/ 356984 h 478792"/>
                <a:gd name="connsiteX506" fmla="*/ 241453 w 763267"/>
                <a:gd name="connsiteY506" fmla="*/ 356984 h 478792"/>
                <a:gd name="connsiteX507" fmla="*/ 244650 w 763267"/>
                <a:gd name="connsiteY507" fmla="*/ 358430 h 478792"/>
                <a:gd name="connsiteX508" fmla="*/ 247847 w 763267"/>
                <a:gd name="connsiteY508" fmla="*/ 365091 h 478792"/>
                <a:gd name="connsiteX509" fmla="*/ 250170 w 763267"/>
                <a:gd name="connsiteY509" fmla="*/ 370036 h 478792"/>
                <a:gd name="connsiteX510" fmla="*/ 253636 w 763267"/>
                <a:gd name="connsiteY510" fmla="*/ 372929 h 478792"/>
                <a:gd name="connsiteX511" fmla="*/ 259425 w 763267"/>
                <a:gd name="connsiteY511" fmla="*/ 371482 h 478792"/>
                <a:gd name="connsiteX512" fmla="*/ 267535 w 763267"/>
                <a:gd name="connsiteY512" fmla="*/ 369161 h 478792"/>
                <a:gd name="connsiteX513" fmla="*/ 271607 w 763267"/>
                <a:gd name="connsiteY513" fmla="*/ 367143 h 478792"/>
                <a:gd name="connsiteX514" fmla="*/ 275949 w 763267"/>
                <a:gd name="connsiteY514" fmla="*/ 370910 h 478792"/>
                <a:gd name="connsiteX515" fmla="*/ 279718 w 763267"/>
                <a:gd name="connsiteY515" fmla="*/ 372929 h 478792"/>
                <a:gd name="connsiteX516" fmla="*/ 286988 w 763267"/>
                <a:gd name="connsiteY516" fmla="*/ 376125 h 478792"/>
                <a:gd name="connsiteX517" fmla="*/ 293348 w 763267"/>
                <a:gd name="connsiteY517" fmla="*/ 377874 h 478792"/>
                <a:gd name="connsiteX518" fmla="*/ 296545 w 763267"/>
                <a:gd name="connsiteY518" fmla="*/ 379320 h 478792"/>
                <a:gd name="connsiteX519" fmla="*/ 298296 w 763267"/>
                <a:gd name="connsiteY519" fmla="*/ 382214 h 478792"/>
                <a:gd name="connsiteX520" fmla="*/ 306406 w 763267"/>
                <a:gd name="connsiteY520" fmla="*/ 385241 h 478792"/>
                <a:gd name="connsiteX521" fmla="*/ 310748 w 763267"/>
                <a:gd name="connsiteY521" fmla="*/ 384804 h 478792"/>
                <a:gd name="connsiteX522" fmla="*/ 316267 w 763267"/>
                <a:gd name="connsiteY522" fmla="*/ 384804 h 478792"/>
                <a:gd name="connsiteX523" fmla="*/ 322359 w 763267"/>
                <a:gd name="connsiteY523" fmla="*/ 383794 h 478792"/>
                <a:gd name="connsiteX524" fmla="*/ 329022 w 763267"/>
                <a:gd name="connsiteY524" fmla="*/ 383088 h 478792"/>
                <a:gd name="connsiteX525" fmla="*/ 331916 w 763267"/>
                <a:gd name="connsiteY525" fmla="*/ 383088 h 478792"/>
                <a:gd name="connsiteX526" fmla="*/ 335113 w 763267"/>
                <a:gd name="connsiteY526" fmla="*/ 385712 h 478792"/>
                <a:gd name="connsiteX527" fmla="*/ 339455 w 763267"/>
                <a:gd name="connsiteY527" fmla="*/ 387730 h 478792"/>
                <a:gd name="connsiteX528" fmla="*/ 345816 w 763267"/>
                <a:gd name="connsiteY528" fmla="*/ 391801 h 478792"/>
                <a:gd name="connsiteX529" fmla="*/ 349282 w 763267"/>
                <a:gd name="connsiteY529" fmla="*/ 392978 h 478792"/>
                <a:gd name="connsiteX530" fmla="*/ 355946 w 763267"/>
                <a:gd name="connsiteY530" fmla="*/ 398192 h 478792"/>
                <a:gd name="connsiteX531" fmla="*/ 362912 w 763267"/>
                <a:gd name="connsiteY531" fmla="*/ 400513 h 478792"/>
                <a:gd name="connsiteX532" fmla="*/ 364932 w 763267"/>
                <a:gd name="connsiteY532" fmla="*/ 406299 h 478792"/>
                <a:gd name="connsiteX533" fmla="*/ 368398 w 763267"/>
                <a:gd name="connsiteY533" fmla="*/ 408890 h 478792"/>
                <a:gd name="connsiteX534" fmla="*/ 373312 w 763267"/>
                <a:gd name="connsiteY534" fmla="*/ 412960 h 478792"/>
                <a:gd name="connsiteX535" fmla="*/ 375634 w 763267"/>
                <a:gd name="connsiteY535" fmla="*/ 420361 h 478792"/>
                <a:gd name="connsiteX536" fmla="*/ 376946 w 763267"/>
                <a:gd name="connsiteY536" fmla="*/ 422379 h 478792"/>
                <a:gd name="connsiteX537" fmla="*/ 378461 w 763267"/>
                <a:gd name="connsiteY537" fmla="*/ 421942 h 478792"/>
                <a:gd name="connsiteX538" fmla="*/ 381422 w 763267"/>
                <a:gd name="connsiteY538" fmla="*/ 417737 h 478792"/>
                <a:gd name="connsiteX539" fmla="*/ 381422 w 763267"/>
                <a:gd name="connsiteY539" fmla="*/ 415281 h 478792"/>
                <a:gd name="connsiteX540" fmla="*/ 382499 w 763267"/>
                <a:gd name="connsiteY540" fmla="*/ 414272 h 478792"/>
                <a:gd name="connsiteX541" fmla="*/ 384889 w 763267"/>
                <a:gd name="connsiteY541" fmla="*/ 417030 h 478792"/>
                <a:gd name="connsiteX542" fmla="*/ 384889 w 763267"/>
                <a:gd name="connsiteY542" fmla="*/ 418780 h 478792"/>
                <a:gd name="connsiteX543" fmla="*/ 386639 w 763267"/>
                <a:gd name="connsiteY543" fmla="*/ 422413 h 478792"/>
                <a:gd name="connsiteX544" fmla="*/ 388961 w 763267"/>
                <a:gd name="connsiteY544" fmla="*/ 423859 h 478792"/>
                <a:gd name="connsiteX545" fmla="*/ 391855 w 763267"/>
                <a:gd name="connsiteY545" fmla="*/ 423557 h 478792"/>
                <a:gd name="connsiteX546" fmla="*/ 395625 w 763267"/>
                <a:gd name="connsiteY546" fmla="*/ 421404 h 478792"/>
                <a:gd name="connsiteX547" fmla="*/ 397509 w 763267"/>
                <a:gd name="connsiteY547" fmla="*/ 419082 h 478792"/>
                <a:gd name="connsiteX548" fmla="*/ 399832 w 763267"/>
                <a:gd name="connsiteY548" fmla="*/ 416761 h 478792"/>
                <a:gd name="connsiteX549" fmla="*/ 402456 w 763267"/>
                <a:gd name="connsiteY549" fmla="*/ 412119 h 478792"/>
                <a:gd name="connsiteX550" fmla="*/ 404913 w 763267"/>
                <a:gd name="connsiteY550" fmla="*/ 411547 h 478792"/>
                <a:gd name="connsiteX551" fmla="*/ 408683 w 763267"/>
                <a:gd name="connsiteY551" fmla="*/ 409226 h 478792"/>
                <a:gd name="connsiteX552" fmla="*/ 411880 w 763267"/>
                <a:gd name="connsiteY552" fmla="*/ 409226 h 478792"/>
                <a:gd name="connsiteX553" fmla="*/ 416659 w 763267"/>
                <a:gd name="connsiteY553" fmla="*/ 408789 h 478792"/>
                <a:gd name="connsiteX554" fmla="*/ 419116 w 763267"/>
                <a:gd name="connsiteY554" fmla="*/ 410975 h 478792"/>
                <a:gd name="connsiteX555" fmla="*/ 422582 w 763267"/>
                <a:gd name="connsiteY555" fmla="*/ 407780 h 478792"/>
                <a:gd name="connsiteX556" fmla="*/ 424164 w 763267"/>
                <a:gd name="connsiteY556" fmla="*/ 404887 h 478792"/>
                <a:gd name="connsiteX557" fmla="*/ 426183 w 763267"/>
                <a:gd name="connsiteY557" fmla="*/ 401691 h 478792"/>
                <a:gd name="connsiteX558" fmla="*/ 428202 w 763267"/>
                <a:gd name="connsiteY558" fmla="*/ 398663 h 478792"/>
                <a:gd name="connsiteX559" fmla="*/ 430087 w 763267"/>
                <a:gd name="connsiteY559" fmla="*/ 395636 h 478792"/>
                <a:gd name="connsiteX560" fmla="*/ 431971 w 763267"/>
                <a:gd name="connsiteY560" fmla="*/ 393752 h 478792"/>
                <a:gd name="connsiteX561" fmla="*/ 436885 w 763267"/>
                <a:gd name="connsiteY561" fmla="*/ 392608 h 478792"/>
                <a:gd name="connsiteX562" fmla="*/ 440351 w 763267"/>
                <a:gd name="connsiteY562" fmla="*/ 392608 h 478792"/>
                <a:gd name="connsiteX563" fmla="*/ 442539 w 763267"/>
                <a:gd name="connsiteY563" fmla="*/ 392608 h 478792"/>
                <a:gd name="connsiteX564" fmla="*/ 444121 w 763267"/>
                <a:gd name="connsiteY564" fmla="*/ 394627 h 478792"/>
                <a:gd name="connsiteX565" fmla="*/ 444895 w 763267"/>
                <a:gd name="connsiteY565" fmla="*/ 395198 h 478792"/>
                <a:gd name="connsiteX566" fmla="*/ 445703 w 763267"/>
                <a:gd name="connsiteY566" fmla="*/ 398226 h 478792"/>
                <a:gd name="connsiteX567" fmla="*/ 445703 w 763267"/>
                <a:gd name="connsiteY567" fmla="*/ 401422 h 478792"/>
                <a:gd name="connsiteX568" fmla="*/ 445703 w 763267"/>
                <a:gd name="connsiteY568" fmla="*/ 406636 h 478792"/>
                <a:gd name="connsiteX569" fmla="*/ 445703 w 763267"/>
                <a:gd name="connsiteY569" fmla="*/ 408082 h 478792"/>
                <a:gd name="connsiteX570" fmla="*/ 445837 w 763267"/>
                <a:gd name="connsiteY570" fmla="*/ 413162 h 478792"/>
                <a:gd name="connsiteX571" fmla="*/ 445972 w 763267"/>
                <a:gd name="connsiteY571" fmla="*/ 416627 h 478792"/>
                <a:gd name="connsiteX572" fmla="*/ 445433 w 763267"/>
                <a:gd name="connsiteY572" fmla="*/ 420966 h 478792"/>
                <a:gd name="connsiteX573" fmla="*/ 446140 w 763267"/>
                <a:gd name="connsiteY573" fmla="*/ 424734 h 478792"/>
                <a:gd name="connsiteX574" fmla="*/ 448361 w 763267"/>
                <a:gd name="connsiteY574" fmla="*/ 427190 h 478792"/>
                <a:gd name="connsiteX575" fmla="*/ 450246 w 763267"/>
                <a:gd name="connsiteY575" fmla="*/ 429376 h 478792"/>
                <a:gd name="connsiteX576" fmla="*/ 453578 w 763267"/>
                <a:gd name="connsiteY576" fmla="*/ 430554 h 478792"/>
                <a:gd name="connsiteX577" fmla="*/ 455765 w 763267"/>
                <a:gd name="connsiteY577" fmla="*/ 429545 h 478792"/>
                <a:gd name="connsiteX578" fmla="*/ 458087 w 763267"/>
                <a:gd name="connsiteY578" fmla="*/ 427223 h 478792"/>
                <a:gd name="connsiteX579" fmla="*/ 460477 w 763267"/>
                <a:gd name="connsiteY579" fmla="*/ 427795 h 478792"/>
                <a:gd name="connsiteX580" fmla="*/ 461419 w 763267"/>
                <a:gd name="connsiteY580" fmla="*/ 429679 h 478792"/>
                <a:gd name="connsiteX581" fmla="*/ 461419 w 763267"/>
                <a:gd name="connsiteY581" fmla="*/ 432706 h 478792"/>
                <a:gd name="connsiteX582" fmla="*/ 461419 w 763267"/>
                <a:gd name="connsiteY582" fmla="*/ 436171 h 478792"/>
                <a:gd name="connsiteX583" fmla="*/ 464313 w 763267"/>
                <a:gd name="connsiteY583" fmla="*/ 435431 h 478792"/>
                <a:gd name="connsiteX584" fmla="*/ 467342 w 763267"/>
                <a:gd name="connsiteY584" fmla="*/ 432673 h 478792"/>
                <a:gd name="connsiteX585" fmla="*/ 469227 w 763267"/>
                <a:gd name="connsiteY585" fmla="*/ 431361 h 478792"/>
                <a:gd name="connsiteX586" fmla="*/ 471112 w 763267"/>
                <a:gd name="connsiteY586" fmla="*/ 428165 h 478792"/>
                <a:gd name="connsiteX587" fmla="*/ 478516 w 763267"/>
                <a:gd name="connsiteY587" fmla="*/ 422211 h 478792"/>
                <a:gd name="connsiteX588" fmla="*/ 483295 w 763267"/>
                <a:gd name="connsiteY588" fmla="*/ 418578 h 478792"/>
                <a:gd name="connsiteX589" fmla="*/ 485449 w 763267"/>
                <a:gd name="connsiteY589" fmla="*/ 414945 h 478792"/>
                <a:gd name="connsiteX590" fmla="*/ 489218 w 763267"/>
                <a:gd name="connsiteY590" fmla="*/ 410740 h 478792"/>
                <a:gd name="connsiteX591" fmla="*/ 490665 w 763267"/>
                <a:gd name="connsiteY591" fmla="*/ 408722 h 478792"/>
                <a:gd name="connsiteX592" fmla="*/ 492247 w 763267"/>
                <a:gd name="connsiteY592" fmla="*/ 407847 h 478792"/>
                <a:gd name="connsiteX593" fmla="*/ 496723 w 763267"/>
                <a:gd name="connsiteY593" fmla="*/ 404214 h 478792"/>
                <a:gd name="connsiteX594" fmla="*/ 498608 w 763267"/>
                <a:gd name="connsiteY594" fmla="*/ 403474 h 478792"/>
                <a:gd name="connsiteX595" fmla="*/ 501637 w 763267"/>
                <a:gd name="connsiteY595" fmla="*/ 402027 h 478792"/>
                <a:gd name="connsiteX596" fmla="*/ 504531 w 763267"/>
                <a:gd name="connsiteY596" fmla="*/ 401018 h 478792"/>
                <a:gd name="connsiteX597" fmla="*/ 506719 w 763267"/>
                <a:gd name="connsiteY597" fmla="*/ 401153 h 478792"/>
                <a:gd name="connsiteX598" fmla="*/ 508738 w 763267"/>
                <a:gd name="connsiteY598" fmla="*/ 402902 h 478792"/>
                <a:gd name="connsiteX599" fmla="*/ 509444 w 763267"/>
                <a:gd name="connsiteY599" fmla="*/ 403339 h 478792"/>
                <a:gd name="connsiteX600" fmla="*/ 512911 w 763267"/>
                <a:gd name="connsiteY600" fmla="*/ 405660 h 478792"/>
                <a:gd name="connsiteX601" fmla="*/ 515233 w 763267"/>
                <a:gd name="connsiteY601" fmla="*/ 408116 h 478792"/>
                <a:gd name="connsiteX602" fmla="*/ 516680 w 763267"/>
                <a:gd name="connsiteY602" fmla="*/ 408553 h 478792"/>
                <a:gd name="connsiteX603" fmla="*/ 520315 w 763267"/>
                <a:gd name="connsiteY603" fmla="*/ 411884 h 478792"/>
                <a:gd name="connsiteX604" fmla="*/ 522334 w 763267"/>
                <a:gd name="connsiteY604" fmla="*/ 413768 h 478792"/>
                <a:gd name="connsiteX605" fmla="*/ 523950 w 763267"/>
                <a:gd name="connsiteY605" fmla="*/ 415517 h 478792"/>
                <a:gd name="connsiteX606" fmla="*/ 523950 w 763267"/>
                <a:gd name="connsiteY606" fmla="*/ 418712 h 478792"/>
                <a:gd name="connsiteX607" fmla="*/ 522940 w 763267"/>
                <a:gd name="connsiteY607" fmla="*/ 420462 h 478792"/>
                <a:gd name="connsiteX608" fmla="*/ 521493 w 763267"/>
                <a:gd name="connsiteY608" fmla="*/ 421774 h 478792"/>
                <a:gd name="connsiteX609" fmla="*/ 520617 w 763267"/>
                <a:gd name="connsiteY609" fmla="*/ 422648 h 478792"/>
                <a:gd name="connsiteX610" fmla="*/ 520315 w 763267"/>
                <a:gd name="connsiteY610" fmla="*/ 423960 h 478792"/>
                <a:gd name="connsiteX611" fmla="*/ 521762 w 763267"/>
                <a:gd name="connsiteY611" fmla="*/ 425541 h 478792"/>
                <a:gd name="connsiteX612" fmla="*/ 522031 w 763267"/>
                <a:gd name="connsiteY612" fmla="*/ 426988 h 478792"/>
                <a:gd name="connsiteX613" fmla="*/ 525363 w 763267"/>
                <a:gd name="connsiteY613" fmla="*/ 425979 h 478792"/>
                <a:gd name="connsiteX614" fmla="*/ 526810 w 763267"/>
                <a:gd name="connsiteY614" fmla="*/ 426988 h 478792"/>
                <a:gd name="connsiteX615" fmla="*/ 529132 w 763267"/>
                <a:gd name="connsiteY615" fmla="*/ 430453 h 478792"/>
                <a:gd name="connsiteX616" fmla="*/ 529132 w 763267"/>
                <a:gd name="connsiteY616" fmla="*/ 432639 h 478792"/>
                <a:gd name="connsiteX617" fmla="*/ 528560 w 763267"/>
                <a:gd name="connsiteY617" fmla="*/ 434826 h 478792"/>
                <a:gd name="connsiteX618" fmla="*/ 527988 w 763267"/>
                <a:gd name="connsiteY618" fmla="*/ 436272 h 478792"/>
                <a:gd name="connsiteX619" fmla="*/ 527416 w 763267"/>
                <a:gd name="connsiteY619" fmla="*/ 437147 h 478792"/>
                <a:gd name="connsiteX620" fmla="*/ 525094 w 763267"/>
                <a:gd name="connsiteY620" fmla="*/ 439737 h 478792"/>
                <a:gd name="connsiteX621" fmla="*/ 523209 w 763267"/>
                <a:gd name="connsiteY621" fmla="*/ 441924 h 478792"/>
                <a:gd name="connsiteX622" fmla="*/ 520887 w 763267"/>
                <a:gd name="connsiteY622" fmla="*/ 443505 h 478792"/>
                <a:gd name="connsiteX623" fmla="*/ 519137 w 763267"/>
                <a:gd name="connsiteY623" fmla="*/ 445389 h 478792"/>
                <a:gd name="connsiteX624" fmla="*/ 517623 w 763267"/>
                <a:gd name="connsiteY624" fmla="*/ 447138 h 478792"/>
                <a:gd name="connsiteX625" fmla="*/ 516815 w 763267"/>
                <a:gd name="connsiteY625" fmla="*/ 450603 h 478792"/>
                <a:gd name="connsiteX626" fmla="*/ 515940 w 763267"/>
                <a:gd name="connsiteY626" fmla="*/ 453496 h 478792"/>
                <a:gd name="connsiteX627" fmla="*/ 516646 w 763267"/>
                <a:gd name="connsiteY627" fmla="*/ 455682 h 478792"/>
                <a:gd name="connsiteX628" fmla="*/ 520719 w 763267"/>
                <a:gd name="connsiteY628" fmla="*/ 455817 h 478792"/>
                <a:gd name="connsiteX629" fmla="*/ 523916 w 763267"/>
                <a:gd name="connsiteY629" fmla="*/ 456557 h 478792"/>
                <a:gd name="connsiteX630" fmla="*/ 527382 w 763267"/>
                <a:gd name="connsiteY630" fmla="*/ 457129 h 478792"/>
                <a:gd name="connsiteX631" fmla="*/ 526507 w 763267"/>
                <a:gd name="connsiteY631" fmla="*/ 459585 h 478792"/>
                <a:gd name="connsiteX632" fmla="*/ 524050 w 763267"/>
                <a:gd name="connsiteY632" fmla="*/ 460728 h 478792"/>
                <a:gd name="connsiteX633" fmla="*/ 521156 w 763267"/>
                <a:gd name="connsiteY633" fmla="*/ 461872 h 478792"/>
                <a:gd name="connsiteX634" fmla="*/ 519137 w 763267"/>
                <a:gd name="connsiteY634" fmla="*/ 464059 h 478792"/>
                <a:gd name="connsiteX635" fmla="*/ 518565 w 763267"/>
                <a:gd name="connsiteY635" fmla="*/ 466077 h 478792"/>
                <a:gd name="connsiteX636" fmla="*/ 519574 w 763267"/>
                <a:gd name="connsiteY636" fmla="*/ 468970 h 478792"/>
                <a:gd name="connsiteX637" fmla="*/ 521459 w 763267"/>
                <a:gd name="connsiteY637" fmla="*/ 470282 h 478792"/>
                <a:gd name="connsiteX638" fmla="*/ 524488 w 763267"/>
                <a:gd name="connsiteY638" fmla="*/ 473309 h 478792"/>
                <a:gd name="connsiteX639" fmla="*/ 526810 w 763267"/>
                <a:gd name="connsiteY639" fmla="*/ 474184 h 478792"/>
                <a:gd name="connsiteX640" fmla="*/ 529132 w 763267"/>
                <a:gd name="connsiteY640" fmla="*/ 473747 h 478792"/>
                <a:gd name="connsiteX641" fmla="*/ 531757 w 763267"/>
                <a:gd name="connsiteY641" fmla="*/ 472435 h 478792"/>
                <a:gd name="connsiteX642" fmla="*/ 533339 w 763267"/>
                <a:gd name="connsiteY642" fmla="*/ 470854 h 478792"/>
                <a:gd name="connsiteX643" fmla="*/ 534484 w 763267"/>
                <a:gd name="connsiteY643" fmla="*/ 469105 h 478792"/>
                <a:gd name="connsiteX644" fmla="*/ 535998 w 763267"/>
                <a:gd name="connsiteY644" fmla="*/ 468533 h 478792"/>
                <a:gd name="connsiteX645" fmla="*/ 537815 w 763267"/>
                <a:gd name="connsiteY645" fmla="*/ 470988 h 478792"/>
                <a:gd name="connsiteX646" fmla="*/ 537815 w 763267"/>
                <a:gd name="connsiteY646" fmla="*/ 472570 h 478792"/>
                <a:gd name="connsiteX647" fmla="*/ 537815 w 763267"/>
                <a:gd name="connsiteY647" fmla="*/ 475328 h 478792"/>
                <a:gd name="connsiteX648" fmla="*/ 541585 w 763267"/>
                <a:gd name="connsiteY648" fmla="*/ 478793 h 478792"/>
                <a:gd name="connsiteX649" fmla="*/ 543301 w 763267"/>
                <a:gd name="connsiteY649" fmla="*/ 477346 h 478792"/>
                <a:gd name="connsiteX650" fmla="*/ 546936 w 763267"/>
                <a:gd name="connsiteY650" fmla="*/ 477481 h 478792"/>
                <a:gd name="connsiteX651" fmla="*/ 548517 w 763267"/>
                <a:gd name="connsiteY651" fmla="*/ 472401 h 478792"/>
                <a:gd name="connsiteX652" fmla="*/ 551715 w 763267"/>
                <a:gd name="connsiteY652" fmla="*/ 469710 h 478792"/>
                <a:gd name="connsiteX653" fmla="*/ 556493 w 763267"/>
                <a:gd name="connsiteY653" fmla="*/ 465371 h 478792"/>
                <a:gd name="connsiteX654" fmla="*/ 558883 w 763267"/>
                <a:gd name="connsiteY654" fmla="*/ 462108 h 478792"/>
                <a:gd name="connsiteX655" fmla="*/ 561710 w 763267"/>
                <a:gd name="connsiteY655" fmla="*/ 457600 h 478792"/>
                <a:gd name="connsiteX656" fmla="*/ 567801 w 763267"/>
                <a:gd name="connsiteY656" fmla="*/ 457533 h 478792"/>
                <a:gd name="connsiteX657" fmla="*/ 570056 w 763267"/>
                <a:gd name="connsiteY657" fmla="*/ 457600 h 478792"/>
                <a:gd name="connsiteX658" fmla="*/ 570191 w 763267"/>
                <a:gd name="connsiteY658" fmla="*/ 457533 h 478792"/>
                <a:gd name="connsiteX659" fmla="*/ 575609 w 763267"/>
                <a:gd name="connsiteY659" fmla="*/ 456456 h 478792"/>
                <a:gd name="connsiteX660" fmla="*/ 577797 w 763267"/>
                <a:gd name="connsiteY660" fmla="*/ 455144 h 478792"/>
                <a:gd name="connsiteX661" fmla="*/ 577797 w 763267"/>
                <a:gd name="connsiteY661" fmla="*/ 449930 h 478792"/>
                <a:gd name="connsiteX662" fmla="*/ 577797 w 763267"/>
                <a:gd name="connsiteY662" fmla="*/ 447743 h 478792"/>
                <a:gd name="connsiteX663" fmla="*/ 578672 w 763267"/>
                <a:gd name="connsiteY663" fmla="*/ 443841 h 478792"/>
                <a:gd name="connsiteX664" fmla="*/ 582138 w 763267"/>
                <a:gd name="connsiteY664" fmla="*/ 443841 h 478792"/>
                <a:gd name="connsiteX665" fmla="*/ 595196 w 763267"/>
                <a:gd name="connsiteY665" fmla="*/ 443841 h 478792"/>
                <a:gd name="connsiteX666" fmla="*/ 603004 w 763267"/>
                <a:gd name="connsiteY666" fmla="*/ 442092 h 478792"/>
                <a:gd name="connsiteX667" fmla="*/ 606470 w 763267"/>
                <a:gd name="connsiteY667" fmla="*/ 440578 h 478792"/>
                <a:gd name="connsiteX668" fmla="*/ 610374 w 763267"/>
                <a:gd name="connsiteY668" fmla="*/ 436239 h 478792"/>
                <a:gd name="connsiteX669" fmla="*/ 613403 w 763267"/>
                <a:gd name="connsiteY669" fmla="*/ 433413 h 478792"/>
                <a:gd name="connsiteX670" fmla="*/ 623836 w 763267"/>
                <a:gd name="connsiteY670" fmla="*/ 433413 h 478792"/>
                <a:gd name="connsiteX671" fmla="*/ 632519 w 763267"/>
                <a:gd name="connsiteY671" fmla="*/ 433413 h 478792"/>
                <a:gd name="connsiteX672" fmla="*/ 639687 w 763267"/>
                <a:gd name="connsiteY672" fmla="*/ 433413 h 478792"/>
                <a:gd name="connsiteX673" fmla="*/ 644029 w 763267"/>
                <a:gd name="connsiteY673" fmla="*/ 428972 h 478792"/>
                <a:gd name="connsiteX674" fmla="*/ 639687 w 763267"/>
                <a:gd name="connsiteY674" fmla="*/ 421034 h 478792"/>
                <a:gd name="connsiteX675" fmla="*/ 643827 w 763267"/>
                <a:gd name="connsiteY675" fmla="*/ 416896 h 478792"/>
                <a:gd name="connsiteX676" fmla="*/ 645779 w 763267"/>
                <a:gd name="connsiteY676" fmla="*/ 413633 h 478792"/>
                <a:gd name="connsiteX677" fmla="*/ 650558 w 763267"/>
                <a:gd name="connsiteY677" fmla="*/ 409495 h 478792"/>
                <a:gd name="connsiteX678" fmla="*/ 656010 w 763267"/>
                <a:gd name="connsiteY678" fmla="*/ 412960 h 478792"/>
                <a:gd name="connsiteX679" fmla="*/ 663414 w 763267"/>
                <a:gd name="connsiteY679" fmla="*/ 417939 h 478792"/>
                <a:gd name="connsiteX680" fmla="*/ 669943 w 763267"/>
                <a:gd name="connsiteY680" fmla="*/ 414474 h 478792"/>
                <a:gd name="connsiteX681" fmla="*/ 671020 w 763267"/>
                <a:gd name="connsiteY681" fmla="*/ 410134 h 478792"/>
                <a:gd name="connsiteX682" fmla="*/ 674049 w 763267"/>
                <a:gd name="connsiteY682" fmla="*/ 404046 h 478792"/>
                <a:gd name="connsiteX683" fmla="*/ 680578 w 763267"/>
                <a:gd name="connsiteY683" fmla="*/ 401422 h 478792"/>
                <a:gd name="connsiteX684" fmla="*/ 685155 w 763267"/>
                <a:gd name="connsiteY684" fmla="*/ 400110 h 478792"/>
                <a:gd name="connsiteX685" fmla="*/ 688857 w 763267"/>
                <a:gd name="connsiteY685" fmla="*/ 397721 h 478792"/>
                <a:gd name="connsiteX686" fmla="*/ 691684 w 763267"/>
                <a:gd name="connsiteY686" fmla="*/ 393819 h 478792"/>
                <a:gd name="connsiteX687" fmla="*/ 694309 w 763267"/>
                <a:gd name="connsiteY687" fmla="*/ 389042 h 478792"/>
                <a:gd name="connsiteX688" fmla="*/ 694309 w 763267"/>
                <a:gd name="connsiteY688" fmla="*/ 385577 h 478792"/>
                <a:gd name="connsiteX689" fmla="*/ 696597 w 763267"/>
                <a:gd name="connsiteY689" fmla="*/ 381238 h 478792"/>
                <a:gd name="connsiteX690" fmla="*/ 704540 w 763267"/>
                <a:gd name="connsiteY690" fmla="*/ 380801 h 478792"/>
                <a:gd name="connsiteX691" fmla="*/ 710833 w 763267"/>
                <a:gd name="connsiteY691" fmla="*/ 379489 h 478792"/>
                <a:gd name="connsiteX692" fmla="*/ 722343 w 763267"/>
                <a:gd name="connsiteY692" fmla="*/ 379489 h 478792"/>
                <a:gd name="connsiteX693" fmla="*/ 727560 w 763267"/>
                <a:gd name="connsiteY693" fmla="*/ 381541 h 478792"/>
                <a:gd name="connsiteX694" fmla="*/ 730387 w 763267"/>
                <a:gd name="connsiteY694" fmla="*/ 384265 h 478792"/>
                <a:gd name="connsiteX695" fmla="*/ 735165 w 763267"/>
                <a:gd name="connsiteY695" fmla="*/ 391666 h 478792"/>
                <a:gd name="connsiteX696" fmla="*/ 744724 w 763267"/>
                <a:gd name="connsiteY696" fmla="*/ 391666 h 478792"/>
                <a:gd name="connsiteX697" fmla="*/ 748358 w 763267"/>
                <a:gd name="connsiteY697" fmla="*/ 390018 h 478792"/>
                <a:gd name="connsiteX698" fmla="*/ 756099 w 763267"/>
                <a:gd name="connsiteY698" fmla="*/ 386620 h 478792"/>
                <a:gd name="connsiteX699" fmla="*/ 761214 w 763267"/>
                <a:gd name="connsiteY699" fmla="*/ 384602 h 478792"/>
                <a:gd name="connsiteX700" fmla="*/ 763032 w 763267"/>
                <a:gd name="connsiteY700" fmla="*/ 382146 h 478792"/>
                <a:gd name="connsiteX701" fmla="*/ 763267 w 763267"/>
                <a:gd name="connsiteY701" fmla="*/ 383021 h 478792"/>
                <a:gd name="connsiteX702" fmla="*/ 761820 w 763267"/>
                <a:gd name="connsiteY702" fmla="*/ 377672 h 478792"/>
                <a:gd name="connsiteX703" fmla="*/ 761719 w 763267"/>
                <a:gd name="connsiteY703" fmla="*/ 373164 h 478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</a:cxnLst>
              <a:rect l="l" t="t" r="r" b="b"/>
              <a:pathLst>
                <a:path w="763267" h="478792">
                  <a:moveTo>
                    <a:pt x="761719" y="373164"/>
                  </a:moveTo>
                  <a:lnTo>
                    <a:pt x="756200" y="364755"/>
                  </a:lnTo>
                  <a:lnTo>
                    <a:pt x="755897" y="359238"/>
                  </a:lnTo>
                  <a:lnTo>
                    <a:pt x="756200" y="353721"/>
                  </a:lnTo>
                  <a:lnTo>
                    <a:pt x="755897" y="348809"/>
                  </a:lnTo>
                  <a:lnTo>
                    <a:pt x="754450" y="343595"/>
                  </a:lnTo>
                  <a:lnTo>
                    <a:pt x="752128" y="337237"/>
                  </a:lnTo>
                  <a:lnTo>
                    <a:pt x="750377" y="333167"/>
                  </a:lnTo>
                  <a:lnTo>
                    <a:pt x="745733" y="325934"/>
                  </a:lnTo>
                  <a:lnTo>
                    <a:pt x="741661" y="323310"/>
                  </a:lnTo>
                  <a:lnTo>
                    <a:pt x="736748" y="321864"/>
                  </a:lnTo>
                  <a:lnTo>
                    <a:pt x="733853" y="318668"/>
                  </a:lnTo>
                  <a:lnTo>
                    <a:pt x="738498" y="314598"/>
                  </a:lnTo>
                  <a:lnTo>
                    <a:pt x="736175" y="307365"/>
                  </a:lnTo>
                  <a:lnTo>
                    <a:pt x="736175" y="302723"/>
                  </a:lnTo>
                  <a:lnTo>
                    <a:pt x="733416" y="299258"/>
                  </a:lnTo>
                  <a:lnTo>
                    <a:pt x="730084" y="295188"/>
                  </a:lnTo>
                  <a:lnTo>
                    <a:pt x="725742" y="289973"/>
                  </a:lnTo>
                  <a:lnTo>
                    <a:pt x="721098" y="283885"/>
                  </a:lnTo>
                  <a:lnTo>
                    <a:pt x="721367" y="277224"/>
                  </a:lnTo>
                  <a:lnTo>
                    <a:pt x="725136" y="274028"/>
                  </a:lnTo>
                  <a:lnTo>
                    <a:pt x="727156" y="268242"/>
                  </a:lnTo>
                  <a:lnTo>
                    <a:pt x="727728" y="262725"/>
                  </a:lnTo>
                  <a:lnTo>
                    <a:pt x="726584" y="257814"/>
                  </a:lnTo>
                  <a:lnTo>
                    <a:pt x="731497" y="257814"/>
                  </a:lnTo>
                  <a:lnTo>
                    <a:pt x="735570" y="254921"/>
                  </a:lnTo>
                  <a:lnTo>
                    <a:pt x="740483" y="250851"/>
                  </a:lnTo>
                  <a:lnTo>
                    <a:pt x="745127" y="247386"/>
                  </a:lnTo>
                  <a:lnTo>
                    <a:pt x="746003" y="244493"/>
                  </a:lnTo>
                  <a:lnTo>
                    <a:pt x="742233" y="242172"/>
                  </a:lnTo>
                  <a:lnTo>
                    <a:pt x="737017" y="242172"/>
                  </a:lnTo>
                  <a:cubicBezTo>
                    <a:pt x="737017" y="242172"/>
                    <a:pt x="737589" y="236520"/>
                    <a:pt x="735872" y="237092"/>
                  </a:cubicBezTo>
                  <a:lnTo>
                    <a:pt x="731800" y="231743"/>
                  </a:lnTo>
                  <a:lnTo>
                    <a:pt x="728334" y="231743"/>
                  </a:lnTo>
                  <a:lnTo>
                    <a:pt x="722242" y="231743"/>
                  </a:lnTo>
                  <a:lnTo>
                    <a:pt x="717901" y="228682"/>
                  </a:lnTo>
                  <a:lnTo>
                    <a:pt x="714131" y="223031"/>
                  </a:lnTo>
                  <a:lnTo>
                    <a:pt x="707468" y="220407"/>
                  </a:lnTo>
                  <a:lnTo>
                    <a:pt x="704843" y="222425"/>
                  </a:lnTo>
                  <a:lnTo>
                    <a:pt x="702218" y="226496"/>
                  </a:lnTo>
                  <a:lnTo>
                    <a:pt x="699458" y="226496"/>
                  </a:lnTo>
                  <a:lnTo>
                    <a:pt x="692660" y="222156"/>
                  </a:lnTo>
                  <a:lnTo>
                    <a:pt x="692660" y="217245"/>
                  </a:lnTo>
                  <a:lnTo>
                    <a:pt x="690506" y="212905"/>
                  </a:lnTo>
                  <a:lnTo>
                    <a:pt x="684852" y="207388"/>
                  </a:lnTo>
                  <a:lnTo>
                    <a:pt x="683102" y="207388"/>
                  </a:lnTo>
                  <a:lnTo>
                    <a:pt x="676707" y="207388"/>
                  </a:lnTo>
                  <a:lnTo>
                    <a:pt x="675833" y="202040"/>
                  </a:lnTo>
                  <a:lnTo>
                    <a:pt x="673510" y="202510"/>
                  </a:lnTo>
                  <a:lnTo>
                    <a:pt x="671760" y="203049"/>
                  </a:lnTo>
                  <a:lnTo>
                    <a:pt x="669270" y="202174"/>
                  </a:lnTo>
                  <a:lnTo>
                    <a:pt x="666544" y="203251"/>
                  </a:lnTo>
                  <a:lnTo>
                    <a:pt x="663078" y="203150"/>
                  </a:lnTo>
                  <a:lnTo>
                    <a:pt x="661429" y="201064"/>
                  </a:lnTo>
                  <a:lnTo>
                    <a:pt x="663078" y="197801"/>
                  </a:lnTo>
                  <a:lnTo>
                    <a:pt x="663078" y="194336"/>
                  </a:lnTo>
                  <a:lnTo>
                    <a:pt x="663078" y="192587"/>
                  </a:lnTo>
                  <a:lnTo>
                    <a:pt x="663078" y="187373"/>
                  </a:lnTo>
                  <a:lnTo>
                    <a:pt x="663078" y="183908"/>
                  </a:lnTo>
                  <a:lnTo>
                    <a:pt x="658601" y="181957"/>
                  </a:lnTo>
                  <a:lnTo>
                    <a:pt x="655808" y="180880"/>
                  </a:lnTo>
                  <a:cubicBezTo>
                    <a:pt x="655808" y="180880"/>
                    <a:pt x="653924" y="182899"/>
                    <a:pt x="653924" y="183134"/>
                  </a:cubicBezTo>
                  <a:cubicBezTo>
                    <a:pt x="653924" y="183369"/>
                    <a:pt x="650962" y="190030"/>
                    <a:pt x="650659" y="190737"/>
                  </a:cubicBezTo>
                  <a:cubicBezTo>
                    <a:pt x="650356" y="191443"/>
                    <a:pt x="646957" y="192991"/>
                    <a:pt x="645880" y="194067"/>
                  </a:cubicBezTo>
                  <a:cubicBezTo>
                    <a:pt x="644803" y="195143"/>
                    <a:pt x="640091" y="195884"/>
                    <a:pt x="639149" y="196388"/>
                  </a:cubicBezTo>
                  <a:cubicBezTo>
                    <a:pt x="638207" y="196893"/>
                    <a:pt x="634000" y="197902"/>
                    <a:pt x="633630" y="197969"/>
                  </a:cubicBezTo>
                  <a:cubicBezTo>
                    <a:pt x="633260" y="198037"/>
                    <a:pt x="630601" y="198272"/>
                    <a:pt x="629490" y="197969"/>
                  </a:cubicBezTo>
                  <a:cubicBezTo>
                    <a:pt x="628413" y="197666"/>
                    <a:pt x="624206" y="195345"/>
                    <a:pt x="623635" y="195076"/>
                  </a:cubicBezTo>
                  <a:cubicBezTo>
                    <a:pt x="623062" y="194807"/>
                    <a:pt x="620000" y="192486"/>
                    <a:pt x="619428" y="192049"/>
                  </a:cubicBezTo>
                  <a:cubicBezTo>
                    <a:pt x="618855" y="191611"/>
                    <a:pt x="614716" y="190165"/>
                    <a:pt x="614144" y="189795"/>
                  </a:cubicBezTo>
                  <a:cubicBezTo>
                    <a:pt x="613572" y="189425"/>
                    <a:pt x="610307" y="185724"/>
                    <a:pt x="610004" y="185085"/>
                  </a:cubicBezTo>
                  <a:cubicBezTo>
                    <a:pt x="609701" y="184446"/>
                    <a:pt x="605595" y="184143"/>
                    <a:pt x="604047" y="184076"/>
                  </a:cubicBezTo>
                  <a:cubicBezTo>
                    <a:pt x="602533" y="184009"/>
                    <a:pt x="601893" y="183571"/>
                    <a:pt x="601018" y="182394"/>
                  </a:cubicBezTo>
                  <a:cubicBezTo>
                    <a:pt x="600143" y="181250"/>
                    <a:pt x="600749" y="180376"/>
                    <a:pt x="600749" y="179871"/>
                  </a:cubicBezTo>
                  <a:cubicBezTo>
                    <a:pt x="600749" y="179366"/>
                    <a:pt x="601389" y="177415"/>
                    <a:pt x="601759" y="177045"/>
                  </a:cubicBezTo>
                  <a:cubicBezTo>
                    <a:pt x="602129" y="176675"/>
                    <a:pt x="602466" y="175733"/>
                    <a:pt x="603206" y="174590"/>
                  </a:cubicBezTo>
                  <a:cubicBezTo>
                    <a:pt x="603946" y="173446"/>
                    <a:pt x="603341" y="172638"/>
                    <a:pt x="603846" y="171764"/>
                  </a:cubicBezTo>
                  <a:cubicBezTo>
                    <a:pt x="604350" y="170889"/>
                    <a:pt x="603778" y="169375"/>
                    <a:pt x="603846" y="169073"/>
                  </a:cubicBezTo>
                  <a:cubicBezTo>
                    <a:pt x="603913" y="168770"/>
                    <a:pt x="602634" y="165305"/>
                    <a:pt x="602634" y="165305"/>
                  </a:cubicBezTo>
                  <a:lnTo>
                    <a:pt x="600009" y="163926"/>
                  </a:lnTo>
                  <a:lnTo>
                    <a:pt x="598057" y="162177"/>
                  </a:lnTo>
                  <a:cubicBezTo>
                    <a:pt x="598057" y="162177"/>
                    <a:pt x="596374" y="162816"/>
                    <a:pt x="594725" y="163758"/>
                  </a:cubicBezTo>
                  <a:cubicBezTo>
                    <a:pt x="593076" y="164700"/>
                    <a:pt x="590653" y="165002"/>
                    <a:pt x="589744" y="165339"/>
                  </a:cubicBezTo>
                  <a:cubicBezTo>
                    <a:pt x="588802" y="165709"/>
                    <a:pt x="583215" y="166348"/>
                    <a:pt x="582004" y="166483"/>
                  </a:cubicBezTo>
                  <a:cubicBezTo>
                    <a:pt x="580759" y="166617"/>
                    <a:pt x="578302" y="165978"/>
                    <a:pt x="577157" y="165473"/>
                  </a:cubicBezTo>
                  <a:cubicBezTo>
                    <a:pt x="576013" y="164969"/>
                    <a:pt x="574835" y="162648"/>
                    <a:pt x="574701" y="162278"/>
                  </a:cubicBezTo>
                  <a:cubicBezTo>
                    <a:pt x="574566" y="161907"/>
                    <a:pt x="571504" y="158947"/>
                    <a:pt x="571369" y="158644"/>
                  </a:cubicBezTo>
                  <a:cubicBezTo>
                    <a:pt x="571234" y="158342"/>
                    <a:pt x="568340" y="156121"/>
                    <a:pt x="567397" y="155179"/>
                  </a:cubicBezTo>
                  <a:cubicBezTo>
                    <a:pt x="566455" y="154238"/>
                    <a:pt x="564638" y="153161"/>
                    <a:pt x="564638" y="153161"/>
                  </a:cubicBezTo>
                  <a:lnTo>
                    <a:pt x="562888" y="152522"/>
                  </a:lnTo>
                  <a:cubicBezTo>
                    <a:pt x="562888" y="152522"/>
                    <a:pt x="557368" y="152589"/>
                    <a:pt x="557099" y="152589"/>
                  </a:cubicBezTo>
                  <a:cubicBezTo>
                    <a:pt x="556796" y="152589"/>
                    <a:pt x="556157" y="153228"/>
                    <a:pt x="555955" y="153397"/>
                  </a:cubicBezTo>
                  <a:cubicBezTo>
                    <a:pt x="555719" y="153531"/>
                    <a:pt x="554643" y="154978"/>
                    <a:pt x="554272" y="155987"/>
                  </a:cubicBezTo>
                  <a:cubicBezTo>
                    <a:pt x="553902" y="156996"/>
                    <a:pt x="552522" y="158611"/>
                    <a:pt x="552522" y="158880"/>
                  </a:cubicBezTo>
                  <a:cubicBezTo>
                    <a:pt x="552522" y="159183"/>
                    <a:pt x="550705" y="160764"/>
                    <a:pt x="550133" y="161134"/>
                  </a:cubicBezTo>
                  <a:cubicBezTo>
                    <a:pt x="549561" y="161504"/>
                    <a:pt x="549123" y="162311"/>
                    <a:pt x="548753" y="162883"/>
                  </a:cubicBezTo>
                  <a:cubicBezTo>
                    <a:pt x="548383" y="163455"/>
                    <a:pt x="547575" y="164397"/>
                    <a:pt x="546733" y="165339"/>
                  </a:cubicBezTo>
                  <a:cubicBezTo>
                    <a:pt x="545858" y="166281"/>
                    <a:pt x="545858" y="166483"/>
                    <a:pt x="545522" y="167592"/>
                  </a:cubicBezTo>
                  <a:cubicBezTo>
                    <a:pt x="545152" y="168669"/>
                    <a:pt x="545152" y="169039"/>
                    <a:pt x="544950" y="170216"/>
                  </a:cubicBezTo>
                  <a:cubicBezTo>
                    <a:pt x="544748" y="171360"/>
                    <a:pt x="544142" y="171360"/>
                    <a:pt x="543705" y="171528"/>
                  </a:cubicBezTo>
                  <a:cubicBezTo>
                    <a:pt x="543267" y="171663"/>
                    <a:pt x="542123" y="172538"/>
                    <a:pt x="542123" y="172538"/>
                  </a:cubicBezTo>
                  <a:lnTo>
                    <a:pt x="539666" y="171327"/>
                  </a:lnTo>
                  <a:lnTo>
                    <a:pt x="537478" y="170250"/>
                  </a:lnTo>
                  <a:lnTo>
                    <a:pt x="536603" y="166550"/>
                  </a:lnTo>
                  <a:lnTo>
                    <a:pt x="539666" y="163085"/>
                  </a:lnTo>
                  <a:cubicBezTo>
                    <a:pt x="539666" y="163085"/>
                    <a:pt x="539666" y="160461"/>
                    <a:pt x="539666" y="159620"/>
                  </a:cubicBezTo>
                  <a:cubicBezTo>
                    <a:pt x="539666" y="158745"/>
                    <a:pt x="539666" y="157232"/>
                    <a:pt x="539666" y="157232"/>
                  </a:cubicBezTo>
                  <a:cubicBezTo>
                    <a:pt x="539666" y="157232"/>
                    <a:pt x="537378" y="158745"/>
                    <a:pt x="536738" y="158745"/>
                  </a:cubicBezTo>
                  <a:cubicBezTo>
                    <a:pt x="536099" y="158745"/>
                    <a:pt x="534685" y="158106"/>
                    <a:pt x="534685" y="158106"/>
                  </a:cubicBezTo>
                  <a:lnTo>
                    <a:pt x="533474" y="156895"/>
                  </a:lnTo>
                  <a:lnTo>
                    <a:pt x="530647" y="153195"/>
                  </a:lnTo>
                  <a:lnTo>
                    <a:pt x="527382" y="151143"/>
                  </a:lnTo>
                  <a:lnTo>
                    <a:pt x="524252" y="149730"/>
                  </a:lnTo>
                  <a:lnTo>
                    <a:pt x="520551" y="144415"/>
                  </a:lnTo>
                  <a:lnTo>
                    <a:pt x="521291" y="141926"/>
                  </a:lnTo>
                  <a:lnTo>
                    <a:pt x="524219" y="137250"/>
                  </a:lnTo>
                  <a:cubicBezTo>
                    <a:pt x="524219" y="137250"/>
                    <a:pt x="521055" y="136173"/>
                    <a:pt x="520315" y="135299"/>
                  </a:cubicBezTo>
                  <a:cubicBezTo>
                    <a:pt x="519541" y="134424"/>
                    <a:pt x="516175" y="131396"/>
                    <a:pt x="515974" y="130623"/>
                  </a:cubicBezTo>
                  <a:cubicBezTo>
                    <a:pt x="515771" y="129849"/>
                    <a:pt x="515872" y="127360"/>
                    <a:pt x="515872" y="127360"/>
                  </a:cubicBezTo>
                  <a:cubicBezTo>
                    <a:pt x="515872" y="127360"/>
                    <a:pt x="516646" y="126283"/>
                    <a:pt x="517387" y="126283"/>
                  </a:cubicBezTo>
                  <a:cubicBezTo>
                    <a:pt x="518127" y="126283"/>
                    <a:pt x="519776" y="125207"/>
                    <a:pt x="519776" y="125207"/>
                  </a:cubicBezTo>
                  <a:lnTo>
                    <a:pt x="522065" y="123155"/>
                  </a:lnTo>
                  <a:lnTo>
                    <a:pt x="522704" y="118479"/>
                  </a:lnTo>
                  <a:lnTo>
                    <a:pt x="517925" y="114577"/>
                  </a:lnTo>
                  <a:lnTo>
                    <a:pt x="516041" y="113063"/>
                  </a:lnTo>
                  <a:lnTo>
                    <a:pt x="515334" y="111011"/>
                  </a:lnTo>
                  <a:lnTo>
                    <a:pt x="515334" y="107546"/>
                  </a:lnTo>
                  <a:lnTo>
                    <a:pt x="515603" y="103846"/>
                  </a:lnTo>
                  <a:cubicBezTo>
                    <a:pt x="515603" y="103846"/>
                    <a:pt x="516209" y="99270"/>
                    <a:pt x="515974" y="97992"/>
                  </a:cubicBezTo>
                  <a:cubicBezTo>
                    <a:pt x="515771" y="96680"/>
                    <a:pt x="515974" y="94527"/>
                    <a:pt x="515974" y="94527"/>
                  </a:cubicBezTo>
                  <a:cubicBezTo>
                    <a:pt x="515974" y="94527"/>
                    <a:pt x="512507" y="92341"/>
                    <a:pt x="511867" y="92341"/>
                  </a:cubicBezTo>
                  <a:cubicBezTo>
                    <a:pt x="511194" y="92341"/>
                    <a:pt x="508603" y="93215"/>
                    <a:pt x="508603" y="93215"/>
                  </a:cubicBezTo>
                  <a:cubicBezTo>
                    <a:pt x="508603" y="93215"/>
                    <a:pt x="506651" y="94729"/>
                    <a:pt x="505978" y="94965"/>
                  </a:cubicBezTo>
                  <a:cubicBezTo>
                    <a:pt x="505339" y="95166"/>
                    <a:pt x="504228" y="96916"/>
                    <a:pt x="504228" y="96916"/>
                  </a:cubicBezTo>
                  <a:cubicBezTo>
                    <a:pt x="504228" y="96916"/>
                    <a:pt x="502916" y="98867"/>
                    <a:pt x="502916" y="99741"/>
                  </a:cubicBezTo>
                  <a:cubicBezTo>
                    <a:pt x="502916" y="100616"/>
                    <a:pt x="500324" y="101928"/>
                    <a:pt x="500324" y="101928"/>
                  </a:cubicBezTo>
                  <a:lnTo>
                    <a:pt x="498372" y="102803"/>
                  </a:lnTo>
                  <a:lnTo>
                    <a:pt x="495343" y="103677"/>
                  </a:lnTo>
                  <a:lnTo>
                    <a:pt x="493391" y="104754"/>
                  </a:lnTo>
                  <a:lnTo>
                    <a:pt x="491641" y="106267"/>
                  </a:lnTo>
                  <a:lnTo>
                    <a:pt x="488814" y="108656"/>
                  </a:lnTo>
                  <a:lnTo>
                    <a:pt x="487501" y="109531"/>
                  </a:lnTo>
                  <a:cubicBezTo>
                    <a:pt x="487501" y="109531"/>
                    <a:pt x="485987" y="109531"/>
                    <a:pt x="484675" y="108891"/>
                  </a:cubicBezTo>
                  <a:cubicBezTo>
                    <a:pt x="483362" y="108252"/>
                    <a:pt x="483160" y="108690"/>
                    <a:pt x="482049" y="108252"/>
                  </a:cubicBezTo>
                  <a:cubicBezTo>
                    <a:pt x="480939" y="107815"/>
                    <a:pt x="480535" y="107176"/>
                    <a:pt x="479223" y="105225"/>
                  </a:cubicBezTo>
                  <a:cubicBezTo>
                    <a:pt x="477910" y="103274"/>
                    <a:pt x="477910" y="104586"/>
                    <a:pt x="477035" y="104148"/>
                  </a:cubicBezTo>
                  <a:cubicBezTo>
                    <a:pt x="476160" y="103711"/>
                    <a:pt x="473535" y="100683"/>
                    <a:pt x="473535" y="100683"/>
                  </a:cubicBezTo>
                  <a:lnTo>
                    <a:pt x="473535" y="98732"/>
                  </a:lnTo>
                  <a:cubicBezTo>
                    <a:pt x="473535" y="98732"/>
                    <a:pt x="474747" y="95469"/>
                    <a:pt x="474747" y="94393"/>
                  </a:cubicBezTo>
                  <a:cubicBezTo>
                    <a:pt x="474747" y="93316"/>
                    <a:pt x="473535" y="92442"/>
                    <a:pt x="473535" y="92442"/>
                  </a:cubicBezTo>
                  <a:lnTo>
                    <a:pt x="468319" y="92004"/>
                  </a:lnTo>
                  <a:lnTo>
                    <a:pt x="468319" y="93955"/>
                  </a:lnTo>
                  <a:lnTo>
                    <a:pt x="465492" y="95705"/>
                  </a:lnTo>
                  <a:cubicBezTo>
                    <a:pt x="465492" y="95705"/>
                    <a:pt x="462867" y="96344"/>
                    <a:pt x="460713" y="96781"/>
                  </a:cubicBezTo>
                  <a:cubicBezTo>
                    <a:pt x="458525" y="97218"/>
                    <a:pt x="457011" y="96344"/>
                    <a:pt x="457011" y="96344"/>
                  </a:cubicBezTo>
                  <a:lnTo>
                    <a:pt x="454621" y="96344"/>
                  </a:lnTo>
                  <a:cubicBezTo>
                    <a:pt x="454621" y="96344"/>
                    <a:pt x="450919" y="96882"/>
                    <a:pt x="450044" y="97319"/>
                  </a:cubicBezTo>
                  <a:cubicBezTo>
                    <a:pt x="449169" y="97757"/>
                    <a:pt x="445501" y="98093"/>
                    <a:pt x="445501" y="98093"/>
                  </a:cubicBezTo>
                  <a:lnTo>
                    <a:pt x="441799" y="98295"/>
                  </a:lnTo>
                  <a:cubicBezTo>
                    <a:pt x="441799" y="98295"/>
                    <a:pt x="437457" y="98093"/>
                    <a:pt x="436582" y="98295"/>
                  </a:cubicBezTo>
                  <a:cubicBezTo>
                    <a:pt x="435707" y="98497"/>
                    <a:pt x="433318" y="99607"/>
                    <a:pt x="433318" y="99607"/>
                  </a:cubicBezTo>
                  <a:lnTo>
                    <a:pt x="425039" y="101793"/>
                  </a:lnTo>
                  <a:lnTo>
                    <a:pt x="420024" y="101356"/>
                  </a:lnTo>
                  <a:lnTo>
                    <a:pt x="409154" y="100044"/>
                  </a:lnTo>
                  <a:lnTo>
                    <a:pt x="406562" y="101558"/>
                  </a:lnTo>
                  <a:lnTo>
                    <a:pt x="399832" y="101558"/>
                  </a:lnTo>
                  <a:lnTo>
                    <a:pt x="393740" y="102769"/>
                  </a:lnTo>
                  <a:cubicBezTo>
                    <a:pt x="393740" y="102769"/>
                    <a:pt x="390913" y="102231"/>
                    <a:pt x="390038" y="102231"/>
                  </a:cubicBezTo>
                  <a:cubicBezTo>
                    <a:pt x="389163" y="102231"/>
                    <a:pt x="388288" y="102668"/>
                    <a:pt x="388288" y="102668"/>
                  </a:cubicBezTo>
                  <a:lnTo>
                    <a:pt x="385225" y="103980"/>
                  </a:lnTo>
                  <a:lnTo>
                    <a:pt x="383273" y="104619"/>
                  </a:lnTo>
                  <a:cubicBezTo>
                    <a:pt x="383273" y="104619"/>
                    <a:pt x="381086" y="105696"/>
                    <a:pt x="380446" y="105696"/>
                  </a:cubicBezTo>
                  <a:cubicBezTo>
                    <a:pt x="379807" y="105696"/>
                    <a:pt x="376980" y="105057"/>
                    <a:pt x="376980" y="105057"/>
                  </a:cubicBezTo>
                  <a:lnTo>
                    <a:pt x="375028" y="105057"/>
                  </a:lnTo>
                  <a:cubicBezTo>
                    <a:pt x="375028" y="105057"/>
                    <a:pt x="372841" y="103644"/>
                    <a:pt x="372638" y="103005"/>
                  </a:cubicBezTo>
                  <a:cubicBezTo>
                    <a:pt x="372403" y="102365"/>
                    <a:pt x="370451" y="101827"/>
                    <a:pt x="369812" y="100515"/>
                  </a:cubicBezTo>
                  <a:cubicBezTo>
                    <a:pt x="369139" y="99203"/>
                    <a:pt x="368499" y="99876"/>
                    <a:pt x="367860" y="99876"/>
                  </a:cubicBezTo>
                  <a:cubicBezTo>
                    <a:pt x="367220" y="99876"/>
                    <a:pt x="365672" y="99876"/>
                    <a:pt x="365032" y="99641"/>
                  </a:cubicBezTo>
                  <a:cubicBezTo>
                    <a:pt x="364393" y="99439"/>
                    <a:pt x="360893" y="98766"/>
                    <a:pt x="360893" y="98766"/>
                  </a:cubicBezTo>
                  <a:lnTo>
                    <a:pt x="357426" y="97017"/>
                  </a:lnTo>
                  <a:lnTo>
                    <a:pt x="354600" y="96142"/>
                  </a:lnTo>
                  <a:lnTo>
                    <a:pt x="352849" y="93316"/>
                  </a:lnTo>
                  <a:lnTo>
                    <a:pt x="350898" y="92004"/>
                  </a:lnTo>
                  <a:lnTo>
                    <a:pt x="348306" y="91365"/>
                  </a:lnTo>
                  <a:cubicBezTo>
                    <a:pt x="348306" y="91365"/>
                    <a:pt x="344368" y="90289"/>
                    <a:pt x="343292" y="90289"/>
                  </a:cubicBezTo>
                  <a:cubicBezTo>
                    <a:pt x="342215" y="90289"/>
                    <a:pt x="341104" y="89650"/>
                    <a:pt x="341104" y="89650"/>
                  </a:cubicBezTo>
                  <a:lnTo>
                    <a:pt x="339791" y="89010"/>
                  </a:lnTo>
                  <a:cubicBezTo>
                    <a:pt x="339791" y="89010"/>
                    <a:pt x="335450" y="88371"/>
                    <a:pt x="335013" y="87698"/>
                  </a:cubicBezTo>
                  <a:cubicBezTo>
                    <a:pt x="334575" y="87059"/>
                    <a:pt x="333061" y="86824"/>
                    <a:pt x="333061" y="86824"/>
                  </a:cubicBezTo>
                  <a:cubicBezTo>
                    <a:pt x="333061" y="86824"/>
                    <a:pt x="331310" y="86824"/>
                    <a:pt x="330234" y="85949"/>
                  </a:cubicBezTo>
                  <a:cubicBezTo>
                    <a:pt x="329157" y="85075"/>
                    <a:pt x="328046" y="84873"/>
                    <a:pt x="328046" y="84873"/>
                  </a:cubicBezTo>
                  <a:lnTo>
                    <a:pt x="326734" y="82922"/>
                  </a:lnTo>
                  <a:lnTo>
                    <a:pt x="324984" y="78347"/>
                  </a:lnTo>
                  <a:cubicBezTo>
                    <a:pt x="324984" y="78347"/>
                    <a:pt x="324109" y="76597"/>
                    <a:pt x="323032" y="74646"/>
                  </a:cubicBezTo>
                  <a:lnTo>
                    <a:pt x="321719" y="74209"/>
                  </a:lnTo>
                  <a:lnTo>
                    <a:pt x="318017" y="74646"/>
                  </a:lnTo>
                  <a:cubicBezTo>
                    <a:pt x="318017" y="74646"/>
                    <a:pt x="316940" y="75958"/>
                    <a:pt x="316065" y="76160"/>
                  </a:cubicBezTo>
                  <a:cubicBezTo>
                    <a:pt x="315190" y="76362"/>
                    <a:pt x="313238" y="75958"/>
                    <a:pt x="312363" y="75521"/>
                  </a:cubicBezTo>
                  <a:cubicBezTo>
                    <a:pt x="311488" y="75083"/>
                    <a:pt x="305834" y="74007"/>
                    <a:pt x="305834" y="74007"/>
                  </a:cubicBezTo>
                  <a:cubicBezTo>
                    <a:pt x="305834" y="74007"/>
                    <a:pt x="302368" y="72695"/>
                    <a:pt x="301493" y="72695"/>
                  </a:cubicBezTo>
                  <a:cubicBezTo>
                    <a:pt x="300618" y="72695"/>
                    <a:pt x="299103" y="70307"/>
                    <a:pt x="299103" y="70307"/>
                  </a:cubicBezTo>
                  <a:lnTo>
                    <a:pt x="297791" y="67918"/>
                  </a:lnTo>
                  <a:lnTo>
                    <a:pt x="296478" y="65294"/>
                  </a:lnTo>
                  <a:lnTo>
                    <a:pt x="294728" y="59879"/>
                  </a:lnTo>
                  <a:lnTo>
                    <a:pt x="292339" y="56178"/>
                  </a:lnTo>
                  <a:lnTo>
                    <a:pt x="286483" y="51401"/>
                  </a:lnTo>
                  <a:lnTo>
                    <a:pt x="278641" y="49652"/>
                  </a:lnTo>
                  <a:lnTo>
                    <a:pt x="276454" y="45952"/>
                  </a:lnTo>
                  <a:lnTo>
                    <a:pt x="275713" y="41377"/>
                  </a:lnTo>
                  <a:lnTo>
                    <a:pt x="276454" y="36701"/>
                  </a:lnTo>
                  <a:cubicBezTo>
                    <a:pt x="276454" y="36701"/>
                    <a:pt x="275276" y="32799"/>
                    <a:pt x="274939" y="32462"/>
                  </a:cubicBezTo>
                  <a:cubicBezTo>
                    <a:pt x="274603" y="32126"/>
                    <a:pt x="270699" y="25734"/>
                    <a:pt x="270261" y="24624"/>
                  </a:cubicBezTo>
                  <a:cubicBezTo>
                    <a:pt x="269824" y="23548"/>
                    <a:pt x="267872" y="18973"/>
                    <a:pt x="267872" y="18973"/>
                  </a:cubicBezTo>
                  <a:lnTo>
                    <a:pt x="265583" y="16483"/>
                  </a:lnTo>
                  <a:cubicBezTo>
                    <a:pt x="265583" y="16483"/>
                    <a:pt x="262958" y="12447"/>
                    <a:pt x="262655" y="11807"/>
                  </a:cubicBezTo>
                  <a:cubicBezTo>
                    <a:pt x="262319" y="11168"/>
                    <a:pt x="260266" y="7232"/>
                    <a:pt x="259626" y="5954"/>
                  </a:cubicBezTo>
                  <a:cubicBezTo>
                    <a:pt x="258987" y="4642"/>
                    <a:pt x="257876" y="2590"/>
                    <a:pt x="257876" y="2590"/>
                  </a:cubicBezTo>
                  <a:cubicBezTo>
                    <a:pt x="257876" y="2590"/>
                    <a:pt x="256900" y="942"/>
                    <a:pt x="256900" y="538"/>
                  </a:cubicBezTo>
                  <a:cubicBezTo>
                    <a:pt x="256900" y="101"/>
                    <a:pt x="254948" y="0"/>
                    <a:pt x="254948" y="0"/>
                  </a:cubicBezTo>
                  <a:cubicBezTo>
                    <a:pt x="254948" y="0"/>
                    <a:pt x="250607" y="2826"/>
                    <a:pt x="249833" y="3902"/>
                  </a:cubicBezTo>
                  <a:cubicBezTo>
                    <a:pt x="249093" y="4979"/>
                    <a:pt x="247342" y="5416"/>
                    <a:pt x="246467" y="6089"/>
                  </a:cubicBezTo>
                  <a:cubicBezTo>
                    <a:pt x="245592" y="6728"/>
                    <a:pt x="243304" y="7401"/>
                    <a:pt x="241890" y="7838"/>
                  </a:cubicBezTo>
                  <a:cubicBezTo>
                    <a:pt x="240477" y="8275"/>
                    <a:pt x="240039" y="9587"/>
                    <a:pt x="239501" y="10125"/>
                  </a:cubicBezTo>
                  <a:cubicBezTo>
                    <a:pt x="238962" y="10664"/>
                    <a:pt x="238087" y="12178"/>
                    <a:pt x="237650" y="12514"/>
                  </a:cubicBezTo>
                  <a:cubicBezTo>
                    <a:pt x="237212" y="12850"/>
                    <a:pt x="235698" y="13826"/>
                    <a:pt x="235261" y="14364"/>
                  </a:cubicBezTo>
                  <a:cubicBezTo>
                    <a:pt x="234823" y="14902"/>
                    <a:pt x="232770" y="16315"/>
                    <a:pt x="232097" y="16551"/>
                  </a:cubicBezTo>
                  <a:cubicBezTo>
                    <a:pt x="231458" y="16786"/>
                    <a:pt x="229707" y="16988"/>
                    <a:pt x="228832" y="16988"/>
                  </a:cubicBezTo>
                  <a:cubicBezTo>
                    <a:pt x="227957" y="16988"/>
                    <a:pt x="226746" y="16887"/>
                    <a:pt x="226746" y="16887"/>
                  </a:cubicBezTo>
                  <a:cubicBezTo>
                    <a:pt x="226746" y="16887"/>
                    <a:pt x="223380" y="16113"/>
                    <a:pt x="223044" y="15911"/>
                  </a:cubicBezTo>
                  <a:cubicBezTo>
                    <a:pt x="222707" y="15710"/>
                    <a:pt x="220318" y="14061"/>
                    <a:pt x="219577" y="13422"/>
                  </a:cubicBezTo>
                  <a:cubicBezTo>
                    <a:pt x="218803" y="12783"/>
                    <a:pt x="217726" y="11471"/>
                    <a:pt x="216751" y="10596"/>
                  </a:cubicBezTo>
                  <a:cubicBezTo>
                    <a:pt x="215774" y="9722"/>
                    <a:pt x="216212" y="8107"/>
                    <a:pt x="216212" y="8107"/>
                  </a:cubicBezTo>
                  <a:lnTo>
                    <a:pt x="216751" y="4945"/>
                  </a:lnTo>
                  <a:lnTo>
                    <a:pt x="215976" y="3095"/>
                  </a:lnTo>
                  <a:lnTo>
                    <a:pt x="213923" y="2119"/>
                  </a:lnTo>
                  <a:lnTo>
                    <a:pt x="211299" y="2321"/>
                  </a:lnTo>
                  <a:lnTo>
                    <a:pt x="208471" y="5920"/>
                  </a:lnTo>
                  <a:cubicBezTo>
                    <a:pt x="208471" y="5920"/>
                    <a:pt x="206183" y="7333"/>
                    <a:pt x="205745" y="7973"/>
                  </a:cubicBezTo>
                  <a:cubicBezTo>
                    <a:pt x="205308" y="8612"/>
                    <a:pt x="199452" y="10596"/>
                    <a:pt x="199452" y="10596"/>
                  </a:cubicBezTo>
                  <a:lnTo>
                    <a:pt x="189255" y="10798"/>
                  </a:lnTo>
                  <a:lnTo>
                    <a:pt x="186630" y="12312"/>
                  </a:lnTo>
                  <a:cubicBezTo>
                    <a:pt x="186630" y="12312"/>
                    <a:pt x="179798" y="13389"/>
                    <a:pt x="178788" y="13725"/>
                  </a:cubicBezTo>
                  <a:cubicBezTo>
                    <a:pt x="177812" y="14061"/>
                    <a:pt x="169903" y="12110"/>
                    <a:pt x="168927" y="12110"/>
                  </a:cubicBezTo>
                  <a:cubicBezTo>
                    <a:pt x="167951" y="12110"/>
                    <a:pt x="160547" y="9722"/>
                    <a:pt x="159470" y="9722"/>
                  </a:cubicBezTo>
                  <a:cubicBezTo>
                    <a:pt x="158393" y="9722"/>
                    <a:pt x="153480" y="7973"/>
                    <a:pt x="152201" y="7771"/>
                  </a:cubicBezTo>
                  <a:cubicBezTo>
                    <a:pt x="150889" y="7569"/>
                    <a:pt x="145470" y="5483"/>
                    <a:pt x="144797" y="5281"/>
                  </a:cubicBezTo>
                  <a:cubicBezTo>
                    <a:pt x="144158" y="5079"/>
                    <a:pt x="139378" y="2792"/>
                    <a:pt x="139378" y="2792"/>
                  </a:cubicBezTo>
                  <a:lnTo>
                    <a:pt x="135138" y="841"/>
                  </a:lnTo>
                  <a:lnTo>
                    <a:pt x="131234" y="841"/>
                  </a:lnTo>
                  <a:cubicBezTo>
                    <a:pt x="131234" y="841"/>
                    <a:pt x="126893" y="2523"/>
                    <a:pt x="126253" y="2960"/>
                  </a:cubicBezTo>
                  <a:cubicBezTo>
                    <a:pt x="125614" y="3397"/>
                    <a:pt x="122787" y="3768"/>
                    <a:pt x="121676" y="4306"/>
                  </a:cubicBezTo>
                  <a:cubicBezTo>
                    <a:pt x="120599" y="4844"/>
                    <a:pt x="117974" y="4306"/>
                    <a:pt x="117335" y="4306"/>
                  </a:cubicBezTo>
                  <a:cubicBezTo>
                    <a:pt x="116695" y="4306"/>
                    <a:pt x="113767" y="5719"/>
                    <a:pt x="112758" y="6257"/>
                  </a:cubicBezTo>
                  <a:cubicBezTo>
                    <a:pt x="111782" y="6795"/>
                    <a:pt x="111883" y="6896"/>
                    <a:pt x="111681" y="7333"/>
                  </a:cubicBezTo>
                  <a:cubicBezTo>
                    <a:pt x="111479" y="7771"/>
                    <a:pt x="109291" y="10496"/>
                    <a:pt x="108955" y="10697"/>
                  </a:cubicBezTo>
                  <a:cubicBezTo>
                    <a:pt x="108618" y="10899"/>
                    <a:pt x="108181" y="13187"/>
                    <a:pt x="108181" y="13624"/>
                  </a:cubicBezTo>
                  <a:cubicBezTo>
                    <a:pt x="108181" y="14061"/>
                    <a:pt x="109056" y="15575"/>
                    <a:pt x="109056" y="15575"/>
                  </a:cubicBezTo>
                  <a:cubicBezTo>
                    <a:pt x="109056" y="15575"/>
                    <a:pt x="117167" y="18771"/>
                    <a:pt x="117739" y="19645"/>
                  </a:cubicBezTo>
                  <a:cubicBezTo>
                    <a:pt x="118311" y="20520"/>
                    <a:pt x="118883" y="19948"/>
                    <a:pt x="121508" y="21126"/>
                  </a:cubicBezTo>
                  <a:cubicBezTo>
                    <a:pt x="124133" y="22303"/>
                    <a:pt x="126422" y="21395"/>
                    <a:pt x="126422" y="21395"/>
                  </a:cubicBezTo>
                  <a:cubicBezTo>
                    <a:pt x="126422" y="21395"/>
                    <a:pt x="129888" y="20823"/>
                    <a:pt x="131335" y="21395"/>
                  </a:cubicBezTo>
                  <a:cubicBezTo>
                    <a:pt x="132782" y="21967"/>
                    <a:pt x="137427" y="24288"/>
                    <a:pt x="137427" y="24288"/>
                  </a:cubicBezTo>
                  <a:lnTo>
                    <a:pt x="137999" y="28930"/>
                  </a:lnTo>
                  <a:lnTo>
                    <a:pt x="138571" y="33841"/>
                  </a:lnTo>
                  <a:cubicBezTo>
                    <a:pt x="138571" y="33841"/>
                    <a:pt x="136552" y="37474"/>
                    <a:pt x="136383" y="37912"/>
                  </a:cubicBezTo>
                  <a:cubicBezTo>
                    <a:pt x="136249" y="38349"/>
                    <a:pt x="136080" y="40368"/>
                    <a:pt x="136080" y="42689"/>
                  </a:cubicBezTo>
                  <a:cubicBezTo>
                    <a:pt x="136080" y="45010"/>
                    <a:pt x="138840" y="45716"/>
                    <a:pt x="141028" y="47768"/>
                  </a:cubicBezTo>
                  <a:cubicBezTo>
                    <a:pt x="143215" y="49787"/>
                    <a:pt x="142475" y="47768"/>
                    <a:pt x="145100" y="47465"/>
                  </a:cubicBezTo>
                  <a:cubicBezTo>
                    <a:pt x="147691" y="47163"/>
                    <a:pt x="147254" y="46894"/>
                    <a:pt x="151898" y="46759"/>
                  </a:cubicBezTo>
                  <a:cubicBezTo>
                    <a:pt x="156542" y="46624"/>
                    <a:pt x="157687" y="47768"/>
                    <a:pt x="160446" y="48205"/>
                  </a:cubicBezTo>
                  <a:cubicBezTo>
                    <a:pt x="163206" y="48643"/>
                    <a:pt x="164519" y="50796"/>
                    <a:pt x="165663" y="51536"/>
                  </a:cubicBezTo>
                  <a:cubicBezTo>
                    <a:pt x="166807" y="52242"/>
                    <a:pt x="171451" y="55573"/>
                    <a:pt x="173336" y="57019"/>
                  </a:cubicBezTo>
                  <a:cubicBezTo>
                    <a:pt x="175221" y="58465"/>
                    <a:pt x="174480" y="60215"/>
                    <a:pt x="174783" y="62670"/>
                  </a:cubicBezTo>
                  <a:cubicBezTo>
                    <a:pt x="175052" y="65126"/>
                    <a:pt x="173908" y="66304"/>
                    <a:pt x="173336" y="67447"/>
                  </a:cubicBezTo>
                  <a:cubicBezTo>
                    <a:pt x="172764" y="68591"/>
                    <a:pt x="171148" y="71484"/>
                    <a:pt x="170442" y="72359"/>
                  </a:cubicBezTo>
                  <a:cubicBezTo>
                    <a:pt x="169735" y="73233"/>
                    <a:pt x="166100" y="74949"/>
                    <a:pt x="164350" y="75554"/>
                  </a:cubicBezTo>
                  <a:cubicBezTo>
                    <a:pt x="162600" y="76126"/>
                    <a:pt x="157990" y="78750"/>
                    <a:pt x="155802" y="77304"/>
                  </a:cubicBezTo>
                  <a:cubicBezTo>
                    <a:pt x="153615" y="75857"/>
                    <a:pt x="151158" y="77304"/>
                    <a:pt x="151158" y="77304"/>
                  </a:cubicBezTo>
                  <a:cubicBezTo>
                    <a:pt x="151158" y="77304"/>
                    <a:pt x="143754" y="79928"/>
                    <a:pt x="142744" y="80197"/>
                  </a:cubicBezTo>
                  <a:cubicBezTo>
                    <a:pt x="141734" y="80500"/>
                    <a:pt x="133624" y="80634"/>
                    <a:pt x="133624" y="80634"/>
                  </a:cubicBezTo>
                  <a:lnTo>
                    <a:pt x="128138" y="77304"/>
                  </a:lnTo>
                  <a:lnTo>
                    <a:pt x="121744" y="77304"/>
                  </a:lnTo>
                  <a:lnTo>
                    <a:pt x="119421" y="80129"/>
                  </a:lnTo>
                  <a:lnTo>
                    <a:pt x="116393" y="81206"/>
                  </a:lnTo>
                  <a:lnTo>
                    <a:pt x="115518" y="91197"/>
                  </a:lnTo>
                  <a:cubicBezTo>
                    <a:pt x="115518" y="91197"/>
                    <a:pt x="115383" y="98598"/>
                    <a:pt x="114811" y="99001"/>
                  </a:cubicBezTo>
                  <a:cubicBezTo>
                    <a:pt x="114239" y="99439"/>
                    <a:pt x="112791" y="101625"/>
                    <a:pt x="111613" y="102769"/>
                  </a:cubicBezTo>
                  <a:cubicBezTo>
                    <a:pt x="110469" y="103913"/>
                    <a:pt x="108147" y="107983"/>
                    <a:pt x="107710" y="109732"/>
                  </a:cubicBezTo>
                  <a:cubicBezTo>
                    <a:pt x="107272" y="111482"/>
                    <a:pt x="107844" y="113803"/>
                    <a:pt x="108282" y="114375"/>
                  </a:cubicBezTo>
                  <a:cubicBezTo>
                    <a:pt x="108719" y="114947"/>
                    <a:pt x="112623" y="119589"/>
                    <a:pt x="113936" y="121170"/>
                  </a:cubicBezTo>
                  <a:cubicBezTo>
                    <a:pt x="115248" y="122751"/>
                    <a:pt x="117268" y="125240"/>
                    <a:pt x="118277" y="125947"/>
                  </a:cubicBezTo>
                  <a:cubicBezTo>
                    <a:pt x="119287" y="126687"/>
                    <a:pt x="120465" y="131295"/>
                    <a:pt x="120465" y="131295"/>
                  </a:cubicBezTo>
                  <a:cubicBezTo>
                    <a:pt x="120465" y="131295"/>
                    <a:pt x="120465" y="138091"/>
                    <a:pt x="120599" y="139537"/>
                  </a:cubicBezTo>
                  <a:cubicBezTo>
                    <a:pt x="120734" y="140984"/>
                    <a:pt x="120162" y="147813"/>
                    <a:pt x="120162" y="148384"/>
                  </a:cubicBezTo>
                  <a:cubicBezTo>
                    <a:pt x="120162" y="148956"/>
                    <a:pt x="119724" y="156054"/>
                    <a:pt x="119724" y="156626"/>
                  </a:cubicBezTo>
                  <a:cubicBezTo>
                    <a:pt x="119724" y="157198"/>
                    <a:pt x="120027" y="163287"/>
                    <a:pt x="120027" y="163287"/>
                  </a:cubicBezTo>
                  <a:cubicBezTo>
                    <a:pt x="120027" y="163287"/>
                    <a:pt x="123359" y="173715"/>
                    <a:pt x="123797" y="174287"/>
                  </a:cubicBezTo>
                  <a:cubicBezTo>
                    <a:pt x="124234" y="174859"/>
                    <a:pt x="124941" y="178492"/>
                    <a:pt x="124941" y="178492"/>
                  </a:cubicBezTo>
                  <a:lnTo>
                    <a:pt x="128340" y="181519"/>
                  </a:lnTo>
                  <a:cubicBezTo>
                    <a:pt x="128340" y="181519"/>
                    <a:pt x="131604" y="183269"/>
                    <a:pt x="132479" y="183269"/>
                  </a:cubicBezTo>
                  <a:cubicBezTo>
                    <a:pt x="133354" y="183269"/>
                    <a:pt x="135071" y="187171"/>
                    <a:pt x="135071" y="187171"/>
                  </a:cubicBezTo>
                  <a:cubicBezTo>
                    <a:pt x="135071" y="187171"/>
                    <a:pt x="132883" y="190636"/>
                    <a:pt x="132244" y="192183"/>
                  </a:cubicBezTo>
                  <a:cubicBezTo>
                    <a:pt x="131604" y="193697"/>
                    <a:pt x="130292" y="197835"/>
                    <a:pt x="130292" y="197835"/>
                  </a:cubicBezTo>
                  <a:lnTo>
                    <a:pt x="135071" y="198911"/>
                  </a:lnTo>
                  <a:lnTo>
                    <a:pt x="145504" y="198911"/>
                  </a:lnTo>
                  <a:lnTo>
                    <a:pt x="147658" y="198911"/>
                  </a:lnTo>
                  <a:lnTo>
                    <a:pt x="148970" y="202275"/>
                  </a:lnTo>
                  <a:lnTo>
                    <a:pt x="154389" y="207590"/>
                  </a:lnTo>
                  <a:cubicBezTo>
                    <a:pt x="154389" y="207590"/>
                    <a:pt x="157653" y="209979"/>
                    <a:pt x="158965" y="210180"/>
                  </a:cubicBezTo>
                  <a:cubicBezTo>
                    <a:pt x="160278" y="210382"/>
                    <a:pt x="165259" y="213006"/>
                    <a:pt x="165259" y="213006"/>
                  </a:cubicBezTo>
                  <a:lnTo>
                    <a:pt x="167648" y="214755"/>
                  </a:lnTo>
                  <a:lnTo>
                    <a:pt x="169836" y="216942"/>
                  </a:lnTo>
                  <a:cubicBezTo>
                    <a:pt x="169836" y="216942"/>
                    <a:pt x="173100" y="221281"/>
                    <a:pt x="173538" y="221921"/>
                  </a:cubicBezTo>
                  <a:cubicBezTo>
                    <a:pt x="173976" y="222560"/>
                    <a:pt x="172461" y="227572"/>
                    <a:pt x="172461" y="227572"/>
                  </a:cubicBezTo>
                  <a:lnTo>
                    <a:pt x="172461" y="230835"/>
                  </a:lnTo>
                  <a:lnTo>
                    <a:pt x="173774" y="234535"/>
                  </a:lnTo>
                  <a:lnTo>
                    <a:pt x="175961" y="239750"/>
                  </a:lnTo>
                  <a:lnTo>
                    <a:pt x="175961" y="241499"/>
                  </a:lnTo>
                  <a:lnTo>
                    <a:pt x="175961" y="243887"/>
                  </a:lnTo>
                  <a:lnTo>
                    <a:pt x="172427" y="245636"/>
                  </a:lnTo>
                  <a:lnTo>
                    <a:pt x="171182" y="248260"/>
                  </a:lnTo>
                  <a:lnTo>
                    <a:pt x="172057" y="251086"/>
                  </a:lnTo>
                  <a:cubicBezTo>
                    <a:pt x="172057" y="251086"/>
                    <a:pt x="172495" y="257175"/>
                    <a:pt x="173807" y="257814"/>
                  </a:cubicBezTo>
                  <a:cubicBezTo>
                    <a:pt x="175120" y="258453"/>
                    <a:pt x="174884" y="263028"/>
                    <a:pt x="175120" y="264105"/>
                  </a:cubicBezTo>
                  <a:cubicBezTo>
                    <a:pt x="175355" y="265181"/>
                    <a:pt x="175120" y="268882"/>
                    <a:pt x="175120" y="268882"/>
                  </a:cubicBezTo>
                  <a:lnTo>
                    <a:pt x="172528" y="274533"/>
                  </a:lnTo>
                  <a:lnTo>
                    <a:pt x="172528" y="277224"/>
                  </a:lnTo>
                  <a:lnTo>
                    <a:pt x="169365" y="281126"/>
                  </a:lnTo>
                  <a:lnTo>
                    <a:pt x="165562" y="282203"/>
                  </a:lnTo>
                  <a:lnTo>
                    <a:pt x="162095" y="281328"/>
                  </a:lnTo>
                  <a:lnTo>
                    <a:pt x="162095" y="278502"/>
                  </a:lnTo>
                  <a:lnTo>
                    <a:pt x="160379" y="274365"/>
                  </a:lnTo>
                  <a:lnTo>
                    <a:pt x="160379" y="271775"/>
                  </a:lnTo>
                  <a:lnTo>
                    <a:pt x="158191" y="271775"/>
                  </a:lnTo>
                  <a:lnTo>
                    <a:pt x="154288" y="273524"/>
                  </a:lnTo>
                  <a:lnTo>
                    <a:pt x="149071" y="273524"/>
                  </a:lnTo>
                  <a:lnTo>
                    <a:pt x="142340" y="273524"/>
                  </a:lnTo>
                  <a:cubicBezTo>
                    <a:pt x="142340" y="273524"/>
                    <a:pt x="135811" y="274937"/>
                    <a:pt x="134970" y="275374"/>
                  </a:cubicBezTo>
                  <a:cubicBezTo>
                    <a:pt x="134095" y="275811"/>
                    <a:pt x="131066" y="278536"/>
                    <a:pt x="131066" y="278536"/>
                  </a:cubicBezTo>
                  <a:lnTo>
                    <a:pt x="128037" y="281160"/>
                  </a:lnTo>
                  <a:lnTo>
                    <a:pt x="125210" y="285298"/>
                  </a:lnTo>
                  <a:cubicBezTo>
                    <a:pt x="125210" y="285298"/>
                    <a:pt x="122820" y="288998"/>
                    <a:pt x="122585" y="289637"/>
                  </a:cubicBezTo>
                  <a:cubicBezTo>
                    <a:pt x="122383" y="290276"/>
                    <a:pt x="121508" y="291824"/>
                    <a:pt x="121508" y="291824"/>
                  </a:cubicBezTo>
                  <a:lnTo>
                    <a:pt x="119556" y="295289"/>
                  </a:lnTo>
                  <a:lnTo>
                    <a:pt x="118244" y="297038"/>
                  </a:lnTo>
                  <a:lnTo>
                    <a:pt x="113229" y="298787"/>
                  </a:lnTo>
                  <a:lnTo>
                    <a:pt x="110200" y="301411"/>
                  </a:lnTo>
                  <a:cubicBezTo>
                    <a:pt x="110200" y="301411"/>
                    <a:pt x="107171" y="303800"/>
                    <a:pt x="106296" y="304237"/>
                  </a:cubicBezTo>
                  <a:cubicBezTo>
                    <a:pt x="105421" y="304674"/>
                    <a:pt x="103032" y="307500"/>
                    <a:pt x="103032" y="307500"/>
                  </a:cubicBezTo>
                  <a:lnTo>
                    <a:pt x="103032" y="312714"/>
                  </a:lnTo>
                  <a:lnTo>
                    <a:pt x="103032" y="318130"/>
                  </a:lnTo>
                  <a:lnTo>
                    <a:pt x="101315" y="323983"/>
                  </a:lnTo>
                  <a:cubicBezTo>
                    <a:pt x="101315" y="323983"/>
                    <a:pt x="98051" y="327448"/>
                    <a:pt x="97176" y="327448"/>
                  </a:cubicBezTo>
                  <a:cubicBezTo>
                    <a:pt x="96301" y="327448"/>
                    <a:pt x="96065" y="324858"/>
                    <a:pt x="96065" y="324858"/>
                  </a:cubicBezTo>
                  <a:lnTo>
                    <a:pt x="96065" y="317895"/>
                  </a:lnTo>
                  <a:lnTo>
                    <a:pt x="96065" y="312680"/>
                  </a:lnTo>
                  <a:lnTo>
                    <a:pt x="96065" y="309215"/>
                  </a:lnTo>
                  <a:lnTo>
                    <a:pt x="96065" y="305750"/>
                  </a:lnTo>
                  <a:lnTo>
                    <a:pt x="92262" y="303127"/>
                  </a:lnTo>
                  <a:lnTo>
                    <a:pt x="89099" y="302252"/>
                  </a:lnTo>
                  <a:lnTo>
                    <a:pt x="89099" y="304439"/>
                  </a:lnTo>
                  <a:lnTo>
                    <a:pt x="87685" y="307062"/>
                  </a:lnTo>
                  <a:cubicBezTo>
                    <a:pt x="87685" y="307062"/>
                    <a:pt x="85195" y="310090"/>
                    <a:pt x="84387" y="310763"/>
                  </a:cubicBezTo>
                  <a:cubicBezTo>
                    <a:pt x="83579" y="311402"/>
                    <a:pt x="81291" y="312512"/>
                    <a:pt x="81291" y="312512"/>
                  </a:cubicBezTo>
                  <a:lnTo>
                    <a:pt x="77824" y="312748"/>
                  </a:lnTo>
                  <a:lnTo>
                    <a:pt x="74762" y="307096"/>
                  </a:lnTo>
                  <a:lnTo>
                    <a:pt x="72170" y="304069"/>
                  </a:lnTo>
                  <a:lnTo>
                    <a:pt x="68031" y="302757"/>
                  </a:lnTo>
                  <a:lnTo>
                    <a:pt x="63891" y="301445"/>
                  </a:lnTo>
                  <a:lnTo>
                    <a:pt x="59314" y="301445"/>
                  </a:lnTo>
                  <a:lnTo>
                    <a:pt x="58237" y="302757"/>
                  </a:lnTo>
                  <a:lnTo>
                    <a:pt x="56723" y="304708"/>
                  </a:lnTo>
                  <a:lnTo>
                    <a:pt x="53458" y="306659"/>
                  </a:lnTo>
                  <a:cubicBezTo>
                    <a:pt x="53458" y="306659"/>
                    <a:pt x="51271" y="307971"/>
                    <a:pt x="50631" y="307971"/>
                  </a:cubicBezTo>
                  <a:cubicBezTo>
                    <a:pt x="49992" y="307971"/>
                    <a:pt x="49554" y="310157"/>
                    <a:pt x="49554" y="310157"/>
                  </a:cubicBezTo>
                  <a:lnTo>
                    <a:pt x="49117" y="312108"/>
                  </a:lnTo>
                  <a:lnTo>
                    <a:pt x="48040" y="313622"/>
                  </a:lnTo>
                  <a:cubicBezTo>
                    <a:pt x="48040" y="313622"/>
                    <a:pt x="46728" y="315573"/>
                    <a:pt x="46324" y="316246"/>
                  </a:cubicBezTo>
                  <a:cubicBezTo>
                    <a:pt x="45886" y="316885"/>
                    <a:pt x="43261" y="316885"/>
                    <a:pt x="43261" y="316885"/>
                  </a:cubicBezTo>
                  <a:lnTo>
                    <a:pt x="40434" y="312748"/>
                  </a:lnTo>
                  <a:lnTo>
                    <a:pt x="34545" y="306221"/>
                  </a:lnTo>
                  <a:lnTo>
                    <a:pt x="29126" y="301445"/>
                  </a:lnTo>
                  <a:lnTo>
                    <a:pt x="27376" y="301445"/>
                  </a:lnTo>
                  <a:lnTo>
                    <a:pt x="24785" y="305784"/>
                  </a:lnTo>
                  <a:lnTo>
                    <a:pt x="24785" y="308812"/>
                  </a:lnTo>
                  <a:lnTo>
                    <a:pt x="24347" y="312277"/>
                  </a:lnTo>
                  <a:cubicBezTo>
                    <a:pt x="24347" y="312277"/>
                    <a:pt x="24549" y="315304"/>
                    <a:pt x="24549" y="316784"/>
                  </a:cubicBezTo>
                  <a:cubicBezTo>
                    <a:pt x="24549" y="318231"/>
                    <a:pt x="18020" y="317726"/>
                    <a:pt x="17145" y="317087"/>
                  </a:cubicBezTo>
                  <a:cubicBezTo>
                    <a:pt x="16270" y="316448"/>
                    <a:pt x="13443" y="317087"/>
                    <a:pt x="13443" y="317087"/>
                  </a:cubicBezTo>
                  <a:lnTo>
                    <a:pt x="11693" y="317087"/>
                  </a:lnTo>
                  <a:lnTo>
                    <a:pt x="8227" y="317087"/>
                  </a:lnTo>
                  <a:lnTo>
                    <a:pt x="4962" y="317087"/>
                  </a:lnTo>
                  <a:lnTo>
                    <a:pt x="3448" y="318836"/>
                  </a:lnTo>
                  <a:lnTo>
                    <a:pt x="2337" y="323613"/>
                  </a:lnTo>
                  <a:lnTo>
                    <a:pt x="3650" y="329265"/>
                  </a:lnTo>
                  <a:lnTo>
                    <a:pt x="6039" y="336665"/>
                  </a:lnTo>
                  <a:lnTo>
                    <a:pt x="11929" y="340130"/>
                  </a:lnTo>
                  <a:lnTo>
                    <a:pt x="14756" y="343831"/>
                  </a:lnTo>
                  <a:lnTo>
                    <a:pt x="15631" y="350996"/>
                  </a:lnTo>
                  <a:cubicBezTo>
                    <a:pt x="15631" y="350996"/>
                    <a:pt x="16708" y="356210"/>
                    <a:pt x="17381" y="357085"/>
                  </a:cubicBezTo>
                  <a:cubicBezTo>
                    <a:pt x="18020" y="357959"/>
                    <a:pt x="16943" y="362501"/>
                    <a:pt x="16943" y="362501"/>
                  </a:cubicBezTo>
                  <a:lnTo>
                    <a:pt x="14554" y="363577"/>
                  </a:lnTo>
                  <a:cubicBezTo>
                    <a:pt x="14554" y="363577"/>
                    <a:pt x="9977" y="365966"/>
                    <a:pt x="9337" y="366403"/>
                  </a:cubicBezTo>
                  <a:cubicBezTo>
                    <a:pt x="8698" y="366840"/>
                    <a:pt x="8260" y="369430"/>
                    <a:pt x="8260" y="369430"/>
                  </a:cubicBezTo>
                  <a:cubicBezTo>
                    <a:pt x="8260" y="369430"/>
                    <a:pt x="11289" y="372021"/>
                    <a:pt x="13039" y="371617"/>
                  </a:cubicBezTo>
                  <a:cubicBezTo>
                    <a:pt x="14789" y="371180"/>
                    <a:pt x="19131" y="374443"/>
                    <a:pt x="19131" y="374443"/>
                  </a:cubicBezTo>
                  <a:cubicBezTo>
                    <a:pt x="19131" y="374443"/>
                    <a:pt x="16304" y="376394"/>
                    <a:pt x="15866" y="377067"/>
                  </a:cubicBezTo>
                  <a:cubicBezTo>
                    <a:pt x="15429" y="377739"/>
                    <a:pt x="15664" y="380330"/>
                    <a:pt x="15664" y="380330"/>
                  </a:cubicBezTo>
                  <a:lnTo>
                    <a:pt x="16102" y="387932"/>
                  </a:lnTo>
                  <a:lnTo>
                    <a:pt x="12635" y="388134"/>
                  </a:lnTo>
                  <a:cubicBezTo>
                    <a:pt x="12635" y="388134"/>
                    <a:pt x="8496" y="384669"/>
                    <a:pt x="6981" y="384669"/>
                  </a:cubicBezTo>
                  <a:cubicBezTo>
                    <a:pt x="5467" y="384669"/>
                    <a:pt x="2405" y="386856"/>
                    <a:pt x="2405" y="386856"/>
                  </a:cubicBezTo>
                  <a:cubicBezTo>
                    <a:pt x="2405" y="386856"/>
                    <a:pt x="-221" y="389446"/>
                    <a:pt x="15" y="389244"/>
                  </a:cubicBezTo>
                  <a:cubicBezTo>
                    <a:pt x="217" y="389042"/>
                    <a:pt x="15" y="394458"/>
                    <a:pt x="15" y="394458"/>
                  </a:cubicBezTo>
                  <a:lnTo>
                    <a:pt x="3279" y="400110"/>
                  </a:lnTo>
                  <a:lnTo>
                    <a:pt x="6746" y="404012"/>
                  </a:lnTo>
                  <a:cubicBezTo>
                    <a:pt x="6746" y="404012"/>
                    <a:pt x="13039" y="403575"/>
                    <a:pt x="13477" y="402935"/>
                  </a:cubicBezTo>
                  <a:cubicBezTo>
                    <a:pt x="13914" y="402296"/>
                    <a:pt x="15429" y="401859"/>
                    <a:pt x="15664" y="401186"/>
                  </a:cubicBezTo>
                  <a:cubicBezTo>
                    <a:pt x="15866" y="400547"/>
                    <a:pt x="17852" y="399672"/>
                    <a:pt x="17852" y="399672"/>
                  </a:cubicBezTo>
                  <a:lnTo>
                    <a:pt x="17852" y="394458"/>
                  </a:lnTo>
                  <a:lnTo>
                    <a:pt x="22092" y="392709"/>
                  </a:lnTo>
                  <a:lnTo>
                    <a:pt x="25256" y="394862"/>
                  </a:lnTo>
                  <a:lnTo>
                    <a:pt x="26568" y="399639"/>
                  </a:lnTo>
                  <a:lnTo>
                    <a:pt x="26568" y="406165"/>
                  </a:lnTo>
                  <a:cubicBezTo>
                    <a:pt x="26568" y="406165"/>
                    <a:pt x="31145" y="408351"/>
                    <a:pt x="32021" y="408553"/>
                  </a:cubicBezTo>
                  <a:cubicBezTo>
                    <a:pt x="32896" y="408755"/>
                    <a:pt x="40502" y="413566"/>
                    <a:pt x="40502" y="413566"/>
                  </a:cubicBezTo>
                  <a:lnTo>
                    <a:pt x="47468" y="419217"/>
                  </a:lnTo>
                  <a:lnTo>
                    <a:pt x="49420" y="422917"/>
                  </a:lnTo>
                  <a:lnTo>
                    <a:pt x="48780" y="427055"/>
                  </a:lnTo>
                  <a:lnTo>
                    <a:pt x="47468" y="432706"/>
                  </a:lnTo>
                  <a:lnTo>
                    <a:pt x="47468" y="435532"/>
                  </a:lnTo>
                  <a:lnTo>
                    <a:pt x="52684" y="439872"/>
                  </a:lnTo>
                  <a:lnTo>
                    <a:pt x="52684" y="441621"/>
                  </a:lnTo>
                  <a:cubicBezTo>
                    <a:pt x="52684" y="441621"/>
                    <a:pt x="51708" y="442698"/>
                    <a:pt x="51271" y="443370"/>
                  </a:cubicBezTo>
                  <a:cubicBezTo>
                    <a:pt x="50833" y="444010"/>
                    <a:pt x="52684" y="448147"/>
                    <a:pt x="52684" y="448147"/>
                  </a:cubicBezTo>
                  <a:lnTo>
                    <a:pt x="57261" y="450737"/>
                  </a:lnTo>
                  <a:lnTo>
                    <a:pt x="64665" y="445523"/>
                  </a:lnTo>
                  <a:cubicBezTo>
                    <a:pt x="64665" y="445523"/>
                    <a:pt x="68805" y="445288"/>
                    <a:pt x="70118" y="446600"/>
                  </a:cubicBezTo>
                  <a:cubicBezTo>
                    <a:pt x="71430" y="447912"/>
                    <a:pt x="71867" y="450939"/>
                    <a:pt x="71867" y="450939"/>
                  </a:cubicBezTo>
                  <a:cubicBezTo>
                    <a:pt x="71867" y="450939"/>
                    <a:pt x="74021" y="456591"/>
                    <a:pt x="73819" y="457230"/>
                  </a:cubicBezTo>
                  <a:cubicBezTo>
                    <a:pt x="73618" y="457869"/>
                    <a:pt x="70118" y="458744"/>
                    <a:pt x="70118" y="458744"/>
                  </a:cubicBezTo>
                  <a:cubicBezTo>
                    <a:pt x="70118" y="458744"/>
                    <a:pt x="70118" y="462646"/>
                    <a:pt x="70118" y="463520"/>
                  </a:cubicBezTo>
                  <a:cubicBezTo>
                    <a:pt x="70118" y="464395"/>
                    <a:pt x="71733" y="468129"/>
                    <a:pt x="71733" y="468129"/>
                  </a:cubicBezTo>
                  <a:lnTo>
                    <a:pt x="78127" y="470988"/>
                  </a:lnTo>
                  <a:lnTo>
                    <a:pt x="84252" y="473680"/>
                  </a:lnTo>
                  <a:lnTo>
                    <a:pt x="85599" y="474016"/>
                  </a:lnTo>
                  <a:lnTo>
                    <a:pt x="85195" y="472637"/>
                  </a:lnTo>
                  <a:cubicBezTo>
                    <a:pt x="85195" y="472637"/>
                    <a:pt x="86070" y="469172"/>
                    <a:pt x="86373" y="467995"/>
                  </a:cubicBezTo>
                  <a:cubicBezTo>
                    <a:pt x="86676" y="466851"/>
                    <a:pt x="87820" y="464227"/>
                    <a:pt x="88392" y="463083"/>
                  </a:cubicBezTo>
                  <a:cubicBezTo>
                    <a:pt x="88964" y="461939"/>
                    <a:pt x="88964" y="459618"/>
                    <a:pt x="90714" y="457566"/>
                  </a:cubicBezTo>
                  <a:cubicBezTo>
                    <a:pt x="92464" y="455548"/>
                    <a:pt x="93305" y="456120"/>
                    <a:pt x="94786" y="453496"/>
                  </a:cubicBezTo>
                  <a:cubicBezTo>
                    <a:pt x="96234" y="450872"/>
                    <a:pt x="97681" y="449425"/>
                    <a:pt x="98253" y="448584"/>
                  </a:cubicBezTo>
                  <a:cubicBezTo>
                    <a:pt x="98825" y="447710"/>
                    <a:pt x="99431" y="446566"/>
                    <a:pt x="99700" y="443068"/>
                  </a:cubicBezTo>
                  <a:cubicBezTo>
                    <a:pt x="100003" y="439603"/>
                    <a:pt x="100844" y="434960"/>
                    <a:pt x="100844" y="434960"/>
                  </a:cubicBezTo>
                  <a:cubicBezTo>
                    <a:pt x="100844" y="434960"/>
                    <a:pt x="101988" y="431765"/>
                    <a:pt x="102863" y="431495"/>
                  </a:cubicBezTo>
                  <a:cubicBezTo>
                    <a:pt x="103738" y="431193"/>
                    <a:pt x="106633" y="430924"/>
                    <a:pt x="108080" y="429477"/>
                  </a:cubicBezTo>
                  <a:cubicBezTo>
                    <a:pt x="109527" y="428031"/>
                    <a:pt x="110974" y="427459"/>
                    <a:pt x="110974" y="426281"/>
                  </a:cubicBezTo>
                  <a:cubicBezTo>
                    <a:pt x="110974" y="425138"/>
                    <a:pt x="112118" y="422211"/>
                    <a:pt x="112118" y="422211"/>
                  </a:cubicBezTo>
                  <a:lnTo>
                    <a:pt x="111243" y="417300"/>
                  </a:lnTo>
                  <a:lnTo>
                    <a:pt x="110941" y="412657"/>
                  </a:lnTo>
                  <a:lnTo>
                    <a:pt x="117907" y="412657"/>
                  </a:lnTo>
                  <a:cubicBezTo>
                    <a:pt x="117907" y="412657"/>
                    <a:pt x="118479" y="415248"/>
                    <a:pt x="119926" y="415248"/>
                  </a:cubicBezTo>
                  <a:cubicBezTo>
                    <a:pt x="121373" y="415248"/>
                    <a:pt x="121373" y="415550"/>
                    <a:pt x="124873" y="415550"/>
                  </a:cubicBezTo>
                  <a:cubicBezTo>
                    <a:pt x="128340" y="415550"/>
                    <a:pt x="126321" y="415853"/>
                    <a:pt x="128340" y="415550"/>
                  </a:cubicBezTo>
                  <a:cubicBezTo>
                    <a:pt x="130359" y="415248"/>
                    <a:pt x="132681" y="412657"/>
                    <a:pt x="132681" y="412657"/>
                  </a:cubicBezTo>
                  <a:cubicBezTo>
                    <a:pt x="132681" y="412657"/>
                    <a:pt x="134128" y="409764"/>
                    <a:pt x="135273" y="409462"/>
                  </a:cubicBezTo>
                  <a:cubicBezTo>
                    <a:pt x="136417" y="409159"/>
                    <a:pt x="138167" y="408015"/>
                    <a:pt x="139042" y="407140"/>
                  </a:cubicBezTo>
                  <a:cubicBezTo>
                    <a:pt x="139917" y="406266"/>
                    <a:pt x="140186" y="405257"/>
                    <a:pt x="141061" y="404685"/>
                  </a:cubicBezTo>
                  <a:cubicBezTo>
                    <a:pt x="141936" y="404113"/>
                    <a:pt x="148028" y="400480"/>
                    <a:pt x="148028" y="400480"/>
                  </a:cubicBezTo>
                  <a:lnTo>
                    <a:pt x="150922" y="400480"/>
                  </a:lnTo>
                  <a:lnTo>
                    <a:pt x="156139" y="400480"/>
                  </a:lnTo>
                  <a:cubicBezTo>
                    <a:pt x="156139" y="400480"/>
                    <a:pt x="158461" y="399605"/>
                    <a:pt x="160211" y="400480"/>
                  </a:cubicBezTo>
                  <a:cubicBezTo>
                    <a:pt x="161961" y="401354"/>
                    <a:pt x="164552" y="401354"/>
                    <a:pt x="165730" y="401354"/>
                  </a:cubicBezTo>
                  <a:cubicBezTo>
                    <a:pt x="166908" y="401354"/>
                    <a:pt x="171249" y="401657"/>
                    <a:pt x="171249" y="401657"/>
                  </a:cubicBezTo>
                  <a:lnTo>
                    <a:pt x="179091" y="402229"/>
                  </a:lnTo>
                  <a:cubicBezTo>
                    <a:pt x="179091" y="402229"/>
                    <a:pt x="180841" y="403676"/>
                    <a:pt x="182860" y="404853"/>
                  </a:cubicBezTo>
                  <a:cubicBezTo>
                    <a:pt x="184880" y="405997"/>
                    <a:pt x="184880" y="405997"/>
                    <a:pt x="184880" y="405997"/>
                  </a:cubicBezTo>
                  <a:cubicBezTo>
                    <a:pt x="184880" y="405997"/>
                    <a:pt x="187471" y="408621"/>
                    <a:pt x="188649" y="408890"/>
                  </a:cubicBezTo>
                  <a:cubicBezTo>
                    <a:pt x="189827" y="409192"/>
                    <a:pt x="191274" y="412086"/>
                    <a:pt x="191274" y="412086"/>
                  </a:cubicBezTo>
                  <a:lnTo>
                    <a:pt x="193899" y="415853"/>
                  </a:lnTo>
                  <a:cubicBezTo>
                    <a:pt x="193899" y="415853"/>
                    <a:pt x="198241" y="418174"/>
                    <a:pt x="199115" y="418174"/>
                  </a:cubicBezTo>
                  <a:cubicBezTo>
                    <a:pt x="199990" y="418174"/>
                    <a:pt x="206654" y="413229"/>
                    <a:pt x="206654" y="413229"/>
                  </a:cubicBezTo>
                  <a:lnTo>
                    <a:pt x="209245" y="408318"/>
                  </a:lnTo>
                  <a:lnTo>
                    <a:pt x="214765" y="405425"/>
                  </a:lnTo>
                  <a:lnTo>
                    <a:pt x="218231" y="403104"/>
                  </a:lnTo>
                  <a:cubicBezTo>
                    <a:pt x="218231" y="403104"/>
                    <a:pt x="221428" y="401186"/>
                    <a:pt x="221428" y="400110"/>
                  </a:cubicBezTo>
                  <a:cubicBezTo>
                    <a:pt x="221428" y="399033"/>
                    <a:pt x="221428" y="396140"/>
                    <a:pt x="221428" y="396140"/>
                  </a:cubicBezTo>
                  <a:lnTo>
                    <a:pt x="219981" y="394391"/>
                  </a:lnTo>
                  <a:lnTo>
                    <a:pt x="218231" y="393214"/>
                  </a:lnTo>
                  <a:lnTo>
                    <a:pt x="215034" y="391767"/>
                  </a:lnTo>
                  <a:lnTo>
                    <a:pt x="211568" y="389446"/>
                  </a:lnTo>
                  <a:cubicBezTo>
                    <a:pt x="211568" y="389446"/>
                    <a:pt x="210423" y="390892"/>
                    <a:pt x="209548" y="389446"/>
                  </a:cubicBezTo>
                  <a:cubicBezTo>
                    <a:pt x="208673" y="387999"/>
                    <a:pt x="207798" y="387697"/>
                    <a:pt x="207226" y="386553"/>
                  </a:cubicBezTo>
                  <a:cubicBezTo>
                    <a:pt x="206654" y="385409"/>
                    <a:pt x="205207" y="383357"/>
                    <a:pt x="205207" y="382482"/>
                  </a:cubicBezTo>
                  <a:cubicBezTo>
                    <a:pt x="205207" y="381608"/>
                    <a:pt x="205510" y="381036"/>
                    <a:pt x="205779" y="379590"/>
                  </a:cubicBezTo>
                  <a:cubicBezTo>
                    <a:pt x="206082" y="378143"/>
                    <a:pt x="206351" y="376697"/>
                    <a:pt x="206082" y="374947"/>
                  </a:cubicBezTo>
                  <a:cubicBezTo>
                    <a:pt x="205779" y="373198"/>
                    <a:pt x="205779" y="370305"/>
                    <a:pt x="205779" y="369161"/>
                  </a:cubicBezTo>
                  <a:cubicBezTo>
                    <a:pt x="205779" y="368017"/>
                    <a:pt x="205779" y="367412"/>
                    <a:pt x="206957" y="367143"/>
                  </a:cubicBezTo>
                  <a:cubicBezTo>
                    <a:pt x="208101" y="366840"/>
                    <a:pt x="211299" y="367143"/>
                    <a:pt x="211299" y="367143"/>
                  </a:cubicBezTo>
                  <a:lnTo>
                    <a:pt x="218837" y="367008"/>
                  </a:lnTo>
                  <a:cubicBezTo>
                    <a:pt x="218837" y="367008"/>
                    <a:pt x="219140" y="367446"/>
                    <a:pt x="220284" y="367008"/>
                  </a:cubicBezTo>
                  <a:cubicBezTo>
                    <a:pt x="221428" y="366571"/>
                    <a:pt x="221159" y="366874"/>
                    <a:pt x="224626" y="367008"/>
                  </a:cubicBezTo>
                  <a:cubicBezTo>
                    <a:pt x="228092" y="367143"/>
                    <a:pt x="228967" y="367580"/>
                    <a:pt x="231289" y="366773"/>
                  </a:cubicBezTo>
                  <a:cubicBezTo>
                    <a:pt x="233611" y="365966"/>
                    <a:pt x="234486" y="365394"/>
                    <a:pt x="235059" y="363644"/>
                  </a:cubicBezTo>
                  <a:cubicBezTo>
                    <a:pt x="235631" y="361895"/>
                    <a:pt x="237078" y="361323"/>
                    <a:pt x="237381" y="360449"/>
                  </a:cubicBezTo>
                  <a:cubicBezTo>
                    <a:pt x="237684" y="359574"/>
                    <a:pt x="240006" y="356984"/>
                    <a:pt x="240006" y="356984"/>
                  </a:cubicBezTo>
                  <a:lnTo>
                    <a:pt x="241453" y="356984"/>
                  </a:lnTo>
                  <a:cubicBezTo>
                    <a:pt x="241453" y="356984"/>
                    <a:pt x="243775" y="357858"/>
                    <a:pt x="244650" y="358430"/>
                  </a:cubicBezTo>
                  <a:cubicBezTo>
                    <a:pt x="245525" y="359002"/>
                    <a:pt x="247847" y="365091"/>
                    <a:pt x="247847" y="365091"/>
                  </a:cubicBezTo>
                  <a:lnTo>
                    <a:pt x="250170" y="370036"/>
                  </a:lnTo>
                  <a:lnTo>
                    <a:pt x="253636" y="372929"/>
                  </a:lnTo>
                  <a:lnTo>
                    <a:pt x="259425" y="371482"/>
                  </a:lnTo>
                  <a:lnTo>
                    <a:pt x="267535" y="369161"/>
                  </a:lnTo>
                  <a:lnTo>
                    <a:pt x="271607" y="367143"/>
                  </a:lnTo>
                  <a:lnTo>
                    <a:pt x="275949" y="370910"/>
                  </a:lnTo>
                  <a:lnTo>
                    <a:pt x="279718" y="372929"/>
                  </a:lnTo>
                  <a:lnTo>
                    <a:pt x="286988" y="376125"/>
                  </a:lnTo>
                  <a:lnTo>
                    <a:pt x="293348" y="377874"/>
                  </a:lnTo>
                  <a:lnTo>
                    <a:pt x="296545" y="379320"/>
                  </a:lnTo>
                  <a:lnTo>
                    <a:pt x="298296" y="382214"/>
                  </a:lnTo>
                  <a:lnTo>
                    <a:pt x="306406" y="385241"/>
                  </a:lnTo>
                  <a:cubicBezTo>
                    <a:pt x="306406" y="385241"/>
                    <a:pt x="309603" y="384804"/>
                    <a:pt x="310748" y="384804"/>
                  </a:cubicBezTo>
                  <a:cubicBezTo>
                    <a:pt x="311892" y="384804"/>
                    <a:pt x="315089" y="384804"/>
                    <a:pt x="316267" y="384804"/>
                  </a:cubicBezTo>
                  <a:cubicBezTo>
                    <a:pt x="317445" y="384804"/>
                    <a:pt x="321484" y="384097"/>
                    <a:pt x="322359" y="383794"/>
                  </a:cubicBezTo>
                  <a:cubicBezTo>
                    <a:pt x="323234" y="383492"/>
                    <a:pt x="327878" y="383088"/>
                    <a:pt x="329022" y="383088"/>
                  </a:cubicBezTo>
                  <a:cubicBezTo>
                    <a:pt x="330166" y="383088"/>
                    <a:pt x="331916" y="383088"/>
                    <a:pt x="331916" y="383088"/>
                  </a:cubicBezTo>
                  <a:lnTo>
                    <a:pt x="335113" y="385712"/>
                  </a:lnTo>
                  <a:cubicBezTo>
                    <a:pt x="335113" y="385712"/>
                    <a:pt x="338580" y="387461"/>
                    <a:pt x="339455" y="387730"/>
                  </a:cubicBezTo>
                  <a:cubicBezTo>
                    <a:pt x="340330" y="388033"/>
                    <a:pt x="345816" y="391801"/>
                    <a:pt x="345816" y="391801"/>
                  </a:cubicBezTo>
                  <a:cubicBezTo>
                    <a:pt x="345816" y="391801"/>
                    <a:pt x="348441" y="392675"/>
                    <a:pt x="349282" y="392978"/>
                  </a:cubicBezTo>
                  <a:cubicBezTo>
                    <a:pt x="350157" y="393247"/>
                    <a:pt x="355946" y="398192"/>
                    <a:pt x="355946" y="398192"/>
                  </a:cubicBezTo>
                  <a:lnTo>
                    <a:pt x="362912" y="400513"/>
                  </a:lnTo>
                  <a:lnTo>
                    <a:pt x="364932" y="406299"/>
                  </a:lnTo>
                  <a:lnTo>
                    <a:pt x="368398" y="408890"/>
                  </a:lnTo>
                  <a:lnTo>
                    <a:pt x="373312" y="412960"/>
                  </a:lnTo>
                  <a:cubicBezTo>
                    <a:pt x="373312" y="412960"/>
                    <a:pt x="376071" y="420361"/>
                    <a:pt x="375634" y="420361"/>
                  </a:cubicBezTo>
                  <a:cubicBezTo>
                    <a:pt x="375196" y="420361"/>
                    <a:pt x="376946" y="422379"/>
                    <a:pt x="376946" y="422379"/>
                  </a:cubicBezTo>
                  <a:cubicBezTo>
                    <a:pt x="376946" y="422379"/>
                    <a:pt x="378023" y="422076"/>
                    <a:pt x="378461" y="421942"/>
                  </a:cubicBezTo>
                  <a:cubicBezTo>
                    <a:pt x="378898" y="421807"/>
                    <a:pt x="381422" y="418309"/>
                    <a:pt x="381422" y="417737"/>
                  </a:cubicBezTo>
                  <a:cubicBezTo>
                    <a:pt x="381422" y="417165"/>
                    <a:pt x="381422" y="415281"/>
                    <a:pt x="381422" y="415281"/>
                  </a:cubicBezTo>
                  <a:cubicBezTo>
                    <a:pt x="381422" y="415281"/>
                    <a:pt x="381927" y="414272"/>
                    <a:pt x="382499" y="414272"/>
                  </a:cubicBezTo>
                  <a:cubicBezTo>
                    <a:pt x="383071" y="414272"/>
                    <a:pt x="384889" y="417030"/>
                    <a:pt x="384889" y="417030"/>
                  </a:cubicBezTo>
                  <a:lnTo>
                    <a:pt x="384889" y="418780"/>
                  </a:lnTo>
                  <a:lnTo>
                    <a:pt x="386639" y="422413"/>
                  </a:lnTo>
                  <a:lnTo>
                    <a:pt x="388961" y="423859"/>
                  </a:lnTo>
                  <a:cubicBezTo>
                    <a:pt x="388961" y="423859"/>
                    <a:pt x="390273" y="424734"/>
                    <a:pt x="391855" y="423557"/>
                  </a:cubicBezTo>
                  <a:cubicBezTo>
                    <a:pt x="393437" y="422413"/>
                    <a:pt x="394918" y="422245"/>
                    <a:pt x="395625" y="421404"/>
                  </a:cubicBezTo>
                  <a:cubicBezTo>
                    <a:pt x="396365" y="420529"/>
                    <a:pt x="397509" y="419082"/>
                    <a:pt x="397509" y="419082"/>
                  </a:cubicBezTo>
                  <a:cubicBezTo>
                    <a:pt x="397509" y="419082"/>
                    <a:pt x="399832" y="417199"/>
                    <a:pt x="399832" y="416761"/>
                  </a:cubicBezTo>
                  <a:cubicBezTo>
                    <a:pt x="399832" y="416324"/>
                    <a:pt x="401985" y="412422"/>
                    <a:pt x="402456" y="412119"/>
                  </a:cubicBezTo>
                  <a:cubicBezTo>
                    <a:pt x="402894" y="411850"/>
                    <a:pt x="404341" y="411985"/>
                    <a:pt x="404913" y="411547"/>
                  </a:cubicBezTo>
                  <a:cubicBezTo>
                    <a:pt x="405485" y="411110"/>
                    <a:pt x="408683" y="409226"/>
                    <a:pt x="408683" y="409226"/>
                  </a:cubicBezTo>
                  <a:lnTo>
                    <a:pt x="411880" y="409226"/>
                  </a:lnTo>
                  <a:cubicBezTo>
                    <a:pt x="411880" y="409226"/>
                    <a:pt x="415784" y="407780"/>
                    <a:pt x="416659" y="408789"/>
                  </a:cubicBezTo>
                  <a:cubicBezTo>
                    <a:pt x="417534" y="409798"/>
                    <a:pt x="418543" y="410807"/>
                    <a:pt x="419116" y="410975"/>
                  </a:cubicBezTo>
                  <a:cubicBezTo>
                    <a:pt x="419687" y="411110"/>
                    <a:pt x="422145" y="407948"/>
                    <a:pt x="422582" y="407780"/>
                  </a:cubicBezTo>
                  <a:cubicBezTo>
                    <a:pt x="423019" y="407645"/>
                    <a:pt x="423894" y="405458"/>
                    <a:pt x="424164" y="404887"/>
                  </a:cubicBezTo>
                  <a:cubicBezTo>
                    <a:pt x="424467" y="404315"/>
                    <a:pt x="426048" y="402128"/>
                    <a:pt x="426183" y="401691"/>
                  </a:cubicBezTo>
                  <a:cubicBezTo>
                    <a:pt x="426318" y="401253"/>
                    <a:pt x="427933" y="399235"/>
                    <a:pt x="428202" y="398663"/>
                  </a:cubicBezTo>
                  <a:cubicBezTo>
                    <a:pt x="428505" y="398091"/>
                    <a:pt x="429346" y="396779"/>
                    <a:pt x="430087" y="395636"/>
                  </a:cubicBezTo>
                  <a:cubicBezTo>
                    <a:pt x="430827" y="394492"/>
                    <a:pt x="430962" y="394189"/>
                    <a:pt x="431971" y="393752"/>
                  </a:cubicBezTo>
                  <a:cubicBezTo>
                    <a:pt x="432981" y="393315"/>
                    <a:pt x="436178" y="392608"/>
                    <a:pt x="436885" y="392608"/>
                  </a:cubicBezTo>
                  <a:cubicBezTo>
                    <a:pt x="437592" y="392608"/>
                    <a:pt x="439780" y="392743"/>
                    <a:pt x="440351" y="392608"/>
                  </a:cubicBezTo>
                  <a:cubicBezTo>
                    <a:pt x="440924" y="392474"/>
                    <a:pt x="442539" y="392608"/>
                    <a:pt x="442539" y="392608"/>
                  </a:cubicBezTo>
                  <a:lnTo>
                    <a:pt x="444121" y="394627"/>
                  </a:lnTo>
                  <a:cubicBezTo>
                    <a:pt x="444121" y="394627"/>
                    <a:pt x="444760" y="394761"/>
                    <a:pt x="444895" y="395198"/>
                  </a:cubicBezTo>
                  <a:cubicBezTo>
                    <a:pt x="445029" y="395636"/>
                    <a:pt x="445703" y="397385"/>
                    <a:pt x="445703" y="398226"/>
                  </a:cubicBezTo>
                  <a:cubicBezTo>
                    <a:pt x="445703" y="399100"/>
                    <a:pt x="445703" y="401422"/>
                    <a:pt x="445703" y="401422"/>
                  </a:cubicBezTo>
                  <a:lnTo>
                    <a:pt x="445703" y="406636"/>
                  </a:lnTo>
                  <a:cubicBezTo>
                    <a:pt x="445703" y="406636"/>
                    <a:pt x="446006" y="407208"/>
                    <a:pt x="445703" y="408082"/>
                  </a:cubicBezTo>
                  <a:cubicBezTo>
                    <a:pt x="445400" y="408957"/>
                    <a:pt x="446241" y="412287"/>
                    <a:pt x="445837" y="413162"/>
                  </a:cubicBezTo>
                  <a:cubicBezTo>
                    <a:pt x="445433" y="414036"/>
                    <a:pt x="446510" y="415920"/>
                    <a:pt x="445972" y="416627"/>
                  </a:cubicBezTo>
                  <a:cubicBezTo>
                    <a:pt x="445433" y="417333"/>
                    <a:pt x="445433" y="420092"/>
                    <a:pt x="445433" y="420966"/>
                  </a:cubicBezTo>
                  <a:cubicBezTo>
                    <a:pt x="445433" y="421841"/>
                    <a:pt x="445232" y="423725"/>
                    <a:pt x="446140" y="424734"/>
                  </a:cubicBezTo>
                  <a:cubicBezTo>
                    <a:pt x="447049" y="425743"/>
                    <a:pt x="448361" y="427190"/>
                    <a:pt x="448361" y="427190"/>
                  </a:cubicBezTo>
                  <a:cubicBezTo>
                    <a:pt x="448361" y="427190"/>
                    <a:pt x="450111" y="428939"/>
                    <a:pt x="450246" y="429376"/>
                  </a:cubicBezTo>
                  <a:cubicBezTo>
                    <a:pt x="450380" y="429813"/>
                    <a:pt x="452703" y="430823"/>
                    <a:pt x="453578" y="430554"/>
                  </a:cubicBezTo>
                  <a:cubicBezTo>
                    <a:pt x="454453" y="430251"/>
                    <a:pt x="455765" y="429545"/>
                    <a:pt x="455765" y="429545"/>
                  </a:cubicBezTo>
                  <a:lnTo>
                    <a:pt x="458087" y="427223"/>
                  </a:lnTo>
                  <a:lnTo>
                    <a:pt x="460477" y="427795"/>
                  </a:lnTo>
                  <a:lnTo>
                    <a:pt x="461419" y="429679"/>
                  </a:lnTo>
                  <a:lnTo>
                    <a:pt x="461419" y="432706"/>
                  </a:lnTo>
                  <a:lnTo>
                    <a:pt x="461419" y="436171"/>
                  </a:lnTo>
                  <a:cubicBezTo>
                    <a:pt x="461419" y="436171"/>
                    <a:pt x="463438" y="435734"/>
                    <a:pt x="464313" y="435431"/>
                  </a:cubicBezTo>
                  <a:cubicBezTo>
                    <a:pt x="465188" y="435129"/>
                    <a:pt x="466939" y="433245"/>
                    <a:pt x="467342" y="432673"/>
                  </a:cubicBezTo>
                  <a:cubicBezTo>
                    <a:pt x="467780" y="432101"/>
                    <a:pt x="468520" y="432673"/>
                    <a:pt x="469227" y="431361"/>
                  </a:cubicBezTo>
                  <a:cubicBezTo>
                    <a:pt x="469934" y="430049"/>
                    <a:pt x="471112" y="428165"/>
                    <a:pt x="471112" y="428165"/>
                  </a:cubicBezTo>
                  <a:cubicBezTo>
                    <a:pt x="471112" y="428165"/>
                    <a:pt x="478078" y="422648"/>
                    <a:pt x="478516" y="422211"/>
                  </a:cubicBezTo>
                  <a:cubicBezTo>
                    <a:pt x="478954" y="421774"/>
                    <a:pt x="483160" y="419015"/>
                    <a:pt x="483295" y="418578"/>
                  </a:cubicBezTo>
                  <a:cubicBezTo>
                    <a:pt x="483429" y="418141"/>
                    <a:pt x="484439" y="415988"/>
                    <a:pt x="485449" y="414945"/>
                  </a:cubicBezTo>
                  <a:cubicBezTo>
                    <a:pt x="486458" y="413936"/>
                    <a:pt x="488646" y="411043"/>
                    <a:pt x="489218" y="410740"/>
                  </a:cubicBezTo>
                  <a:cubicBezTo>
                    <a:pt x="489790" y="410437"/>
                    <a:pt x="490093" y="408856"/>
                    <a:pt x="490665" y="408722"/>
                  </a:cubicBezTo>
                  <a:cubicBezTo>
                    <a:pt x="491237" y="408587"/>
                    <a:pt x="490800" y="408722"/>
                    <a:pt x="492247" y="407847"/>
                  </a:cubicBezTo>
                  <a:cubicBezTo>
                    <a:pt x="493694" y="406972"/>
                    <a:pt x="496723" y="404214"/>
                    <a:pt x="496723" y="404214"/>
                  </a:cubicBezTo>
                  <a:cubicBezTo>
                    <a:pt x="496723" y="404214"/>
                    <a:pt x="498170" y="403642"/>
                    <a:pt x="498608" y="403474"/>
                  </a:cubicBezTo>
                  <a:cubicBezTo>
                    <a:pt x="499045" y="403339"/>
                    <a:pt x="501637" y="402027"/>
                    <a:pt x="501637" y="402027"/>
                  </a:cubicBezTo>
                  <a:lnTo>
                    <a:pt x="504531" y="401018"/>
                  </a:lnTo>
                  <a:lnTo>
                    <a:pt x="506719" y="401153"/>
                  </a:lnTo>
                  <a:lnTo>
                    <a:pt x="508738" y="402902"/>
                  </a:lnTo>
                  <a:cubicBezTo>
                    <a:pt x="508738" y="402902"/>
                    <a:pt x="508872" y="403339"/>
                    <a:pt x="509444" y="403339"/>
                  </a:cubicBezTo>
                  <a:cubicBezTo>
                    <a:pt x="510017" y="403339"/>
                    <a:pt x="512911" y="405660"/>
                    <a:pt x="512911" y="405660"/>
                  </a:cubicBezTo>
                  <a:lnTo>
                    <a:pt x="515233" y="408116"/>
                  </a:lnTo>
                  <a:lnTo>
                    <a:pt x="516680" y="408553"/>
                  </a:lnTo>
                  <a:lnTo>
                    <a:pt x="520315" y="411884"/>
                  </a:lnTo>
                  <a:lnTo>
                    <a:pt x="522334" y="413768"/>
                  </a:lnTo>
                  <a:lnTo>
                    <a:pt x="523950" y="415517"/>
                  </a:lnTo>
                  <a:lnTo>
                    <a:pt x="523950" y="418712"/>
                  </a:lnTo>
                  <a:lnTo>
                    <a:pt x="522940" y="420462"/>
                  </a:lnTo>
                  <a:lnTo>
                    <a:pt x="521493" y="421774"/>
                  </a:lnTo>
                  <a:cubicBezTo>
                    <a:pt x="521493" y="421774"/>
                    <a:pt x="520921" y="422211"/>
                    <a:pt x="520617" y="422648"/>
                  </a:cubicBezTo>
                  <a:cubicBezTo>
                    <a:pt x="520315" y="423086"/>
                    <a:pt x="520315" y="423960"/>
                    <a:pt x="520315" y="423960"/>
                  </a:cubicBezTo>
                  <a:lnTo>
                    <a:pt x="521762" y="425541"/>
                  </a:lnTo>
                  <a:cubicBezTo>
                    <a:pt x="521762" y="425541"/>
                    <a:pt x="521627" y="427291"/>
                    <a:pt x="522031" y="426988"/>
                  </a:cubicBezTo>
                  <a:cubicBezTo>
                    <a:pt x="522469" y="426685"/>
                    <a:pt x="525363" y="425979"/>
                    <a:pt x="525363" y="425979"/>
                  </a:cubicBezTo>
                  <a:lnTo>
                    <a:pt x="526810" y="426988"/>
                  </a:lnTo>
                  <a:lnTo>
                    <a:pt x="529132" y="430453"/>
                  </a:lnTo>
                  <a:lnTo>
                    <a:pt x="529132" y="432639"/>
                  </a:lnTo>
                  <a:lnTo>
                    <a:pt x="528560" y="434826"/>
                  </a:lnTo>
                  <a:lnTo>
                    <a:pt x="527988" y="436272"/>
                  </a:lnTo>
                  <a:lnTo>
                    <a:pt x="527416" y="437147"/>
                  </a:lnTo>
                  <a:lnTo>
                    <a:pt x="525094" y="439737"/>
                  </a:lnTo>
                  <a:lnTo>
                    <a:pt x="523209" y="441924"/>
                  </a:lnTo>
                  <a:lnTo>
                    <a:pt x="520887" y="443505"/>
                  </a:lnTo>
                  <a:lnTo>
                    <a:pt x="519137" y="445389"/>
                  </a:lnTo>
                  <a:lnTo>
                    <a:pt x="517623" y="447138"/>
                  </a:lnTo>
                  <a:lnTo>
                    <a:pt x="516815" y="450603"/>
                  </a:lnTo>
                  <a:lnTo>
                    <a:pt x="515940" y="453496"/>
                  </a:lnTo>
                  <a:cubicBezTo>
                    <a:pt x="515940" y="453496"/>
                    <a:pt x="516074" y="455682"/>
                    <a:pt x="516646" y="455682"/>
                  </a:cubicBezTo>
                  <a:cubicBezTo>
                    <a:pt x="517219" y="455682"/>
                    <a:pt x="520719" y="455817"/>
                    <a:pt x="520719" y="455817"/>
                  </a:cubicBezTo>
                  <a:cubicBezTo>
                    <a:pt x="520719" y="455817"/>
                    <a:pt x="522166" y="456557"/>
                    <a:pt x="523916" y="456557"/>
                  </a:cubicBezTo>
                  <a:cubicBezTo>
                    <a:pt x="525666" y="456557"/>
                    <a:pt x="527382" y="457129"/>
                    <a:pt x="527382" y="457129"/>
                  </a:cubicBezTo>
                  <a:cubicBezTo>
                    <a:pt x="527382" y="457129"/>
                    <a:pt x="527113" y="459585"/>
                    <a:pt x="526507" y="459585"/>
                  </a:cubicBezTo>
                  <a:cubicBezTo>
                    <a:pt x="525935" y="459585"/>
                    <a:pt x="524623" y="460291"/>
                    <a:pt x="524050" y="460728"/>
                  </a:cubicBezTo>
                  <a:cubicBezTo>
                    <a:pt x="523478" y="461166"/>
                    <a:pt x="521863" y="461435"/>
                    <a:pt x="521156" y="461872"/>
                  </a:cubicBezTo>
                  <a:cubicBezTo>
                    <a:pt x="520449" y="462309"/>
                    <a:pt x="519440" y="463184"/>
                    <a:pt x="519137" y="464059"/>
                  </a:cubicBezTo>
                  <a:cubicBezTo>
                    <a:pt x="518834" y="464933"/>
                    <a:pt x="518565" y="465505"/>
                    <a:pt x="518565" y="466077"/>
                  </a:cubicBezTo>
                  <a:cubicBezTo>
                    <a:pt x="518565" y="466649"/>
                    <a:pt x="519574" y="468970"/>
                    <a:pt x="519574" y="468970"/>
                  </a:cubicBezTo>
                  <a:cubicBezTo>
                    <a:pt x="519574" y="468970"/>
                    <a:pt x="521022" y="469845"/>
                    <a:pt x="521459" y="470282"/>
                  </a:cubicBezTo>
                  <a:cubicBezTo>
                    <a:pt x="521896" y="470719"/>
                    <a:pt x="524084" y="472872"/>
                    <a:pt x="524488" y="473309"/>
                  </a:cubicBezTo>
                  <a:cubicBezTo>
                    <a:pt x="524925" y="473747"/>
                    <a:pt x="526373" y="474319"/>
                    <a:pt x="526810" y="474184"/>
                  </a:cubicBezTo>
                  <a:cubicBezTo>
                    <a:pt x="527248" y="474050"/>
                    <a:pt x="529132" y="473747"/>
                    <a:pt x="529132" y="473747"/>
                  </a:cubicBezTo>
                  <a:lnTo>
                    <a:pt x="531757" y="472435"/>
                  </a:lnTo>
                  <a:lnTo>
                    <a:pt x="533339" y="470854"/>
                  </a:lnTo>
                  <a:cubicBezTo>
                    <a:pt x="533339" y="470854"/>
                    <a:pt x="534046" y="469273"/>
                    <a:pt x="534484" y="469105"/>
                  </a:cubicBezTo>
                  <a:cubicBezTo>
                    <a:pt x="534921" y="468970"/>
                    <a:pt x="535998" y="468533"/>
                    <a:pt x="535998" y="468533"/>
                  </a:cubicBezTo>
                  <a:lnTo>
                    <a:pt x="537815" y="470988"/>
                  </a:lnTo>
                  <a:lnTo>
                    <a:pt x="537815" y="472570"/>
                  </a:lnTo>
                  <a:cubicBezTo>
                    <a:pt x="537815" y="472570"/>
                    <a:pt x="536503" y="474319"/>
                    <a:pt x="537815" y="475328"/>
                  </a:cubicBezTo>
                  <a:cubicBezTo>
                    <a:pt x="539128" y="476337"/>
                    <a:pt x="541585" y="478793"/>
                    <a:pt x="541585" y="478793"/>
                  </a:cubicBezTo>
                  <a:lnTo>
                    <a:pt x="543301" y="477346"/>
                  </a:lnTo>
                  <a:lnTo>
                    <a:pt x="546936" y="477481"/>
                  </a:lnTo>
                  <a:lnTo>
                    <a:pt x="548517" y="472401"/>
                  </a:lnTo>
                  <a:lnTo>
                    <a:pt x="551715" y="469710"/>
                  </a:lnTo>
                  <a:cubicBezTo>
                    <a:pt x="551715" y="469710"/>
                    <a:pt x="555181" y="466683"/>
                    <a:pt x="556493" y="465371"/>
                  </a:cubicBezTo>
                  <a:cubicBezTo>
                    <a:pt x="557806" y="464059"/>
                    <a:pt x="558883" y="462108"/>
                    <a:pt x="558883" y="462108"/>
                  </a:cubicBezTo>
                  <a:lnTo>
                    <a:pt x="561710" y="457600"/>
                  </a:lnTo>
                  <a:cubicBezTo>
                    <a:pt x="561710" y="457600"/>
                    <a:pt x="564301" y="457768"/>
                    <a:pt x="567801" y="457533"/>
                  </a:cubicBezTo>
                  <a:cubicBezTo>
                    <a:pt x="570157" y="457398"/>
                    <a:pt x="570124" y="457533"/>
                    <a:pt x="570056" y="457600"/>
                  </a:cubicBezTo>
                  <a:cubicBezTo>
                    <a:pt x="570090" y="457600"/>
                    <a:pt x="570124" y="457566"/>
                    <a:pt x="570191" y="457533"/>
                  </a:cubicBezTo>
                  <a:cubicBezTo>
                    <a:pt x="570830" y="457297"/>
                    <a:pt x="574970" y="456893"/>
                    <a:pt x="575609" y="456456"/>
                  </a:cubicBezTo>
                  <a:cubicBezTo>
                    <a:pt x="576249" y="456019"/>
                    <a:pt x="577797" y="455144"/>
                    <a:pt x="577797" y="455144"/>
                  </a:cubicBezTo>
                  <a:lnTo>
                    <a:pt x="577797" y="449930"/>
                  </a:lnTo>
                  <a:lnTo>
                    <a:pt x="577797" y="447743"/>
                  </a:lnTo>
                  <a:lnTo>
                    <a:pt x="578672" y="443841"/>
                  </a:lnTo>
                  <a:lnTo>
                    <a:pt x="582138" y="443841"/>
                  </a:lnTo>
                  <a:lnTo>
                    <a:pt x="595196" y="443841"/>
                  </a:lnTo>
                  <a:lnTo>
                    <a:pt x="603004" y="442092"/>
                  </a:lnTo>
                  <a:cubicBezTo>
                    <a:pt x="603004" y="442092"/>
                    <a:pt x="605831" y="441016"/>
                    <a:pt x="606470" y="440578"/>
                  </a:cubicBezTo>
                  <a:cubicBezTo>
                    <a:pt x="607110" y="440141"/>
                    <a:pt x="609937" y="437113"/>
                    <a:pt x="610374" y="436239"/>
                  </a:cubicBezTo>
                  <a:cubicBezTo>
                    <a:pt x="610812" y="435364"/>
                    <a:pt x="613403" y="433413"/>
                    <a:pt x="613403" y="433413"/>
                  </a:cubicBezTo>
                  <a:lnTo>
                    <a:pt x="623836" y="433413"/>
                  </a:lnTo>
                  <a:lnTo>
                    <a:pt x="632519" y="433413"/>
                  </a:lnTo>
                  <a:lnTo>
                    <a:pt x="639687" y="433413"/>
                  </a:lnTo>
                  <a:lnTo>
                    <a:pt x="644029" y="428972"/>
                  </a:lnTo>
                  <a:cubicBezTo>
                    <a:pt x="644029" y="428972"/>
                    <a:pt x="639890" y="422346"/>
                    <a:pt x="639687" y="421034"/>
                  </a:cubicBezTo>
                  <a:cubicBezTo>
                    <a:pt x="639486" y="419722"/>
                    <a:pt x="643591" y="417771"/>
                    <a:pt x="643827" y="416896"/>
                  </a:cubicBezTo>
                  <a:cubicBezTo>
                    <a:pt x="644029" y="416021"/>
                    <a:pt x="645779" y="413633"/>
                    <a:pt x="645779" y="413633"/>
                  </a:cubicBezTo>
                  <a:lnTo>
                    <a:pt x="650558" y="409495"/>
                  </a:lnTo>
                  <a:lnTo>
                    <a:pt x="656010" y="412960"/>
                  </a:lnTo>
                  <a:lnTo>
                    <a:pt x="663414" y="417939"/>
                  </a:lnTo>
                  <a:cubicBezTo>
                    <a:pt x="663414" y="417939"/>
                    <a:pt x="669270" y="414911"/>
                    <a:pt x="669943" y="414474"/>
                  </a:cubicBezTo>
                  <a:cubicBezTo>
                    <a:pt x="670583" y="414036"/>
                    <a:pt x="671020" y="410134"/>
                    <a:pt x="671020" y="410134"/>
                  </a:cubicBezTo>
                  <a:lnTo>
                    <a:pt x="674049" y="404046"/>
                  </a:lnTo>
                  <a:lnTo>
                    <a:pt x="680578" y="401422"/>
                  </a:lnTo>
                  <a:lnTo>
                    <a:pt x="685155" y="400110"/>
                  </a:lnTo>
                  <a:lnTo>
                    <a:pt x="688857" y="397721"/>
                  </a:lnTo>
                  <a:lnTo>
                    <a:pt x="691684" y="393819"/>
                  </a:lnTo>
                  <a:lnTo>
                    <a:pt x="694309" y="389042"/>
                  </a:lnTo>
                  <a:lnTo>
                    <a:pt x="694309" y="385577"/>
                  </a:lnTo>
                  <a:lnTo>
                    <a:pt x="696597" y="381238"/>
                  </a:lnTo>
                  <a:lnTo>
                    <a:pt x="704540" y="380801"/>
                  </a:lnTo>
                  <a:lnTo>
                    <a:pt x="710833" y="379489"/>
                  </a:lnTo>
                  <a:lnTo>
                    <a:pt x="722343" y="379489"/>
                  </a:lnTo>
                  <a:lnTo>
                    <a:pt x="727560" y="381541"/>
                  </a:lnTo>
                  <a:lnTo>
                    <a:pt x="730387" y="384265"/>
                  </a:lnTo>
                  <a:lnTo>
                    <a:pt x="735165" y="391666"/>
                  </a:lnTo>
                  <a:lnTo>
                    <a:pt x="744724" y="391666"/>
                  </a:lnTo>
                  <a:lnTo>
                    <a:pt x="748358" y="390018"/>
                  </a:lnTo>
                  <a:lnTo>
                    <a:pt x="756099" y="386620"/>
                  </a:lnTo>
                  <a:lnTo>
                    <a:pt x="761214" y="384602"/>
                  </a:lnTo>
                  <a:lnTo>
                    <a:pt x="763032" y="382146"/>
                  </a:lnTo>
                  <a:lnTo>
                    <a:pt x="763267" y="383021"/>
                  </a:lnTo>
                  <a:lnTo>
                    <a:pt x="761820" y="377672"/>
                  </a:lnTo>
                  <a:lnTo>
                    <a:pt x="761719" y="373164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27" name="Freeform 893">
              <a:extLst>
                <a:ext uri="{FF2B5EF4-FFF2-40B4-BE49-F238E27FC236}">
                  <a16:creationId xmlns:a16="http://schemas.microsoft.com/office/drawing/2014/main" id="{C11A3880-6A44-7912-E93D-75698B6E572B}"/>
                </a:ext>
              </a:extLst>
            </p:cNvPr>
            <p:cNvSpPr/>
            <p:nvPr/>
          </p:nvSpPr>
          <p:spPr>
            <a:xfrm>
              <a:off x="7073510" y="3140268"/>
              <a:ext cx="468366" cy="490722"/>
            </a:xfrm>
            <a:custGeom>
              <a:avLst/>
              <a:gdLst>
                <a:gd name="connsiteX0" fmla="*/ 821072 w 899217"/>
                <a:gd name="connsiteY0" fmla="*/ 731292 h 942137"/>
                <a:gd name="connsiteX1" fmla="*/ 824269 w 899217"/>
                <a:gd name="connsiteY1" fmla="*/ 727524 h 942137"/>
                <a:gd name="connsiteX2" fmla="*/ 827736 w 899217"/>
                <a:gd name="connsiteY2" fmla="*/ 724934 h 942137"/>
                <a:gd name="connsiteX3" fmla="*/ 831640 w 899217"/>
                <a:gd name="connsiteY3" fmla="*/ 721167 h 942137"/>
                <a:gd name="connsiteX4" fmla="*/ 834534 w 899217"/>
                <a:gd name="connsiteY4" fmla="*/ 716524 h 942137"/>
                <a:gd name="connsiteX5" fmla="*/ 841500 w 899217"/>
                <a:gd name="connsiteY5" fmla="*/ 714203 h 942137"/>
                <a:gd name="connsiteX6" fmla="*/ 842510 w 899217"/>
                <a:gd name="connsiteY6" fmla="*/ 715953 h 942137"/>
                <a:gd name="connsiteX7" fmla="*/ 844529 w 899217"/>
                <a:gd name="connsiteY7" fmla="*/ 715650 h 942137"/>
                <a:gd name="connsiteX8" fmla="*/ 846279 w 899217"/>
                <a:gd name="connsiteY8" fmla="*/ 712757 h 942137"/>
                <a:gd name="connsiteX9" fmla="*/ 844698 w 899217"/>
                <a:gd name="connsiteY9" fmla="*/ 711613 h 942137"/>
                <a:gd name="connsiteX10" fmla="*/ 843250 w 899217"/>
                <a:gd name="connsiteY10" fmla="*/ 709864 h 942137"/>
                <a:gd name="connsiteX11" fmla="*/ 843688 w 899217"/>
                <a:gd name="connsiteY11" fmla="*/ 707543 h 942137"/>
                <a:gd name="connsiteX12" fmla="*/ 845135 w 899217"/>
                <a:gd name="connsiteY12" fmla="*/ 706399 h 942137"/>
                <a:gd name="connsiteX13" fmla="*/ 849039 w 899217"/>
                <a:gd name="connsiteY13" fmla="*/ 705255 h 942137"/>
                <a:gd name="connsiteX14" fmla="*/ 854827 w 899217"/>
                <a:gd name="connsiteY14" fmla="*/ 702497 h 942137"/>
                <a:gd name="connsiteX15" fmla="*/ 859909 w 899217"/>
                <a:gd name="connsiteY15" fmla="*/ 699032 h 942137"/>
                <a:gd name="connsiteX16" fmla="*/ 864116 w 899217"/>
                <a:gd name="connsiteY16" fmla="*/ 696408 h 942137"/>
                <a:gd name="connsiteX17" fmla="*/ 865126 w 899217"/>
                <a:gd name="connsiteY17" fmla="*/ 693078 h 942137"/>
                <a:gd name="connsiteX18" fmla="*/ 866135 w 899217"/>
                <a:gd name="connsiteY18" fmla="*/ 693078 h 942137"/>
                <a:gd name="connsiteX19" fmla="*/ 870208 w 899217"/>
                <a:gd name="connsiteY19" fmla="*/ 694524 h 942137"/>
                <a:gd name="connsiteX20" fmla="*/ 873540 w 899217"/>
                <a:gd name="connsiteY20" fmla="*/ 697282 h 942137"/>
                <a:gd name="connsiteX21" fmla="*/ 875996 w 899217"/>
                <a:gd name="connsiteY21" fmla="*/ 699301 h 942137"/>
                <a:gd name="connsiteX22" fmla="*/ 878891 w 899217"/>
                <a:gd name="connsiteY22" fmla="*/ 700310 h 942137"/>
                <a:gd name="connsiteX23" fmla="*/ 881213 w 899217"/>
                <a:gd name="connsiteY23" fmla="*/ 700613 h 942137"/>
                <a:gd name="connsiteX24" fmla="*/ 885117 w 899217"/>
                <a:gd name="connsiteY24" fmla="*/ 697720 h 942137"/>
                <a:gd name="connsiteX25" fmla="*/ 888751 w 899217"/>
                <a:gd name="connsiteY25" fmla="*/ 693952 h 942137"/>
                <a:gd name="connsiteX26" fmla="*/ 890569 w 899217"/>
                <a:gd name="connsiteY26" fmla="*/ 691934 h 942137"/>
                <a:gd name="connsiteX27" fmla="*/ 891376 w 899217"/>
                <a:gd name="connsiteY27" fmla="*/ 688032 h 942137"/>
                <a:gd name="connsiteX28" fmla="*/ 891376 w 899217"/>
                <a:gd name="connsiteY28" fmla="*/ 685273 h 942137"/>
                <a:gd name="connsiteX29" fmla="*/ 891376 w 899217"/>
                <a:gd name="connsiteY29" fmla="*/ 681203 h 942137"/>
                <a:gd name="connsiteX30" fmla="*/ 891376 w 899217"/>
                <a:gd name="connsiteY30" fmla="*/ 678310 h 942137"/>
                <a:gd name="connsiteX31" fmla="*/ 894843 w 899217"/>
                <a:gd name="connsiteY31" fmla="*/ 675282 h 942137"/>
                <a:gd name="connsiteX32" fmla="*/ 894708 w 899217"/>
                <a:gd name="connsiteY32" fmla="*/ 671212 h 942137"/>
                <a:gd name="connsiteX33" fmla="*/ 894136 w 899217"/>
                <a:gd name="connsiteY33" fmla="*/ 666872 h 942137"/>
                <a:gd name="connsiteX34" fmla="*/ 895146 w 899217"/>
                <a:gd name="connsiteY34" fmla="*/ 663104 h 942137"/>
                <a:gd name="connsiteX35" fmla="*/ 897905 w 899217"/>
                <a:gd name="connsiteY35" fmla="*/ 659203 h 942137"/>
                <a:gd name="connsiteX36" fmla="*/ 899218 w 899217"/>
                <a:gd name="connsiteY36" fmla="*/ 656881 h 942137"/>
                <a:gd name="connsiteX37" fmla="*/ 896021 w 899217"/>
                <a:gd name="connsiteY37" fmla="*/ 654123 h 942137"/>
                <a:gd name="connsiteX38" fmla="*/ 891679 w 899217"/>
                <a:gd name="connsiteY38" fmla="*/ 650658 h 942137"/>
                <a:gd name="connsiteX39" fmla="*/ 889357 w 899217"/>
                <a:gd name="connsiteY39" fmla="*/ 649952 h 942137"/>
                <a:gd name="connsiteX40" fmla="*/ 889054 w 899217"/>
                <a:gd name="connsiteY40" fmla="*/ 647058 h 942137"/>
                <a:gd name="connsiteX41" fmla="*/ 889761 w 899217"/>
                <a:gd name="connsiteY41" fmla="*/ 644603 h 942137"/>
                <a:gd name="connsiteX42" fmla="*/ 890198 w 899217"/>
                <a:gd name="connsiteY42" fmla="*/ 641575 h 942137"/>
                <a:gd name="connsiteX43" fmla="*/ 889323 w 899217"/>
                <a:gd name="connsiteY43" fmla="*/ 639389 h 942137"/>
                <a:gd name="connsiteX44" fmla="*/ 886867 w 899217"/>
                <a:gd name="connsiteY44" fmla="*/ 637942 h 942137"/>
                <a:gd name="connsiteX45" fmla="*/ 883669 w 899217"/>
                <a:gd name="connsiteY45" fmla="*/ 633737 h 942137"/>
                <a:gd name="connsiteX46" fmla="*/ 881919 w 899217"/>
                <a:gd name="connsiteY46" fmla="*/ 629397 h 942137"/>
                <a:gd name="connsiteX47" fmla="*/ 880607 w 899217"/>
                <a:gd name="connsiteY47" fmla="*/ 625933 h 942137"/>
                <a:gd name="connsiteX48" fmla="*/ 876568 w 899217"/>
                <a:gd name="connsiteY48" fmla="*/ 623174 h 942137"/>
                <a:gd name="connsiteX49" fmla="*/ 874549 w 899217"/>
                <a:gd name="connsiteY49" fmla="*/ 623174 h 942137"/>
                <a:gd name="connsiteX50" fmla="*/ 871924 w 899217"/>
                <a:gd name="connsiteY50" fmla="*/ 625361 h 942137"/>
                <a:gd name="connsiteX51" fmla="*/ 868727 w 899217"/>
                <a:gd name="connsiteY51" fmla="*/ 626942 h 942137"/>
                <a:gd name="connsiteX52" fmla="*/ 867717 w 899217"/>
                <a:gd name="connsiteY52" fmla="*/ 629835 h 942137"/>
                <a:gd name="connsiteX53" fmla="*/ 866708 w 899217"/>
                <a:gd name="connsiteY53" fmla="*/ 631854 h 942137"/>
                <a:gd name="connsiteX54" fmla="*/ 865563 w 899217"/>
                <a:gd name="connsiteY54" fmla="*/ 635621 h 942137"/>
                <a:gd name="connsiteX55" fmla="*/ 862938 w 899217"/>
                <a:gd name="connsiteY55" fmla="*/ 636193 h 942137"/>
                <a:gd name="connsiteX56" fmla="*/ 860751 w 899217"/>
                <a:gd name="connsiteY56" fmla="*/ 635486 h 942137"/>
                <a:gd name="connsiteX57" fmla="*/ 858294 w 899217"/>
                <a:gd name="connsiteY57" fmla="*/ 632728 h 942137"/>
                <a:gd name="connsiteX58" fmla="*/ 855534 w 899217"/>
                <a:gd name="connsiteY58" fmla="*/ 632156 h 942137"/>
                <a:gd name="connsiteX59" fmla="*/ 851327 w 899217"/>
                <a:gd name="connsiteY59" fmla="*/ 631854 h 942137"/>
                <a:gd name="connsiteX60" fmla="*/ 847255 w 899217"/>
                <a:gd name="connsiteY60" fmla="*/ 633098 h 942137"/>
                <a:gd name="connsiteX61" fmla="*/ 843486 w 899217"/>
                <a:gd name="connsiteY61" fmla="*/ 634040 h 942137"/>
                <a:gd name="connsiteX62" fmla="*/ 841736 w 899217"/>
                <a:gd name="connsiteY62" fmla="*/ 634040 h 942137"/>
                <a:gd name="connsiteX63" fmla="*/ 839111 w 899217"/>
                <a:gd name="connsiteY63" fmla="*/ 628960 h 942137"/>
                <a:gd name="connsiteX64" fmla="*/ 836789 w 899217"/>
                <a:gd name="connsiteY64" fmla="*/ 627649 h 942137"/>
                <a:gd name="connsiteX65" fmla="*/ 833154 w 899217"/>
                <a:gd name="connsiteY65" fmla="*/ 628792 h 942137"/>
                <a:gd name="connsiteX66" fmla="*/ 830697 w 899217"/>
                <a:gd name="connsiteY66" fmla="*/ 632123 h 942137"/>
                <a:gd name="connsiteX67" fmla="*/ 828072 w 899217"/>
                <a:gd name="connsiteY67" fmla="*/ 634443 h 942137"/>
                <a:gd name="connsiteX68" fmla="*/ 826490 w 899217"/>
                <a:gd name="connsiteY68" fmla="*/ 637202 h 942137"/>
                <a:gd name="connsiteX69" fmla="*/ 824471 w 899217"/>
                <a:gd name="connsiteY69" fmla="*/ 639523 h 942137"/>
                <a:gd name="connsiteX70" fmla="*/ 822149 w 899217"/>
                <a:gd name="connsiteY70" fmla="*/ 637202 h 942137"/>
                <a:gd name="connsiteX71" fmla="*/ 821005 w 899217"/>
                <a:gd name="connsiteY71" fmla="*/ 635890 h 942137"/>
                <a:gd name="connsiteX72" fmla="*/ 817101 w 899217"/>
                <a:gd name="connsiteY72" fmla="*/ 632425 h 942137"/>
                <a:gd name="connsiteX73" fmla="*/ 814509 w 899217"/>
                <a:gd name="connsiteY73" fmla="*/ 630979 h 942137"/>
                <a:gd name="connsiteX74" fmla="*/ 811884 w 899217"/>
                <a:gd name="connsiteY74" fmla="*/ 630609 h 942137"/>
                <a:gd name="connsiteX75" fmla="*/ 807543 w 899217"/>
                <a:gd name="connsiteY75" fmla="*/ 630542 h 942137"/>
                <a:gd name="connsiteX76" fmla="*/ 803471 w 899217"/>
                <a:gd name="connsiteY76" fmla="*/ 630542 h 942137"/>
                <a:gd name="connsiteX77" fmla="*/ 800408 w 899217"/>
                <a:gd name="connsiteY77" fmla="*/ 629532 h 942137"/>
                <a:gd name="connsiteX78" fmla="*/ 797379 w 899217"/>
                <a:gd name="connsiteY78" fmla="*/ 627211 h 942137"/>
                <a:gd name="connsiteX79" fmla="*/ 793980 w 899217"/>
                <a:gd name="connsiteY79" fmla="*/ 624453 h 942137"/>
                <a:gd name="connsiteX80" fmla="*/ 792163 w 899217"/>
                <a:gd name="connsiteY80" fmla="*/ 622703 h 942137"/>
                <a:gd name="connsiteX81" fmla="*/ 792163 w 899217"/>
                <a:gd name="connsiteY81" fmla="*/ 620988 h 942137"/>
                <a:gd name="connsiteX82" fmla="*/ 793913 w 899217"/>
                <a:gd name="connsiteY82" fmla="*/ 619844 h 942137"/>
                <a:gd name="connsiteX83" fmla="*/ 795360 w 899217"/>
                <a:gd name="connsiteY83" fmla="*/ 618263 h 942137"/>
                <a:gd name="connsiteX84" fmla="*/ 796672 w 899217"/>
                <a:gd name="connsiteY84" fmla="*/ 617119 h 942137"/>
                <a:gd name="connsiteX85" fmla="*/ 798557 w 899217"/>
                <a:gd name="connsiteY85" fmla="*/ 616110 h 942137"/>
                <a:gd name="connsiteX86" fmla="*/ 800004 w 899217"/>
                <a:gd name="connsiteY86" fmla="*/ 613352 h 942137"/>
                <a:gd name="connsiteX87" fmla="*/ 800307 w 899217"/>
                <a:gd name="connsiteY87" fmla="*/ 611030 h 942137"/>
                <a:gd name="connsiteX88" fmla="*/ 799297 w 899217"/>
                <a:gd name="connsiteY88" fmla="*/ 608709 h 942137"/>
                <a:gd name="connsiteX89" fmla="*/ 796975 w 899217"/>
                <a:gd name="connsiteY89" fmla="*/ 606960 h 942137"/>
                <a:gd name="connsiteX90" fmla="*/ 797278 w 899217"/>
                <a:gd name="connsiteY90" fmla="*/ 601174 h 942137"/>
                <a:gd name="connsiteX91" fmla="*/ 797985 w 899217"/>
                <a:gd name="connsiteY91" fmla="*/ 597406 h 942137"/>
                <a:gd name="connsiteX92" fmla="*/ 794350 w 899217"/>
                <a:gd name="connsiteY92" fmla="*/ 591889 h 942137"/>
                <a:gd name="connsiteX93" fmla="*/ 789134 w 899217"/>
                <a:gd name="connsiteY93" fmla="*/ 588862 h 942137"/>
                <a:gd name="connsiteX94" fmla="*/ 783480 w 899217"/>
                <a:gd name="connsiteY94" fmla="*/ 586541 h 942137"/>
                <a:gd name="connsiteX95" fmla="*/ 776682 w 899217"/>
                <a:gd name="connsiteY95" fmla="*/ 588122 h 942137"/>
                <a:gd name="connsiteX96" fmla="*/ 772340 w 899217"/>
                <a:gd name="connsiteY96" fmla="*/ 588256 h 942137"/>
                <a:gd name="connsiteX97" fmla="*/ 767864 w 899217"/>
                <a:gd name="connsiteY97" fmla="*/ 589266 h 942137"/>
                <a:gd name="connsiteX98" fmla="*/ 765542 w 899217"/>
                <a:gd name="connsiteY98" fmla="*/ 589131 h 942137"/>
                <a:gd name="connsiteX99" fmla="*/ 762075 w 899217"/>
                <a:gd name="connsiteY99" fmla="*/ 586507 h 942137"/>
                <a:gd name="connsiteX100" fmla="*/ 759450 w 899217"/>
                <a:gd name="connsiteY100" fmla="*/ 585363 h 942137"/>
                <a:gd name="connsiteX101" fmla="*/ 756119 w 899217"/>
                <a:gd name="connsiteY101" fmla="*/ 585363 h 942137"/>
                <a:gd name="connsiteX102" fmla="*/ 752046 w 899217"/>
                <a:gd name="connsiteY102" fmla="*/ 585935 h 942137"/>
                <a:gd name="connsiteX103" fmla="*/ 748075 w 899217"/>
                <a:gd name="connsiteY103" fmla="*/ 588694 h 942137"/>
                <a:gd name="connsiteX104" fmla="*/ 746998 w 899217"/>
                <a:gd name="connsiteY104" fmla="*/ 592764 h 942137"/>
                <a:gd name="connsiteX105" fmla="*/ 746998 w 899217"/>
                <a:gd name="connsiteY105" fmla="*/ 600165 h 942137"/>
                <a:gd name="connsiteX106" fmla="*/ 741041 w 899217"/>
                <a:gd name="connsiteY106" fmla="*/ 599290 h 942137"/>
                <a:gd name="connsiteX107" fmla="*/ 738888 w 899217"/>
                <a:gd name="connsiteY107" fmla="*/ 594648 h 942137"/>
                <a:gd name="connsiteX108" fmla="*/ 735253 w 899217"/>
                <a:gd name="connsiteY108" fmla="*/ 591183 h 942137"/>
                <a:gd name="connsiteX109" fmla="*/ 732056 w 899217"/>
                <a:gd name="connsiteY109" fmla="*/ 588727 h 942137"/>
                <a:gd name="connsiteX110" fmla="*/ 730036 w 899217"/>
                <a:gd name="connsiteY110" fmla="*/ 586104 h 942137"/>
                <a:gd name="connsiteX111" fmla="*/ 727849 w 899217"/>
                <a:gd name="connsiteY111" fmla="*/ 582470 h 942137"/>
                <a:gd name="connsiteX112" fmla="*/ 726671 w 899217"/>
                <a:gd name="connsiteY112" fmla="*/ 578568 h 942137"/>
                <a:gd name="connsiteX113" fmla="*/ 727849 w 899217"/>
                <a:gd name="connsiteY113" fmla="*/ 575675 h 942137"/>
                <a:gd name="connsiteX114" fmla="*/ 726099 w 899217"/>
                <a:gd name="connsiteY114" fmla="*/ 572479 h 942137"/>
                <a:gd name="connsiteX115" fmla="*/ 726099 w 899217"/>
                <a:gd name="connsiteY115" fmla="*/ 570595 h 942137"/>
                <a:gd name="connsiteX116" fmla="*/ 724349 w 899217"/>
                <a:gd name="connsiteY116" fmla="*/ 569149 h 942137"/>
                <a:gd name="connsiteX117" fmla="*/ 724349 w 899217"/>
                <a:gd name="connsiteY117" fmla="*/ 567131 h 942137"/>
                <a:gd name="connsiteX118" fmla="*/ 724988 w 899217"/>
                <a:gd name="connsiteY118" fmla="*/ 564238 h 942137"/>
                <a:gd name="connsiteX119" fmla="*/ 726065 w 899217"/>
                <a:gd name="connsiteY119" fmla="*/ 561647 h 942137"/>
                <a:gd name="connsiteX120" fmla="*/ 726065 w 899217"/>
                <a:gd name="connsiteY120" fmla="*/ 558452 h 942137"/>
                <a:gd name="connsiteX121" fmla="*/ 726772 w 899217"/>
                <a:gd name="connsiteY121" fmla="*/ 556871 h 942137"/>
                <a:gd name="connsiteX122" fmla="*/ 729094 w 899217"/>
                <a:gd name="connsiteY122" fmla="*/ 555424 h 942137"/>
                <a:gd name="connsiteX123" fmla="*/ 730407 w 899217"/>
                <a:gd name="connsiteY123" fmla="*/ 554415 h 942137"/>
                <a:gd name="connsiteX124" fmla="*/ 734546 w 899217"/>
                <a:gd name="connsiteY124" fmla="*/ 552834 h 942137"/>
                <a:gd name="connsiteX125" fmla="*/ 732291 w 899217"/>
                <a:gd name="connsiteY125" fmla="*/ 550075 h 942137"/>
                <a:gd name="connsiteX126" fmla="*/ 732796 w 899217"/>
                <a:gd name="connsiteY126" fmla="*/ 545870 h 942137"/>
                <a:gd name="connsiteX127" fmla="*/ 734546 w 899217"/>
                <a:gd name="connsiteY127" fmla="*/ 540858 h 942137"/>
                <a:gd name="connsiteX128" fmla="*/ 736498 w 899217"/>
                <a:gd name="connsiteY128" fmla="*/ 537595 h 942137"/>
                <a:gd name="connsiteX129" fmla="*/ 741950 w 899217"/>
                <a:gd name="connsiteY129" fmla="*/ 534332 h 942137"/>
                <a:gd name="connsiteX130" fmla="*/ 746089 w 899217"/>
                <a:gd name="connsiteY130" fmla="*/ 530632 h 942137"/>
                <a:gd name="connsiteX131" fmla="*/ 746965 w 899217"/>
                <a:gd name="connsiteY131" fmla="*/ 528041 h 942137"/>
                <a:gd name="connsiteX132" fmla="*/ 747604 w 899217"/>
                <a:gd name="connsiteY132" fmla="*/ 521953 h 942137"/>
                <a:gd name="connsiteX133" fmla="*/ 746291 w 899217"/>
                <a:gd name="connsiteY133" fmla="*/ 520203 h 942137"/>
                <a:gd name="connsiteX134" fmla="*/ 744541 w 899217"/>
                <a:gd name="connsiteY134" fmla="*/ 516940 h 942137"/>
                <a:gd name="connsiteX135" fmla="*/ 741512 w 899217"/>
                <a:gd name="connsiteY135" fmla="*/ 510852 h 942137"/>
                <a:gd name="connsiteX136" fmla="*/ 743902 w 899217"/>
                <a:gd name="connsiteY136" fmla="*/ 509540 h 942137"/>
                <a:gd name="connsiteX137" fmla="*/ 749994 w 899217"/>
                <a:gd name="connsiteY137" fmla="*/ 511726 h 942137"/>
                <a:gd name="connsiteX138" fmla="*/ 753258 w 899217"/>
                <a:gd name="connsiteY138" fmla="*/ 508900 h 942137"/>
                <a:gd name="connsiteX139" fmla="*/ 756085 w 899217"/>
                <a:gd name="connsiteY139" fmla="*/ 507387 h 942137"/>
                <a:gd name="connsiteX140" fmla="*/ 759114 w 899217"/>
                <a:gd name="connsiteY140" fmla="*/ 505436 h 942137"/>
                <a:gd name="connsiteX141" fmla="*/ 761503 w 899217"/>
                <a:gd name="connsiteY141" fmla="*/ 504359 h 942137"/>
                <a:gd name="connsiteX142" fmla="*/ 764768 w 899217"/>
                <a:gd name="connsiteY142" fmla="*/ 500221 h 942137"/>
                <a:gd name="connsiteX143" fmla="*/ 766080 w 899217"/>
                <a:gd name="connsiteY143" fmla="*/ 497396 h 942137"/>
                <a:gd name="connsiteX144" fmla="*/ 766282 w 899217"/>
                <a:gd name="connsiteY144" fmla="*/ 493258 h 942137"/>
                <a:gd name="connsiteX145" fmla="*/ 766484 w 899217"/>
                <a:gd name="connsiteY145" fmla="*/ 490634 h 942137"/>
                <a:gd name="connsiteX146" fmla="*/ 763455 w 899217"/>
                <a:gd name="connsiteY146" fmla="*/ 488044 h 942137"/>
                <a:gd name="connsiteX147" fmla="*/ 757801 w 899217"/>
                <a:gd name="connsiteY147" fmla="*/ 488044 h 942137"/>
                <a:gd name="connsiteX148" fmla="*/ 751710 w 899217"/>
                <a:gd name="connsiteY148" fmla="*/ 489019 h 942137"/>
                <a:gd name="connsiteX149" fmla="*/ 747133 w 899217"/>
                <a:gd name="connsiteY149" fmla="*/ 488683 h 942137"/>
                <a:gd name="connsiteX150" fmla="*/ 746493 w 899217"/>
                <a:gd name="connsiteY150" fmla="*/ 486295 h 942137"/>
                <a:gd name="connsiteX151" fmla="*/ 742589 w 899217"/>
                <a:gd name="connsiteY151" fmla="*/ 480441 h 942137"/>
                <a:gd name="connsiteX152" fmla="*/ 739763 w 899217"/>
                <a:gd name="connsiteY152" fmla="*/ 477414 h 942137"/>
                <a:gd name="connsiteX153" fmla="*/ 738248 w 899217"/>
                <a:gd name="connsiteY153" fmla="*/ 475463 h 942137"/>
                <a:gd name="connsiteX154" fmla="*/ 738686 w 899217"/>
                <a:gd name="connsiteY154" fmla="*/ 470955 h 942137"/>
                <a:gd name="connsiteX155" fmla="*/ 741075 w 899217"/>
                <a:gd name="connsiteY155" fmla="*/ 467658 h 942137"/>
                <a:gd name="connsiteX156" fmla="*/ 740873 w 899217"/>
                <a:gd name="connsiteY156" fmla="*/ 463319 h 942137"/>
                <a:gd name="connsiteX157" fmla="*/ 738248 w 899217"/>
                <a:gd name="connsiteY157" fmla="*/ 461368 h 942137"/>
                <a:gd name="connsiteX158" fmla="*/ 734983 w 899217"/>
                <a:gd name="connsiteY158" fmla="*/ 462242 h 942137"/>
                <a:gd name="connsiteX159" fmla="*/ 732359 w 899217"/>
                <a:gd name="connsiteY159" fmla="*/ 464429 h 942137"/>
                <a:gd name="connsiteX160" fmla="*/ 729330 w 899217"/>
                <a:gd name="connsiteY160" fmla="*/ 465943 h 942137"/>
                <a:gd name="connsiteX161" fmla="*/ 724315 w 899217"/>
                <a:gd name="connsiteY161" fmla="*/ 466582 h 942137"/>
                <a:gd name="connsiteX162" fmla="*/ 726940 w 899217"/>
                <a:gd name="connsiteY162" fmla="*/ 461805 h 942137"/>
                <a:gd name="connsiteX163" fmla="*/ 727579 w 899217"/>
                <a:gd name="connsiteY163" fmla="*/ 455716 h 942137"/>
                <a:gd name="connsiteX164" fmla="*/ 724315 w 899217"/>
                <a:gd name="connsiteY164" fmla="*/ 454404 h 942137"/>
                <a:gd name="connsiteX165" fmla="*/ 721488 w 899217"/>
                <a:gd name="connsiteY165" fmla="*/ 453765 h 942137"/>
                <a:gd name="connsiteX166" fmla="*/ 717786 w 899217"/>
                <a:gd name="connsiteY166" fmla="*/ 448551 h 942137"/>
                <a:gd name="connsiteX167" fmla="*/ 713647 w 899217"/>
                <a:gd name="connsiteY167" fmla="*/ 446162 h 942137"/>
                <a:gd name="connsiteX168" fmla="*/ 713209 w 899217"/>
                <a:gd name="connsiteY168" fmla="*/ 441150 h 942137"/>
                <a:gd name="connsiteX169" fmla="*/ 713849 w 899217"/>
                <a:gd name="connsiteY169" fmla="*/ 439401 h 942137"/>
                <a:gd name="connsiteX170" fmla="*/ 717550 w 899217"/>
                <a:gd name="connsiteY170" fmla="*/ 437013 h 942137"/>
                <a:gd name="connsiteX171" fmla="*/ 720579 w 899217"/>
                <a:gd name="connsiteY171" fmla="*/ 435499 h 942137"/>
                <a:gd name="connsiteX172" fmla="*/ 724281 w 899217"/>
                <a:gd name="connsiteY172" fmla="*/ 435701 h 942137"/>
                <a:gd name="connsiteX173" fmla="*/ 726469 w 899217"/>
                <a:gd name="connsiteY173" fmla="*/ 434187 h 942137"/>
                <a:gd name="connsiteX174" fmla="*/ 727108 w 899217"/>
                <a:gd name="connsiteY174" fmla="*/ 429410 h 942137"/>
                <a:gd name="connsiteX175" fmla="*/ 727748 w 899217"/>
                <a:gd name="connsiteY175" fmla="*/ 424633 h 942137"/>
                <a:gd name="connsiteX176" fmla="*/ 727748 w 899217"/>
                <a:gd name="connsiteY176" fmla="*/ 418107 h 942137"/>
                <a:gd name="connsiteX177" fmla="*/ 727512 w 899217"/>
                <a:gd name="connsiteY177" fmla="*/ 413969 h 942137"/>
                <a:gd name="connsiteX178" fmla="*/ 729262 w 899217"/>
                <a:gd name="connsiteY178" fmla="*/ 410505 h 942137"/>
                <a:gd name="connsiteX179" fmla="*/ 730777 w 899217"/>
                <a:gd name="connsiteY179" fmla="*/ 408553 h 942137"/>
                <a:gd name="connsiteX180" fmla="*/ 731854 w 899217"/>
                <a:gd name="connsiteY180" fmla="*/ 406804 h 942137"/>
                <a:gd name="connsiteX181" fmla="*/ 733368 w 899217"/>
                <a:gd name="connsiteY181" fmla="*/ 404214 h 942137"/>
                <a:gd name="connsiteX182" fmla="*/ 734883 w 899217"/>
                <a:gd name="connsiteY182" fmla="*/ 401825 h 942137"/>
                <a:gd name="connsiteX183" fmla="*/ 736633 w 899217"/>
                <a:gd name="connsiteY183" fmla="*/ 396376 h 942137"/>
                <a:gd name="connsiteX184" fmla="*/ 737070 w 899217"/>
                <a:gd name="connsiteY184" fmla="*/ 391162 h 942137"/>
                <a:gd name="connsiteX185" fmla="*/ 739022 w 899217"/>
                <a:gd name="connsiteY185" fmla="*/ 386587 h 942137"/>
                <a:gd name="connsiteX186" fmla="*/ 741647 w 899217"/>
                <a:gd name="connsiteY186" fmla="*/ 382886 h 942137"/>
                <a:gd name="connsiteX187" fmla="*/ 742724 w 899217"/>
                <a:gd name="connsiteY187" fmla="*/ 380498 h 942137"/>
                <a:gd name="connsiteX188" fmla="*/ 747503 w 899217"/>
                <a:gd name="connsiteY188" fmla="*/ 376966 h 942137"/>
                <a:gd name="connsiteX189" fmla="*/ 748580 w 899217"/>
                <a:gd name="connsiteY189" fmla="*/ 374409 h 942137"/>
                <a:gd name="connsiteX190" fmla="*/ 752921 w 899217"/>
                <a:gd name="connsiteY190" fmla="*/ 368119 h 942137"/>
                <a:gd name="connsiteX191" fmla="*/ 753561 w 899217"/>
                <a:gd name="connsiteY191" fmla="*/ 365730 h 942137"/>
                <a:gd name="connsiteX192" fmla="*/ 754873 w 899217"/>
                <a:gd name="connsiteY192" fmla="*/ 363981 h 942137"/>
                <a:gd name="connsiteX193" fmla="*/ 755950 w 899217"/>
                <a:gd name="connsiteY193" fmla="*/ 358128 h 942137"/>
                <a:gd name="connsiteX194" fmla="*/ 754873 w 899217"/>
                <a:gd name="connsiteY194" fmla="*/ 355537 h 942137"/>
                <a:gd name="connsiteX195" fmla="*/ 750296 w 899217"/>
                <a:gd name="connsiteY195" fmla="*/ 351635 h 942137"/>
                <a:gd name="connsiteX196" fmla="*/ 750296 w 899217"/>
                <a:gd name="connsiteY196" fmla="*/ 344907 h 942137"/>
                <a:gd name="connsiteX197" fmla="*/ 745517 w 899217"/>
                <a:gd name="connsiteY197" fmla="*/ 341005 h 942137"/>
                <a:gd name="connsiteX198" fmla="*/ 743565 w 899217"/>
                <a:gd name="connsiteY198" fmla="*/ 339054 h 942137"/>
                <a:gd name="connsiteX199" fmla="*/ 740099 w 899217"/>
                <a:gd name="connsiteY199" fmla="*/ 337742 h 942137"/>
                <a:gd name="connsiteX200" fmla="*/ 736397 w 899217"/>
                <a:gd name="connsiteY200" fmla="*/ 335993 h 942137"/>
                <a:gd name="connsiteX201" fmla="*/ 736397 w 899217"/>
                <a:gd name="connsiteY201" fmla="*/ 333806 h 942137"/>
                <a:gd name="connsiteX202" fmla="*/ 738147 w 899217"/>
                <a:gd name="connsiteY202" fmla="*/ 332494 h 942137"/>
                <a:gd name="connsiteX203" fmla="*/ 738147 w 899217"/>
                <a:gd name="connsiteY203" fmla="*/ 328794 h 942137"/>
                <a:gd name="connsiteX204" fmla="*/ 737171 w 899217"/>
                <a:gd name="connsiteY204" fmla="*/ 325531 h 942137"/>
                <a:gd name="connsiteX205" fmla="*/ 734883 w 899217"/>
                <a:gd name="connsiteY205" fmla="*/ 323142 h 942137"/>
                <a:gd name="connsiteX206" fmla="*/ 730743 w 899217"/>
                <a:gd name="connsiteY206" fmla="*/ 322066 h 942137"/>
                <a:gd name="connsiteX207" fmla="*/ 728993 w 899217"/>
                <a:gd name="connsiteY207" fmla="*/ 321864 h 942137"/>
                <a:gd name="connsiteX208" fmla="*/ 727041 w 899217"/>
                <a:gd name="connsiteY208" fmla="*/ 323613 h 942137"/>
                <a:gd name="connsiteX209" fmla="*/ 725527 w 899217"/>
                <a:gd name="connsiteY209" fmla="*/ 324252 h 942137"/>
                <a:gd name="connsiteX210" fmla="*/ 724214 w 899217"/>
                <a:gd name="connsiteY210" fmla="*/ 325564 h 942137"/>
                <a:gd name="connsiteX211" fmla="*/ 724214 w 899217"/>
                <a:gd name="connsiteY211" fmla="*/ 326876 h 942137"/>
                <a:gd name="connsiteX212" fmla="*/ 723137 w 899217"/>
                <a:gd name="connsiteY212" fmla="*/ 328827 h 942137"/>
                <a:gd name="connsiteX213" fmla="*/ 722060 w 899217"/>
                <a:gd name="connsiteY213" fmla="*/ 330779 h 942137"/>
                <a:gd name="connsiteX214" fmla="*/ 719469 w 899217"/>
                <a:gd name="connsiteY214" fmla="*/ 333167 h 942137"/>
                <a:gd name="connsiteX215" fmla="*/ 716002 w 899217"/>
                <a:gd name="connsiteY215" fmla="*/ 334681 h 942137"/>
                <a:gd name="connsiteX216" fmla="*/ 714488 w 899217"/>
                <a:gd name="connsiteY216" fmla="*/ 335320 h 942137"/>
                <a:gd name="connsiteX217" fmla="*/ 709911 w 899217"/>
                <a:gd name="connsiteY217" fmla="*/ 335118 h 942137"/>
                <a:gd name="connsiteX218" fmla="*/ 707723 w 899217"/>
                <a:gd name="connsiteY218" fmla="*/ 335118 h 942137"/>
                <a:gd name="connsiteX219" fmla="*/ 702709 w 899217"/>
                <a:gd name="connsiteY219" fmla="*/ 335118 h 942137"/>
                <a:gd name="connsiteX220" fmla="*/ 700319 w 899217"/>
                <a:gd name="connsiteY220" fmla="*/ 334916 h 942137"/>
                <a:gd name="connsiteX221" fmla="*/ 698367 w 899217"/>
                <a:gd name="connsiteY221" fmla="*/ 335118 h 942137"/>
                <a:gd name="connsiteX222" fmla="*/ 697930 w 899217"/>
                <a:gd name="connsiteY222" fmla="*/ 336632 h 942137"/>
                <a:gd name="connsiteX223" fmla="*/ 696180 w 899217"/>
                <a:gd name="connsiteY223" fmla="*/ 338146 h 942137"/>
                <a:gd name="connsiteX224" fmla="*/ 694867 w 899217"/>
                <a:gd name="connsiteY224" fmla="*/ 340332 h 942137"/>
                <a:gd name="connsiteX225" fmla="*/ 693790 w 899217"/>
                <a:gd name="connsiteY225" fmla="*/ 343158 h 942137"/>
                <a:gd name="connsiteX226" fmla="*/ 692040 w 899217"/>
                <a:gd name="connsiteY226" fmla="*/ 343797 h 942137"/>
                <a:gd name="connsiteX227" fmla="*/ 686824 w 899217"/>
                <a:gd name="connsiteY227" fmla="*/ 343797 h 942137"/>
                <a:gd name="connsiteX228" fmla="*/ 683357 w 899217"/>
                <a:gd name="connsiteY228" fmla="*/ 343797 h 942137"/>
                <a:gd name="connsiteX229" fmla="*/ 678578 w 899217"/>
                <a:gd name="connsiteY229" fmla="*/ 343797 h 942137"/>
                <a:gd name="connsiteX230" fmla="*/ 673362 w 899217"/>
                <a:gd name="connsiteY230" fmla="*/ 342922 h 942137"/>
                <a:gd name="connsiteX231" fmla="*/ 669021 w 899217"/>
                <a:gd name="connsiteY231" fmla="*/ 340736 h 942137"/>
                <a:gd name="connsiteX232" fmla="*/ 666631 w 899217"/>
                <a:gd name="connsiteY232" fmla="*/ 337910 h 942137"/>
                <a:gd name="connsiteX233" fmla="*/ 663367 w 899217"/>
                <a:gd name="connsiteY233" fmla="*/ 331821 h 942137"/>
                <a:gd name="connsiteX234" fmla="*/ 660203 w 899217"/>
                <a:gd name="connsiteY234" fmla="*/ 328996 h 942137"/>
                <a:gd name="connsiteX235" fmla="*/ 660001 w 899217"/>
                <a:gd name="connsiteY235" fmla="*/ 326607 h 942137"/>
                <a:gd name="connsiteX236" fmla="*/ 660641 w 899217"/>
                <a:gd name="connsiteY236" fmla="*/ 322705 h 942137"/>
                <a:gd name="connsiteX237" fmla="*/ 660741 w 899217"/>
                <a:gd name="connsiteY237" fmla="*/ 319106 h 942137"/>
                <a:gd name="connsiteX238" fmla="*/ 661179 w 899217"/>
                <a:gd name="connsiteY238" fmla="*/ 315203 h 942137"/>
                <a:gd name="connsiteX239" fmla="*/ 661381 w 899217"/>
                <a:gd name="connsiteY239" fmla="*/ 312916 h 942137"/>
                <a:gd name="connsiteX240" fmla="*/ 662020 w 899217"/>
                <a:gd name="connsiteY240" fmla="*/ 310427 h 942137"/>
                <a:gd name="connsiteX241" fmla="*/ 662895 w 899217"/>
                <a:gd name="connsiteY241" fmla="*/ 309787 h 942137"/>
                <a:gd name="connsiteX242" fmla="*/ 663535 w 899217"/>
                <a:gd name="connsiteY242" fmla="*/ 308812 h 942137"/>
                <a:gd name="connsiteX243" fmla="*/ 664847 w 899217"/>
                <a:gd name="connsiteY243" fmla="*/ 307500 h 942137"/>
                <a:gd name="connsiteX244" fmla="*/ 665924 w 899217"/>
                <a:gd name="connsiteY244" fmla="*/ 305549 h 942137"/>
                <a:gd name="connsiteX245" fmla="*/ 666160 w 899217"/>
                <a:gd name="connsiteY245" fmla="*/ 302622 h 942137"/>
                <a:gd name="connsiteX246" fmla="*/ 665083 w 899217"/>
                <a:gd name="connsiteY246" fmla="*/ 301209 h 942137"/>
                <a:gd name="connsiteX247" fmla="*/ 665083 w 899217"/>
                <a:gd name="connsiteY247" fmla="*/ 299460 h 942137"/>
                <a:gd name="connsiteX248" fmla="*/ 665689 w 899217"/>
                <a:gd name="connsiteY248" fmla="*/ 296971 h 942137"/>
                <a:gd name="connsiteX249" fmla="*/ 666597 w 899217"/>
                <a:gd name="connsiteY249" fmla="*/ 295356 h 942137"/>
                <a:gd name="connsiteX250" fmla="*/ 667136 w 899217"/>
                <a:gd name="connsiteY250" fmla="*/ 292631 h 942137"/>
                <a:gd name="connsiteX251" fmla="*/ 666698 w 899217"/>
                <a:gd name="connsiteY251" fmla="*/ 290243 h 942137"/>
                <a:gd name="connsiteX252" fmla="*/ 665487 w 899217"/>
                <a:gd name="connsiteY252" fmla="*/ 287215 h 942137"/>
                <a:gd name="connsiteX253" fmla="*/ 662222 w 899217"/>
                <a:gd name="connsiteY253" fmla="*/ 285365 h 942137"/>
                <a:gd name="connsiteX254" fmla="*/ 660809 w 899217"/>
                <a:gd name="connsiteY254" fmla="*/ 285567 h 942137"/>
                <a:gd name="connsiteX255" fmla="*/ 659092 w 899217"/>
                <a:gd name="connsiteY255" fmla="*/ 286206 h 942137"/>
                <a:gd name="connsiteX256" fmla="*/ 658217 w 899217"/>
                <a:gd name="connsiteY256" fmla="*/ 287081 h 942137"/>
                <a:gd name="connsiteX257" fmla="*/ 655054 w 899217"/>
                <a:gd name="connsiteY257" fmla="*/ 288595 h 942137"/>
                <a:gd name="connsiteX258" fmla="*/ 652227 w 899217"/>
                <a:gd name="connsiteY258" fmla="*/ 288157 h 942137"/>
                <a:gd name="connsiteX259" fmla="*/ 651150 w 899217"/>
                <a:gd name="connsiteY259" fmla="*/ 284692 h 942137"/>
                <a:gd name="connsiteX260" fmla="*/ 651789 w 899217"/>
                <a:gd name="connsiteY260" fmla="*/ 282943 h 942137"/>
                <a:gd name="connsiteX261" fmla="*/ 656568 w 899217"/>
                <a:gd name="connsiteY261" fmla="*/ 281631 h 942137"/>
                <a:gd name="connsiteX262" fmla="*/ 656770 w 899217"/>
                <a:gd name="connsiteY262" fmla="*/ 280555 h 942137"/>
                <a:gd name="connsiteX263" fmla="*/ 656333 w 899217"/>
                <a:gd name="connsiteY263" fmla="*/ 278603 h 942137"/>
                <a:gd name="connsiteX264" fmla="*/ 656333 w 899217"/>
                <a:gd name="connsiteY264" fmla="*/ 272515 h 942137"/>
                <a:gd name="connsiteX265" fmla="*/ 660573 w 899217"/>
                <a:gd name="connsiteY265" fmla="*/ 271640 h 942137"/>
                <a:gd name="connsiteX266" fmla="*/ 663501 w 899217"/>
                <a:gd name="connsiteY266" fmla="*/ 267301 h 942137"/>
                <a:gd name="connsiteX267" fmla="*/ 668280 w 899217"/>
                <a:gd name="connsiteY267" fmla="*/ 264710 h 942137"/>
                <a:gd name="connsiteX268" fmla="*/ 669357 w 899217"/>
                <a:gd name="connsiteY268" fmla="*/ 262759 h 942137"/>
                <a:gd name="connsiteX269" fmla="*/ 670434 w 899217"/>
                <a:gd name="connsiteY269" fmla="*/ 261246 h 942137"/>
                <a:gd name="connsiteX270" fmla="*/ 673160 w 899217"/>
                <a:gd name="connsiteY270" fmla="*/ 258521 h 942137"/>
                <a:gd name="connsiteX271" fmla="*/ 675112 w 899217"/>
                <a:gd name="connsiteY271" fmla="*/ 257007 h 942137"/>
                <a:gd name="connsiteX272" fmla="*/ 676290 w 899217"/>
                <a:gd name="connsiteY272" fmla="*/ 256031 h 942137"/>
                <a:gd name="connsiteX273" fmla="*/ 678242 w 899217"/>
                <a:gd name="connsiteY273" fmla="*/ 254417 h 942137"/>
                <a:gd name="connsiteX274" fmla="*/ 680093 w 899217"/>
                <a:gd name="connsiteY274" fmla="*/ 251927 h 942137"/>
                <a:gd name="connsiteX275" fmla="*/ 681069 w 899217"/>
                <a:gd name="connsiteY275" fmla="*/ 248664 h 942137"/>
                <a:gd name="connsiteX276" fmla="*/ 683256 w 899217"/>
                <a:gd name="connsiteY276" fmla="*/ 244628 h 942137"/>
                <a:gd name="connsiteX277" fmla="*/ 684233 w 899217"/>
                <a:gd name="connsiteY277" fmla="*/ 241701 h 942137"/>
                <a:gd name="connsiteX278" fmla="*/ 685444 w 899217"/>
                <a:gd name="connsiteY278" fmla="*/ 239649 h 942137"/>
                <a:gd name="connsiteX279" fmla="*/ 686420 w 899217"/>
                <a:gd name="connsiteY279" fmla="*/ 238438 h 942137"/>
                <a:gd name="connsiteX280" fmla="*/ 688372 w 899217"/>
                <a:gd name="connsiteY280" fmla="*/ 238539 h 942137"/>
                <a:gd name="connsiteX281" fmla="*/ 689348 w 899217"/>
                <a:gd name="connsiteY281" fmla="*/ 240389 h 942137"/>
                <a:gd name="connsiteX282" fmla="*/ 689348 w 899217"/>
                <a:gd name="connsiteY282" fmla="*/ 242340 h 942137"/>
                <a:gd name="connsiteX283" fmla="*/ 690391 w 899217"/>
                <a:gd name="connsiteY283" fmla="*/ 242878 h 942137"/>
                <a:gd name="connsiteX284" fmla="*/ 692175 w 899217"/>
                <a:gd name="connsiteY284" fmla="*/ 242676 h 942137"/>
                <a:gd name="connsiteX285" fmla="*/ 694127 w 899217"/>
                <a:gd name="connsiteY285" fmla="*/ 243013 h 942137"/>
                <a:gd name="connsiteX286" fmla="*/ 695978 w 899217"/>
                <a:gd name="connsiteY286" fmla="*/ 244964 h 942137"/>
                <a:gd name="connsiteX287" fmla="*/ 696214 w 899217"/>
                <a:gd name="connsiteY287" fmla="*/ 246141 h 942137"/>
                <a:gd name="connsiteX288" fmla="*/ 698266 w 899217"/>
                <a:gd name="connsiteY288" fmla="*/ 248092 h 942137"/>
                <a:gd name="connsiteX289" fmla="*/ 700656 w 899217"/>
                <a:gd name="connsiteY289" fmla="*/ 251019 h 942137"/>
                <a:gd name="connsiteX290" fmla="*/ 702944 w 899217"/>
                <a:gd name="connsiteY290" fmla="*/ 253845 h 942137"/>
                <a:gd name="connsiteX291" fmla="*/ 706108 w 899217"/>
                <a:gd name="connsiteY291" fmla="*/ 257209 h 942137"/>
                <a:gd name="connsiteX292" fmla="*/ 708598 w 899217"/>
                <a:gd name="connsiteY292" fmla="*/ 259698 h 942137"/>
                <a:gd name="connsiteX293" fmla="*/ 711089 w 899217"/>
                <a:gd name="connsiteY293" fmla="*/ 262087 h 942137"/>
                <a:gd name="connsiteX294" fmla="*/ 714151 w 899217"/>
                <a:gd name="connsiteY294" fmla="*/ 262087 h 942137"/>
                <a:gd name="connsiteX295" fmla="*/ 717517 w 899217"/>
                <a:gd name="connsiteY295" fmla="*/ 260337 h 942137"/>
                <a:gd name="connsiteX296" fmla="*/ 719132 w 899217"/>
                <a:gd name="connsiteY296" fmla="*/ 257848 h 942137"/>
                <a:gd name="connsiteX297" fmla="*/ 722397 w 899217"/>
                <a:gd name="connsiteY297" fmla="*/ 254820 h 942137"/>
                <a:gd name="connsiteX298" fmla="*/ 725661 w 899217"/>
                <a:gd name="connsiteY298" fmla="*/ 252768 h 942137"/>
                <a:gd name="connsiteX299" fmla="*/ 728253 w 899217"/>
                <a:gd name="connsiteY299" fmla="*/ 247554 h 942137"/>
                <a:gd name="connsiteX300" fmla="*/ 729128 w 899217"/>
                <a:gd name="connsiteY300" fmla="*/ 245166 h 942137"/>
                <a:gd name="connsiteX301" fmla="*/ 731416 w 899217"/>
                <a:gd name="connsiteY301" fmla="*/ 242542 h 942137"/>
                <a:gd name="connsiteX302" fmla="*/ 733806 w 899217"/>
                <a:gd name="connsiteY302" fmla="*/ 241465 h 942137"/>
                <a:gd name="connsiteX303" fmla="*/ 737609 w 899217"/>
                <a:gd name="connsiteY303" fmla="*/ 243417 h 942137"/>
                <a:gd name="connsiteX304" fmla="*/ 739897 w 899217"/>
                <a:gd name="connsiteY304" fmla="*/ 245166 h 942137"/>
                <a:gd name="connsiteX305" fmla="*/ 743162 w 899217"/>
                <a:gd name="connsiteY305" fmla="*/ 248530 h 942137"/>
                <a:gd name="connsiteX306" fmla="*/ 743599 w 899217"/>
                <a:gd name="connsiteY306" fmla="*/ 250380 h 942137"/>
                <a:gd name="connsiteX307" fmla="*/ 743263 w 899217"/>
                <a:gd name="connsiteY307" fmla="*/ 252566 h 942137"/>
                <a:gd name="connsiteX308" fmla="*/ 743363 w 899217"/>
                <a:gd name="connsiteY308" fmla="*/ 255729 h 942137"/>
                <a:gd name="connsiteX309" fmla="*/ 745854 w 899217"/>
                <a:gd name="connsiteY309" fmla="*/ 258353 h 942137"/>
                <a:gd name="connsiteX310" fmla="*/ 748041 w 899217"/>
                <a:gd name="connsiteY310" fmla="*/ 259126 h 942137"/>
                <a:gd name="connsiteX311" fmla="*/ 749892 w 899217"/>
                <a:gd name="connsiteY311" fmla="*/ 258689 h 942137"/>
                <a:gd name="connsiteX312" fmla="*/ 753258 w 899217"/>
                <a:gd name="connsiteY312" fmla="*/ 257074 h 942137"/>
                <a:gd name="connsiteX313" fmla="*/ 756287 w 899217"/>
                <a:gd name="connsiteY313" fmla="*/ 256872 h 942137"/>
                <a:gd name="connsiteX314" fmla="*/ 763893 w 899217"/>
                <a:gd name="connsiteY314" fmla="*/ 256536 h 942137"/>
                <a:gd name="connsiteX315" fmla="*/ 769446 w 899217"/>
                <a:gd name="connsiteY315" fmla="*/ 256536 h 942137"/>
                <a:gd name="connsiteX316" fmla="*/ 773484 w 899217"/>
                <a:gd name="connsiteY316" fmla="*/ 258285 h 942137"/>
                <a:gd name="connsiteX317" fmla="*/ 777725 w 899217"/>
                <a:gd name="connsiteY317" fmla="*/ 261313 h 942137"/>
                <a:gd name="connsiteX318" fmla="*/ 780013 w 899217"/>
                <a:gd name="connsiteY318" fmla="*/ 260337 h 942137"/>
                <a:gd name="connsiteX319" fmla="*/ 782840 w 899217"/>
                <a:gd name="connsiteY319" fmla="*/ 257175 h 942137"/>
                <a:gd name="connsiteX320" fmla="*/ 785028 w 899217"/>
                <a:gd name="connsiteY320" fmla="*/ 254248 h 942137"/>
                <a:gd name="connsiteX321" fmla="*/ 788393 w 899217"/>
                <a:gd name="connsiteY321" fmla="*/ 251524 h 942137"/>
                <a:gd name="connsiteX322" fmla="*/ 793273 w 899217"/>
                <a:gd name="connsiteY322" fmla="*/ 249472 h 942137"/>
                <a:gd name="connsiteX323" fmla="*/ 794922 w 899217"/>
                <a:gd name="connsiteY323" fmla="*/ 249034 h 942137"/>
                <a:gd name="connsiteX324" fmla="*/ 799062 w 899217"/>
                <a:gd name="connsiteY324" fmla="*/ 248933 h 942137"/>
                <a:gd name="connsiteX325" fmla="*/ 803302 w 899217"/>
                <a:gd name="connsiteY325" fmla="*/ 248294 h 942137"/>
                <a:gd name="connsiteX326" fmla="*/ 808418 w 899217"/>
                <a:gd name="connsiteY326" fmla="*/ 248294 h 942137"/>
                <a:gd name="connsiteX327" fmla="*/ 812456 w 899217"/>
                <a:gd name="connsiteY327" fmla="*/ 248294 h 942137"/>
                <a:gd name="connsiteX328" fmla="*/ 814745 w 899217"/>
                <a:gd name="connsiteY328" fmla="*/ 248294 h 942137"/>
                <a:gd name="connsiteX329" fmla="*/ 816697 w 899217"/>
                <a:gd name="connsiteY329" fmla="*/ 245906 h 942137"/>
                <a:gd name="connsiteX330" fmla="*/ 818211 w 899217"/>
                <a:gd name="connsiteY330" fmla="*/ 243719 h 942137"/>
                <a:gd name="connsiteX331" fmla="*/ 819827 w 899217"/>
                <a:gd name="connsiteY331" fmla="*/ 242205 h 942137"/>
                <a:gd name="connsiteX332" fmla="*/ 819827 w 899217"/>
                <a:gd name="connsiteY332" fmla="*/ 239817 h 942137"/>
                <a:gd name="connsiteX333" fmla="*/ 818077 w 899217"/>
                <a:gd name="connsiteY333" fmla="*/ 236991 h 942137"/>
                <a:gd name="connsiteX334" fmla="*/ 818077 w 899217"/>
                <a:gd name="connsiteY334" fmla="*/ 235377 h 942137"/>
                <a:gd name="connsiteX335" fmla="*/ 819053 w 899217"/>
                <a:gd name="connsiteY335" fmla="*/ 231777 h 942137"/>
                <a:gd name="connsiteX336" fmla="*/ 821240 w 899217"/>
                <a:gd name="connsiteY336" fmla="*/ 229591 h 942137"/>
                <a:gd name="connsiteX337" fmla="*/ 822990 w 899217"/>
                <a:gd name="connsiteY337" fmla="*/ 227101 h 942137"/>
                <a:gd name="connsiteX338" fmla="*/ 826591 w 899217"/>
                <a:gd name="connsiteY338" fmla="*/ 223737 h 942137"/>
                <a:gd name="connsiteX339" fmla="*/ 826793 w 899217"/>
                <a:gd name="connsiteY339" fmla="*/ 220474 h 942137"/>
                <a:gd name="connsiteX340" fmla="*/ 827231 w 899217"/>
                <a:gd name="connsiteY340" fmla="*/ 217850 h 942137"/>
                <a:gd name="connsiteX341" fmla="*/ 826793 w 899217"/>
                <a:gd name="connsiteY341" fmla="*/ 216673 h 942137"/>
                <a:gd name="connsiteX342" fmla="*/ 823899 w 899217"/>
                <a:gd name="connsiteY342" fmla="*/ 215092 h 942137"/>
                <a:gd name="connsiteX343" fmla="*/ 823764 w 899217"/>
                <a:gd name="connsiteY343" fmla="*/ 213645 h 942137"/>
                <a:gd name="connsiteX344" fmla="*/ 825077 w 899217"/>
                <a:gd name="connsiteY344" fmla="*/ 210181 h 942137"/>
                <a:gd name="connsiteX345" fmla="*/ 829856 w 899217"/>
                <a:gd name="connsiteY345" fmla="*/ 208734 h 942137"/>
                <a:gd name="connsiteX346" fmla="*/ 832043 w 899217"/>
                <a:gd name="connsiteY346" fmla="*/ 207422 h 942137"/>
                <a:gd name="connsiteX347" fmla="*/ 832043 w 899217"/>
                <a:gd name="connsiteY347" fmla="*/ 203957 h 942137"/>
                <a:gd name="connsiteX348" fmla="*/ 832043 w 899217"/>
                <a:gd name="connsiteY348" fmla="*/ 203385 h 942137"/>
                <a:gd name="connsiteX349" fmla="*/ 831168 w 899217"/>
                <a:gd name="connsiteY349" fmla="*/ 201367 h 942137"/>
                <a:gd name="connsiteX350" fmla="*/ 825817 w 899217"/>
                <a:gd name="connsiteY350" fmla="*/ 201367 h 942137"/>
                <a:gd name="connsiteX351" fmla="*/ 822788 w 899217"/>
                <a:gd name="connsiteY351" fmla="*/ 201232 h 942137"/>
                <a:gd name="connsiteX352" fmla="*/ 823091 w 899217"/>
                <a:gd name="connsiteY352" fmla="*/ 198037 h 942137"/>
                <a:gd name="connsiteX353" fmla="*/ 823529 w 899217"/>
                <a:gd name="connsiteY353" fmla="*/ 195278 h 942137"/>
                <a:gd name="connsiteX354" fmla="*/ 825279 w 899217"/>
                <a:gd name="connsiteY354" fmla="*/ 193832 h 942137"/>
                <a:gd name="connsiteX355" fmla="*/ 826860 w 899217"/>
                <a:gd name="connsiteY355" fmla="*/ 191813 h 942137"/>
                <a:gd name="connsiteX356" fmla="*/ 826860 w 899217"/>
                <a:gd name="connsiteY356" fmla="*/ 188920 h 942137"/>
                <a:gd name="connsiteX357" fmla="*/ 826793 w 899217"/>
                <a:gd name="connsiteY357" fmla="*/ 185018 h 942137"/>
                <a:gd name="connsiteX358" fmla="*/ 824134 w 899217"/>
                <a:gd name="connsiteY358" fmla="*/ 182260 h 942137"/>
                <a:gd name="connsiteX359" fmla="*/ 820937 w 899217"/>
                <a:gd name="connsiteY359" fmla="*/ 181385 h 942137"/>
                <a:gd name="connsiteX360" fmla="*/ 818750 w 899217"/>
                <a:gd name="connsiteY360" fmla="*/ 180510 h 942137"/>
                <a:gd name="connsiteX361" fmla="*/ 815856 w 899217"/>
                <a:gd name="connsiteY361" fmla="*/ 179804 h 942137"/>
                <a:gd name="connsiteX362" fmla="*/ 813399 w 899217"/>
                <a:gd name="connsiteY362" fmla="*/ 178189 h 942137"/>
                <a:gd name="connsiteX363" fmla="*/ 810067 w 899217"/>
                <a:gd name="connsiteY363" fmla="*/ 176171 h 942137"/>
                <a:gd name="connsiteX364" fmla="*/ 808620 w 899217"/>
                <a:gd name="connsiteY364" fmla="*/ 174724 h 942137"/>
                <a:gd name="connsiteX365" fmla="*/ 807879 w 899217"/>
                <a:gd name="connsiteY365" fmla="*/ 171259 h 942137"/>
                <a:gd name="connsiteX366" fmla="*/ 807004 w 899217"/>
                <a:gd name="connsiteY366" fmla="*/ 168501 h 942137"/>
                <a:gd name="connsiteX367" fmla="*/ 804413 w 899217"/>
                <a:gd name="connsiteY367" fmla="*/ 165473 h 942137"/>
                <a:gd name="connsiteX368" fmla="*/ 801519 w 899217"/>
                <a:gd name="connsiteY368" fmla="*/ 163724 h 942137"/>
                <a:gd name="connsiteX369" fmla="*/ 799062 w 899217"/>
                <a:gd name="connsiteY369" fmla="*/ 166045 h 942137"/>
                <a:gd name="connsiteX370" fmla="*/ 796874 w 899217"/>
                <a:gd name="connsiteY370" fmla="*/ 168938 h 942137"/>
                <a:gd name="connsiteX371" fmla="*/ 794990 w 899217"/>
                <a:gd name="connsiteY371" fmla="*/ 171394 h 942137"/>
                <a:gd name="connsiteX372" fmla="*/ 794249 w 899217"/>
                <a:gd name="connsiteY372" fmla="*/ 173278 h 942137"/>
                <a:gd name="connsiteX373" fmla="*/ 792667 w 899217"/>
                <a:gd name="connsiteY373" fmla="*/ 175868 h 942137"/>
                <a:gd name="connsiteX374" fmla="*/ 790917 w 899217"/>
                <a:gd name="connsiteY374" fmla="*/ 178458 h 942137"/>
                <a:gd name="connsiteX375" fmla="*/ 790042 w 899217"/>
                <a:gd name="connsiteY375" fmla="*/ 180342 h 942137"/>
                <a:gd name="connsiteX376" fmla="*/ 788158 w 899217"/>
                <a:gd name="connsiteY376" fmla="*/ 182361 h 942137"/>
                <a:gd name="connsiteX377" fmla="*/ 787148 w 899217"/>
                <a:gd name="connsiteY377" fmla="*/ 183942 h 942137"/>
                <a:gd name="connsiteX378" fmla="*/ 786273 w 899217"/>
                <a:gd name="connsiteY378" fmla="*/ 186263 h 942137"/>
                <a:gd name="connsiteX379" fmla="*/ 784691 w 899217"/>
                <a:gd name="connsiteY379" fmla="*/ 188584 h 942137"/>
                <a:gd name="connsiteX380" fmla="*/ 782369 w 899217"/>
                <a:gd name="connsiteY380" fmla="*/ 189156 h 942137"/>
                <a:gd name="connsiteX381" fmla="*/ 780619 w 899217"/>
                <a:gd name="connsiteY381" fmla="*/ 188853 h 942137"/>
                <a:gd name="connsiteX382" fmla="*/ 778297 w 899217"/>
                <a:gd name="connsiteY382" fmla="*/ 187978 h 942137"/>
                <a:gd name="connsiteX383" fmla="*/ 776278 w 899217"/>
                <a:gd name="connsiteY383" fmla="*/ 187978 h 942137"/>
                <a:gd name="connsiteX384" fmla="*/ 774090 w 899217"/>
                <a:gd name="connsiteY384" fmla="*/ 188281 h 942137"/>
                <a:gd name="connsiteX385" fmla="*/ 773653 w 899217"/>
                <a:gd name="connsiteY385" fmla="*/ 190737 h 942137"/>
                <a:gd name="connsiteX386" fmla="*/ 772071 w 899217"/>
                <a:gd name="connsiteY386" fmla="*/ 193764 h 942137"/>
                <a:gd name="connsiteX387" fmla="*/ 766989 w 899217"/>
                <a:gd name="connsiteY387" fmla="*/ 196355 h 942137"/>
                <a:gd name="connsiteX388" fmla="*/ 763354 w 899217"/>
                <a:gd name="connsiteY388" fmla="*/ 195648 h 942137"/>
                <a:gd name="connsiteX389" fmla="*/ 760325 w 899217"/>
                <a:gd name="connsiteY389" fmla="*/ 194504 h 942137"/>
                <a:gd name="connsiteX390" fmla="*/ 755546 w 899217"/>
                <a:gd name="connsiteY390" fmla="*/ 194807 h 942137"/>
                <a:gd name="connsiteX391" fmla="*/ 754099 w 899217"/>
                <a:gd name="connsiteY391" fmla="*/ 195951 h 942137"/>
                <a:gd name="connsiteX392" fmla="*/ 749186 w 899217"/>
                <a:gd name="connsiteY392" fmla="*/ 196523 h 942137"/>
                <a:gd name="connsiteX393" fmla="*/ 746729 w 899217"/>
                <a:gd name="connsiteY393" fmla="*/ 195345 h 942137"/>
                <a:gd name="connsiteX394" fmla="*/ 746594 w 899217"/>
                <a:gd name="connsiteY394" fmla="*/ 193899 h 942137"/>
                <a:gd name="connsiteX395" fmla="*/ 746022 w 899217"/>
                <a:gd name="connsiteY395" fmla="*/ 191881 h 942137"/>
                <a:gd name="connsiteX396" fmla="*/ 744878 w 899217"/>
                <a:gd name="connsiteY396" fmla="*/ 189694 h 942137"/>
                <a:gd name="connsiteX397" fmla="*/ 742556 w 899217"/>
                <a:gd name="connsiteY397" fmla="*/ 186667 h 942137"/>
                <a:gd name="connsiteX398" fmla="*/ 738921 w 899217"/>
                <a:gd name="connsiteY398" fmla="*/ 184783 h 942137"/>
                <a:gd name="connsiteX399" fmla="*/ 736599 w 899217"/>
                <a:gd name="connsiteY399" fmla="*/ 184480 h 942137"/>
                <a:gd name="connsiteX400" fmla="*/ 734142 w 899217"/>
                <a:gd name="connsiteY400" fmla="*/ 182899 h 942137"/>
                <a:gd name="connsiteX401" fmla="*/ 730373 w 899217"/>
                <a:gd name="connsiteY401" fmla="*/ 180006 h 942137"/>
                <a:gd name="connsiteX402" fmla="*/ 730238 w 899217"/>
                <a:gd name="connsiteY402" fmla="*/ 178257 h 942137"/>
                <a:gd name="connsiteX403" fmla="*/ 730373 w 899217"/>
                <a:gd name="connsiteY403" fmla="*/ 175801 h 942137"/>
                <a:gd name="connsiteX404" fmla="*/ 735152 w 899217"/>
                <a:gd name="connsiteY404" fmla="*/ 172336 h 942137"/>
                <a:gd name="connsiteX405" fmla="*/ 737474 w 899217"/>
                <a:gd name="connsiteY405" fmla="*/ 170587 h 942137"/>
                <a:gd name="connsiteX406" fmla="*/ 739931 w 899217"/>
                <a:gd name="connsiteY406" fmla="*/ 169712 h 942137"/>
                <a:gd name="connsiteX407" fmla="*/ 743700 w 899217"/>
                <a:gd name="connsiteY407" fmla="*/ 166382 h 942137"/>
                <a:gd name="connsiteX408" fmla="*/ 743835 w 899217"/>
                <a:gd name="connsiteY408" fmla="*/ 161605 h 942137"/>
                <a:gd name="connsiteX409" fmla="*/ 743094 w 899217"/>
                <a:gd name="connsiteY409" fmla="*/ 159586 h 942137"/>
                <a:gd name="connsiteX410" fmla="*/ 740772 w 899217"/>
                <a:gd name="connsiteY410" fmla="*/ 158712 h 942137"/>
                <a:gd name="connsiteX411" fmla="*/ 738585 w 899217"/>
                <a:gd name="connsiteY411" fmla="*/ 158140 h 942137"/>
                <a:gd name="connsiteX412" fmla="*/ 739022 w 899217"/>
                <a:gd name="connsiteY412" fmla="*/ 156391 h 942137"/>
                <a:gd name="connsiteX413" fmla="*/ 740166 w 899217"/>
                <a:gd name="connsiteY413" fmla="*/ 153363 h 942137"/>
                <a:gd name="connsiteX414" fmla="*/ 742489 w 899217"/>
                <a:gd name="connsiteY414" fmla="*/ 151883 h 942137"/>
                <a:gd name="connsiteX415" fmla="*/ 740974 w 899217"/>
                <a:gd name="connsiteY415" fmla="*/ 147409 h 942137"/>
                <a:gd name="connsiteX416" fmla="*/ 737911 w 899217"/>
                <a:gd name="connsiteY416" fmla="*/ 143372 h 942137"/>
                <a:gd name="connsiteX417" fmla="*/ 735421 w 899217"/>
                <a:gd name="connsiteY417" fmla="*/ 141858 h 942137"/>
                <a:gd name="connsiteX418" fmla="*/ 732056 w 899217"/>
                <a:gd name="connsiteY418" fmla="*/ 141858 h 942137"/>
                <a:gd name="connsiteX419" fmla="*/ 725964 w 899217"/>
                <a:gd name="connsiteY419" fmla="*/ 139134 h 942137"/>
                <a:gd name="connsiteX420" fmla="*/ 724012 w 899217"/>
                <a:gd name="connsiteY420" fmla="*/ 136409 h 942137"/>
                <a:gd name="connsiteX421" fmla="*/ 723810 w 899217"/>
                <a:gd name="connsiteY421" fmla="*/ 134660 h 942137"/>
                <a:gd name="connsiteX422" fmla="*/ 723608 w 899217"/>
                <a:gd name="connsiteY422" fmla="*/ 128806 h 942137"/>
                <a:gd name="connsiteX423" fmla="*/ 723810 w 899217"/>
                <a:gd name="connsiteY423" fmla="*/ 125005 h 942137"/>
                <a:gd name="connsiteX424" fmla="*/ 724786 w 899217"/>
                <a:gd name="connsiteY424" fmla="*/ 123794 h 942137"/>
                <a:gd name="connsiteX425" fmla="*/ 727277 w 899217"/>
                <a:gd name="connsiteY425" fmla="*/ 121607 h 942137"/>
                <a:gd name="connsiteX426" fmla="*/ 729229 w 899217"/>
                <a:gd name="connsiteY426" fmla="*/ 119656 h 942137"/>
                <a:gd name="connsiteX427" fmla="*/ 731416 w 899217"/>
                <a:gd name="connsiteY427" fmla="*/ 117470 h 942137"/>
                <a:gd name="connsiteX428" fmla="*/ 733267 w 899217"/>
                <a:gd name="connsiteY428" fmla="*/ 116057 h 942137"/>
                <a:gd name="connsiteX429" fmla="*/ 735859 w 899217"/>
                <a:gd name="connsiteY429" fmla="*/ 114745 h 942137"/>
                <a:gd name="connsiteX430" fmla="*/ 739325 w 899217"/>
                <a:gd name="connsiteY430" fmla="*/ 114207 h 942137"/>
                <a:gd name="connsiteX431" fmla="*/ 742253 w 899217"/>
                <a:gd name="connsiteY431" fmla="*/ 111919 h 942137"/>
                <a:gd name="connsiteX432" fmla="*/ 743666 w 899217"/>
                <a:gd name="connsiteY432" fmla="*/ 110843 h 942137"/>
                <a:gd name="connsiteX433" fmla="*/ 744306 w 899217"/>
                <a:gd name="connsiteY433" fmla="*/ 106705 h 942137"/>
                <a:gd name="connsiteX434" fmla="*/ 741041 w 899217"/>
                <a:gd name="connsiteY434" fmla="*/ 103442 h 942137"/>
                <a:gd name="connsiteX435" fmla="*/ 736700 w 899217"/>
                <a:gd name="connsiteY435" fmla="*/ 104317 h 942137"/>
                <a:gd name="connsiteX436" fmla="*/ 730508 w 899217"/>
                <a:gd name="connsiteY436" fmla="*/ 104956 h 942137"/>
                <a:gd name="connsiteX437" fmla="*/ 723002 w 899217"/>
                <a:gd name="connsiteY437" fmla="*/ 106369 h 942137"/>
                <a:gd name="connsiteX438" fmla="*/ 718964 w 899217"/>
                <a:gd name="connsiteY438" fmla="*/ 104754 h 942137"/>
                <a:gd name="connsiteX439" fmla="*/ 714623 w 899217"/>
                <a:gd name="connsiteY439" fmla="*/ 102164 h 942137"/>
                <a:gd name="connsiteX440" fmla="*/ 712570 w 899217"/>
                <a:gd name="connsiteY440" fmla="*/ 102164 h 942137"/>
                <a:gd name="connsiteX441" fmla="*/ 710079 w 899217"/>
                <a:gd name="connsiteY441" fmla="*/ 102971 h 942137"/>
                <a:gd name="connsiteX442" fmla="*/ 708565 w 899217"/>
                <a:gd name="connsiteY442" fmla="*/ 105427 h 942137"/>
                <a:gd name="connsiteX443" fmla="*/ 704560 w 899217"/>
                <a:gd name="connsiteY443" fmla="*/ 105629 h 942137"/>
                <a:gd name="connsiteX444" fmla="*/ 701632 w 899217"/>
                <a:gd name="connsiteY444" fmla="*/ 105965 h 942137"/>
                <a:gd name="connsiteX445" fmla="*/ 699007 w 899217"/>
                <a:gd name="connsiteY445" fmla="*/ 105629 h 942137"/>
                <a:gd name="connsiteX446" fmla="*/ 697593 w 899217"/>
                <a:gd name="connsiteY446" fmla="*/ 105629 h 942137"/>
                <a:gd name="connsiteX447" fmla="*/ 693790 w 899217"/>
                <a:gd name="connsiteY447" fmla="*/ 105561 h 942137"/>
                <a:gd name="connsiteX448" fmla="*/ 691401 w 899217"/>
                <a:gd name="connsiteY448" fmla="*/ 104855 h 942137"/>
                <a:gd name="connsiteX449" fmla="*/ 690425 w 899217"/>
                <a:gd name="connsiteY449" fmla="*/ 103543 h 942137"/>
                <a:gd name="connsiteX450" fmla="*/ 688910 w 899217"/>
                <a:gd name="connsiteY450" fmla="*/ 100818 h 942137"/>
                <a:gd name="connsiteX451" fmla="*/ 686622 w 899217"/>
                <a:gd name="connsiteY451" fmla="*/ 100919 h 942137"/>
                <a:gd name="connsiteX452" fmla="*/ 685848 w 899217"/>
                <a:gd name="connsiteY452" fmla="*/ 101020 h 942137"/>
                <a:gd name="connsiteX453" fmla="*/ 684434 w 899217"/>
                <a:gd name="connsiteY453" fmla="*/ 103207 h 942137"/>
                <a:gd name="connsiteX454" fmla="*/ 684098 w 899217"/>
                <a:gd name="connsiteY454" fmla="*/ 105494 h 942137"/>
                <a:gd name="connsiteX455" fmla="*/ 682785 w 899217"/>
                <a:gd name="connsiteY455" fmla="*/ 107983 h 942137"/>
                <a:gd name="connsiteX456" fmla="*/ 682146 w 899217"/>
                <a:gd name="connsiteY456" fmla="*/ 110473 h 942137"/>
                <a:gd name="connsiteX457" fmla="*/ 679958 w 899217"/>
                <a:gd name="connsiteY457" fmla="*/ 114610 h 942137"/>
                <a:gd name="connsiteX458" fmla="*/ 678982 w 899217"/>
                <a:gd name="connsiteY458" fmla="*/ 117201 h 942137"/>
                <a:gd name="connsiteX459" fmla="*/ 679319 w 899217"/>
                <a:gd name="connsiteY459" fmla="*/ 119387 h 942137"/>
                <a:gd name="connsiteX460" fmla="*/ 681271 w 899217"/>
                <a:gd name="connsiteY460" fmla="*/ 121136 h 942137"/>
                <a:gd name="connsiteX461" fmla="*/ 683425 w 899217"/>
                <a:gd name="connsiteY461" fmla="*/ 122448 h 942137"/>
                <a:gd name="connsiteX462" fmla="*/ 684939 w 899217"/>
                <a:gd name="connsiteY462" fmla="*/ 125375 h 942137"/>
                <a:gd name="connsiteX463" fmla="*/ 686588 w 899217"/>
                <a:gd name="connsiteY463" fmla="*/ 128302 h 942137"/>
                <a:gd name="connsiteX464" fmla="*/ 687026 w 899217"/>
                <a:gd name="connsiteY464" fmla="*/ 130926 h 942137"/>
                <a:gd name="connsiteX465" fmla="*/ 686925 w 899217"/>
                <a:gd name="connsiteY465" fmla="*/ 133650 h 942137"/>
                <a:gd name="connsiteX466" fmla="*/ 686689 w 899217"/>
                <a:gd name="connsiteY466" fmla="*/ 137452 h 942137"/>
                <a:gd name="connsiteX467" fmla="*/ 685612 w 899217"/>
                <a:gd name="connsiteY467" fmla="*/ 139840 h 942137"/>
                <a:gd name="connsiteX468" fmla="*/ 684199 w 899217"/>
                <a:gd name="connsiteY468" fmla="*/ 142127 h 942137"/>
                <a:gd name="connsiteX469" fmla="*/ 681809 w 899217"/>
                <a:gd name="connsiteY469" fmla="*/ 144852 h 942137"/>
                <a:gd name="connsiteX470" fmla="*/ 678444 w 899217"/>
                <a:gd name="connsiteY470" fmla="*/ 147779 h 942137"/>
                <a:gd name="connsiteX471" fmla="*/ 674978 w 899217"/>
                <a:gd name="connsiteY471" fmla="*/ 149966 h 942137"/>
                <a:gd name="connsiteX472" fmla="*/ 672487 w 899217"/>
                <a:gd name="connsiteY472" fmla="*/ 149966 h 942137"/>
                <a:gd name="connsiteX473" fmla="*/ 669862 w 899217"/>
                <a:gd name="connsiteY473" fmla="*/ 148990 h 942137"/>
                <a:gd name="connsiteX474" fmla="*/ 669088 w 899217"/>
                <a:gd name="connsiteY474" fmla="*/ 148654 h 942137"/>
                <a:gd name="connsiteX475" fmla="*/ 665285 w 899217"/>
                <a:gd name="connsiteY475" fmla="*/ 145391 h 942137"/>
                <a:gd name="connsiteX476" fmla="*/ 662458 w 899217"/>
                <a:gd name="connsiteY476" fmla="*/ 145592 h 942137"/>
                <a:gd name="connsiteX477" fmla="*/ 661280 w 899217"/>
                <a:gd name="connsiteY477" fmla="*/ 145592 h 942137"/>
                <a:gd name="connsiteX478" fmla="*/ 659194 w 899217"/>
                <a:gd name="connsiteY478" fmla="*/ 147611 h 942137"/>
                <a:gd name="connsiteX479" fmla="*/ 656905 w 899217"/>
                <a:gd name="connsiteY479" fmla="*/ 149192 h 942137"/>
                <a:gd name="connsiteX480" fmla="*/ 656131 w 899217"/>
                <a:gd name="connsiteY480" fmla="*/ 150706 h 942137"/>
                <a:gd name="connsiteX481" fmla="*/ 653304 w 899217"/>
                <a:gd name="connsiteY481" fmla="*/ 152892 h 942137"/>
                <a:gd name="connsiteX482" fmla="*/ 650039 w 899217"/>
                <a:gd name="connsiteY482" fmla="*/ 154843 h 942137"/>
                <a:gd name="connsiteX483" fmla="*/ 648727 w 899217"/>
                <a:gd name="connsiteY483" fmla="*/ 155819 h 942137"/>
                <a:gd name="connsiteX484" fmla="*/ 646236 w 899217"/>
                <a:gd name="connsiteY484" fmla="*/ 157770 h 942137"/>
                <a:gd name="connsiteX485" fmla="*/ 644587 w 899217"/>
                <a:gd name="connsiteY485" fmla="*/ 160259 h 942137"/>
                <a:gd name="connsiteX486" fmla="*/ 643510 w 899217"/>
                <a:gd name="connsiteY486" fmla="*/ 162210 h 942137"/>
                <a:gd name="connsiteX487" fmla="*/ 642736 w 899217"/>
                <a:gd name="connsiteY487" fmla="*/ 163859 h 942137"/>
                <a:gd name="connsiteX488" fmla="*/ 642198 w 899217"/>
                <a:gd name="connsiteY488" fmla="*/ 165709 h 942137"/>
                <a:gd name="connsiteX489" fmla="*/ 642299 w 899217"/>
                <a:gd name="connsiteY489" fmla="*/ 167761 h 942137"/>
                <a:gd name="connsiteX490" fmla="*/ 644150 w 899217"/>
                <a:gd name="connsiteY490" fmla="*/ 169174 h 942137"/>
                <a:gd name="connsiteX491" fmla="*/ 647313 w 899217"/>
                <a:gd name="connsiteY491" fmla="*/ 171663 h 942137"/>
                <a:gd name="connsiteX492" fmla="*/ 649804 w 899217"/>
                <a:gd name="connsiteY492" fmla="*/ 173715 h 942137"/>
                <a:gd name="connsiteX493" fmla="*/ 651554 w 899217"/>
                <a:gd name="connsiteY493" fmla="*/ 174489 h 942137"/>
                <a:gd name="connsiteX494" fmla="*/ 652429 w 899217"/>
                <a:gd name="connsiteY494" fmla="*/ 175027 h 942137"/>
                <a:gd name="connsiteX495" fmla="*/ 654280 w 899217"/>
                <a:gd name="connsiteY495" fmla="*/ 177853 h 942137"/>
                <a:gd name="connsiteX496" fmla="*/ 654179 w 899217"/>
                <a:gd name="connsiteY496" fmla="*/ 178929 h 942137"/>
                <a:gd name="connsiteX497" fmla="*/ 653102 w 899217"/>
                <a:gd name="connsiteY497" fmla="*/ 180342 h 942137"/>
                <a:gd name="connsiteX498" fmla="*/ 650914 w 899217"/>
                <a:gd name="connsiteY498" fmla="*/ 182091 h 942137"/>
                <a:gd name="connsiteX499" fmla="*/ 649938 w 899217"/>
                <a:gd name="connsiteY499" fmla="*/ 183067 h 942137"/>
                <a:gd name="connsiteX500" fmla="*/ 649602 w 899217"/>
                <a:gd name="connsiteY500" fmla="*/ 185657 h 942137"/>
                <a:gd name="connsiteX501" fmla="*/ 649063 w 899217"/>
                <a:gd name="connsiteY501" fmla="*/ 188920 h 942137"/>
                <a:gd name="connsiteX502" fmla="*/ 648188 w 899217"/>
                <a:gd name="connsiteY502" fmla="*/ 191208 h 942137"/>
                <a:gd name="connsiteX503" fmla="*/ 646236 w 899217"/>
                <a:gd name="connsiteY503" fmla="*/ 194572 h 942137"/>
                <a:gd name="connsiteX504" fmla="*/ 642534 w 899217"/>
                <a:gd name="connsiteY504" fmla="*/ 198609 h 942137"/>
                <a:gd name="connsiteX505" fmla="*/ 639505 w 899217"/>
                <a:gd name="connsiteY505" fmla="*/ 200559 h 942137"/>
                <a:gd name="connsiteX506" fmla="*/ 638092 w 899217"/>
                <a:gd name="connsiteY506" fmla="*/ 200997 h 942137"/>
                <a:gd name="connsiteX507" fmla="*/ 636679 w 899217"/>
                <a:gd name="connsiteY507" fmla="*/ 201973 h 942137"/>
                <a:gd name="connsiteX508" fmla="*/ 634491 w 899217"/>
                <a:gd name="connsiteY508" fmla="*/ 203722 h 942137"/>
                <a:gd name="connsiteX509" fmla="*/ 632101 w 899217"/>
                <a:gd name="connsiteY509" fmla="*/ 206211 h 942137"/>
                <a:gd name="connsiteX510" fmla="*/ 630150 w 899217"/>
                <a:gd name="connsiteY510" fmla="*/ 208162 h 942137"/>
                <a:gd name="connsiteX511" fmla="*/ 628635 w 899217"/>
                <a:gd name="connsiteY511" fmla="*/ 210551 h 942137"/>
                <a:gd name="connsiteX512" fmla="*/ 627121 w 899217"/>
                <a:gd name="connsiteY512" fmla="*/ 213141 h 942137"/>
                <a:gd name="connsiteX513" fmla="*/ 624933 w 899217"/>
                <a:gd name="connsiteY513" fmla="*/ 217379 h 942137"/>
                <a:gd name="connsiteX514" fmla="*/ 624058 w 899217"/>
                <a:gd name="connsiteY514" fmla="*/ 218456 h 942137"/>
                <a:gd name="connsiteX515" fmla="*/ 621669 w 899217"/>
                <a:gd name="connsiteY515" fmla="*/ 219095 h 942137"/>
                <a:gd name="connsiteX516" fmla="*/ 619178 w 899217"/>
                <a:gd name="connsiteY516" fmla="*/ 220071 h 942137"/>
                <a:gd name="connsiteX517" fmla="*/ 615914 w 899217"/>
                <a:gd name="connsiteY517" fmla="*/ 222459 h 942137"/>
                <a:gd name="connsiteX518" fmla="*/ 614164 w 899217"/>
                <a:gd name="connsiteY518" fmla="*/ 225184 h 942137"/>
                <a:gd name="connsiteX519" fmla="*/ 610798 w 899217"/>
                <a:gd name="connsiteY519" fmla="*/ 229523 h 942137"/>
                <a:gd name="connsiteX520" fmla="*/ 608308 w 899217"/>
                <a:gd name="connsiteY520" fmla="*/ 232248 h 942137"/>
                <a:gd name="connsiteX521" fmla="*/ 602889 w 899217"/>
                <a:gd name="connsiteY521" fmla="*/ 237227 h 942137"/>
                <a:gd name="connsiteX522" fmla="*/ 599423 w 899217"/>
                <a:gd name="connsiteY522" fmla="*/ 238875 h 942137"/>
                <a:gd name="connsiteX523" fmla="*/ 596798 w 899217"/>
                <a:gd name="connsiteY523" fmla="*/ 243349 h 942137"/>
                <a:gd name="connsiteX524" fmla="*/ 592793 w 899217"/>
                <a:gd name="connsiteY524" fmla="*/ 244527 h 942137"/>
                <a:gd name="connsiteX525" fmla="*/ 591144 w 899217"/>
                <a:gd name="connsiteY525" fmla="*/ 243013 h 942137"/>
                <a:gd name="connsiteX526" fmla="*/ 590370 w 899217"/>
                <a:gd name="connsiteY526" fmla="*/ 239212 h 942137"/>
                <a:gd name="connsiteX527" fmla="*/ 589495 w 899217"/>
                <a:gd name="connsiteY527" fmla="*/ 236285 h 942137"/>
                <a:gd name="connsiteX528" fmla="*/ 587442 w 899217"/>
                <a:gd name="connsiteY528" fmla="*/ 234872 h 942137"/>
                <a:gd name="connsiteX529" fmla="*/ 585793 w 899217"/>
                <a:gd name="connsiteY529" fmla="*/ 235208 h 942137"/>
                <a:gd name="connsiteX530" fmla="*/ 585355 w 899217"/>
                <a:gd name="connsiteY530" fmla="*/ 239111 h 942137"/>
                <a:gd name="connsiteX531" fmla="*/ 585019 w 899217"/>
                <a:gd name="connsiteY531" fmla="*/ 243248 h 942137"/>
                <a:gd name="connsiteX532" fmla="*/ 583168 w 899217"/>
                <a:gd name="connsiteY532" fmla="*/ 245536 h 942137"/>
                <a:gd name="connsiteX533" fmla="*/ 580442 w 899217"/>
                <a:gd name="connsiteY533" fmla="*/ 248025 h 942137"/>
                <a:gd name="connsiteX534" fmla="*/ 578490 w 899217"/>
                <a:gd name="connsiteY534" fmla="*/ 251187 h 942137"/>
                <a:gd name="connsiteX535" fmla="*/ 578490 w 899217"/>
                <a:gd name="connsiteY535" fmla="*/ 253475 h 942137"/>
                <a:gd name="connsiteX536" fmla="*/ 580004 w 899217"/>
                <a:gd name="connsiteY536" fmla="*/ 254349 h 942137"/>
                <a:gd name="connsiteX537" fmla="*/ 582932 w 899217"/>
                <a:gd name="connsiteY537" fmla="*/ 257612 h 942137"/>
                <a:gd name="connsiteX538" fmla="*/ 583134 w 899217"/>
                <a:gd name="connsiteY538" fmla="*/ 259564 h 942137"/>
                <a:gd name="connsiteX539" fmla="*/ 582798 w 899217"/>
                <a:gd name="connsiteY539" fmla="*/ 263365 h 942137"/>
                <a:gd name="connsiteX540" fmla="*/ 584110 w 899217"/>
                <a:gd name="connsiteY540" fmla="*/ 268041 h 942137"/>
                <a:gd name="connsiteX541" fmla="*/ 583235 w 899217"/>
                <a:gd name="connsiteY541" fmla="*/ 273356 h 942137"/>
                <a:gd name="connsiteX542" fmla="*/ 583235 w 899217"/>
                <a:gd name="connsiteY542" fmla="*/ 275408 h 942137"/>
                <a:gd name="connsiteX543" fmla="*/ 582461 w 899217"/>
                <a:gd name="connsiteY543" fmla="*/ 281160 h 942137"/>
                <a:gd name="connsiteX544" fmla="*/ 581485 w 899217"/>
                <a:gd name="connsiteY544" fmla="*/ 285062 h 942137"/>
                <a:gd name="connsiteX545" fmla="*/ 580172 w 899217"/>
                <a:gd name="connsiteY545" fmla="*/ 287787 h 942137"/>
                <a:gd name="connsiteX546" fmla="*/ 577783 w 899217"/>
                <a:gd name="connsiteY546" fmla="*/ 291824 h 942137"/>
                <a:gd name="connsiteX547" fmla="*/ 578321 w 899217"/>
                <a:gd name="connsiteY547" fmla="*/ 296399 h 942137"/>
                <a:gd name="connsiteX548" fmla="*/ 579197 w 899217"/>
                <a:gd name="connsiteY548" fmla="*/ 298350 h 942137"/>
                <a:gd name="connsiteX549" fmla="*/ 581687 w 899217"/>
                <a:gd name="connsiteY549" fmla="*/ 301176 h 942137"/>
                <a:gd name="connsiteX550" fmla="*/ 582461 w 899217"/>
                <a:gd name="connsiteY550" fmla="*/ 303463 h 942137"/>
                <a:gd name="connsiteX551" fmla="*/ 584110 w 899217"/>
                <a:gd name="connsiteY551" fmla="*/ 309552 h 942137"/>
                <a:gd name="connsiteX552" fmla="*/ 583235 w 899217"/>
                <a:gd name="connsiteY552" fmla="*/ 313353 h 942137"/>
                <a:gd name="connsiteX553" fmla="*/ 583235 w 899217"/>
                <a:gd name="connsiteY553" fmla="*/ 319879 h 942137"/>
                <a:gd name="connsiteX554" fmla="*/ 583572 w 899217"/>
                <a:gd name="connsiteY554" fmla="*/ 321629 h 942137"/>
                <a:gd name="connsiteX555" fmla="*/ 585221 w 899217"/>
                <a:gd name="connsiteY555" fmla="*/ 325228 h 942137"/>
                <a:gd name="connsiteX556" fmla="*/ 587273 w 899217"/>
                <a:gd name="connsiteY556" fmla="*/ 328054 h 942137"/>
                <a:gd name="connsiteX557" fmla="*/ 589562 w 899217"/>
                <a:gd name="connsiteY557" fmla="*/ 330880 h 942137"/>
                <a:gd name="connsiteX558" fmla="*/ 591211 w 899217"/>
                <a:gd name="connsiteY558" fmla="*/ 332393 h 942137"/>
                <a:gd name="connsiteX559" fmla="*/ 591211 w 899217"/>
                <a:gd name="connsiteY559" fmla="*/ 334782 h 942137"/>
                <a:gd name="connsiteX560" fmla="*/ 590572 w 899217"/>
                <a:gd name="connsiteY560" fmla="*/ 338045 h 942137"/>
                <a:gd name="connsiteX561" fmla="*/ 589394 w 899217"/>
                <a:gd name="connsiteY561" fmla="*/ 340299 h 942137"/>
                <a:gd name="connsiteX562" fmla="*/ 587004 w 899217"/>
                <a:gd name="connsiteY562" fmla="*/ 340299 h 942137"/>
                <a:gd name="connsiteX563" fmla="*/ 584817 w 899217"/>
                <a:gd name="connsiteY563" fmla="*/ 340534 h 942137"/>
                <a:gd name="connsiteX564" fmla="*/ 582966 w 899217"/>
                <a:gd name="connsiteY564" fmla="*/ 341274 h 942137"/>
                <a:gd name="connsiteX565" fmla="*/ 584649 w 899217"/>
                <a:gd name="connsiteY565" fmla="*/ 344806 h 942137"/>
                <a:gd name="connsiteX566" fmla="*/ 586230 w 899217"/>
                <a:gd name="connsiteY566" fmla="*/ 350525 h 942137"/>
                <a:gd name="connsiteX567" fmla="*/ 585658 w 899217"/>
                <a:gd name="connsiteY567" fmla="*/ 355235 h 942137"/>
                <a:gd name="connsiteX568" fmla="*/ 584076 w 899217"/>
                <a:gd name="connsiteY568" fmla="*/ 358935 h 942137"/>
                <a:gd name="connsiteX569" fmla="*/ 581821 w 899217"/>
                <a:gd name="connsiteY569" fmla="*/ 360684 h 942137"/>
                <a:gd name="connsiteX570" fmla="*/ 578557 w 899217"/>
                <a:gd name="connsiteY570" fmla="*/ 361828 h 942137"/>
                <a:gd name="connsiteX571" fmla="*/ 574283 w 899217"/>
                <a:gd name="connsiteY571" fmla="*/ 361963 h 942137"/>
                <a:gd name="connsiteX572" fmla="*/ 570581 w 899217"/>
                <a:gd name="connsiteY572" fmla="*/ 361963 h 942137"/>
                <a:gd name="connsiteX573" fmla="*/ 567989 w 899217"/>
                <a:gd name="connsiteY573" fmla="*/ 363409 h 942137"/>
                <a:gd name="connsiteX574" fmla="*/ 564220 w 899217"/>
                <a:gd name="connsiteY574" fmla="*/ 364553 h 942137"/>
                <a:gd name="connsiteX575" fmla="*/ 558936 w 899217"/>
                <a:gd name="connsiteY575" fmla="*/ 366067 h 942137"/>
                <a:gd name="connsiteX576" fmla="*/ 555167 w 899217"/>
                <a:gd name="connsiteY576" fmla="*/ 368085 h 942137"/>
                <a:gd name="connsiteX577" fmla="*/ 552845 w 899217"/>
                <a:gd name="connsiteY577" fmla="*/ 369834 h 942137"/>
                <a:gd name="connsiteX578" fmla="*/ 549076 w 899217"/>
                <a:gd name="connsiteY578" fmla="*/ 369834 h 942137"/>
                <a:gd name="connsiteX579" fmla="*/ 545003 w 899217"/>
                <a:gd name="connsiteY579" fmla="*/ 367244 h 942137"/>
                <a:gd name="connsiteX580" fmla="*/ 545003 w 899217"/>
                <a:gd name="connsiteY580" fmla="*/ 364048 h 942137"/>
                <a:gd name="connsiteX581" fmla="*/ 548032 w 899217"/>
                <a:gd name="connsiteY581" fmla="*/ 358262 h 942137"/>
                <a:gd name="connsiteX582" fmla="*/ 546720 w 899217"/>
                <a:gd name="connsiteY582" fmla="*/ 356244 h 942137"/>
                <a:gd name="connsiteX583" fmla="*/ 541806 w 899217"/>
                <a:gd name="connsiteY583" fmla="*/ 357388 h 942137"/>
                <a:gd name="connsiteX584" fmla="*/ 538037 w 899217"/>
                <a:gd name="connsiteY584" fmla="*/ 361155 h 942137"/>
                <a:gd name="connsiteX585" fmla="*/ 532248 w 899217"/>
                <a:gd name="connsiteY585" fmla="*/ 366369 h 942137"/>
                <a:gd name="connsiteX586" fmla="*/ 528479 w 899217"/>
                <a:gd name="connsiteY586" fmla="*/ 369834 h 942137"/>
                <a:gd name="connsiteX587" fmla="*/ 525585 w 899217"/>
                <a:gd name="connsiteY587" fmla="*/ 369834 h 942137"/>
                <a:gd name="connsiteX588" fmla="*/ 520234 w 899217"/>
                <a:gd name="connsiteY588" fmla="*/ 370473 h 942137"/>
                <a:gd name="connsiteX589" fmla="*/ 514714 w 899217"/>
                <a:gd name="connsiteY589" fmla="*/ 371415 h 942137"/>
                <a:gd name="connsiteX590" fmla="*/ 512392 w 899217"/>
                <a:gd name="connsiteY590" fmla="*/ 372559 h 942137"/>
                <a:gd name="connsiteX591" fmla="*/ 510373 w 899217"/>
                <a:gd name="connsiteY591" fmla="*/ 375015 h 942137"/>
                <a:gd name="connsiteX592" fmla="*/ 507916 w 899217"/>
                <a:gd name="connsiteY592" fmla="*/ 376327 h 942137"/>
                <a:gd name="connsiteX593" fmla="*/ 503575 w 899217"/>
                <a:gd name="connsiteY593" fmla="*/ 380532 h 942137"/>
                <a:gd name="connsiteX594" fmla="*/ 498930 w 899217"/>
                <a:gd name="connsiteY594" fmla="*/ 383727 h 942137"/>
                <a:gd name="connsiteX595" fmla="*/ 493411 w 899217"/>
                <a:gd name="connsiteY595" fmla="*/ 383727 h 942137"/>
                <a:gd name="connsiteX596" fmla="*/ 486310 w 899217"/>
                <a:gd name="connsiteY596" fmla="*/ 387428 h 942137"/>
                <a:gd name="connsiteX597" fmla="*/ 481834 w 899217"/>
                <a:gd name="connsiteY597" fmla="*/ 389816 h 942137"/>
                <a:gd name="connsiteX598" fmla="*/ 475305 w 899217"/>
                <a:gd name="connsiteY598" fmla="*/ 392844 h 942137"/>
                <a:gd name="connsiteX599" fmla="*/ 468776 w 899217"/>
                <a:gd name="connsiteY599" fmla="*/ 392272 h 942137"/>
                <a:gd name="connsiteX600" fmla="*/ 465747 w 899217"/>
                <a:gd name="connsiteY600" fmla="*/ 390388 h 942137"/>
                <a:gd name="connsiteX601" fmla="*/ 465309 w 899217"/>
                <a:gd name="connsiteY601" fmla="*/ 386183 h 942137"/>
                <a:gd name="connsiteX602" fmla="*/ 465007 w 899217"/>
                <a:gd name="connsiteY602" fmla="*/ 382853 h 942137"/>
                <a:gd name="connsiteX603" fmla="*/ 465007 w 899217"/>
                <a:gd name="connsiteY603" fmla="*/ 377773 h 942137"/>
                <a:gd name="connsiteX604" fmla="*/ 463862 w 899217"/>
                <a:gd name="connsiteY604" fmla="*/ 375587 h 942137"/>
                <a:gd name="connsiteX605" fmla="*/ 460800 w 899217"/>
                <a:gd name="connsiteY605" fmla="*/ 373265 h 942137"/>
                <a:gd name="connsiteX606" fmla="*/ 459353 w 899217"/>
                <a:gd name="connsiteY606" fmla="*/ 368354 h 942137"/>
                <a:gd name="connsiteX607" fmla="*/ 458780 w 899217"/>
                <a:gd name="connsiteY607" fmla="*/ 363275 h 942137"/>
                <a:gd name="connsiteX608" fmla="*/ 457333 w 899217"/>
                <a:gd name="connsiteY608" fmla="*/ 360651 h 942137"/>
                <a:gd name="connsiteX609" fmla="*/ 455314 w 899217"/>
                <a:gd name="connsiteY609" fmla="*/ 362097 h 942137"/>
                <a:gd name="connsiteX610" fmla="*/ 452857 w 899217"/>
                <a:gd name="connsiteY610" fmla="*/ 363846 h 942137"/>
                <a:gd name="connsiteX611" fmla="*/ 450266 w 899217"/>
                <a:gd name="connsiteY611" fmla="*/ 366302 h 942137"/>
                <a:gd name="connsiteX612" fmla="*/ 445049 w 899217"/>
                <a:gd name="connsiteY612" fmla="*/ 366302 h 942137"/>
                <a:gd name="connsiteX613" fmla="*/ 439968 w 899217"/>
                <a:gd name="connsiteY613" fmla="*/ 363981 h 942137"/>
                <a:gd name="connsiteX614" fmla="*/ 438655 w 899217"/>
                <a:gd name="connsiteY614" fmla="*/ 359070 h 942137"/>
                <a:gd name="connsiteX615" fmla="*/ 439665 w 899217"/>
                <a:gd name="connsiteY615" fmla="*/ 353553 h 942137"/>
                <a:gd name="connsiteX616" fmla="*/ 442862 w 899217"/>
                <a:gd name="connsiteY616" fmla="*/ 353418 h 942137"/>
                <a:gd name="connsiteX617" fmla="*/ 449223 w 899217"/>
                <a:gd name="connsiteY617" fmla="*/ 352106 h 942137"/>
                <a:gd name="connsiteX618" fmla="*/ 451107 w 899217"/>
                <a:gd name="connsiteY618" fmla="*/ 348910 h 942137"/>
                <a:gd name="connsiteX619" fmla="*/ 447203 w 899217"/>
                <a:gd name="connsiteY619" fmla="*/ 342384 h 942137"/>
                <a:gd name="connsiteX620" fmla="*/ 444006 w 899217"/>
                <a:gd name="connsiteY620" fmla="*/ 337608 h 942137"/>
                <a:gd name="connsiteX621" fmla="*/ 443131 w 899217"/>
                <a:gd name="connsiteY621" fmla="*/ 335589 h 942137"/>
                <a:gd name="connsiteX622" fmla="*/ 439799 w 899217"/>
                <a:gd name="connsiteY622" fmla="*/ 332393 h 942137"/>
                <a:gd name="connsiteX623" fmla="*/ 432833 w 899217"/>
                <a:gd name="connsiteY623" fmla="*/ 329198 h 942137"/>
                <a:gd name="connsiteX624" fmla="*/ 426472 w 899217"/>
                <a:gd name="connsiteY624" fmla="*/ 325127 h 942137"/>
                <a:gd name="connsiteX625" fmla="*/ 424722 w 899217"/>
                <a:gd name="connsiteY625" fmla="*/ 320350 h 942137"/>
                <a:gd name="connsiteX626" fmla="*/ 424587 w 899217"/>
                <a:gd name="connsiteY626" fmla="*/ 316717 h 942137"/>
                <a:gd name="connsiteX627" fmla="*/ 426775 w 899217"/>
                <a:gd name="connsiteY627" fmla="*/ 314699 h 942137"/>
                <a:gd name="connsiteX628" fmla="*/ 430847 w 899217"/>
                <a:gd name="connsiteY628" fmla="*/ 313690 h 942137"/>
                <a:gd name="connsiteX629" fmla="*/ 434616 w 899217"/>
                <a:gd name="connsiteY629" fmla="*/ 311503 h 942137"/>
                <a:gd name="connsiteX630" fmla="*/ 436939 w 899217"/>
                <a:gd name="connsiteY630" fmla="*/ 309182 h 942137"/>
                <a:gd name="connsiteX631" fmla="*/ 438251 w 899217"/>
                <a:gd name="connsiteY631" fmla="*/ 306726 h 942137"/>
                <a:gd name="connsiteX632" fmla="*/ 440708 w 899217"/>
                <a:gd name="connsiteY632" fmla="*/ 299326 h 942137"/>
                <a:gd name="connsiteX633" fmla="*/ 438823 w 899217"/>
                <a:gd name="connsiteY633" fmla="*/ 298888 h 942137"/>
                <a:gd name="connsiteX634" fmla="*/ 431419 w 899217"/>
                <a:gd name="connsiteY634" fmla="*/ 303093 h 942137"/>
                <a:gd name="connsiteX635" fmla="*/ 427953 w 899217"/>
                <a:gd name="connsiteY635" fmla="*/ 302353 h 942137"/>
                <a:gd name="connsiteX636" fmla="*/ 427515 w 899217"/>
                <a:gd name="connsiteY636" fmla="*/ 299897 h 942137"/>
                <a:gd name="connsiteX637" fmla="*/ 428390 w 899217"/>
                <a:gd name="connsiteY637" fmla="*/ 297576 h 942137"/>
                <a:gd name="connsiteX638" fmla="*/ 428828 w 899217"/>
                <a:gd name="connsiteY638" fmla="*/ 294112 h 942137"/>
                <a:gd name="connsiteX639" fmla="*/ 428962 w 899217"/>
                <a:gd name="connsiteY639" fmla="*/ 292530 h 942137"/>
                <a:gd name="connsiteX640" fmla="*/ 428087 w 899217"/>
                <a:gd name="connsiteY640" fmla="*/ 286307 h 942137"/>
                <a:gd name="connsiteX641" fmla="*/ 424890 w 899217"/>
                <a:gd name="connsiteY641" fmla="*/ 281967 h 942137"/>
                <a:gd name="connsiteX642" fmla="*/ 422568 w 899217"/>
                <a:gd name="connsiteY642" fmla="*/ 280790 h 942137"/>
                <a:gd name="connsiteX643" fmla="*/ 419808 w 899217"/>
                <a:gd name="connsiteY643" fmla="*/ 279915 h 942137"/>
                <a:gd name="connsiteX644" fmla="*/ 414020 w 899217"/>
                <a:gd name="connsiteY644" fmla="*/ 277729 h 942137"/>
                <a:gd name="connsiteX645" fmla="*/ 411395 w 899217"/>
                <a:gd name="connsiteY645" fmla="*/ 273827 h 942137"/>
                <a:gd name="connsiteX646" fmla="*/ 409005 w 899217"/>
                <a:gd name="connsiteY646" fmla="*/ 269050 h 942137"/>
                <a:gd name="connsiteX647" fmla="*/ 406616 w 899217"/>
                <a:gd name="connsiteY647" fmla="*/ 263096 h 942137"/>
                <a:gd name="connsiteX648" fmla="*/ 405875 w 899217"/>
                <a:gd name="connsiteY648" fmla="*/ 261077 h 942137"/>
                <a:gd name="connsiteX649" fmla="*/ 405875 w 899217"/>
                <a:gd name="connsiteY649" fmla="*/ 258487 h 942137"/>
                <a:gd name="connsiteX650" fmla="*/ 406380 w 899217"/>
                <a:gd name="connsiteY650" fmla="*/ 252533 h 942137"/>
                <a:gd name="connsiteX651" fmla="*/ 406313 w 899217"/>
                <a:gd name="connsiteY651" fmla="*/ 250346 h 942137"/>
                <a:gd name="connsiteX652" fmla="*/ 400524 w 899217"/>
                <a:gd name="connsiteY652" fmla="*/ 247890 h 942137"/>
                <a:gd name="connsiteX653" fmla="*/ 398337 w 899217"/>
                <a:gd name="connsiteY653" fmla="*/ 244560 h 942137"/>
                <a:gd name="connsiteX654" fmla="*/ 396890 w 899217"/>
                <a:gd name="connsiteY654" fmla="*/ 241230 h 942137"/>
                <a:gd name="connsiteX655" fmla="*/ 394298 w 899217"/>
                <a:gd name="connsiteY655" fmla="*/ 229355 h 942137"/>
                <a:gd name="connsiteX656" fmla="*/ 393726 w 899217"/>
                <a:gd name="connsiteY656" fmla="*/ 223838 h 942137"/>
                <a:gd name="connsiteX657" fmla="*/ 392279 w 899217"/>
                <a:gd name="connsiteY657" fmla="*/ 218187 h 942137"/>
                <a:gd name="connsiteX658" fmla="*/ 387635 w 899217"/>
                <a:gd name="connsiteY658" fmla="*/ 218489 h 942137"/>
                <a:gd name="connsiteX659" fmla="*/ 385010 w 899217"/>
                <a:gd name="connsiteY659" fmla="*/ 218489 h 942137"/>
                <a:gd name="connsiteX660" fmla="*/ 380231 w 899217"/>
                <a:gd name="connsiteY660" fmla="*/ 213847 h 942137"/>
                <a:gd name="connsiteX661" fmla="*/ 380533 w 899217"/>
                <a:gd name="connsiteY661" fmla="*/ 209945 h 942137"/>
                <a:gd name="connsiteX662" fmla="*/ 379793 w 899217"/>
                <a:gd name="connsiteY662" fmla="*/ 203722 h 942137"/>
                <a:gd name="connsiteX663" fmla="*/ 379793 w 899217"/>
                <a:gd name="connsiteY663" fmla="*/ 197364 h 942137"/>
                <a:gd name="connsiteX664" fmla="*/ 378918 w 899217"/>
                <a:gd name="connsiteY664" fmla="*/ 194471 h 942137"/>
                <a:gd name="connsiteX665" fmla="*/ 374442 w 899217"/>
                <a:gd name="connsiteY665" fmla="*/ 187945 h 942137"/>
                <a:gd name="connsiteX666" fmla="*/ 371413 w 899217"/>
                <a:gd name="connsiteY666" fmla="*/ 183303 h 942137"/>
                <a:gd name="connsiteX667" fmla="*/ 369226 w 899217"/>
                <a:gd name="connsiteY667" fmla="*/ 177214 h 942137"/>
                <a:gd name="connsiteX668" fmla="*/ 367341 w 899217"/>
                <a:gd name="connsiteY668" fmla="*/ 170688 h 942137"/>
                <a:gd name="connsiteX669" fmla="*/ 366903 w 899217"/>
                <a:gd name="connsiteY669" fmla="*/ 165608 h 942137"/>
                <a:gd name="connsiteX670" fmla="*/ 363706 w 899217"/>
                <a:gd name="connsiteY670" fmla="*/ 162580 h 942137"/>
                <a:gd name="connsiteX671" fmla="*/ 361384 w 899217"/>
                <a:gd name="connsiteY671" fmla="*/ 161706 h 942137"/>
                <a:gd name="connsiteX672" fmla="*/ 358187 w 899217"/>
                <a:gd name="connsiteY672" fmla="*/ 162715 h 942137"/>
                <a:gd name="connsiteX673" fmla="*/ 357043 w 899217"/>
                <a:gd name="connsiteY673" fmla="*/ 163287 h 942137"/>
                <a:gd name="connsiteX674" fmla="*/ 354148 w 899217"/>
                <a:gd name="connsiteY674" fmla="*/ 167795 h 942137"/>
                <a:gd name="connsiteX675" fmla="*/ 349908 w 899217"/>
                <a:gd name="connsiteY675" fmla="*/ 166348 h 942137"/>
                <a:gd name="connsiteX676" fmla="*/ 346105 w 899217"/>
                <a:gd name="connsiteY676" fmla="*/ 164061 h 942137"/>
                <a:gd name="connsiteX677" fmla="*/ 345465 w 899217"/>
                <a:gd name="connsiteY677" fmla="*/ 162210 h 942137"/>
                <a:gd name="connsiteX678" fmla="*/ 343076 w 899217"/>
                <a:gd name="connsiteY678" fmla="*/ 162009 h 942137"/>
                <a:gd name="connsiteX679" fmla="*/ 341763 w 899217"/>
                <a:gd name="connsiteY679" fmla="*/ 162648 h 942137"/>
                <a:gd name="connsiteX680" fmla="*/ 340013 w 899217"/>
                <a:gd name="connsiteY680" fmla="*/ 165272 h 942137"/>
                <a:gd name="connsiteX681" fmla="*/ 336210 w 899217"/>
                <a:gd name="connsiteY681" fmla="*/ 169611 h 942137"/>
                <a:gd name="connsiteX682" fmla="*/ 332307 w 899217"/>
                <a:gd name="connsiteY682" fmla="*/ 170587 h 942137"/>
                <a:gd name="connsiteX683" fmla="*/ 326215 w 899217"/>
                <a:gd name="connsiteY683" fmla="*/ 169948 h 942137"/>
                <a:gd name="connsiteX684" fmla="*/ 321638 w 899217"/>
                <a:gd name="connsiteY684" fmla="*/ 166920 h 942137"/>
                <a:gd name="connsiteX685" fmla="*/ 317297 w 899217"/>
                <a:gd name="connsiteY685" fmla="*/ 160932 h 942137"/>
                <a:gd name="connsiteX686" fmla="*/ 314671 w 899217"/>
                <a:gd name="connsiteY686" fmla="*/ 156155 h 942137"/>
                <a:gd name="connsiteX687" fmla="*/ 312820 w 899217"/>
                <a:gd name="connsiteY687" fmla="*/ 151816 h 942137"/>
                <a:gd name="connsiteX688" fmla="*/ 309994 w 899217"/>
                <a:gd name="connsiteY688" fmla="*/ 147039 h 942137"/>
                <a:gd name="connsiteX689" fmla="*/ 307166 w 899217"/>
                <a:gd name="connsiteY689" fmla="*/ 144112 h 942137"/>
                <a:gd name="connsiteX690" fmla="*/ 304979 w 899217"/>
                <a:gd name="connsiteY690" fmla="*/ 139975 h 942137"/>
                <a:gd name="connsiteX691" fmla="*/ 303902 w 899217"/>
                <a:gd name="connsiteY691" fmla="*/ 136072 h 942137"/>
                <a:gd name="connsiteX692" fmla="*/ 302388 w 899217"/>
                <a:gd name="connsiteY692" fmla="*/ 132036 h 942137"/>
                <a:gd name="connsiteX693" fmla="*/ 302388 w 899217"/>
                <a:gd name="connsiteY693" fmla="*/ 129109 h 942137"/>
                <a:gd name="connsiteX694" fmla="*/ 304239 w 899217"/>
                <a:gd name="connsiteY694" fmla="*/ 128234 h 942137"/>
                <a:gd name="connsiteX695" fmla="*/ 306089 w 899217"/>
                <a:gd name="connsiteY695" fmla="*/ 127797 h 942137"/>
                <a:gd name="connsiteX696" fmla="*/ 311643 w 899217"/>
                <a:gd name="connsiteY696" fmla="*/ 126821 h 942137"/>
                <a:gd name="connsiteX697" fmla="*/ 314234 w 899217"/>
                <a:gd name="connsiteY697" fmla="*/ 126182 h 942137"/>
                <a:gd name="connsiteX698" fmla="*/ 315748 w 899217"/>
                <a:gd name="connsiteY698" fmla="*/ 125409 h 942137"/>
                <a:gd name="connsiteX699" fmla="*/ 317936 w 899217"/>
                <a:gd name="connsiteY699" fmla="*/ 122583 h 942137"/>
                <a:gd name="connsiteX700" fmla="*/ 318710 w 899217"/>
                <a:gd name="connsiteY700" fmla="*/ 120531 h 942137"/>
                <a:gd name="connsiteX701" fmla="*/ 319047 w 899217"/>
                <a:gd name="connsiteY701" fmla="*/ 116730 h 942137"/>
                <a:gd name="connsiteX702" fmla="*/ 318710 w 899217"/>
                <a:gd name="connsiteY702" fmla="*/ 114644 h 942137"/>
                <a:gd name="connsiteX703" fmla="*/ 318071 w 899217"/>
                <a:gd name="connsiteY703" fmla="*/ 113029 h 942137"/>
                <a:gd name="connsiteX704" fmla="*/ 315143 w 899217"/>
                <a:gd name="connsiteY704" fmla="*/ 110977 h 942137"/>
                <a:gd name="connsiteX705" fmla="*/ 313090 w 899217"/>
                <a:gd name="connsiteY705" fmla="*/ 109901 h 942137"/>
                <a:gd name="connsiteX706" fmla="*/ 310061 w 899217"/>
                <a:gd name="connsiteY706" fmla="*/ 105898 h 942137"/>
                <a:gd name="connsiteX707" fmla="*/ 308849 w 899217"/>
                <a:gd name="connsiteY707" fmla="*/ 102096 h 942137"/>
                <a:gd name="connsiteX708" fmla="*/ 308748 w 899217"/>
                <a:gd name="connsiteY708" fmla="*/ 99069 h 942137"/>
                <a:gd name="connsiteX709" fmla="*/ 304844 w 899217"/>
                <a:gd name="connsiteY709" fmla="*/ 92442 h 942137"/>
                <a:gd name="connsiteX710" fmla="*/ 301681 w 899217"/>
                <a:gd name="connsiteY710" fmla="*/ 84402 h 942137"/>
                <a:gd name="connsiteX711" fmla="*/ 300469 w 899217"/>
                <a:gd name="connsiteY711" fmla="*/ 80062 h 942137"/>
                <a:gd name="connsiteX712" fmla="*/ 298517 w 899217"/>
                <a:gd name="connsiteY712" fmla="*/ 77472 h 942137"/>
                <a:gd name="connsiteX713" fmla="*/ 293200 w 899217"/>
                <a:gd name="connsiteY713" fmla="*/ 77808 h 942137"/>
                <a:gd name="connsiteX714" fmla="*/ 289397 w 899217"/>
                <a:gd name="connsiteY714" fmla="*/ 74882 h 942137"/>
                <a:gd name="connsiteX715" fmla="*/ 287445 w 899217"/>
                <a:gd name="connsiteY715" fmla="*/ 71182 h 942137"/>
                <a:gd name="connsiteX716" fmla="*/ 284180 w 899217"/>
                <a:gd name="connsiteY716" fmla="*/ 68019 h 942137"/>
                <a:gd name="connsiteX717" fmla="*/ 282531 w 899217"/>
                <a:gd name="connsiteY717" fmla="*/ 64655 h 942137"/>
                <a:gd name="connsiteX718" fmla="*/ 281555 w 899217"/>
                <a:gd name="connsiteY718" fmla="*/ 62031 h 942137"/>
                <a:gd name="connsiteX719" fmla="*/ 281118 w 899217"/>
                <a:gd name="connsiteY719" fmla="*/ 58028 h 942137"/>
                <a:gd name="connsiteX720" fmla="*/ 281757 w 899217"/>
                <a:gd name="connsiteY720" fmla="*/ 55304 h 942137"/>
                <a:gd name="connsiteX721" fmla="*/ 282969 w 899217"/>
                <a:gd name="connsiteY721" fmla="*/ 52915 h 942137"/>
                <a:gd name="connsiteX722" fmla="*/ 283844 w 899217"/>
                <a:gd name="connsiteY722" fmla="*/ 51502 h 942137"/>
                <a:gd name="connsiteX723" fmla="*/ 281892 w 899217"/>
                <a:gd name="connsiteY723" fmla="*/ 48777 h 942137"/>
                <a:gd name="connsiteX724" fmla="*/ 279940 w 899217"/>
                <a:gd name="connsiteY724" fmla="*/ 48576 h 942137"/>
                <a:gd name="connsiteX725" fmla="*/ 276137 w 899217"/>
                <a:gd name="connsiteY725" fmla="*/ 49013 h 942137"/>
                <a:gd name="connsiteX726" fmla="*/ 274185 w 899217"/>
                <a:gd name="connsiteY726" fmla="*/ 49787 h 942137"/>
                <a:gd name="connsiteX727" fmla="*/ 273209 w 899217"/>
                <a:gd name="connsiteY727" fmla="*/ 50863 h 942137"/>
                <a:gd name="connsiteX728" fmla="*/ 271594 w 899217"/>
                <a:gd name="connsiteY728" fmla="*/ 53252 h 942137"/>
                <a:gd name="connsiteX729" fmla="*/ 270718 w 899217"/>
                <a:gd name="connsiteY729" fmla="*/ 54664 h 942137"/>
                <a:gd name="connsiteX730" fmla="*/ 270382 w 899217"/>
                <a:gd name="connsiteY730" fmla="*/ 58264 h 942137"/>
                <a:gd name="connsiteX731" fmla="*/ 267017 w 899217"/>
                <a:gd name="connsiteY731" fmla="*/ 61426 h 942137"/>
                <a:gd name="connsiteX732" fmla="*/ 265502 w 899217"/>
                <a:gd name="connsiteY732" fmla="*/ 63041 h 942137"/>
                <a:gd name="connsiteX733" fmla="*/ 263988 w 899217"/>
                <a:gd name="connsiteY733" fmla="*/ 67279 h 942137"/>
                <a:gd name="connsiteX734" fmla="*/ 261262 w 899217"/>
                <a:gd name="connsiteY734" fmla="*/ 70980 h 942137"/>
                <a:gd name="connsiteX735" fmla="*/ 259613 w 899217"/>
                <a:gd name="connsiteY735" fmla="*/ 73469 h 942137"/>
                <a:gd name="connsiteX736" fmla="*/ 256886 w 899217"/>
                <a:gd name="connsiteY736" fmla="*/ 76396 h 942137"/>
                <a:gd name="connsiteX737" fmla="*/ 254262 w 899217"/>
                <a:gd name="connsiteY737" fmla="*/ 79020 h 942137"/>
                <a:gd name="connsiteX738" fmla="*/ 252848 w 899217"/>
                <a:gd name="connsiteY738" fmla="*/ 79894 h 942137"/>
                <a:gd name="connsiteX739" fmla="*/ 249482 w 899217"/>
                <a:gd name="connsiteY739" fmla="*/ 80769 h 942137"/>
                <a:gd name="connsiteX740" fmla="*/ 245343 w 899217"/>
                <a:gd name="connsiteY740" fmla="*/ 81004 h 942137"/>
                <a:gd name="connsiteX741" fmla="*/ 242853 w 899217"/>
                <a:gd name="connsiteY741" fmla="*/ 82619 h 942137"/>
                <a:gd name="connsiteX742" fmla="*/ 241978 w 899217"/>
                <a:gd name="connsiteY742" fmla="*/ 84469 h 942137"/>
                <a:gd name="connsiteX743" fmla="*/ 241439 w 899217"/>
                <a:gd name="connsiteY743" fmla="*/ 86656 h 942137"/>
                <a:gd name="connsiteX744" fmla="*/ 240699 w 899217"/>
                <a:gd name="connsiteY744" fmla="*/ 90894 h 942137"/>
                <a:gd name="connsiteX745" fmla="*/ 240699 w 899217"/>
                <a:gd name="connsiteY745" fmla="*/ 93485 h 942137"/>
                <a:gd name="connsiteX746" fmla="*/ 242449 w 899217"/>
                <a:gd name="connsiteY746" fmla="*/ 99573 h 942137"/>
                <a:gd name="connsiteX747" fmla="*/ 242449 w 899217"/>
                <a:gd name="connsiteY747" fmla="*/ 103476 h 942137"/>
                <a:gd name="connsiteX748" fmla="*/ 241574 w 899217"/>
                <a:gd name="connsiteY748" fmla="*/ 111414 h 942137"/>
                <a:gd name="connsiteX749" fmla="*/ 240396 w 899217"/>
                <a:gd name="connsiteY749" fmla="*/ 116090 h 942137"/>
                <a:gd name="connsiteX750" fmla="*/ 234304 w 899217"/>
                <a:gd name="connsiteY750" fmla="*/ 116427 h 942137"/>
                <a:gd name="connsiteX751" fmla="*/ 229424 w 899217"/>
                <a:gd name="connsiteY751" fmla="*/ 110002 h 942137"/>
                <a:gd name="connsiteX752" fmla="*/ 225621 w 899217"/>
                <a:gd name="connsiteY752" fmla="*/ 105561 h 942137"/>
                <a:gd name="connsiteX753" fmla="*/ 220607 w 899217"/>
                <a:gd name="connsiteY753" fmla="*/ 98497 h 942137"/>
                <a:gd name="connsiteX754" fmla="*/ 219092 w 899217"/>
                <a:gd name="connsiteY754" fmla="*/ 89582 h 942137"/>
                <a:gd name="connsiteX755" fmla="*/ 218217 w 899217"/>
                <a:gd name="connsiteY755" fmla="*/ 85142 h 942137"/>
                <a:gd name="connsiteX756" fmla="*/ 218554 w 899217"/>
                <a:gd name="connsiteY756" fmla="*/ 79490 h 942137"/>
                <a:gd name="connsiteX757" fmla="*/ 219092 w 899217"/>
                <a:gd name="connsiteY757" fmla="*/ 76665 h 942137"/>
                <a:gd name="connsiteX758" fmla="*/ 220169 w 899217"/>
                <a:gd name="connsiteY758" fmla="*/ 72763 h 942137"/>
                <a:gd name="connsiteX759" fmla="*/ 219833 w 899217"/>
                <a:gd name="connsiteY759" fmla="*/ 70038 h 942137"/>
                <a:gd name="connsiteX760" fmla="*/ 219833 w 899217"/>
                <a:gd name="connsiteY760" fmla="*/ 62099 h 942137"/>
                <a:gd name="connsiteX761" fmla="*/ 219294 w 899217"/>
                <a:gd name="connsiteY761" fmla="*/ 58836 h 942137"/>
                <a:gd name="connsiteX762" fmla="*/ 218958 w 899217"/>
                <a:gd name="connsiteY762" fmla="*/ 55035 h 942137"/>
                <a:gd name="connsiteX763" fmla="*/ 218083 w 899217"/>
                <a:gd name="connsiteY763" fmla="*/ 50897 h 942137"/>
                <a:gd name="connsiteX764" fmla="*/ 218083 w 899217"/>
                <a:gd name="connsiteY764" fmla="*/ 47297 h 942137"/>
                <a:gd name="connsiteX765" fmla="*/ 220203 w 899217"/>
                <a:gd name="connsiteY765" fmla="*/ 43732 h 942137"/>
                <a:gd name="connsiteX766" fmla="*/ 222323 w 899217"/>
                <a:gd name="connsiteY766" fmla="*/ 37004 h 942137"/>
                <a:gd name="connsiteX767" fmla="*/ 224915 w 899217"/>
                <a:gd name="connsiteY767" fmla="*/ 31251 h 942137"/>
                <a:gd name="connsiteX768" fmla="*/ 226429 w 899217"/>
                <a:gd name="connsiteY768" fmla="*/ 24523 h 942137"/>
                <a:gd name="connsiteX769" fmla="*/ 227304 w 899217"/>
                <a:gd name="connsiteY769" fmla="*/ 21496 h 942137"/>
                <a:gd name="connsiteX770" fmla="*/ 227742 w 899217"/>
                <a:gd name="connsiteY770" fmla="*/ 18872 h 942137"/>
                <a:gd name="connsiteX771" fmla="*/ 227102 w 899217"/>
                <a:gd name="connsiteY771" fmla="*/ 9318 h 942137"/>
                <a:gd name="connsiteX772" fmla="*/ 226766 w 899217"/>
                <a:gd name="connsiteY772" fmla="*/ 5618 h 942137"/>
                <a:gd name="connsiteX773" fmla="*/ 223165 w 899217"/>
                <a:gd name="connsiteY773" fmla="*/ 1379 h 942137"/>
                <a:gd name="connsiteX774" fmla="*/ 221549 w 899217"/>
                <a:gd name="connsiteY774" fmla="*/ 1178 h 942137"/>
                <a:gd name="connsiteX775" fmla="*/ 219496 w 899217"/>
                <a:gd name="connsiteY775" fmla="*/ 538 h 942137"/>
                <a:gd name="connsiteX776" fmla="*/ 215256 w 899217"/>
                <a:gd name="connsiteY776" fmla="*/ 0 h 942137"/>
                <a:gd name="connsiteX777" fmla="*/ 211890 w 899217"/>
                <a:gd name="connsiteY777" fmla="*/ 538 h 942137"/>
                <a:gd name="connsiteX778" fmla="*/ 208525 w 899217"/>
                <a:gd name="connsiteY778" fmla="*/ 2388 h 942137"/>
                <a:gd name="connsiteX779" fmla="*/ 205900 w 899217"/>
                <a:gd name="connsiteY779" fmla="*/ 4037 h 942137"/>
                <a:gd name="connsiteX780" fmla="*/ 205900 w 899217"/>
                <a:gd name="connsiteY780" fmla="*/ 4575 h 942137"/>
                <a:gd name="connsiteX781" fmla="*/ 209602 w 899217"/>
                <a:gd name="connsiteY781" fmla="*/ 9251 h 942137"/>
                <a:gd name="connsiteX782" fmla="*/ 210241 w 899217"/>
                <a:gd name="connsiteY782" fmla="*/ 11000 h 942137"/>
                <a:gd name="connsiteX783" fmla="*/ 208727 w 899217"/>
                <a:gd name="connsiteY783" fmla="*/ 11774 h 942137"/>
                <a:gd name="connsiteX784" fmla="*/ 207414 w 899217"/>
                <a:gd name="connsiteY784" fmla="*/ 13826 h 942137"/>
                <a:gd name="connsiteX785" fmla="*/ 207852 w 899217"/>
                <a:gd name="connsiteY785" fmla="*/ 14701 h 942137"/>
                <a:gd name="connsiteX786" fmla="*/ 209501 w 899217"/>
                <a:gd name="connsiteY786" fmla="*/ 16114 h 942137"/>
                <a:gd name="connsiteX787" fmla="*/ 210140 w 899217"/>
                <a:gd name="connsiteY787" fmla="*/ 17426 h 942137"/>
                <a:gd name="connsiteX788" fmla="*/ 210241 w 899217"/>
                <a:gd name="connsiteY788" fmla="*/ 20049 h 942137"/>
                <a:gd name="connsiteX789" fmla="*/ 209905 w 899217"/>
                <a:gd name="connsiteY789" fmla="*/ 22236 h 942137"/>
                <a:gd name="connsiteX790" fmla="*/ 207414 w 899217"/>
                <a:gd name="connsiteY790" fmla="*/ 22337 h 942137"/>
                <a:gd name="connsiteX791" fmla="*/ 204486 w 899217"/>
                <a:gd name="connsiteY791" fmla="*/ 22438 h 942137"/>
                <a:gd name="connsiteX792" fmla="*/ 203275 w 899217"/>
                <a:gd name="connsiteY792" fmla="*/ 23851 h 942137"/>
                <a:gd name="connsiteX793" fmla="*/ 205227 w 899217"/>
                <a:gd name="connsiteY793" fmla="*/ 26441 h 942137"/>
                <a:gd name="connsiteX794" fmla="*/ 204587 w 899217"/>
                <a:gd name="connsiteY794" fmla="*/ 27517 h 942137"/>
                <a:gd name="connsiteX795" fmla="*/ 201424 w 899217"/>
                <a:gd name="connsiteY795" fmla="*/ 28829 h 942137"/>
                <a:gd name="connsiteX796" fmla="*/ 200549 w 899217"/>
                <a:gd name="connsiteY796" fmla="*/ 31218 h 942137"/>
                <a:gd name="connsiteX797" fmla="*/ 200751 w 899217"/>
                <a:gd name="connsiteY797" fmla="*/ 34144 h 942137"/>
                <a:gd name="connsiteX798" fmla="*/ 200953 w 899217"/>
                <a:gd name="connsiteY798" fmla="*/ 36331 h 942137"/>
                <a:gd name="connsiteX799" fmla="*/ 201929 w 899217"/>
                <a:gd name="connsiteY799" fmla="*/ 39897 h 942137"/>
                <a:gd name="connsiteX800" fmla="*/ 201289 w 899217"/>
                <a:gd name="connsiteY800" fmla="*/ 41209 h 942137"/>
                <a:gd name="connsiteX801" fmla="*/ 199001 w 899217"/>
                <a:gd name="connsiteY801" fmla="*/ 42823 h 942137"/>
                <a:gd name="connsiteX802" fmla="*/ 196308 w 899217"/>
                <a:gd name="connsiteY802" fmla="*/ 43160 h 942137"/>
                <a:gd name="connsiteX803" fmla="*/ 193683 w 899217"/>
                <a:gd name="connsiteY803" fmla="*/ 43160 h 942137"/>
                <a:gd name="connsiteX804" fmla="*/ 192371 w 899217"/>
                <a:gd name="connsiteY804" fmla="*/ 42790 h 942137"/>
                <a:gd name="connsiteX805" fmla="*/ 191058 w 899217"/>
                <a:gd name="connsiteY805" fmla="*/ 42521 h 942137"/>
                <a:gd name="connsiteX806" fmla="*/ 190183 w 899217"/>
                <a:gd name="connsiteY806" fmla="*/ 40569 h 942137"/>
                <a:gd name="connsiteX807" fmla="*/ 190183 w 899217"/>
                <a:gd name="connsiteY807" fmla="*/ 38181 h 942137"/>
                <a:gd name="connsiteX808" fmla="*/ 190284 w 899217"/>
                <a:gd name="connsiteY808" fmla="*/ 35692 h 942137"/>
                <a:gd name="connsiteX809" fmla="*/ 190722 w 899217"/>
                <a:gd name="connsiteY809" fmla="*/ 32092 h 942137"/>
                <a:gd name="connsiteX810" fmla="*/ 191260 w 899217"/>
                <a:gd name="connsiteY810" fmla="*/ 28930 h 942137"/>
                <a:gd name="connsiteX811" fmla="*/ 190284 w 899217"/>
                <a:gd name="connsiteY811" fmla="*/ 23178 h 942137"/>
                <a:gd name="connsiteX812" fmla="*/ 189510 w 899217"/>
                <a:gd name="connsiteY812" fmla="*/ 21597 h 942137"/>
                <a:gd name="connsiteX813" fmla="*/ 185371 w 899217"/>
                <a:gd name="connsiteY813" fmla="*/ 21597 h 942137"/>
                <a:gd name="connsiteX814" fmla="*/ 184159 w 899217"/>
                <a:gd name="connsiteY814" fmla="*/ 24591 h 942137"/>
                <a:gd name="connsiteX815" fmla="*/ 183082 w 899217"/>
                <a:gd name="connsiteY815" fmla="*/ 24490 h 942137"/>
                <a:gd name="connsiteX816" fmla="*/ 182005 w 899217"/>
                <a:gd name="connsiteY816" fmla="*/ 23716 h 942137"/>
                <a:gd name="connsiteX817" fmla="*/ 181231 w 899217"/>
                <a:gd name="connsiteY817" fmla="*/ 21967 h 942137"/>
                <a:gd name="connsiteX818" fmla="*/ 178943 w 899217"/>
                <a:gd name="connsiteY818" fmla="*/ 21967 h 942137"/>
                <a:gd name="connsiteX819" fmla="*/ 177866 w 899217"/>
                <a:gd name="connsiteY819" fmla="*/ 22606 h 942137"/>
                <a:gd name="connsiteX820" fmla="*/ 175240 w 899217"/>
                <a:gd name="connsiteY820" fmla="*/ 24120 h 942137"/>
                <a:gd name="connsiteX821" fmla="*/ 173928 w 899217"/>
                <a:gd name="connsiteY821" fmla="*/ 24994 h 942137"/>
                <a:gd name="connsiteX822" fmla="*/ 173726 w 899217"/>
                <a:gd name="connsiteY822" fmla="*/ 26306 h 942137"/>
                <a:gd name="connsiteX823" fmla="*/ 175342 w 899217"/>
                <a:gd name="connsiteY823" fmla="*/ 29233 h 942137"/>
                <a:gd name="connsiteX824" fmla="*/ 175880 w 899217"/>
                <a:gd name="connsiteY824" fmla="*/ 32496 h 942137"/>
                <a:gd name="connsiteX825" fmla="*/ 175678 w 899217"/>
                <a:gd name="connsiteY825" fmla="*/ 35658 h 942137"/>
                <a:gd name="connsiteX826" fmla="*/ 174702 w 899217"/>
                <a:gd name="connsiteY826" fmla="*/ 37508 h 942137"/>
                <a:gd name="connsiteX827" fmla="*/ 173289 w 899217"/>
                <a:gd name="connsiteY827" fmla="*/ 39897 h 942137"/>
                <a:gd name="connsiteX828" fmla="*/ 171236 w 899217"/>
                <a:gd name="connsiteY828" fmla="*/ 41545 h 942137"/>
                <a:gd name="connsiteX829" fmla="*/ 171337 w 899217"/>
                <a:gd name="connsiteY829" fmla="*/ 43496 h 942137"/>
                <a:gd name="connsiteX830" fmla="*/ 173928 w 899217"/>
                <a:gd name="connsiteY830" fmla="*/ 46759 h 942137"/>
                <a:gd name="connsiteX831" fmla="*/ 174904 w 899217"/>
                <a:gd name="connsiteY831" fmla="*/ 49820 h 942137"/>
                <a:gd name="connsiteX832" fmla="*/ 174904 w 899217"/>
                <a:gd name="connsiteY832" fmla="*/ 52982 h 942137"/>
                <a:gd name="connsiteX833" fmla="*/ 172178 w 899217"/>
                <a:gd name="connsiteY833" fmla="*/ 55270 h 942137"/>
                <a:gd name="connsiteX834" fmla="*/ 170327 w 899217"/>
                <a:gd name="connsiteY834" fmla="*/ 57558 h 942137"/>
                <a:gd name="connsiteX835" fmla="*/ 168139 w 899217"/>
                <a:gd name="connsiteY835" fmla="*/ 59744 h 942137"/>
                <a:gd name="connsiteX836" fmla="*/ 168039 w 899217"/>
                <a:gd name="connsiteY836" fmla="*/ 61594 h 942137"/>
                <a:gd name="connsiteX837" fmla="*/ 167937 w 899217"/>
                <a:gd name="connsiteY837" fmla="*/ 65194 h 942137"/>
                <a:gd name="connsiteX838" fmla="*/ 168375 w 899217"/>
                <a:gd name="connsiteY838" fmla="*/ 68558 h 942137"/>
                <a:gd name="connsiteX839" fmla="*/ 168577 w 899217"/>
                <a:gd name="connsiteY839" fmla="*/ 72359 h 942137"/>
                <a:gd name="connsiteX840" fmla="*/ 168779 w 899217"/>
                <a:gd name="connsiteY840" fmla="*/ 76699 h 942137"/>
                <a:gd name="connsiteX841" fmla="*/ 168981 w 899217"/>
                <a:gd name="connsiteY841" fmla="*/ 78751 h 942137"/>
                <a:gd name="connsiteX842" fmla="*/ 170394 w 899217"/>
                <a:gd name="connsiteY842" fmla="*/ 82013 h 942137"/>
                <a:gd name="connsiteX843" fmla="*/ 171808 w 899217"/>
                <a:gd name="connsiteY843" fmla="*/ 85377 h 942137"/>
                <a:gd name="connsiteX844" fmla="*/ 173558 w 899217"/>
                <a:gd name="connsiteY844" fmla="*/ 89078 h 942137"/>
                <a:gd name="connsiteX845" fmla="*/ 174736 w 899217"/>
                <a:gd name="connsiteY845" fmla="*/ 94931 h 942137"/>
                <a:gd name="connsiteX846" fmla="*/ 174399 w 899217"/>
                <a:gd name="connsiteY846" fmla="*/ 101558 h 942137"/>
                <a:gd name="connsiteX847" fmla="*/ 173962 w 899217"/>
                <a:gd name="connsiteY847" fmla="*/ 103610 h 942137"/>
                <a:gd name="connsiteX848" fmla="*/ 172111 w 899217"/>
                <a:gd name="connsiteY848" fmla="*/ 109060 h 942137"/>
                <a:gd name="connsiteX849" fmla="*/ 170495 w 899217"/>
                <a:gd name="connsiteY849" fmla="*/ 111885 h 942137"/>
                <a:gd name="connsiteX850" fmla="*/ 167668 w 899217"/>
                <a:gd name="connsiteY850" fmla="*/ 114711 h 942137"/>
                <a:gd name="connsiteX851" fmla="*/ 164841 w 899217"/>
                <a:gd name="connsiteY851" fmla="*/ 114610 h 942137"/>
                <a:gd name="connsiteX852" fmla="*/ 163327 w 899217"/>
                <a:gd name="connsiteY852" fmla="*/ 113971 h 942137"/>
                <a:gd name="connsiteX853" fmla="*/ 161476 w 899217"/>
                <a:gd name="connsiteY853" fmla="*/ 112659 h 942137"/>
                <a:gd name="connsiteX854" fmla="*/ 157908 w 899217"/>
                <a:gd name="connsiteY854" fmla="*/ 111011 h 942137"/>
                <a:gd name="connsiteX855" fmla="*/ 154981 w 899217"/>
                <a:gd name="connsiteY855" fmla="*/ 111011 h 942137"/>
                <a:gd name="connsiteX856" fmla="*/ 153029 w 899217"/>
                <a:gd name="connsiteY856" fmla="*/ 111885 h 942137"/>
                <a:gd name="connsiteX857" fmla="*/ 151817 w 899217"/>
                <a:gd name="connsiteY857" fmla="*/ 113399 h 942137"/>
                <a:gd name="connsiteX858" fmla="*/ 150942 w 899217"/>
                <a:gd name="connsiteY858" fmla="*/ 114913 h 942137"/>
                <a:gd name="connsiteX859" fmla="*/ 148552 w 899217"/>
                <a:gd name="connsiteY859" fmla="*/ 116326 h 942137"/>
                <a:gd name="connsiteX860" fmla="*/ 145288 w 899217"/>
                <a:gd name="connsiteY860" fmla="*/ 118176 h 942137"/>
                <a:gd name="connsiteX861" fmla="*/ 142898 w 899217"/>
                <a:gd name="connsiteY861" fmla="*/ 118075 h 942137"/>
                <a:gd name="connsiteX862" fmla="*/ 140846 w 899217"/>
                <a:gd name="connsiteY862" fmla="*/ 116662 h 942137"/>
                <a:gd name="connsiteX863" fmla="*/ 139230 w 899217"/>
                <a:gd name="connsiteY863" fmla="*/ 115687 h 942137"/>
                <a:gd name="connsiteX864" fmla="*/ 138692 w 899217"/>
                <a:gd name="connsiteY864" fmla="*/ 113937 h 942137"/>
                <a:gd name="connsiteX865" fmla="*/ 137918 w 899217"/>
                <a:gd name="connsiteY865" fmla="*/ 111885 h 942137"/>
                <a:gd name="connsiteX866" fmla="*/ 137918 w 899217"/>
                <a:gd name="connsiteY866" fmla="*/ 108286 h 942137"/>
                <a:gd name="connsiteX867" fmla="*/ 138961 w 899217"/>
                <a:gd name="connsiteY867" fmla="*/ 106537 h 942137"/>
                <a:gd name="connsiteX868" fmla="*/ 139129 w 899217"/>
                <a:gd name="connsiteY868" fmla="*/ 103375 h 942137"/>
                <a:gd name="connsiteX869" fmla="*/ 138692 w 899217"/>
                <a:gd name="connsiteY869" fmla="*/ 100448 h 942137"/>
                <a:gd name="connsiteX870" fmla="*/ 138894 w 899217"/>
                <a:gd name="connsiteY870" fmla="*/ 98396 h 942137"/>
                <a:gd name="connsiteX871" fmla="*/ 139870 w 899217"/>
                <a:gd name="connsiteY871" fmla="*/ 95671 h 942137"/>
                <a:gd name="connsiteX872" fmla="*/ 139668 w 899217"/>
                <a:gd name="connsiteY872" fmla="*/ 93518 h 942137"/>
                <a:gd name="connsiteX873" fmla="*/ 138254 w 899217"/>
                <a:gd name="connsiteY873" fmla="*/ 89616 h 942137"/>
                <a:gd name="connsiteX874" fmla="*/ 137480 w 899217"/>
                <a:gd name="connsiteY874" fmla="*/ 87430 h 942137"/>
                <a:gd name="connsiteX875" fmla="*/ 136605 w 899217"/>
                <a:gd name="connsiteY875" fmla="*/ 85579 h 942137"/>
                <a:gd name="connsiteX876" fmla="*/ 134216 w 899217"/>
                <a:gd name="connsiteY876" fmla="*/ 84234 h 942137"/>
                <a:gd name="connsiteX877" fmla="*/ 132466 w 899217"/>
                <a:gd name="connsiteY877" fmla="*/ 84267 h 942137"/>
                <a:gd name="connsiteX878" fmla="*/ 129639 w 899217"/>
                <a:gd name="connsiteY878" fmla="*/ 84267 h 942137"/>
                <a:gd name="connsiteX879" fmla="*/ 126374 w 899217"/>
                <a:gd name="connsiteY879" fmla="*/ 85344 h 942137"/>
                <a:gd name="connsiteX880" fmla="*/ 125398 w 899217"/>
                <a:gd name="connsiteY880" fmla="*/ 86555 h 942137"/>
                <a:gd name="connsiteX881" fmla="*/ 123985 w 899217"/>
                <a:gd name="connsiteY881" fmla="*/ 89280 h 942137"/>
                <a:gd name="connsiteX882" fmla="*/ 123985 w 899217"/>
                <a:gd name="connsiteY882" fmla="*/ 91769 h 942137"/>
                <a:gd name="connsiteX883" fmla="*/ 126441 w 899217"/>
                <a:gd name="connsiteY883" fmla="*/ 94595 h 942137"/>
                <a:gd name="connsiteX884" fmla="*/ 126812 w 899217"/>
                <a:gd name="connsiteY884" fmla="*/ 97757 h 942137"/>
                <a:gd name="connsiteX885" fmla="*/ 127014 w 899217"/>
                <a:gd name="connsiteY885" fmla="*/ 101895 h 942137"/>
                <a:gd name="connsiteX886" fmla="*/ 125263 w 899217"/>
                <a:gd name="connsiteY886" fmla="*/ 104518 h 942137"/>
                <a:gd name="connsiteX887" fmla="*/ 122975 w 899217"/>
                <a:gd name="connsiteY887" fmla="*/ 106032 h 942137"/>
                <a:gd name="connsiteX888" fmla="*/ 120686 w 899217"/>
                <a:gd name="connsiteY888" fmla="*/ 107983 h 942137"/>
                <a:gd name="connsiteX889" fmla="*/ 118095 w 899217"/>
                <a:gd name="connsiteY889" fmla="*/ 109598 h 942137"/>
                <a:gd name="connsiteX890" fmla="*/ 116244 w 899217"/>
                <a:gd name="connsiteY890" fmla="*/ 110473 h 942137"/>
                <a:gd name="connsiteX891" fmla="*/ 114191 w 899217"/>
                <a:gd name="connsiteY891" fmla="*/ 111448 h 942137"/>
                <a:gd name="connsiteX892" fmla="*/ 112004 w 899217"/>
                <a:gd name="connsiteY892" fmla="*/ 112861 h 942137"/>
                <a:gd name="connsiteX893" fmla="*/ 109816 w 899217"/>
                <a:gd name="connsiteY893" fmla="*/ 114812 h 942137"/>
                <a:gd name="connsiteX894" fmla="*/ 108302 w 899217"/>
                <a:gd name="connsiteY894" fmla="*/ 115990 h 942137"/>
                <a:gd name="connsiteX895" fmla="*/ 106249 w 899217"/>
                <a:gd name="connsiteY895" fmla="*/ 118378 h 942137"/>
                <a:gd name="connsiteX896" fmla="*/ 105710 w 899217"/>
                <a:gd name="connsiteY896" fmla="*/ 120430 h 942137"/>
                <a:gd name="connsiteX897" fmla="*/ 104835 w 899217"/>
                <a:gd name="connsiteY897" fmla="*/ 122482 h 942137"/>
                <a:gd name="connsiteX898" fmla="*/ 104499 w 899217"/>
                <a:gd name="connsiteY898" fmla="*/ 124130 h 942137"/>
                <a:gd name="connsiteX899" fmla="*/ 104263 w 899217"/>
                <a:gd name="connsiteY899" fmla="*/ 127292 h 942137"/>
                <a:gd name="connsiteX900" fmla="*/ 104499 w 899217"/>
                <a:gd name="connsiteY900" fmla="*/ 128705 h 942137"/>
                <a:gd name="connsiteX901" fmla="*/ 104835 w 899217"/>
                <a:gd name="connsiteY901" fmla="*/ 130455 h 942137"/>
                <a:gd name="connsiteX902" fmla="*/ 106249 w 899217"/>
                <a:gd name="connsiteY902" fmla="*/ 133381 h 942137"/>
                <a:gd name="connsiteX903" fmla="*/ 107561 w 899217"/>
                <a:gd name="connsiteY903" fmla="*/ 137418 h 942137"/>
                <a:gd name="connsiteX904" fmla="*/ 108537 w 899217"/>
                <a:gd name="connsiteY904" fmla="*/ 139907 h 942137"/>
                <a:gd name="connsiteX905" fmla="*/ 109176 w 899217"/>
                <a:gd name="connsiteY905" fmla="*/ 143709 h 942137"/>
                <a:gd name="connsiteX906" fmla="*/ 110253 w 899217"/>
                <a:gd name="connsiteY906" fmla="*/ 148284 h 942137"/>
                <a:gd name="connsiteX907" fmla="*/ 110455 w 899217"/>
                <a:gd name="connsiteY907" fmla="*/ 152825 h 942137"/>
                <a:gd name="connsiteX908" fmla="*/ 109479 w 899217"/>
                <a:gd name="connsiteY908" fmla="*/ 155449 h 942137"/>
                <a:gd name="connsiteX909" fmla="*/ 108167 w 899217"/>
                <a:gd name="connsiteY909" fmla="*/ 158712 h 942137"/>
                <a:gd name="connsiteX910" fmla="*/ 108369 w 899217"/>
                <a:gd name="connsiteY910" fmla="*/ 162311 h 942137"/>
                <a:gd name="connsiteX911" fmla="*/ 109984 w 899217"/>
                <a:gd name="connsiteY911" fmla="*/ 166752 h 942137"/>
                <a:gd name="connsiteX912" fmla="*/ 112912 w 899217"/>
                <a:gd name="connsiteY912" fmla="*/ 168602 h 942137"/>
                <a:gd name="connsiteX913" fmla="*/ 113552 w 899217"/>
                <a:gd name="connsiteY913" fmla="*/ 171764 h 942137"/>
                <a:gd name="connsiteX914" fmla="*/ 113451 w 899217"/>
                <a:gd name="connsiteY914" fmla="*/ 173715 h 942137"/>
                <a:gd name="connsiteX915" fmla="*/ 113552 w 899217"/>
                <a:gd name="connsiteY915" fmla="*/ 175767 h 942137"/>
                <a:gd name="connsiteX916" fmla="*/ 115302 w 899217"/>
                <a:gd name="connsiteY916" fmla="*/ 179669 h 942137"/>
                <a:gd name="connsiteX917" fmla="*/ 117153 w 899217"/>
                <a:gd name="connsiteY917" fmla="*/ 182394 h 942137"/>
                <a:gd name="connsiteX918" fmla="*/ 120754 w 899217"/>
                <a:gd name="connsiteY918" fmla="*/ 185758 h 942137"/>
                <a:gd name="connsiteX919" fmla="*/ 122807 w 899217"/>
                <a:gd name="connsiteY919" fmla="*/ 187709 h 942137"/>
                <a:gd name="connsiteX920" fmla="*/ 125836 w 899217"/>
                <a:gd name="connsiteY920" fmla="*/ 187911 h 942137"/>
                <a:gd name="connsiteX921" fmla="*/ 128326 w 899217"/>
                <a:gd name="connsiteY921" fmla="*/ 187137 h 942137"/>
                <a:gd name="connsiteX922" fmla="*/ 129201 w 899217"/>
                <a:gd name="connsiteY922" fmla="*/ 185085 h 942137"/>
                <a:gd name="connsiteX923" fmla="*/ 129840 w 899217"/>
                <a:gd name="connsiteY923" fmla="*/ 182260 h 942137"/>
                <a:gd name="connsiteX924" fmla="*/ 131893 w 899217"/>
                <a:gd name="connsiteY924" fmla="*/ 180309 h 942137"/>
                <a:gd name="connsiteX925" fmla="*/ 133744 w 899217"/>
                <a:gd name="connsiteY925" fmla="*/ 180510 h 942137"/>
                <a:gd name="connsiteX926" fmla="*/ 135595 w 899217"/>
                <a:gd name="connsiteY926" fmla="*/ 180948 h 942137"/>
                <a:gd name="connsiteX927" fmla="*/ 136369 w 899217"/>
                <a:gd name="connsiteY927" fmla="*/ 179871 h 942137"/>
                <a:gd name="connsiteX928" fmla="*/ 136706 w 899217"/>
                <a:gd name="connsiteY928" fmla="*/ 178021 h 942137"/>
                <a:gd name="connsiteX929" fmla="*/ 140307 w 899217"/>
                <a:gd name="connsiteY929" fmla="*/ 177247 h 942137"/>
                <a:gd name="connsiteX930" fmla="*/ 141821 w 899217"/>
                <a:gd name="connsiteY930" fmla="*/ 177786 h 942137"/>
                <a:gd name="connsiteX931" fmla="*/ 143672 w 899217"/>
                <a:gd name="connsiteY931" fmla="*/ 179838 h 942137"/>
                <a:gd name="connsiteX932" fmla="*/ 143773 w 899217"/>
                <a:gd name="connsiteY932" fmla="*/ 181150 h 942137"/>
                <a:gd name="connsiteX933" fmla="*/ 144985 w 899217"/>
                <a:gd name="connsiteY933" fmla="*/ 183975 h 942137"/>
                <a:gd name="connsiteX934" fmla="*/ 147375 w 899217"/>
                <a:gd name="connsiteY934" fmla="*/ 183975 h 942137"/>
                <a:gd name="connsiteX935" fmla="*/ 149125 w 899217"/>
                <a:gd name="connsiteY935" fmla="*/ 183975 h 942137"/>
                <a:gd name="connsiteX936" fmla="*/ 149899 w 899217"/>
                <a:gd name="connsiteY936" fmla="*/ 183975 h 942137"/>
                <a:gd name="connsiteX937" fmla="*/ 153264 w 899217"/>
                <a:gd name="connsiteY937" fmla="*/ 185422 h 942137"/>
                <a:gd name="connsiteX938" fmla="*/ 153466 w 899217"/>
                <a:gd name="connsiteY938" fmla="*/ 190030 h 942137"/>
                <a:gd name="connsiteX939" fmla="*/ 153466 w 899217"/>
                <a:gd name="connsiteY939" fmla="*/ 194605 h 942137"/>
                <a:gd name="connsiteX940" fmla="*/ 155216 w 899217"/>
                <a:gd name="connsiteY940" fmla="*/ 206985 h 942137"/>
                <a:gd name="connsiteX941" fmla="*/ 154139 w 899217"/>
                <a:gd name="connsiteY941" fmla="*/ 211560 h 942137"/>
                <a:gd name="connsiteX942" fmla="*/ 151009 w 899217"/>
                <a:gd name="connsiteY942" fmla="*/ 219465 h 942137"/>
                <a:gd name="connsiteX943" fmla="*/ 150437 w 899217"/>
                <a:gd name="connsiteY943" fmla="*/ 224242 h 942137"/>
                <a:gd name="connsiteX944" fmla="*/ 151750 w 899217"/>
                <a:gd name="connsiteY944" fmla="*/ 232652 h 942137"/>
                <a:gd name="connsiteX945" fmla="*/ 152490 w 899217"/>
                <a:gd name="connsiteY945" fmla="*/ 235242 h 942137"/>
                <a:gd name="connsiteX946" fmla="*/ 152355 w 899217"/>
                <a:gd name="connsiteY946" fmla="*/ 243921 h 942137"/>
                <a:gd name="connsiteX947" fmla="*/ 151783 w 899217"/>
                <a:gd name="connsiteY947" fmla="*/ 248832 h 942137"/>
                <a:gd name="connsiteX948" fmla="*/ 151649 w 899217"/>
                <a:gd name="connsiteY948" fmla="*/ 255190 h 942137"/>
                <a:gd name="connsiteX949" fmla="*/ 151783 w 899217"/>
                <a:gd name="connsiteY949" fmla="*/ 259530 h 942137"/>
                <a:gd name="connsiteX950" fmla="*/ 151783 w 899217"/>
                <a:gd name="connsiteY950" fmla="*/ 264441 h 942137"/>
                <a:gd name="connsiteX951" fmla="*/ 151918 w 899217"/>
                <a:gd name="connsiteY951" fmla="*/ 266325 h 942137"/>
                <a:gd name="connsiteX952" fmla="*/ 151480 w 899217"/>
                <a:gd name="connsiteY952" fmla="*/ 270093 h 942137"/>
                <a:gd name="connsiteX953" fmla="*/ 149899 w 899217"/>
                <a:gd name="connsiteY953" fmla="*/ 272683 h 942137"/>
                <a:gd name="connsiteX954" fmla="*/ 148452 w 899217"/>
                <a:gd name="connsiteY954" fmla="*/ 275273 h 942137"/>
                <a:gd name="connsiteX955" fmla="*/ 149461 w 899217"/>
                <a:gd name="connsiteY955" fmla="*/ 279915 h 942137"/>
                <a:gd name="connsiteX956" fmla="*/ 151043 w 899217"/>
                <a:gd name="connsiteY956" fmla="*/ 283246 h 942137"/>
                <a:gd name="connsiteX957" fmla="*/ 151918 w 899217"/>
                <a:gd name="connsiteY957" fmla="*/ 289604 h 942137"/>
                <a:gd name="connsiteX958" fmla="*/ 152658 w 899217"/>
                <a:gd name="connsiteY958" fmla="*/ 299023 h 942137"/>
                <a:gd name="connsiteX959" fmla="*/ 149899 w 899217"/>
                <a:gd name="connsiteY959" fmla="*/ 304674 h 942137"/>
                <a:gd name="connsiteX960" fmla="*/ 148855 w 899217"/>
                <a:gd name="connsiteY960" fmla="*/ 309888 h 942137"/>
                <a:gd name="connsiteX961" fmla="*/ 146028 w 899217"/>
                <a:gd name="connsiteY961" fmla="*/ 312714 h 942137"/>
                <a:gd name="connsiteX962" fmla="*/ 144177 w 899217"/>
                <a:gd name="connsiteY962" fmla="*/ 315876 h 942137"/>
                <a:gd name="connsiteX963" fmla="*/ 144615 w 899217"/>
                <a:gd name="connsiteY963" fmla="*/ 318601 h 942137"/>
                <a:gd name="connsiteX964" fmla="*/ 145793 w 899217"/>
                <a:gd name="connsiteY964" fmla="*/ 321662 h 942137"/>
                <a:gd name="connsiteX965" fmla="*/ 146432 w 899217"/>
                <a:gd name="connsiteY965" fmla="*/ 324387 h 942137"/>
                <a:gd name="connsiteX966" fmla="*/ 144043 w 899217"/>
                <a:gd name="connsiteY966" fmla="*/ 326002 h 942137"/>
                <a:gd name="connsiteX967" fmla="*/ 141552 w 899217"/>
                <a:gd name="connsiteY967" fmla="*/ 328289 h 942137"/>
                <a:gd name="connsiteX968" fmla="*/ 138456 w 899217"/>
                <a:gd name="connsiteY968" fmla="*/ 331115 h 942137"/>
                <a:gd name="connsiteX969" fmla="*/ 136942 w 899217"/>
                <a:gd name="connsiteY969" fmla="*/ 332427 h 942137"/>
                <a:gd name="connsiteX970" fmla="*/ 136302 w 899217"/>
                <a:gd name="connsiteY970" fmla="*/ 333941 h 942137"/>
                <a:gd name="connsiteX971" fmla="*/ 136538 w 899217"/>
                <a:gd name="connsiteY971" fmla="*/ 335623 h 942137"/>
                <a:gd name="connsiteX972" fmla="*/ 138120 w 899217"/>
                <a:gd name="connsiteY972" fmla="*/ 337843 h 942137"/>
                <a:gd name="connsiteX973" fmla="*/ 138759 w 899217"/>
                <a:gd name="connsiteY973" fmla="*/ 338617 h 942137"/>
                <a:gd name="connsiteX974" fmla="*/ 140509 w 899217"/>
                <a:gd name="connsiteY974" fmla="*/ 338617 h 942137"/>
                <a:gd name="connsiteX975" fmla="*/ 141754 w 899217"/>
                <a:gd name="connsiteY975" fmla="*/ 338617 h 942137"/>
                <a:gd name="connsiteX976" fmla="*/ 143370 w 899217"/>
                <a:gd name="connsiteY976" fmla="*/ 341644 h 942137"/>
                <a:gd name="connsiteX977" fmla="*/ 143908 w 899217"/>
                <a:gd name="connsiteY977" fmla="*/ 343831 h 942137"/>
                <a:gd name="connsiteX978" fmla="*/ 144009 w 899217"/>
                <a:gd name="connsiteY978" fmla="*/ 346488 h 942137"/>
                <a:gd name="connsiteX979" fmla="*/ 143908 w 899217"/>
                <a:gd name="connsiteY979" fmla="*/ 348944 h 942137"/>
                <a:gd name="connsiteX980" fmla="*/ 143370 w 899217"/>
                <a:gd name="connsiteY980" fmla="*/ 349650 h 942137"/>
                <a:gd name="connsiteX981" fmla="*/ 141317 w 899217"/>
                <a:gd name="connsiteY981" fmla="*/ 350458 h 942137"/>
                <a:gd name="connsiteX982" fmla="*/ 138591 w 899217"/>
                <a:gd name="connsiteY982" fmla="*/ 350458 h 942137"/>
                <a:gd name="connsiteX983" fmla="*/ 136571 w 899217"/>
                <a:gd name="connsiteY983" fmla="*/ 349650 h 942137"/>
                <a:gd name="connsiteX984" fmla="*/ 135595 w 899217"/>
                <a:gd name="connsiteY984" fmla="*/ 348305 h 942137"/>
                <a:gd name="connsiteX985" fmla="*/ 134788 w 899217"/>
                <a:gd name="connsiteY985" fmla="*/ 346455 h 942137"/>
                <a:gd name="connsiteX986" fmla="*/ 133273 w 899217"/>
                <a:gd name="connsiteY986" fmla="*/ 344672 h 942137"/>
                <a:gd name="connsiteX987" fmla="*/ 131792 w 899217"/>
                <a:gd name="connsiteY987" fmla="*/ 343831 h 942137"/>
                <a:gd name="connsiteX988" fmla="*/ 130042 w 899217"/>
                <a:gd name="connsiteY988" fmla="*/ 343831 h 942137"/>
                <a:gd name="connsiteX989" fmla="*/ 127922 w 899217"/>
                <a:gd name="connsiteY989" fmla="*/ 343831 h 942137"/>
                <a:gd name="connsiteX990" fmla="*/ 125364 w 899217"/>
                <a:gd name="connsiteY990" fmla="*/ 343932 h 942137"/>
                <a:gd name="connsiteX991" fmla="*/ 124994 w 899217"/>
                <a:gd name="connsiteY991" fmla="*/ 344504 h 942137"/>
                <a:gd name="connsiteX992" fmla="*/ 125701 w 899217"/>
                <a:gd name="connsiteY992" fmla="*/ 346791 h 942137"/>
                <a:gd name="connsiteX993" fmla="*/ 126340 w 899217"/>
                <a:gd name="connsiteY993" fmla="*/ 349247 h 942137"/>
                <a:gd name="connsiteX994" fmla="*/ 125802 w 899217"/>
                <a:gd name="connsiteY994" fmla="*/ 350323 h 942137"/>
                <a:gd name="connsiteX995" fmla="*/ 125162 w 899217"/>
                <a:gd name="connsiteY995" fmla="*/ 351131 h 942137"/>
                <a:gd name="connsiteX996" fmla="*/ 124254 w 899217"/>
                <a:gd name="connsiteY996" fmla="*/ 352745 h 942137"/>
                <a:gd name="connsiteX997" fmla="*/ 124254 w 899217"/>
                <a:gd name="connsiteY997" fmla="*/ 355201 h 942137"/>
                <a:gd name="connsiteX998" fmla="*/ 124624 w 899217"/>
                <a:gd name="connsiteY998" fmla="*/ 356345 h 942137"/>
                <a:gd name="connsiteX999" fmla="*/ 126576 w 899217"/>
                <a:gd name="connsiteY999" fmla="*/ 357657 h 942137"/>
                <a:gd name="connsiteX1000" fmla="*/ 129066 w 899217"/>
                <a:gd name="connsiteY1000" fmla="*/ 360819 h 942137"/>
                <a:gd name="connsiteX1001" fmla="*/ 130817 w 899217"/>
                <a:gd name="connsiteY1001" fmla="*/ 362669 h 942137"/>
                <a:gd name="connsiteX1002" fmla="*/ 132230 w 899217"/>
                <a:gd name="connsiteY1002" fmla="*/ 364620 h 942137"/>
                <a:gd name="connsiteX1003" fmla="*/ 134417 w 899217"/>
                <a:gd name="connsiteY1003" fmla="*/ 369094 h 942137"/>
                <a:gd name="connsiteX1004" fmla="*/ 134417 w 899217"/>
                <a:gd name="connsiteY1004" fmla="*/ 372357 h 942137"/>
                <a:gd name="connsiteX1005" fmla="*/ 133442 w 899217"/>
                <a:gd name="connsiteY1005" fmla="*/ 375183 h 942137"/>
                <a:gd name="connsiteX1006" fmla="*/ 132365 w 899217"/>
                <a:gd name="connsiteY1006" fmla="*/ 378782 h 942137"/>
                <a:gd name="connsiteX1007" fmla="*/ 131927 w 899217"/>
                <a:gd name="connsiteY1007" fmla="*/ 380834 h 942137"/>
                <a:gd name="connsiteX1008" fmla="*/ 130413 w 899217"/>
                <a:gd name="connsiteY1008" fmla="*/ 382886 h 942137"/>
                <a:gd name="connsiteX1009" fmla="*/ 125095 w 899217"/>
                <a:gd name="connsiteY1009" fmla="*/ 380935 h 942137"/>
                <a:gd name="connsiteX1010" fmla="*/ 122908 w 899217"/>
                <a:gd name="connsiteY1010" fmla="*/ 379085 h 942137"/>
                <a:gd name="connsiteX1011" fmla="*/ 119643 w 899217"/>
                <a:gd name="connsiteY1011" fmla="*/ 376899 h 942137"/>
                <a:gd name="connsiteX1012" fmla="*/ 116480 w 899217"/>
                <a:gd name="connsiteY1012" fmla="*/ 376899 h 942137"/>
                <a:gd name="connsiteX1013" fmla="*/ 113215 w 899217"/>
                <a:gd name="connsiteY1013" fmla="*/ 378211 h 942137"/>
                <a:gd name="connsiteX1014" fmla="*/ 112239 w 899217"/>
                <a:gd name="connsiteY1014" fmla="*/ 380263 h 942137"/>
                <a:gd name="connsiteX1015" fmla="*/ 111028 w 899217"/>
                <a:gd name="connsiteY1015" fmla="*/ 382752 h 942137"/>
                <a:gd name="connsiteX1016" fmla="*/ 109951 w 899217"/>
                <a:gd name="connsiteY1016" fmla="*/ 386755 h 942137"/>
                <a:gd name="connsiteX1017" fmla="*/ 109614 w 899217"/>
                <a:gd name="connsiteY1017" fmla="*/ 390455 h 942137"/>
                <a:gd name="connsiteX1018" fmla="*/ 104398 w 899217"/>
                <a:gd name="connsiteY1018" fmla="*/ 396544 h 942137"/>
                <a:gd name="connsiteX1019" fmla="*/ 101806 w 899217"/>
                <a:gd name="connsiteY1019" fmla="*/ 399370 h 942137"/>
                <a:gd name="connsiteX1020" fmla="*/ 100393 w 899217"/>
                <a:gd name="connsiteY1020" fmla="*/ 400682 h 942137"/>
                <a:gd name="connsiteX1021" fmla="*/ 98878 w 899217"/>
                <a:gd name="connsiteY1021" fmla="*/ 401994 h 942137"/>
                <a:gd name="connsiteX1022" fmla="*/ 96825 w 899217"/>
                <a:gd name="connsiteY1022" fmla="*/ 403205 h 942137"/>
                <a:gd name="connsiteX1023" fmla="*/ 93561 w 899217"/>
                <a:gd name="connsiteY1023" fmla="*/ 405055 h 942137"/>
                <a:gd name="connsiteX1024" fmla="*/ 91508 w 899217"/>
                <a:gd name="connsiteY1024" fmla="*/ 404618 h 942137"/>
                <a:gd name="connsiteX1025" fmla="*/ 90532 w 899217"/>
                <a:gd name="connsiteY1025" fmla="*/ 404281 h 942137"/>
                <a:gd name="connsiteX1026" fmla="*/ 85753 w 899217"/>
                <a:gd name="connsiteY1026" fmla="*/ 400682 h 942137"/>
                <a:gd name="connsiteX1027" fmla="*/ 83363 w 899217"/>
                <a:gd name="connsiteY1027" fmla="*/ 397755 h 942137"/>
                <a:gd name="connsiteX1028" fmla="*/ 81411 w 899217"/>
                <a:gd name="connsiteY1028" fmla="*/ 397755 h 942137"/>
                <a:gd name="connsiteX1029" fmla="*/ 79224 w 899217"/>
                <a:gd name="connsiteY1029" fmla="*/ 397755 h 942137"/>
                <a:gd name="connsiteX1030" fmla="*/ 77710 w 899217"/>
                <a:gd name="connsiteY1030" fmla="*/ 398832 h 942137"/>
                <a:gd name="connsiteX1031" fmla="*/ 77171 w 899217"/>
                <a:gd name="connsiteY1031" fmla="*/ 400783 h 942137"/>
                <a:gd name="connsiteX1032" fmla="*/ 77508 w 899217"/>
                <a:gd name="connsiteY1032" fmla="*/ 402296 h 942137"/>
                <a:gd name="connsiteX1033" fmla="*/ 79560 w 899217"/>
                <a:gd name="connsiteY1033" fmla="*/ 404348 h 942137"/>
                <a:gd name="connsiteX1034" fmla="*/ 81176 w 899217"/>
                <a:gd name="connsiteY1034" fmla="*/ 407813 h 942137"/>
                <a:gd name="connsiteX1035" fmla="*/ 81411 w 899217"/>
                <a:gd name="connsiteY1035" fmla="*/ 408991 h 942137"/>
                <a:gd name="connsiteX1036" fmla="*/ 79662 w 899217"/>
                <a:gd name="connsiteY1036" fmla="*/ 411615 h 942137"/>
                <a:gd name="connsiteX1037" fmla="*/ 78046 w 899217"/>
                <a:gd name="connsiteY1037" fmla="*/ 411615 h 942137"/>
                <a:gd name="connsiteX1038" fmla="*/ 76532 w 899217"/>
                <a:gd name="connsiteY1038" fmla="*/ 409865 h 942137"/>
                <a:gd name="connsiteX1039" fmla="*/ 74782 w 899217"/>
                <a:gd name="connsiteY1039" fmla="*/ 408991 h 942137"/>
                <a:gd name="connsiteX1040" fmla="*/ 73267 w 899217"/>
                <a:gd name="connsiteY1040" fmla="*/ 410740 h 942137"/>
                <a:gd name="connsiteX1041" fmla="*/ 73065 w 899217"/>
                <a:gd name="connsiteY1041" fmla="*/ 413330 h 942137"/>
                <a:gd name="connsiteX1042" fmla="*/ 73503 w 899217"/>
                <a:gd name="connsiteY1042" fmla="*/ 415618 h 942137"/>
                <a:gd name="connsiteX1043" fmla="*/ 74041 w 899217"/>
                <a:gd name="connsiteY1043" fmla="*/ 416392 h 942137"/>
                <a:gd name="connsiteX1044" fmla="*/ 74142 w 899217"/>
                <a:gd name="connsiteY1044" fmla="*/ 418881 h 942137"/>
                <a:gd name="connsiteX1045" fmla="*/ 74479 w 899217"/>
                <a:gd name="connsiteY1045" fmla="*/ 420294 h 942137"/>
                <a:gd name="connsiteX1046" fmla="*/ 72964 w 899217"/>
                <a:gd name="connsiteY1046" fmla="*/ 422682 h 942137"/>
                <a:gd name="connsiteX1047" fmla="*/ 70373 w 899217"/>
                <a:gd name="connsiteY1047" fmla="*/ 426382 h 942137"/>
                <a:gd name="connsiteX1048" fmla="*/ 66671 w 899217"/>
                <a:gd name="connsiteY1048" fmla="*/ 428132 h 942137"/>
                <a:gd name="connsiteX1049" fmla="*/ 61017 w 899217"/>
                <a:gd name="connsiteY1049" fmla="*/ 431832 h 942137"/>
                <a:gd name="connsiteX1050" fmla="*/ 58426 w 899217"/>
                <a:gd name="connsiteY1050" fmla="*/ 434220 h 942137"/>
                <a:gd name="connsiteX1051" fmla="*/ 56675 w 899217"/>
                <a:gd name="connsiteY1051" fmla="*/ 436172 h 942137"/>
                <a:gd name="connsiteX1052" fmla="*/ 54925 w 899217"/>
                <a:gd name="connsiteY1052" fmla="*/ 439435 h 942137"/>
                <a:gd name="connsiteX1053" fmla="*/ 51223 w 899217"/>
                <a:gd name="connsiteY1053" fmla="*/ 443337 h 942137"/>
                <a:gd name="connsiteX1054" fmla="*/ 47959 w 899217"/>
                <a:gd name="connsiteY1054" fmla="*/ 442900 h 942137"/>
                <a:gd name="connsiteX1055" fmla="*/ 44930 w 899217"/>
                <a:gd name="connsiteY1055" fmla="*/ 439435 h 942137"/>
                <a:gd name="connsiteX1056" fmla="*/ 39714 w 899217"/>
                <a:gd name="connsiteY1056" fmla="*/ 439435 h 942137"/>
                <a:gd name="connsiteX1057" fmla="*/ 36887 w 899217"/>
                <a:gd name="connsiteY1057" fmla="*/ 439435 h 942137"/>
                <a:gd name="connsiteX1058" fmla="*/ 35810 w 899217"/>
                <a:gd name="connsiteY1058" fmla="*/ 440948 h 942137"/>
                <a:gd name="connsiteX1059" fmla="*/ 33622 w 899217"/>
                <a:gd name="connsiteY1059" fmla="*/ 444212 h 942137"/>
                <a:gd name="connsiteX1060" fmla="*/ 30795 w 899217"/>
                <a:gd name="connsiteY1060" fmla="*/ 450065 h 942137"/>
                <a:gd name="connsiteX1061" fmla="*/ 29045 w 899217"/>
                <a:gd name="connsiteY1061" fmla="*/ 453967 h 942137"/>
                <a:gd name="connsiteX1062" fmla="*/ 27093 w 899217"/>
                <a:gd name="connsiteY1062" fmla="*/ 458307 h 942137"/>
                <a:gd name="connsiteX1063" fmla="*/ 25579 w 899217"/>
                <a:gd name="connsiteY1063" fmla="*/ 460897 h 942137"/>
                <a:gd name="connsiteX1064" fmla="*/ 24502 w 899217"/>
                <a:gd name="connsiteY1064" fmla="*/ 463722 h 942137"/>
                <a:gd name="connsiteX1065" fmla="*/ 24939 w 899217"/>
                <a:gd name="connsiteY1065" fmla="*/ 466346 h 942137"/>
                <a:gd name="connsiteX1066" fmla="*/ 24939 w 899217"/>
                <a:gd name="connsiteY1066" fmla="*/ 470921 h 942137"/>
                <a:gd name="connsiteX1067" fmla="*/ 28641 w 899217"/>
                <a:gd name="connsiteY1067" fmla="*/ 477649 h 942137"/>
                <a:gd name="connsiteX1068" fmla="*/ 31670 w 899217"/>
                <a:gd name="connsiteY1068" fmla="*/ 479600 h 942137"/>
                <a:gd name="connsiteX1069" fmla="*/ 29281 w 899217"/>
                <a:gd name="connsiteY1069" fmla="*/ 484175 h 942137"/>
                <a:gd name="connsiteX1070" fmla="*/ 26016 w 899217"/>
                <a:gd name="connsiteY1070" fmla="*/ 484175 h 942137"/>
                <a:gd name="connsiteX1071" fmla="*/ 21035 w 899217"/>
                <a:gd name="connsiteY1071" fmla="*/ 486564 h 942137"/>
                <a:gd name="connsiteX1072" fmla="*/ 17131 w 899217"/>
                <a:gd name="connsiteY1072" fmla="*/ 488078 h 942137"/>
                <a:gd name="connsiteX1073" fmla="*/ 16054 w 899217"/>
                <a:gd name="connsiteY1073" fmla="*/ 488078 h 942137"/>
                <a:gd name="connsiteX1074" fmla="*/ 13026 w 899217"/>
                <a:gd name="connsiteY1074" fmla="*/ 489390 h 942137"/>
                <a:gd name="connsiteX1075" fmla="*/ 11073 w 899217"/>
                <a:gd name="connsiteY1075" fmla="*/ 491340 h 942137"/>
                <a:gd name="connsiteX1076" fmla="*/ 8684 w 899217"/>
                <a:gd name="connsiteY1076" fmla="*/ 493292 h 942137"/>
                <a:gd name="connsiteX1077" fmla="*/ 6497 w 899217"/>
                <a:gd name="connsiteY1077" fmla="*/ 494604 h 942137"/>
                <a:gd name="connsiteX1078" fmla="*/ 3468 w 899217"/>
                <a:gd name="connsiteY1078" fmla="*/ 496790 h 942137"/>
                <a:gd name="connsiteX1079" fmla="*/ 3030 w 899217"/>
                <a:gd name="connsiteY1079" fmla="*/ 498102 h 942137"/>
                <a:gd name="connsiteX1080" fmla="*/ 1280 w 899217"/>
                <a:gd name="connsiteY1080" fmla="*/ 503955 h 942137"/>
                <a:gd name="connsiteX1081" fmla="*/ 1078 w 899217"/>
                <a:gd name="connsiteY1081" fmla="*/ 506781 h 942137"/>
                <a:gd name="connsiteX1082" fmla="*/ 1280 w 899217"/>
                <a:gd name="connsiteY1082" fmla="*/ 510919 h 942137"/>
                <a:gd name="connsiteX1083" fmla="*/ 640 w 899217"/>
                <a:gd name="connsiteY1083" fmla="*/ 513307 h 942137"/>
                <a:gd name="connsiteX1084" fmla="*/ 640 w 899217"/>
                <a:gd name="connsiteY1084" fmla="*/ 519396 h 942137"/>
                <a:gd name="connsiteX1085" fmla="*/ 102 w 899217"/>
                <a:gd name="connsiteY1085" fmla="*/ 521986 h 942137"/>
                <a:gd name="connsiteX1086" fmla="*/ 775 w 899217"/>
                <a:gd name="connsiteY1086" fmla="*/ 523937 h 942137"/>
                <a:gd name="connsiteX1087" fmla="*/ 775 w 899217"/>
                <a:gd name="connsiteY1087" fmla="*/ 529589 h 942137"/>
                <a:gd name="connsiteX1088" fmla="*/ 4982 w 899217"/>
                <a:gd name="connsiteY1088" fmla="*/ 533289 h 942137"/>
                <a:gd name="connsiteX1089" fmla="*/ 12588 w 899217"/>
                <a:gd name="connsiteY1089" fmla="*/ 533289 h 942137"/>
                <a:gd name="connsiteX1090" fmla="*/ 13026 w 899217"/>
                <a:gd name="connsiteY1090" fmla="*/ 536990 h 942137"/>
                <a:gd name="connsiteX1091" fmla="*/ 15213 w 899217"/>
                <a:gd name="connsiteY1091" fmla="*/ 542843 h 942137"/>
                <a:gd name="connsiteX1092" fmla="*/ 14338 w 899217"/>
                <a:gd name="connsiteY1092" fmla="*/ 547182 h 942137"/>
                <a:gd name="connsiteX1093" fmla="*/ 14977 w 899217"/>
                <a:gd name="connsiteY1093" fmla="*/ 551757 h 942137"/>
                <a:gd name="connsiteX1094" fmla="*/ 18444 w 899217"/>
                <a:gd name="connsiteY1094" fmla="*/ 554146 h 942137"/>
                <a:gd name="connsiteX1095" fmla="*/ 22348 w 899217"/>
                <a:gd name="connsiteY1095" fmla="*/ 556097 h 942137"/>
                <a:gd name="connsiteX1096" fmla="*/ 22583 w 899217"/>
                <a:gd name="connsiteY1096" fmla="*/ 558485 h 942137"/>
                <a:gd name="connsiteX1097" fmla="*/ 20194 w 899217"/>
                <a:gd name="connsiteY1097" fmla="*/ 563060 h 942137"/>
                <a:gd name="connsiteX1098" fmla="*/ 17367 w 899217"/>
                <a:gd name="connsiteY1098" fmla="*/ 565886 h 942137"/>
                <a:gd name="connsiteX1099" fmla="*/ 14102 w 899217"/>
                <a:gd name="connsiteY1099" fmla="*/ 566963 h 942137"/>
                <a:gd name="connsiteX1100" fmla="*/ 10636 w 899217"/>
                <a:gd name="connsiteY1100" fmla="*/ 569788 h 942137"/>
                <a:gd name="connsiteX1101" fmla="*/ 8684 w 899217"/>
                <a:gd name="connsiteY1101" fmla="*/ 572412 h 942137"/>
                <a:gd name="connsiteX1102" fmla="*/ 5857 w 899217"/>
                <a:gd name="connsiteY1102" fmla="*/ 575002 h 942137"/>
                <a:gd name="connsiteX1103" fmla="*/ 1078 w 899217"/>
                <a:gd name="connsiteY1103" fmla="*/ 580217 h 942137"/>
                <a:gd name="connsiteX1104" fmla="*/ 1078 w 899217"/>
                <a:gd name="connsiteY1104" fmla="*/ 585868 h 942137"/>
                <a:gd name="connsiteX1105" fmla="*/ 2155 w 899217"/>
                <a:gd name="connsiteY1105" fmla="*/ 588256 h 942137"/>
                <a:gd name="connsiteX1106" fmla="*/ 7371 w 899217"/>
                <a:gd name="connsiteY1106" fmla="*/ 591082 h 942137"/>
                <a:gd name="connsiteX1107" fmla="*/ 15415 w 899217"/>
                <a:gd name="connsiteY1107" fmla="*/ 592394 h 942137"/>
                <a:gd name="connsiteX1108" fmla="*/ 20631 w 899217"/>
                <a:gd name="connsiteY1108" fmla="*/ 592394 h 942137"/>
                <a:gd name="connsiteX1109" fmla="*/ 24098 w 899217"/>
                <a:gd name="connsiteY1109" fmla="*/ 589568 h 942137"/>
                <a:gd name="connsiteX1110" fmla="*/ 28237 w 899217"/>
                <a:gd name="connsiteY1110" fmla="*/ 586945 h 942137"/>
                <a:gd name="connsiteX1111" fmla="*/ 34329 w 899217"/>
                <a:gd name="connsiteY1111" fmla="*/ 585868 h 942137"/>
                <a:gd name="connsiteX1112" fmla="*/ 39343 w 899217"/>
                <a:gd name="connsiteY1112" fmla="*/ 582840 h 942137"/>
                <a:gd name="connsiteX1113" fmla="*/ 48699 w 899217"/>
                <a:gd name="connsiteY1113" fmla="*/ 581091 h 942137"/>
                <a:gd name="connsiteX1114" fmla="*/ 54791 w 899217"/>
                <a:gd name="connsiteY1114" fmla="*/ 577391 h 942137"/>
                <a:gd name="connsiteX1115" fmla="*/ 61522 w 899217"/>
                <a:gd name="connsiteY1115" fmla="*/ 577189 h 942137"/>
                <a:gd name="connsiteX1116" fmla="*/ 69363 w 899217"/>
                <a:gd name="connsiteY1116" fmla="*/ 578064 h 942137"/>
                <a:gd name="connsiteX1117" fmla="*/ 76767 w 899217"/>
                <a:gd name="connsiteY1117" fmla="*/ 578064 h 942137"/>
                <a:gd name="connsiteX1118" fmla="*/ 81546 w 899217"/>
                <a:gd name="connsiteY1118" fmla="*/ 576112 h 942137"/>
                <a:gd name="connsiteX1119" fmla="*/ 86763 w 899217"/>
                <a:gd name="connsiteY1119" fmla="*/ 571537 h 942137"/>
                <a:gd name="connsiteX1120" fmla="*/ 93729 w 899217"/>
                <a:gd name="connsiteY1120" fmla="*/ 569788 h 942137"/>
                <a:gd name="connsiteX1121" fmla="*/ 98946 w 899217"/>
                <a:gd name="connsiteY1121" fmla="*/ 569788 h 942137"/>
                <a:gd name="connsiteX1122" fmla="*/ 100023 w 899217"/>
                <a:gd name="connsiteY1122" fmla="*/ 571639 h 942137"/>
                <a:gd name="connsiteX1123" fmla="*/ 103489 w 899217"/>
                <a:gd name="connsiteY1123" fmla="*/ 576953 h 942137"/>
                <a:gd name="connsiteX1124" fmla="*/ 106955 w 899217"/>
                <a:gd name="connsiteY1124" fmla="*/ 579981 h 942137"/>
                <a:gd name="connsiteX1125" fmla="*/ 111869 w 899217"/>
                <a:gd name="connsiteY1125" fmla="*/ 577593 h 942137"/>
                <a:gd name="connsiteX1126" fmla="*/ 119138 w 899217"/>
                <a:gd name="connsiteY1126" fmla="*/ 574565 h 942137"/>
                <a:gd name="connsiteX1127" fmla="*/ 124792 w 899217"/>
                <a:gd name="connsiteY1127" fmla="*/ 574565 h 942137"/>
                <a:gd name="connsiteX1128" fmla="*/ 128259 w 899217"/>
                <a:gd name="connsiteY1128" fmla="*/ 574565 h 942137"/>
                <a:gd name="connsiteX1129" fmla="*/ 132600 w 899217"/>
                <a:gd name="connsiteY1129" fmla="*/ 576314 h 942137"/>
                <a:gd name="connsiteX1130" fmla="*/ 133240 w 899217"/>
                <a:gd name="connsiteY1130" fmla="*/ 579376 h 942137"/>
                <a:gd name="connsiteX1131" fmla="*/ 130413 w 899217"/>
                <a:gd name="connsiteY1131" fmla="*/ 582639 h 942137"/>
                <a:gd name="connsiteX1132" fmla="*/ 126273 w 899217"/>
                <a:gd name="connsiteY1132" fmla="*/ 587415 h 942137"/>
                <a:gd name="connsiteX1133" fmla="*/ 123244 w 899217"/>
                <a:gd name="connsiteY1133" fmla="*/ 588929 h 942137"/>
                <a:gd name="connsiteX1134" fmla="*/ 119542 w 899217"/>
                <a:gd name="connsiteY1134" fmla="*/ 591519 h 942137"/>
                <a:gd name="connsiteX1135" fmla="*/ 114965 w 899217"/>
                <a:gd name="connsiteY1135" fmla="*/ 593471 h 942137"/>
                <a:gd name="connsiteX1136" fmla="*/ 111835 w 899217"/>
                <a:gd name="connsiteY1136" fmla="*/ 596296 h 942137"/>
                <a:gd name="connsiteX1137" fmla="*/ 111936 w 899217"/>
                <a:gd name="connsiteY1137" fmla="*/ 599997 h 942137"/>
                <a:gd name="connsiteX1138" fmla="*/ 111936 w 899217"/>
                <a:gd name="connsiteY1138" fmla="*/ 608911 h 942137"/>
                <a:gd name="connsiteX1139" fmla="*/ 111936 w 899217"/>
                <a:gd name="connsiteY1139" fmla="*/ 612376 h 942137"/>
                <a:gd name="connsiteX1140" fmla="*/ 114561 w 899217"/>
                <a:gd name="connsiteY1140" fmla="*/ 616716 h 942137"/>
                <a:gd name="connsiteX1141" fmla="*/ 116076 w 899217"/>
                <a:gd name="connsiteY1141" fmla="*/ 616716 h 942137"/>
                <a:gd name="connsiteX1142" fmla="*/ 120215 w 899217"/>
                <a:gd name="connsiteY1142" fmla="*/ 619440 h 942137"/>
                <a:gd name="connsiteX1143" fmla="*/ 123682 w 899217"/>
                <a:gd name="connsiteY1143" fmla="*/ 624554 h 942137"/>
                <a:gd name="connsiteX1144" fmla="*/ 127148 w 899217"/>
                <a:gd name="connsiteY1144" fmla="*/ 627817 h 942137"/>
                <a:gd name="connsiteX1145" fmla="*/ 126509 w 899217"/>
                <a:gd name="connsiteY1145" fmla="*/ 633031 h 942137"/>
                <a:gd name="connsiteX1146" fmla="*/ 125533 w 899217"/>
                <a:gd name="connsiteY1146" fmla="*/ 640734 h 942137"/>
                <a:gd name="connsiteX1147" fmla="*/ 124994 w 899217"/>
                <a:gd name="connsiteY1147" fmla="*/ 642248 h 942137"/>
                <a:gd name="connsiteX1148" fmla="*/ 123581 w 899217"/>
                <a:gd name="connsiteY1148" fmla="*/ 644737 h 942137"/>
                <a:gd name="connsiteX1149" fmla="*/ 122369 w 899217"/>
                <a:gd name="connsiteY1149" fmla="*/ 647126 h 942137"/>
                <a:gd name="connsiteX1150" fmla="*/ 122369 w 899217"/>
                <a:gd name="connsiteY1150" fmla="*/ 650288 h 942137"/>
                <a:gd name="connsiteX1151" fmla="*/ 124052 w 899217"/>
                <a:gd name="connsiteY1151" fmla="*/ 654527 h 942137"/>
                <a:gd name="connsiteX1152" fmla="*/ 126172 w 899217"/>
                <a:gd name="connsiteY1152" fmla="*/ 657891 h 942137"/>
                <a:gd name="connsiteX1153" fmla="*/ 129100 w 899217"/>
                <a:gd name="connsiteY1153" fmla="*/ 660615 h 942137"/>
                <a:gd name="connsiteX1154" fmla="*/ 128663 w 899217"/>
                <a:gd name="connsiteY1154" fmla="*/ 663542 h 942137"/>
                <a:gd name="connsiteX1155" fmla="*/ 125196 w 899217"/>
                <a:gd name="connsiteY1155" fmla="*/ 664517 h 942137"/>
                <a:gd name="connsiteX1156" fmla="*/ 125196 w 899217"/>
                <a:gd name="connsiteY1156" fmla="*/ 666367 h 942137"/>
                <a:gd name="connsiteX1157" fmla="*/ 128461 w 899217"/>
                <a:gd name="connsiteY1157" fmla="*/ 667141 h 942137"/>
                <a:gd name="connsiteX1158" fmla="*/ 133139 w 899217"/>
                <a:gd name="connsiteY1158" fmla="*/ 667141 h 942137"/>
                <a:gd name="connsiteX1159" fmla="*/ 134350 w 899217"/>
                <a:gd name="connsiteY1159" fmla="*/ 668049 h 942137"/>
                <a:gd name="connsiteX1160" fmla="*/ 134115 w 899217"/>
                <a:gd name="connsiteY1160" fmla="*/ 669294 h 942137"/>
                <a:gd name="connsiteX1161" fmla="*/ 133139 w 899217"/>
                <a:gd name="connsiteY1161" fmla="*/ 670808 h 942137"/>
                <a:gd name="connsiteX1162" fmla="*/ 131826 w 899217"/>
                <a:gd name="connsiteY1162" fmla="*/ 672221 h 942137"/>
                <a:gd name="connsiteX1163" fmla="*/ 129975 w 899217"/>
                <a:gd name="connsiteY1163" fmla="*/ 673196 h 942137"/>
                <a:gd name="connsiteX1164" fmla="*/ 127350 w 899217"/>
                <a:gd name="connsiteY1164" fmla="*/ 674811 h 942137"/>
                <a:gd name="connsiteX1165" fmla="*/ 128124 w 899217"/>
                <a:gd name="connsiteY1165" fmla="*/ 676998 h 942137"/>
                <a:gd name="connsiteX1166" fmla="*/ 131052 w 899217"/>
                <a:gd name="connsiteY1166" fmla="*/ 678411 h 942137"/>
                <a:gd name="connsiteX1167" fmla="*/ 131052 w 899217"/>
                <a:gd name="connsiteY1167" fmla="*/ 679924 h 942137"/>
                <a:gd name="connsiteX1168" fmla="*/ 128865 w 899217"/>
                <a:gd name="connsiteY1168" fmla="*/ 680698 h 942137"/>
                <a:gd name="connsiteX1169" fmla="*/ 128091 w 899217"/>
                <a:gd name="connsiteY1169" fmla="*/ 682010 h 942137"/>
                <a:gd name="connsiteX1170" fmla="*/ 126340 w 899217"/>
                <a:gd name="connsiteY1170" fmla="*/ 685038 h 942137"/>
                <a:gd name="connsiteX1171" fmla="*/ 127114 w 899217"/>
                <a:gd name="connsiteY1171" fmla="*/ 687964 h 942137"/>
                <a:gd name="connsiteX1172" fmla="*/ 130715 w 899217"/>
                <a:gd name="connsiteY1172" fmla="*/ 688503 h 942137"/>
                <a:gd name="connsiteX1173" fmla="*/ 137884 w 899217"/>
                <a:gd name="connsiteY1173" fmla="*/ 689579 h 942137"/>
                <a:gd name="connsiteX1174" fmla="*/ 141249 w 899217"/>
                <a:gd name="connsiteY1174" fmla="*/ 692203 h 942137"/>
                <a:gd name="connsiteX1175" fmla="*/ 145288 w 899217"/>
                <a:gd name="connsiteY1175" fmla="*/ 693817 h 942137"/>
                <a:gd name="connsiteX1176" fmla="*/ 151144 w 899217"/>
                <a:gd name="connsiteY1176" fmla="*/ 694793 h 942137"/>
                <a:gd name="connsiteX1177" fmla="*/ 155182 w 899217"/>
                <a:gd name="connsiteY1177" fmla="*/ 696441 h 942137"/>
                <a:gd name="connsiteX1178" fmla="*/ 166255 w 899217"/>
                <a:gd name="connsiteY1178" fmla="*/ 698830 h 942137"/>
                <a:gd name="connsiteX1179" fmla="*/ 168745 w 899217"/>
                <a:gd name="connsiteY1179" fmla="*/ 699469 h 942137"/>
                <a:gd name="connsiteX1180" fmla="*/ 176452 w 899217"/>
                <a:gd name="connsiteY1180" fmla="*/ 701218 h 942137"/>
                <a:gd name="connsiteX1181" fmla="*/ 183856 w 899217"/>
                <a:gd name="connsiteY1181" fmla="*/ 701857 h 942137"/>
                <a:gd name="connsiteX1182" fmla="*/ 189712 w 899217"/>
                <a:gd name="connsiteY1182" fmla="*/ 702497 h 942137"/>
                <a:gd name="connsiteX1183" fmla="*/ 191126 w 899217"/>
                <a:gd name="connsiteY1183" fmla="*/ 705659 h 942137"/>
                <a:gd name="connsiteX1184" fmla="*/ 190149 w 899217"/>
                <a:gd name="connsiteY1184" fmla="*/ 711411 h 942137"/>
                <a:gd name="connsiteX1185" fmla="*/ 190149 w 899217"/>
                <a:gd name="connsiteY1185" fmla="*/ 713699 h 942137"/>
                <a:gd name="connsiteX1186" fmla="*/ 189611 w 899217"/>
                <a:gd name="connsiteY1186" fmla="*/ 717164 h 942137"/>
                <a:gd name="connsiteX1187" fmla="*/ 187996 w 899217"/>
                <a:gd name="connsiteY1187" fmla="*/ 718375 h 942137"/>
                <a:gd name="connsiteX1188" fmla="*/ 184630 w 899217"/>
                <a:gd name="connsiteY1188" fmla="*/ 720662 h 942137"/>
                <a:gd name="connsiteX1189" fmla="*/ 180053 w 899217"/>
                <a:gd name="connsiteY1189" fmla="*/ 722815 h 942137"/>
                <a:gd name="connsiteX1190" fmla="*/ 176452 w 899217"/>
                <a:gd name="connsiteY1190" fmla="*/ 725842 h 942137"/>
                <a:gd name="connsiteX1191" fmla="*/ 172986 w 899217"/>
                <a:gd name="connsiteY1191" fmla="*/ 728668 h 942137"/>
                <a:gd name="connsiteX1192" fmla="*/ 171774 w 899217"/>
                <a:gd name="connsiteY1192" fmla="*/ 730518 h 942137"/>
                <a:gd name="connsiteX1193" fmla="*/ 169587 w 899217"/>
                <a:gd name="connsiteY1193" fmla="*/ 734421 h 942137"/>
                <a:gd name="connsiteX1194" fmla="*/ 168173 w 899217"/>
                <a:gd name="connsiteY1194" fmla="*/ 736910 h 942137"/>
                <a:gd name="connsiteX1195" fmla="*/ 166962 w 899217"/>
                <a:gd name="connsiteY1195" fmla="*/ 740072 h 942137"/>
                <a:gd name="connsiteX1196" fmla="*/ 166086 w 899217"/>
                <a:gd name="connsiteY1196" fmla="*/ 742561 h 942137"/>
                <a:gd name="connsiteX1197" fmla="*/ 165750 w 899217"/>
                <a:gd name="connsiteY1197" fmla="*/ 744613 h 942137"/>
                <a:gd name="connsiteX1198" fmla="*/ 168476 w 899217"/>
                <a:gd name="connsiteY1198" fmla="*/ 747338 h 942137"/>
                <a:gd name="connsiteX1199" fmla="*/ 169014 w 899217"/>
                <a:gd name="connsiteY1199" fmla="*/ 748953 h 942137"/>
                <a:gd name="connsiteX1200" fmla="*/ 169351 w 899217"/>
                <a:gd name="connsiteY1200" fmla="*/ 751341 h 942137"/>
                <a:gd name="connsiteX1201" fmla="*/ 169149 w 899217"/>
                <a:gd name="connsiteY1201" fmla="*/ 753528 h 942137"/>
                <a:gd name="connsiteX1202" fmla="*/ 168072 w 899217"/>
                <a:gd name="connsiteY1202" fmla="*/ 754840 h 942137"/>
                <a:gd name="connsiteX1203" fmla="*/ 167971 w 899217"/>
                <a:gd name="connsiteY1203" fmla="*/ 757464 h 942137"/>
                <a:gd name="connsiteX1204" fmla="*/ 166995 w 899217"/>
                <a:gd name="connsiteY1204" fmla="*/ 761500 h 942137"/>
                <a:gd name="connsiteX1205" fmla="*/ 164808 w 899217"/>
                <a:gd name="connsiteY1205" fmla="*/ 765941 h 942137"/>
                <a:gd name="connsiteX1206" fmla="*/ 162620 w 899217"/>
                <a:gd name="connsiteY1206" fmla="*/ 771592 h 942137"/>
                <a:gd name="connsiteX1207" fmla="*/ 160130 w 899217"/>
                <a:gd name="connsiteY1207" fmla="*/ 773644 h 942137"/>
                <a:gd name="connsiteX1208" fmla="*/ 157538 w 899217"/>
                <a:gd name="connsiteY1208" fmla="*/ 775596 h 942137"/>
                <a:gd name="connsiteX1209" fmla="*/ 155923 w 899217"/>
                <a:gd name="connsiteY1209" fmla="*/ 778085 h 942137"/>
                <a:gd name="connsiteX1210" fmla="*/ 153971 w 899217"/>
                <a:gd name="connsiteY1210" fmla="*/ 780810 h 942137"/>
                <a:gd name="connsiteX1211" fmla="*/ 153668 w 899217"/>
                <a:gd name="connsiteY1211" fmla="*/ 784376 h 942137"/>
                <a:gd name="connsiteX1212" fmla="*/ 153668 w 899217"/>
                <a:gd name="connsiteY1212" fmla="*/ 786562 h 942137"/>
                <a:gd name="connsiteX1213" fmla="*/ 152086 w 899217"/>
                <a:gd name="connsiteY1213" fmla="*/ 788849 h 942137"/>
                <a:gd name="connsiteX1214" fmla="*/ 150605 w 899217"/>
                <a:gd name="connsiteY1214" fmla="*/ 791137 h 942137"/>
                <a:gd name="connsiteX1215" fmla="*/ 147879 w 899217"/>
                <a:gd name="connsiteY1215" fmla="*/ 792886 h 942137"/>
                <a:gd name="connsiteX1216" fmla="*/ 144716 w 899217"/>
                <a:gd name="connsiteY1216" fmla="*/ 795073 h 942137"/>
                <a:gd name="connsiteX1217" fmla="*/ 142596 w 899217"/>
                <a:gd name="connsiteY1217" fmla="*/ 797798 h 942137"/>
                <a:gd name="connsiteX1218" fmla="*/ 142663 w 899217"/>
                <a:gd name="connsiteY1218" fmla="*/ 801263 h 942137"/>
                <a:gd name="connsiteX1219" fmla="*/ 142663 w 899217"/>
                <a:gd name="connsiteY1219" fmla="*/ 803012 h 942137"/>
                <a:gd name="connsiteX1220" fmla="*/ 145826 w 899217"/>
                <a:gd name="connsiteY1220" fmla="*/ 806174 h 942137"/>
                <a:gd name="connsiteX1221" fmla="*/ 150504 w 899217"/>
                <a:gd name="connsiteY1221" fmla="*/ 809202 h 942137"/>
                <a:gd name="connsiteX1222" fmla="*/ 157134 w 899217"/>
                <a:gd name="connsiteY1222" fmla="*/ 809975 h 942137"/>
                <a:gd name="connsiteX1223" fmla="*/ 169519 w 899217"/>
                <a:gd name="connsiteY1223" fmla="*/ 810312 h 942137"/>
                <a:gd name="connsiteX1224" fmla="*/ 177361 w 899217"/>
                <a:gd name="connsiteY1224" fmla="*/ 810850 h 942137"/>
                <a:gd name="connsiteX1225" fmla="*/ 185404 w 899217"/>
                <a:gd name="connsiteY1225" fmla="*/ 811624 h 942137"/>
                <a:gd name="connsiteX1226" fmla="*/ 191159 w 899217"/>
                <a:gd name="connsiteY1226" fmla="*/ 813810 h 942137"/>
                <a:gd name="connsiteX1227" fmla="*/ 195736 w 899217"/>
                <a:gd name="connsiteY1227" fmla="*/ 817813 h 942137"/>
                <a:gd name="connsiteX1228" fmla="*/ 201592 w 899217"/>
                <a:gd name="connsiteY1228" fmla="*/ 819764 h 942137"/>
                <a:gd name="connsiteX1229" fmla="*/ 205496 w 899217"/>
                <a:gd name="connsiteY1229" fmla="*/ 820101 h 942137"/>
                <a:gd name="connsiteX1230" fmla="*/ 207986 w 899217"/>
                <a:gd name="connsiteY1230" fmla="*/ 821715 h 942137"/>
                <a:gd name="connsiteX1231" fmla="*/ 212126 w 899217"/>
                <a:gd name="connsiteY1231" fmla="*/ 824205 h 942137"/>
                <a:gd name="connsiteX1232" fmla="*/ 216467 w 899217"/>
                <a:gd name="connsiteY1232" fmla="*/ 824978 h 942137"/>
                <a:gd name="connsiteX1233" fmla="*/ 220607 w 899217"/>
                <a:gd name="connsiteY1233" fmla="*/ 823566 h 942137"/>
                <a:gd name="connsiteX1234" fmla="*/ 225722 w 899217"/>
                <a:gd name="connsiteY1234" fmla="*/ 823566 h 942137"/>
                <a:gd name="connsiteX1235" fmla="*/ 228987 w 899217"/>
                <a:gd name="connsiteY1235" fmla="*/ 823498 h 942137"/>
                <a:gd name="connsiteX1236" fmla="*/ 230501 w 899217"/>
                <a:gd name="connsiteY1236" fmla="*/ 826021 h 942137"/>
                <a:gd name="connsiteX1237" fmla="*/ 230602 w 899217"/>
                <a:gd name="connsiteY1237" fmla="*/ 828342 h 942137"/>
                <a:gd name="connsiteX1238" fmla="*/ 230064 w 899217"/>
                <a:gd name="connsiteY1238" fmla="*/ 830193 h 942137"/>
                <a:gd name="connsiteX1239" fmla="*/ 228751 w 899217"/>
                <a:gd name="connsiteY1239" fmla="*/ 832144 h 942137"/>
                <a:gd name="connsiteX1240" fmla="*/ 228314 w 899217"/>
                <a:gd name="connsiteY1240" fmla="*/ 832917 h 942137"/>
                <a:gd name="connsiteX1241" fmla="*/ 227001 w 899217"/>
                <a:gd name="connsiteY1241" fmla="*/ 835844 h 942137"/>
                <a:gd name="connsiteX1242" fmla="*/ 226126 w 899217"/>
                <a:gd name="connsiteY1242" fmla="*/ 839208 h 942137"/>
                <a:gd name="connsiteX1243" fmla="*/ 224915 w 899217"/>
                <a:gd name="connsiteY1243" fmla="*/ 841832 h 942137"/>
                <a:gd name="connsiteX1244" fmla="*/ 224915 w 899217"/>
                <a:gd name="connsiteY1244" fmla="*/ 845196 h 942137"/>
                <a:gd name="connsiteX1245" fmla="*/ 224915 w 899217"/>
                <a:gd name="connsiteY1245" fmla="*/ 849233 h 942137"/>
                <a:gd name="connsiteX1246" fmla="*/ 224040 w 899217"/>
                <a:gd name="connsiteY1246" fmla="*/ 853707 h 942137"/>
                <a:gd name="connsiteX1247" fmla="*/ 222189 w 899217"/>
                <a:gd name="connsiteY1247" fmla="*/ 855893 h 942137"/>
                <a:gd name="connsiteX1248" fmla="*/ 222189 w 899217"/>
                <a:gd name="connsiteY1248" fmla="*/ 858080 h 942137"/>
                <a:gd name="connsiteX1249" fmla="*/ 223400 w 899217"/>
                <a:gd name="connsiteY1249" fmla="*/ 860266 h 942137"/>
                <a:gd name="connsiteX1250" fmla="*/ 225891 w 899217"/>
                <a:gd name="connsiteY1250" fmla="*/ 863429 h 942137"/>
                <a:gd name="connsiteX1251" fmla="*/ 226968 w 899217"/>
                <a:gd name="connsiteY1251" fmla="*/ 865279 h 942137"/>
                <a:gd name="connsiteX1252" fmla="*/ 229256 w 899217"/>
                <a:gd name="connsiteY1252" fmla="*/ 867129 h 942137"/>
                <a:gd name="connsiteX1253" fmla="*/ 232857 w 899217"/>
                <a:gd name="connsiteY1253" fmla="*/ 867129 h 942137"/>
                <a:gd name="connsiteX1254" fmla="*/ 234910 w 899217"/>
                <a:gd name="connsiteY1254" fmla="*/ 866961 h 942137"/>
                <a:gd name="connsiteX1255" fmla="*/ 237401 w 899217"/>
                <a:gd name="connsiteY1255" fmla="*/ 866591 h 942137"/>
                <a:gd name="connsiteX1256" fmla="*/ 240227 w 899217"/>
                <a:gd name="connsiteY1256" fmla="*/ 867566 h 942137"/>
                <a:gd name="connsiteX1257" fmla="*/ 241978 w 899217"/>
                <a:gd name="connsiteY1257" fmla="*/ 868979 h 942137"/>
                <a:gd name="connsiteX1258" fmla="*/ 242617 w 899217"/>
                <a:gd name="connsiteY1258" fmla="*/ 870392 h 942137"/>
                <a:gd name="connsiteX1259" fmla="*/ 242819 w 899217"/>
                <a:gd name="connsiteY1259" fmla="*/ 873117 h 942137"/>
                <a:gd name="connsiteX1260" fmla="*/ 242617 w 899217"/>
                <a:gd name="connsiteY1260" fmla="*/ 874328 h 942137"/>
                <a:gd name="connsiteX1261" fmla="*/ 241204 w 899217"/>
                <a:gd name="connsiteY1261" fmla="*/ 877389 h 942137"/>
                <a:gd name="connsiteX1262" fmla="*/ 241338 w 899217"/>
                <a:gd name="connsiteY1262" fmla="*/ 879138 h 942137"/>
                <a:gd name="connsiteX1263" fmla="*/ 241338 w 899217"/>
                <a:gd name="connsiteY1263" fmla="*/ 883377 h 942137"/>
                <a:gd name="connsiteX1264" fmla="*/ 241338 w 899217"/>
                <a:gd name="connsiteY1264" fmla="*/ 885664 h 942137"/>
                <a:gd name="connsiteX1265" fmla="*/ 242213 w 899217"/>
                <a:gd name="connsiteY1265" fmla="*/ 887313 h 942137"/>
                <a:gd name="connsiteX1266" fmla="*/ 244704 w 899217"/>
                <a:gd name="connsiteY1266" fmla="*/ 890576 h 942137"/>
                <a:gd name="connsiteX1267" fmla="*/ 246992 w 899217"/>
                <a:gd name="connsiteY1267" fmla="*/ 890138 h 942137"/>
                <a:gd name="connsiteX1268" fmla="*/ 249382 w 899217"/>
                <a:gd name="connsiteY1268" fmla="*/ 888288 h 942137"/>
                <a:gd name="connsiteX1269" fmla="*/ 253959 w 899217"/>
                <a:gd name="connsiteY1269" fmla="*/ 887851 h 942137"/>
                <a:gd name="connsiteX1270" fmla="*/ 257324 w 899217"/>
                <a:gd name="connsiteY1270" fmla="*/ 889499 h 942137"/>
                <a:gd name="connsiteX1271" fmla="*/ 260589 w 899217"/>
                <a:gd name="connsiteY1271" fmla="*/ 888826 h 942137"/>
                <a:gd name="connsiteX1272" fmla="*/ 262540 w 899217"/>
                <a:gd name="connsiteY1272" fmla="*/ 885025 h 942137"/>
                <a:gd name="connsiteX1273" fmla="*/ 271459 w 899217"/>
                <a:gd name="connsiteY1273" fmla="*/ 884588 h 942137"/>
                <a:gd name="connsiteX1274" fmla="*/ 275700 w 899217"/>
                <a:gd name="connsiteY1274" fmla="*/ 887615 h 942137"/>
                <a:gd name="connsiteX1275" fmla="*/ 281454 w 899217"/>
                <a:gd name="connsiteY1275" fmla="*/ 891753 h 942137"/>
                <a:gd name="connsiteX1276" fmla="*/ 285897 w 899217"/>
                <a:gd name="connsiteY1276" fmla="*/ 892628 h 942137"/>
                <a:gd name="connsiteX1277" fmla="*/ 292089 w 899217"/>
                <a:gd name="connsiteY1277" fmla="*/ 892729 h 942137"/>
                <a:gd name="connsiteX1278" fmla="*/ 299157 w 899217"/>
                <a:gd name="connsiteY1278" fmla="*/ 890239 h 942137"/>
                <a:gd name="connsiteX1279" fmla="*/ 304272 w 899217"/>
                <a:gd name="connsiteY1279" fmla="*/ 886875 h 942137"/>
                <a:gd name="connsiteX1280" fmla="*/ 310902 w 899217"/>
                <a:gd name="connsiteY1280" fmla="*/ 882435 h 942137"/>
                <a:gd name="connsiteX1281" fmla="*/ 319854 w 899217"/>
                <a:gd name="connsiteY1281" fmla="*/ 875270 h 942137"/>
                <a:gd name="connsiteX1282" fmla="*/ 326080 w 899217"/>
                <a:gd name="connsiteY1282" fmla="*/ 871199 h 942137"/>
                <a:gd name="connsiteX1283" fmla="*/ 334191 w 899217"/>
                <a:gd name="connsiteY1283" fmla="*/ 869383 h 942137"/>
                <a:gd name="connsiteX1284" fmla="*/ 340922 w 899217"/>
                <a:gd name="connsiteY1284" fmla="*/ 867936 h 942137"/>
                <a:gd name="connsiteX1285" fmla="*/ 343682 w 899217"/>
                <a:gd name="connsiteY1285" fmla="*/ 864606 h 942137"/>
                <a:gd name="connsiteX1286" fmla="*/ 348091 w 899217"/>
                <a:gd name="connsiteY1286" fmla="*/ 861343 h 942137"/>
                <a:gd name="connsiteX1287" fmla="*/ 352230 w 899217"/>
                <a:gd name="connsiteY1287" fmla="*/ 859325 h 942137"/>
                <a:gd name="connsiteX1288" fmla="*/ 354418 w 899217"/>
                <a:gd name="connsiteY1288" fmla="*/ 859392 h 942137"/>
                <a:gd name="connsiteX1289" fmla="*/ 355865 w 899217"/>
                <a:gd name="connsiteY1289" fmla="*/ 859762 h 942137"/>
                <a:gd name="connsiteX1290" fmla="*/ 356504 w 899217"/>
                <a:gd name="connsiteY1290" fmla="*/ 861646 h 942137"/>
                <a:gd name="connsiteX1291" fmla="*/ 355562 w 899217"/>
                <a:gd name="connsiteY1291" fmla="*/ 864539 h 942137"/>
                <a:gd name="connsiteX1292" fmla="*/ 354552 w 899217"/>
                <a:gd name="connsiteY1292" fmla="*/ 866355 h 942137"/>
                <a:gd name="connsiteX1293" fmla="*/ 353374 w 899217"/>
                <a:gd name="connsiteY1293" fmla="*/ 867230 h 942137"/>
                <a:gd name="connsiteX1294" fmla="*/ 351557 w 899217"/>
                <a:gd name="connsiteY1294" fmla="*/ 869753 h 942137"/>
                <a:gd name="connsiteX1295" fmla="*/ 351119 w 899217"/>
                <a:gd name="connsiteY1295" fmla="*/ 870930 h 942137"/>
                <a:gd name="connsiteX1296" fmla="*/ 352869 w 899217"/>
                <a:gd name="connsiteY1296" fmla="*/ 873319 h 942137"/>
                <a:gd name="connsiteX1297" fmla="*/ 354620 w 899217"/>
                <a:gd name="connsiteY1297" fmla="*/ 874193 h 942137"/>
                <a:gd name="connsiteX1298" fmla="*/ 354047 w 899217"/>
                <a:gd name="connsiteY1298" fmla="*/ 877221 h 942137"/>
                <a:gd name="connsiteX1299" fmla="*/ 351018 w 899217"/>
                <a:gd name="connsiteY1299" fmla="*/ 880114 h 942137"/>
                <a:gd name="connsiteX1300" fmla="*/ 350143 w 899217"/>
                <a:gd name="connsiteY1300" fmla="*/ 883747 h 942137"/>
                <a:gd name="connsiteX1301" fmla="*/ 350143 w 899217"/>
                <a:gd name="connsiteY1301" fmla="*/ 888255 h 942137"/>
                <a:gd name="connsiteX1302" fmla="*/ 354215 w 899217"/>
                <a:gd name="connsiteY1302" fmla="*/ 890273 h 942137"/>
                <a:gd name="connsiteX1303" fmla="*/ 353913 w 899217"/>
                <a:gd name="connsiteY1303" fmla="*/ 892729 h 942137"/>
                <a:gd name="connsiteX1304" fmla="*/ 353038 w 899217"/>
                <a:gd name="connsiteY1304" fmla="*/ 895622 h 942137"/>
                <a:gd name="connsiteX1305" fmla="*/ 350446 w 899217"/>
                <a:gd name="connsiteY1305" fmla="*/ 897808 h 942137"/>
                <a:gd name="connsiteX1306" fmla="*/ 348124 w 899217"/>
                <a:gd name="connsiteY1306" fmla="*/ 899389 h 942137"/>
                <a:gd name="connsiteX1307" fmla="*/ 351153 w 899217"/>
                <a:gd name="connsiteY1307" fmla="*/ 902148 h 942137"/>
                <a:gd name="connsiteX1308" fmla="*/ 353610 w 899217"/>
                <a:gd name="connsiteY1308" fmla="*/ 904604 h 942137"/>
                <a:gd name="connsiteX1309" fmla="*/ 353610 w 899217"/>
                <a:gd name="connsiteY1309" fmla="*/ 908943 h 942137"/>
                <a:gd name="connsiteX1310" fmla="*/ 354990 w 899217"/>
                <a:gd name="connsiteY1310" fmla="*/ 914023 h 942137"/>
                <a:gd name="connsiteX1311" fmla="*/ 355360 w 899217"/>
                <a:gd name="connsiteY1311" fmla="*/ 917925 h 942137"/>
                <a:gd name="connsiteX1312" fmla="*/ 356807 w 899217"/>
                <a:gd name="connsiteY1312" fmla="*/ 925023 h 942137"/>
                <a:gd name="connsiteX1313" fmla="*/ 358557 w 899217"/>
                <a:gd name="connsiteY1313" fmla="*/ 928925 h 942137"/>
                <a:gd name="connsiteX1314" fmla="*/ 362192 w 899217"/>
                <a:gd name="connsiteY1314" fmla="*/ 932255 h 942137"/>
                <a:gd name="connsiteX1315" fmla="*/ 365524 w 899217"/>
                <a:gd name="connsiteY1315" fmla="*/ 932962 h 942137"/>
                <a:gd name="connsiteX1316" fmla="*/ 369427 w 899217"/>
                <a:gd name="connsiteY1316" fmla="*/ 933096 h 942137"/>
                <a:gd name="connsiteX1317" fmla="*/ 372759 w 899217"/>
                <a:gd name="connsiteY1317" fmla="*/ 931650 h 942137"/>
                <a:gd name="connsiteX1318" fmla="*/ 375216 w 899217"/>
                <a:gd name="connsiteY1318" fmla="*/ 928622 h 942137"/>
                <a:gd name="connsiteX1319" fmla="*/ 378851 w 899217"/>
                <a:gd name="connsiteY1319" fmla="*/ 926301 h 942137"/>
                <a:gd name="connsiteX1320" fmla="*/ 384067 w 899217"/>
                <a:gd name="connsiteY1320" fmla="*/ 926301 h 942137"/>
                <a:gd name="connsiteX1321" fmla="*/ 390596 w 899217"/>
                <a:gd name="connsiteY1321" fmla="*/ 926873 h 942137"/>
                <a:gd name="connsiteX1322" fmla="*/ 395947 w 899217"/>
                <a:gd name="connsiteY1322" fmla="*/ 931078 h 942137"/>
                <a:gd name="connsiteX1323" fmla="*/ 399582 w 899217"/>
                <a:gd name="connsiteY1323" fmla="*/ 935552 h 942137"/>
                <a:gd name="connsiteX1324" fmla="*/ 406549 w 899217"/>
                <a:gd name="connsiteY1324" fmla="*/ 941943 h 942137"/>
                <a:gd name="connsiteX1325" fmla="*/ 409140 w 899217"/>
                <a:gd name="connsiteY1325" fmla="*/ 941943 h 942137"/>
                <a:gd name="connsiteX1326" fmla="*/ 410722 w 899217"/>
                <a:gd name="connsiteY1326" fmla="*/ 939488 h 942137"/>
                <a:gd name="connsiteX1327" fmla="*/ 413178 w 899217"/>
                <a:gd name="connsiteY1327" fmla="*/ 937907 h 942137"/>
                <a:gd name="connsiteX1328" fmla="*/ 416207 w 899217"/>
                <a:gd name="connsiteY1328" fmla="*/ 937907 h 942137"/>
                <a:gd name="connsiteX1329" fmla="*/ 418832 w 899217"/>
                <a:gd name="connsiteY1329" fmla="*/ 934577 h 942137"/>
                <a:gd name="connsiteX1330" fmla="*/ 419405 w 899217"/>
                <a:gd name="connsiteY1330" fmla="*/ 931381 h 942137"/>
                <a:gd name="connsiteX1331" fmla="*/ 417520 w 899217"/>
                <a:gd name="connsiteY1331" fmla="*/ 927479 h 942137"/>
                <a:gd name="connsiteX1332" fmla="*/ 414626 w 899217"/>
                <a:gd name="connsiteY1332" fmla="*/ 924585 h 942137"/>
                <a:gd name="connsiteX1333" fmla="*/ 412169 w 899217"/>
                <a:gd name="connsiteY1333" fmla="*/ 922399 h 942137"/>
                <a:gd name="connsiteX1334" fmla="*/ 411731 w 899217"/>
                <a:gd name="connsiteY1334" fmla="*/ 916747 h 942137"/>
                <a:gd name="connsiteX1335" fmla="*/ 411866 w 899217"/>
                <a:gd name="connsiteY1335" fmla="*/ 912105 h 942137"/>
                <a:gd name="connsiteX1336" fmla="*/ 412303 w 899217"/>
                <a:gd name="connsiteY1336" fmla="*/ 906757 h 942137"/>
                <a:gd name="connsiteX1337" fmla="*/ 412606 w 899217"/>
                <a:gd name="connsiteY1337" fmla="*/ 903561 h 942137"/>
                <a:gd name="connsiteX1338" fmla="*/ 413919 w 899217"/>
                <a:gd name="connsiteY1338" fmla="*/ 899221 h 942137"/>
                <a:gd name="connsiteX1339" fmla="*/ 414356 w 899217"/>
                <a:gd name="connsiteY1339" fmla="*/ 895016 h 942137"/>
                <a:gd name="connsiteX1340" fmla="*/ 416376 w 899217"/>
                <a:gd name="connsiteY1340" fmla="*/ 891417 h 942137"/>
                <a:gd name="connsiteX1341" fmla="*/ 419135 w 899217"/>
                <a:gd name="connsiteY1341" fmla="*/ 887649 h 942137"/>
                <a:gd name="connsiteX1342" fmla="*/ 421592 w 899217"/>
                <a:gd name="connsiteY1342" fmla="*/ 885025 h 942137"/>
                <a:gd name="connsiteX1343" fmla="*/ 421155 w 899217"/>
                <a:gd name="connsiteY1343" fmla="*/ 881123 h 942137"/>
                <a:gd name="connsiteX1344" fmla="*/ 419707 w 899217"/>
                <a:gd name="connsiteY1344" fmla="*/ 877793 h 942137"/>
                <a:gd name="connsiteX1345" fmla="*/ 417957 w 899217"/>
                <a:gd name="connsiteY1345" fmla="*/ 875034 h 942137"/>
                <a:gd name="connsiteX1346" fmla="*/ 417957 w 899217"/>
                <a:gd name="connsiteY1346" fmla="*/ 871704 h 942137"/>
                <a:gd name="connsiteX1347" fmla="*/ 415501 w 899217"/>
                <a:gd name="connsiteY1347" fmla="*/ 863731 h 942137"/>
                <a:gd name="connsiteX1348" fmla="*/ 412169 w 899217"/>
                <a:gd name="connsiteY1348" fmla="*/ 856499 h 942137"/>
                <a:gd name="connsiteX1349" fmla="*/ 405068 w 899217"/>
                <a:gd name="connsiteY1349" fmla="*/ 846373 h 942137"/>
                <a:gd name="connsiteX1350" fmla="*/ 404058 w 899217"/>
                <a:gd name="connsiteY1350" fmla="*/ 838569 h 942137"/>
                <a:gd name="connsiteX1351" fmla="*/ 404058 w 899217"/>
                <a:gd name="connsiteY1351" fmla="*/ 834936 h 942137"/>
                <a:gd name="connsiteX1352" fmla="*/ 403351 w 899217"/>
                <a:gd name="connsiteY1352" fmla="*/ 830159 h 942137"/>
                <a:gd name="connsiteX1353" fmla="*/ 401164 w 899217"/>
                <a:gd name="connsiteY1353" fmla="*/ 823633 h 942137"/>
                <a:gd name="connsiteX1354" fmla="*/ 399144 w 899217"/>
                <a:gd name="connsiteY1354" fmla="*/ 819865 h 942137"/>
                <a:gd name="connsiteX1355" fmla="*/ 396822 w 899217"/>
                <a:gd name="connsiteY1355" fmla="*/ 816232 h 942137"/>
                <a:gd name="connsiteX1356" fmla="*/ 402039 w 899217"/>
                <a:gd name="connsiteY1356" fmla="*/ 812902 h 942137"/>
                <a:gd name="connsiteX1357" fmla="*/ 405808 w 899217"/>
                <a:gd name="connsiteY1357" fmla="*/ 810446 h 942137"/>
                <a:gd name="connsiteX1358" fmla="*/ 410150 w 899217"/>
                <a:gd name="connsiteY1358" fmla="*/ 803214 h 942137"/>
                <a:gd name="connsiteX1359" fmla="*/ 409409 w 899217"/>
                <a:gd name="connsiteY1359" fmla="*/ 796688 h 942137"/>
                <a:gd name="connsiteX1360" fmla="*/ 412001 w 899217"/>
                <a:gd name="connsiteY1360" fmla="*/ 790901 h 942137"/>
                <a:gd name="connsiteX1361" fmla="*/ 416476 w 899217"/>
                <a:gd name="connsiteY1361" fmla="*/ 788278 h 942137"/>
                <a:gd name="connsiteX1362" fmla="*/ 420683 w 899217"/>
                <a:gd name="connsiteY1362" fmla="*/ 788849 h 942137"/>
                <a:gd name="connsiteX1363" fmla="*/ 427078 w 899217"/>
                <a:gd name="connsiteY1363" fmla="*/ 794635 h 942137"/>
                <a:gd name="connsiteX1364" fmla="*/ 436770 w 899217"/>
                <a:gd name="connsiteY1364" fmla="*/ 795342 h 942137"/>
                <a:gd name="connsiteX1365" fmla="*/ 450670 w 899217"/>
                <a:gd name="connsiteY1365" fmla="*/ 798975 h 942137"/>
                <a:gd name="connsiteX1366" fmla="*/ 464569 w 899217"/>
                <a:gd name="connsiteY1366" fmla="*/ 803886 h 942137"/>
                <a:gd name="connsiteX1367" fmla="*/ 470357 w 899217"/>
                <a:gd name="connsiteY1367" fmla="*/ 797226 h 942137"/>
                <a:gd name="connsiteX1368" fmla="*/ 476584 w 899217"/>
                <a:gd name="connsiteY1368" fmla="*/ 788984 h 942137"/>
                <a:gd name="connsiteX1369" fmla="*/ 480925 w 899217"/>
                <a:gd name="connsiteY1369" fmla="*/ 778556 h 942137"/>
                <a:gd name="connsiteX1370" fmla="*/ 492368 w 899217"/>
                <a:gd name="connsiteY1370" fmla="*/ 768699 h 942137"/>
                <a:gd name="connsiteX1371" fmla="*/ 496844 w 899217"/>
                <a:gd name="connsiteY1371" fmla="*/ 761299 h 942137"/>
                <a:gd name="connsiteX1372" fmla="*/ 503373 w 899217"/>
                <a:gd name="connsiteY1372" fmla="*/ 762745 h 942137"/>
                <a:gd name="connsiteX1373" fmla="*/ 512224 w 899217"/>
                <a:gd name="connsiteY1373" fmla="*/ 765638 h 942137"/>
                <a:gd name="connsiteX1374" fmla="*/ 517878 w 899217"/>
                <a:gd name="connsiteY1374" fmla="*/ 771727 h 942137"/>
                <a:gd name="connsiteX1375" fmla="*/ 528681 w 899217"/>
                <a:gd name="connsiteY1375" fmla="*/ 778320 h 942137"/>
                <a:gd name="connsiteX1376" fmla="*/ 533460 w 899217"/>
                <a:gd name="connsiteY1376" fmla="*/ 783602 h 942137"/>
                <a:gd name="connsiteX1377" fmla="*/ 538676 w 899217"/>
                <a:gd name="connsiteY1377" fmla="*/ 788109 h 942137"/>
                <a:gd name="connsiteX1378" fmla="*/ 539383 w 899217"/>
                <a:gd name="connsiteY1378" fmla="*/ 792953 h 942137"/>
                <a:gd name="connsiteX1379" fmla="*/ 536994 w 899217"/>
                <a:gd name="connsiteY1379" fmla="*/ 796654 h 942137"/>
                <a:gd name="connsiteX1380" fmla="*/ 541402 w 899217"/>
                <a:gd name="connsiteY1380" fmla="*/ 797730 h 942137"/>
                <a:gd name="connsiteX1381" fmla="*/ 545676 w 899217"/>
                <a:gd name="connsiteY1381" fmla="*/ 802877 h 942137"/>
                <a:gd name="connsiteX1382" fmla="*/ 549479 w 899217"/>
                <a:gd name="connsiteY1382" fmla="*/ 802877 h 942137"/>
                <a:gd name="connsiteX1383" fmla="*/ 554629 w 899217"/>
                <a:gd name="connsiteY1383" fmla="*/ 802406 h 942137"/>
                <a:gd name="connsiteX1384" fmla="*/ 557927 w 899217"/>
                <a:gd name="connsiteY1384" fmla="*/ 800960 h 942137"/>
                <a:gd name="connsiteX1385" fmla="*/ 561932 w 899217"/>
                <a:gd name="connsiteY1385" fmla="*/ 799311 h 942137"/>
                <a:gd name="connsiteX1386" fmla="*/ 567316 w 899217"/>
                <a:gd name="connsiteY1386" fmla="*/ 796553 h 942137"/>
                <a:gd name="connsiteX1387" fmla="*/ 569874 w 899217"/>
                <a:gd name="connsiteY1387" fmla="*/ 794602 h 942137"/>
                <a:gd name="connsiteX1388" fmla="*/ 570682 w 899217"/>
                <a:gd name="connsiteY1388" fmla="*/ 793189 h 942137"/>
                <a:gd name="connsiteX1389" fmla="*/ 570244 w 899217"/>
                <a:gd name="connsiteY1389" fmla="*/ 787537 h 942137"/>
                <a:gd name="connsiteX1390" fmla="*/ 571725 w 899217"/>
                <a:gd name="connsiteY1390" fmla="*/ 783366 h 942137"/>
                <a:gd name="connsiteX1391" fmla="*/ 574754 w 899217"/>
                <a:gd name="connsiteY1391" fmla="*/ 779330 h 942137"/>
                <a:gd name="connsiteX1392" fmla="*/ 579533 w 899217"/>
                <a:gd name="connsiteY1392" fmla="*/ 774216 h 942137"/>
                <a:gd name="connsiteX1393" fmla="*/ 582293 w 899217"/>
                <a:gd name="connsiteY1393" fmla="*/ 771323 h 942137"/>
                <a:gd name="connsiteX1394" fmla="*/ 584682 w 899217"/>
                <a:gd name="connsiteY1394" fmla="*/ 770516 h 942137"/>
                <a:gd name="connsiteX1395" fmla="*/ 587947 w 899217"/>
                <a:gd name="connsiteY1395" fmla="*/ 771323 h 942137"/>
                <a:gd name="connsiteX1396" fmla="*/ 592086 w 899217"/>
                <a:gd name="connsiteY1396" fmla="*/ 775226 h 942137"/>
                <a:gd name="connsiteX1397" fmla="*/ 596091 w 899217"/>
                <a:gd name="connsiteY1397" fmla="*/ 778690 h 942137"/>
                <a:gd name="connsiteX1398" fmla="*/ 598144 w 899217"/>
                <a:gd name="connsiteY1398" fmla="*/ 782155 h 942137"/>
                <a:gd name="connsiteX1399" fmla="*/ 602048 w 899217"/>
                <a:gd name="connsiteY1399" fmla="*/ 787807 h 942137"/>
                <a:gd name="connsiteX1400" fmla="*/ 604707 w 899217"/>
                <a:gd name="connsiteY1400" fmla="*/ 788883 h 942137"/>
                <a:gd name="connsiteX1401" fmla="*/ 607298 w 899217"/>
                <a:gd name="connsiteY1401" fmla="*/ 788883 h 942137"/>
                <a:gd name="connsiteX1402" fmla="*/ 610361 w 899217"/>
                <a:gd name="connsiteY1402" fmla="*/ 787403 h 942137"/>
                <a:gd name="connsiteX1403" fmla="*/ 612649 w 899217"/>
                <a:gd name="connsiteY1403" fmla="*/ 784644 h 942137"/>
                <a:gd name="connsiteX1404" fmla="*/ 616015 w 899217"/>
                <a:gd name="connsiteY1404" fmla="*/ 775831 h 942137"/>
                <a:gd name="connsiteX1405" fmla="*/ 616015 w 899217"/>
                <a:gd name="connsiteY1405" fmla="*/ 770079 h 942137"/>
                <a:gd name="connsiteX1406" fmla="*/ 615039 w 899217"/>
                <a:gd name="connsiteY1406" fmla="*/ 763653 h 942137"/>
                <a:gd name="connsiteX1407" fmla="*/ 615914 w 899217"/>
                <a:gd name="connsiteY1407" fmla="*/ 759314 h 942137"/>
                <a:gd name="connsiteX1408" fmla="*/ 618640 w 899217"/>
                <a:gd name="connsiteY1408" fmla="*/ 758338 h 942137"/>
                <a:gd name="connsiteX1409" fmla="*/ 619851 w 899217"/>
                <a:gd name="connsiteY1409" fmla="*/ 758574 h 942137"/>
                <a:gd name="connsiteX1410" fmla="*/ 624092 w 899217"/>
                <a:gd name="connsiteY1410" fmla="*/ 761736 h 942137"/>
                <a:gd name="connsiteX1411" fmla="*/ 628332 w 899217"/>
                <a:gd name="connsiteY1411" fmla="*/ 766748 h 942137"/>
                <a:gd name="connsiteX1412" fmla="*/ 630284 w 899217"/>
                <a:gd name="connsiteY1412" fmla="*/ 770785 h 942137"/>
                <a:gd name="connsiteX1413" fmla="*/ 633650 w 899217"/>
                <a:gd name="connsiteY1413" fmla="*/ 775360 h 942137"/>
                <a:gd name="connsiteX1414" fmla="*/ 639203 w 899217"/>
                <a:gd name="connsiteY1414" fmla="*/ 779801 h 942137"/>
                <a:gd name="connsiteX1415" fmla="*/ 644857 w 899217"/>
                <a:gd name="connsiteY1415" fmla="*/ 784039 h 942137"/>
                <a:gd name="connsiteX1416" fmla="*/ 650073 w 899217"/>
                <a:gd name="connsiteY1416" fmla="*/ 789690 h 942137"/>
                <a:gd name="connsiteX1417" fmla="*/ 651386 w 899217"/>
                <a:gd name="connsiteY1417" fmla="*/ 793391 h 942137"/>
                <a:gd name="connsiteX1418" fmla="*/ 653573 w 899217"/>
                <a:gd name="connsiteY1418" fmla="*/ 796755 h 942137"/>
                <a:gd name="connsiteX1419" fmla="*/ 658150 w 899217"/>
                <a:gd name="connsiteY1419" fmla="*/ 798067 h 942137"/>
                <a:gd name="connsiteX1420" fmla="*/ 661516 w 899217"/>
                <a:gd name="connsiteY1420" fmla="*/ 798067 h 942137"/>
                <a:gd name="connsiteX1421" fmla="*/ 662828 w 899217"/>
                <a:gd name="connsiteY1421" fmla="*/ 797091 h 942137"/>
                <a:gd name="connsiteX1422" fmla="*/ 664578 w 899217"/>
                <a:gd name="connsiteY1422" fmla="*/ 793492 h 942137"/>
                <a:gd name="connsiteX1423" fmla="*/ 666530 w 899217"/>
                <a:gd name="connsiteY1423" fmla="*/ 788042 h 942137"/>
                <a:gd name="connsiteX1424" fmla="*/ 666530 w 899217"/>
                <a:gd name="connsiteY1424" fmla="*/ 784577 h 942137"/>
                <a:gd name="connsiteX1425" fmla="*/ 666530 w 899217"/>
                <a:gd name="connsiteY1425" fmla="*/ 779363 h 942137"/>
                <a:gd name="connsiteX1426" fmla="*/ 666530 w 899217"/>
                <a:gd name="connsiteY1426" fmla="*/ 775226 h 942137"/>
                <a:gd name="connsiteX1427" fmla="*/ 668213 w 899217"/>
                <a:gd name="connsiteY1427" fmla="*/ 768699 h 942137"/>
                <a:gd name="connsiteX1428" fmla="*/ 672723 w 899217"/>
                <a:gd name="connsiteY1428" fmla="*/ 766210 h 942137"/>
                <a:gd name="connsiteX1429" fmla="*/ 679252 w 899217"/>
                <a:gd name="connsiteY1429" fmla="*/ 766109 h 942137"/>
                <a:gd name="connsiteX1430" fmla="*/ 684367 w 899217"/>
                <a:gd name="connsiteY1430" fmla="*/ 771424 h 942137"/>
                <a:gd name="connsiteX1431" fmla="*/ 685814 w 899217"/>
                <a:gd name="connsiteY1431" fmla="*/ 774519 h 942137"/>
                <a:gd name="connsiteX1432" fmla="*/ 687564 w 899217"/>
                <a:gd name="connsiteY1432" fmla="*/ 780103 h 942137"/>
                <a:gd name="connsiteX1433" fmla="*/ 692713 w 899217"/>
                <a:gd name="connsiteY1433" fmla="*/ 781483 h 942137"/>
                <a:gd name="connsiteX1434" fmla="*/ 697863 w 899217"/>
                <a:gd name="connsiteY1434" fmla="*/ 781483 h 942137"/>
                <a:gd name="connsiteX1435" fmla="*/ 701699 w 899217"/>
                <a:gd name="connsiteY1435" fmla="*/ 778421 h 942137"/>
                <a:gd name="connsiteX1436" fmla="*/ 704964 w 899217"/>
                <a:gd name="connsiteY1436" fmla="*/ 775596 h 942137"/>
                <a:gd name="connsiteX1437" fmla="*/ 705334 w 899217"/>
                <a:gd name="connsiteY1437" fmla="*/ 770953 h 942137"/>
                <a:gd name="connsiteX1438" fmla="*/ 708464 w 899217"/>
                <a:gd name="connsiteY1438" fmla="*/ 767757 h 942137"/>
                <a:gd name="connsiteX1439" fmla="*/ 711223 w 899217"/>
                <a:gd name="connsiteY1439" fmla="*/ 765672 h 942137"/>
                <a:gd name="connsiteX1440" fmla="*/ 714387 w 899217"/>
                <a:gd name="connsiteY1440" fmla="*/ 767186 h 942137"/>
                <a:gd name="connsiteX1441" fmla="*/ 716137 w 899217"/>
                <a:gd name="connsiteY1441" fmla="*/ 768060 h 942137"/>
                <a:gd name="connsiteX1442" fmla="*/ 723104 w 899217"/>
                <a:gd name="connsiteY1442" fmla="*/ 768060 h 942137"/>
                <a:gd name="connsiteX1443" fmla="*/ 727748 w 899217"/>
                <a:gd name="connsiteY1443" fmla="*/ 768060 h 942137"/>
                <a:gd name="connsiteX1444" fmla="*/ 733839 w 899217"/>
                <a:gd name="connsiteY1444" fmla="*/ 766748 h 942137"/>
                <a:gd name="connsiteX1445" fmla="*/ 736162 w 899217"/>
                <a:gd name="connsiteY1445" fmla="*/ 763990 h 942137"/>
                <a:gd name="connsiteX1446" fmla="*/ 742556 w 899217"/>
                <a:gd name="connsiteY1446" fmla="*/ 758776 h 942137"/>
                <a:gd name="connsiteX1447" fmla="*/ 746897 w 899217"/>
                <a:gd name="connsiteY1447" fmla="*/ 758776 h 942137"/>
                <a:gd name="connsiteX1448" fmla="*/ 750094 w 899217"/>
                <a:gd name="connsiteY1448" fmla="*/ 753259 h 942137"/>
                <a:gd name="connsiteX1449" fmla="*/ 750094 w 899217"/>
                <a:gd name="connsiteY1449" fmla="*/ 750366 h 942137"/>
                <a:gd name="connsiteX1450" fmla="*/ 747066 w 899217"/>
                <a:gd name="connsiteY1450" fmla="*/ 746901 h 942137"/>
                <a:gd name="connsiteX1451" fmla="*/ 743734 w 899217"/>
                <a:gd name="connsiteY1451" fmla="*/ 742831 h 942137"/>
                <a:gd name="connsiteX1452" fmla="*/ 742589 w 899217"/>
                <a:gd name="connsiteY1452" fmla="*/ 736473 h 942137"/>
                <a:gd name="connsiteX1453" fmla="*/ 749825 w 899217"/>
                <a:gd name="connsiteY1453" fmla="*/ 734454 h 942137"/>
                <a:gd name="connsiteX1454" fmla="*/ 756186 w 899217"/>
                <a:gd name="connsiteY1454" fmla="*/ 731696 h 942137"/>
                <a:gd name="connsiteX1455" fmla="*/ 762850 w 899217"/>
                <a:gd name="connsiteY1455" fmla="*/ 727491 h 942137"/>
                <a:gd name="connsiteX1456" fmla="*/ 770085 w 899217"/>
                <a:gd name="connsiteY1456" fmla="*/ 722848 h 942137"/>
                <a:gd name="connsiteX1457" fmla="*/ 776480 w 899217"/>
                <a:gd name="connsiteY1457" fmla="*/ 722848 h 942137"/>
                <a:gd name="connsiteX1458" fmla="*/ 782268 w 899217"/>
                <a:gd name="connsiteY1458" fmla="*/ 728634 h 942137"/>
                <a:gd name="connsiteX1459" fmla="*/ 784288 w 899217"/>
                <a:gd name="connsiteY1459" fmla="*/ 722848 h 942137"/>
                <a:gd name="connsiteX1460" fmla="*/ 786038 w 899217"/>
                <a:gd name="connsiteY1460" fmla="*/ 723151 h 942137"/>
                <a:gd name="connsiteX1461" fmla="*/ 791826 w 899217"/>
                <a:gd name="connsiteY1461" fmla="*/ 722008 h 942137"/>
                <a:gd name="connsiteX1462" fmla="*/ 791826 w 899217"/>
                <a:gd name="connsiteY1462" fmla="*/ 713329 h 942137"/>
                <a:gd name="connsiteX1463" fmla="*/ 792802 w 899217"/>
                <a:gd name="connsiteY1463" fmla="*/ 711075 h 942137"/>
                <a:gd name="connsiteX1464" fmla="*/ 797547 w 899217"/>
                <a:gd name="connsiteY1464" fmla="*/ 713766 h 942137"/>
                <a:gd name="connsiteX1465" fmla="*/ 814745 w 899217"/>
                <a:gd name="connsiteY1465" fmla="*/ 733041 h 942137"/>
                <a:gd name="connsiteX1466" fmla="*/ 820130 w 899217"/>
                <a:gd name="connsiteY1466" fmla="*/ 733613 h 942137"/>
                <a:gd name="connsiteX1467" fmla="*/ 821072 w 899217"/>
                <a:gd name="connsiteY1467" fmla="*/ 731292 h 942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</a:cxnLst>
              <a:rect l="l" t="t" r="r" b="b"/>
              <a:pathLst>
                <a:path w="899217" h="942137">
                  <a:moveTo>
                    <a:pt x="821072" y="731292"/>
                  </a:moveTo>
                  <a:lnTo>
                    <a:pt x="824269" y="727524"/>
                  </a:lnTo>
                  <a:lnTo>
                    <a:pt x="827736" y="724934"/>
                  </a:lnTo>
                  <a:lnTo>
                    <a:pt x="831640" y="721167"/>
                  </a:lnTo>
                  <a:cubicBezTo>
                    <a:pt x="831640" y="721167"/>
                    <a:pt x="833389" y="717096"/>
                    <a:pt x="834534" y="716524"/>
                  </a:cubicBezTo>
                  <a:cubicBezTo>
                    <a:pt x="835678" y="715953"/>
                    <a:pt x="841500" y="714203"/>
                    <a:pt x="841500" y="714203"/>
                  </a:cubicBezTo>
                  <a:lnTo>
                    <a:pt x="842510" y="715953"/>
                  </a:lnTo>
                  <a:cubicBezTo>
                    <a:pt x="842510" y="715953"/>
                    <a:pt x="844092" y="715818"/>
                    <a:pt x="844529" y="715650"/>
                  </a:cubicBezTo>
                  <a:cubicBezTo>
                    <a:pt x="844967" y="715515"/>
                    <a:pt x="846279" y="712757"/>
                    <a:pt x="846279" y="712757"/>
                  </a:cubicBezTo>
                  <a:lnTo>
                    <a:pt x="844698" y="711613"/>
                  </a:lnTo>
                  <a:lnTo>
                    <a:pt x="843250" y="709864"/>
                  </a:lnTo>
                  <a:lnTo>
                    <a:pt x="843688" y="707543"/>
                  </a:lnTo>
                  <a:lnTo>
                    <a:pt x="845135" y="706399"/>
                  </a:lnTo>
                  <a:lnTo>
                    <a:pt x="849039" y="705255"/>
                  </a:lnTo>
                  <a:lnTo>
                    <a:pt x="854827" y="702497"/>
                  </a:lnTo>
                  <a:cubicBezTo>
                    <a:pt x="854827" y="702497"/>
                    <a:pt x="859304" y="699032"/>
                    <a:pt x="859909" y="699032"/>
                  </a:cubicBezTo>
                  <a:cubicBezTo>
                    <a:pt x="860482" y="699032"/>
                    <a:pt x="864116" y="696408"/>
                    <a:pt x="864116" y="696408"/>
                  </a:cubicBezTo>
                  <a:lnTo>
                    <a:pt x="865126" y="693078"/>
                  </a:lnTo>
                  <a:lnTo>
                    <a:pt x="866135" y="693078"/>
                  </a:lnTo>
                  <a:cubicBezTo>
                    <a:pt x="866135" y="693078"/>
                    <a:pt x="869602" y="694087"/>
                    <a:pt x="870208" y="694524"/>
                  </a:cubicBezTo>
                  <a:cubicBezTo>
                    <a:pt x="870780" y="694961"/>
                    <a:pt x="873540" y="697282"/>
                    <a:pt x="873540" y="697282"/>
                  </a:cubicBezTo>
                  <a:cubicBezTo>
                    <a:pt x="873540" y="697282"/>
                    <a:pt x="874852" y="698729"/>
                    <a:pt x="875996" y="699301"/>
                  </a:cubicBezTo>
                  <a:cubicBezTo>
                    <a:pt x="877140" y="699873"/>
                    <a:pt x="878891" y="700310"/>
                    <a:pt x="878891" y="700310"/>
                  </a:cubicBezTo>
                  <a:lnTo>
                    <a:pt x="881213" y="700613"/>
                  </a:lnTo>
                  <a:cubicBezTo>
                    <a:pt x="881213" y="700613"/>
                    <a:pt x="883838" y="698863"/>
                    <a:pt x="885117" y="697720"/>
                  </a:cubicBezTo>
                  <a:cubicBezTo>
                    <a:pt x="886429" y="696576"/>
                    <a:pt x="888011" y="694255"/>
                    <a:pt x="888751" y="693952"/>
                  </a:cubicBezTo>
                  <a:cubicBezTo>
                    <a:pt x="889492" y="693650"/>
                    <a:pt x="890569" y="691934"/>
                    <a:pt x="890569" y="691934"/>
                  </a:cubicBezTo>
                  <a:lnTo>
                    <a:pt x="891376" y="688032"/>
                  </a:lnTo>
                  <a:lnTo>
                    <a:pt x="891376" y="685273"/>
                  </a:lnTo>
                  <a:lnTo>
                    <a:pt x="891376" y="681203"/>
                  </a:lnTo>
                  <a:lnTo>
                    <a:pt x="891376" y="678310"/>
                  </a:lnTo>
                  <a:lnTo>
                    <a:pt x="894843" y="675282"/>
                  </a:lnTo>
                  <a:lnTo>
                    <a:pt x="894708" y="671212"/>
                  </a:lnTo>
                  <a:lnTo>
                    <a:pt x="894136" y="666872"/>
                  </a:lnTo>
                  <a:cubicBezTo>
                    <a:pt x="894136" y="666872"/>
                    <a:pt x="894574" y="663676"/>
                    <a:pt x="895146" y="663104"/>
                  </a:cubicBezTo>
                  <a:cubicBezTo>
                    <a:pt x="895718" y="662533"/>
                    <a:pt x="897905" y="659203"/>
                    <a:pt x="897905" y="659203"/>
                  </a:cubicBezTo>
                  <a:lnTo>
                    <a:pt x="899218" y="656881"/>
                  </a:lnTo>
                  <a:lnTo>
                    <a:pt x="896021" y="654123"/>
                  </a:lnTo>
                  <a:lnTo>
                    <a:pt x="891679" y="650658"/>
                  </a:lnTo>
                  <a:lnTo>
                    <a:pt x="889357" y="649952"/>
                  </a:lnTo>
                  <a:lnTo>
                    <a:pt x="889054" y="647058"/>
                  </a:lnTo>
                  <a:lnTo>
                    <a:pt x="889761" y="644603"/>
                  </a:lnTo>
                  <a:lnTo>
                    <a:pt x="890198" y="641575"/>
                  </a:lnTo>
                  <a:lnTo>
                    <a:pt x="889323" y="639389"/>
                  </a:lnTo>
                  <a:lnTo>
                    <a:pt x="886867" y="637942"/>
                  </a:lnTo>
                  <a:lnTo>
                    <a:pt x="883669" y="633737"/>
                  </a:lnTo>
                  <a:lnTo>
                    <a:pt x="881919" y="629397"/>
                  </a:lnTo>
                  <a:cubicBezTo>
                    <a:pt x="881919" y="629397"/>
                    <a:pt x="882054" y="627077"/>
                    <a:pt x="880607" y="625933"/>
                  </a:cubicBezTo>
                  <a:cubicBezTo>
                    <a:pt x="879160" y="624789"/>
                    <a:pt x="877140" y="623174"/>
                    <a:pt x="876568" y="623174"/>
                  </a:cubicBezTo>
                  <a:cubicBezTo>
                    <a:pt x="875996" y="623174"/>
                    <a:pt x="875256" y="622165"/>
                    <a:pt x="874549" y="623174"/>
                  </a:cubicBezTo>
                  <a:cubicBezTo>
                    <a:pt x="873809" y="624184"/>
                    <a:pt x="871924" y="625361"/>
                    <a:pt x="871924" y="625361"/>
                  </a:cubicBezTo>
                  <a:lnTo>
                    <a:pt x="868727" y="626942"/>
                  </a:lnTo>
                  <a:lnTo>
                    <a:pt x="867717" y="629835"/>
                  </a:lnTo>
                  <a:lnTo>
                    <a:pt x="866708" y="631854"/>
                  </a:lnTo>
                  <a:lnTo>
                    <a:pt x="865563" y="635621"/>
                  </a:lnTo>
                  <a:lnTo>
                    <a:pt x="862938" y="636193"/>
                  </a:lnTo>
                  <a:lnTo>
                    <a:pt x="860751" y="635486"/>
                  </a:lnTo>
                  <a:cubicBezTo>
                    <a:pt x="860751" y="635486"/>
                    <a:pt x="859606" y="632862"/>
                    <a:pt x="858294" y="632728"/>
                  </a:cubicBezTo>
                  <a:cubicBezTo>
                    <a:pt x="856981" y="632594"/>
                    <a:pt x="855534" y="632156"/>
                    <a:pt x="855534" y="632156"/>
                  </a:cubicBezTo>
                  <a:lnTo>
                    <a:pt x="851327" y="631854"/>
                  </a:lnTo>
                  <a:lnTo>
                    <a:pt x="847255" y="633098"/>
                  </a:lnTo>
                  <a:lnTo>
                    <a:pt x="843486" y="634040"/>
                  </a:lnTo>
                  <a:lnTo>
                    <a:pt x="841736" y="634040"/>
                  </a:lnTo>
                  <a:lnTo>
                    <a:pt x="839111" y="628960"/>
                  </a:lnTo>
                  <a:cubicBezTo>
                    <a:pt x="839111" y="628960"/>
                    <a:pt x="837226" y="627817"/>
                    <a:pt x="836789" y="627649"/>
                  </a:cubicBezTo>
                  <a:cubicBezTo>
                    <a:pt x="836351" y="627514"/>
                    <a:pt x="833154" y="628792"/>
                    <a:pt x="833154" y="628792"/>
                  </a:cubicBezTo>
                  <a:cubicBezTo>
                    <a:pt x="833154" y="628792"/>
                    <a:pt x="830832" y="631685"/>
                    <a:pt x="830697" y="632123"/>
                  </a:cubicBezTo>
                  <a:cubicBezTo>
                    <a:pt x="830563" y="632560"/>
                    <a:pt x="828072" y="634443"/>
                    <a:pt x="828072" y="634443"/>
                  </a:cubicBezTo>
                  <a:lnTo>
                    <a:pt x="826490" y="637202"/>
                  </a:lnTo>
                  <a:lnTo>
                    <a:pt x="824471" y="639523"/>
                  </a:lnTo>
                  <a:lnTo>
                    <a:pt x="822149" y="637202"/>
                  </a:lnTo>
                  <a:cubicBezTo>
                    <a:pt x="822149" y="637202"/>
                    <a:pt x="821442" y="636025"/>
                    <a:pt x="821005" y="635890"/>
                  </a:cubicBezTo>
                  <a:cubicBezTo>
                    <a:pt x="820567" y="635755"/>
                    <a:pt x="817101" y="632425"/>
                    <a:pt x="817101" y="632425"/>
                  </a:cubicBezTo>
                  <a:lnTo>
                    <a:pt x="814509" y="630979"/>
                  </a:lnTo>
                  <a:lnTo>
                    <a:pt x="811884" y="630609"/>
                  </a:lnTo>
                  <a:lnTo>
                    <a:pt x="807543" y="630542"/>
                  </a:lnTo>
                  <a:lnTo>
                    <a:pt x="803471" y="630542"/>
                  </a:lnTo>
                  <a:lnTo>
                    <a:pt x="800408" y="629532"/>
                  </a:lnTo>
                  <a:lnTo>
                    <a:pt x="797379" y="627211"/>
                  </a:lnTo>
                  <a:lnTo>
                    <a:pt x="793980" y="624453"/>
                  </a:lnTo>
                  <a:lnTo>
                    <a:pt x="792163" y="622703"/>
                  </a:lnTo>
                  <a:lnTo>
                    <a:pt x="792163" y="620988"/>
                  </a:lnTo>
                  <a:lnTo>
                    <a:pt x="793913" y="619844"/>
                  </a:lnTo>
                  <a:lnTo>
                    <a:pt x="795360" y="618263"/>
                  </a:lnTo>
                  <a:lnTo>
                    <a:pt x="796672" y="617119"/>
                  </a:lnTo>
                  <a:lnTo>
                    <a:pt x="798557" y="616110"/>
                  </a:lnTo>
                  <a:lnTo>
                    <a:pt x="800004" y="613352"/>
                  </a:lnTo>
                  <a:lnTo>
                    <a:pt x="800307" y="611030"/>
                  </a:lnTo>
                  <a:lnTo>
                    <a:pt x="799297" y="608709"/>
                  </a:lnTo>
                  <a:lnTo>
                    <a:pt x="796975" y="606960"/>
                  </a:lnTo>
                  <a:lnTo>
                    <a:pt x="797278" y="601174"/>
                  </a:lnTo>
                  <a:lnTo>
                    <a:pt x="797985" y="597406"/>
                  </a:lnTo>
                  <a:lnTo>
                    <a:pt x="794350" y="591889"/>
                  </a:lnTo>
                  <a:lnTo>
                    <a:pt x="789134" y="588862"/>
                  </a:lnTo>
                  <a:cubicBezTo>
                    <a:pt x="789134" y="588862"/>
                    <a:pt x="783917" y="586843"/>
                    <a:pt x="783480" y="586541"/>
                  </a:cubicBezTo>
                  <a:cubicBezTo>
                    <a:pt x="783042" y="586238"/>
                    <a:pt x="776682" y="588122"/>
                    <a:pt x="776682" y="588122"/>
                  </a:cubicBezTo>
                  <a:lnTo>
                    <a:pt x="772340" y="588256"/>
                  </a:lnTo>
                  <a:cubicBezTo>
                    <a:pt x="772340" y="588256"/>
                    <a:pt x="768436" y="589266"/>
                    <a:pt x="767864" y="589266"/>
                  </a:cubicBezTo>
                  <a:cubicBezTo>
                    <a:pt x="767292" y="589266"/>
                    <a:pt x="766114" y="589703"/>
                    <a:pt x="765542" y="589131"/>
                  </a:cubicBezTo>
                  <a:cubicBezTo>
                    <a:pt x="764970" y="588559"/>
                    <a:pt x="762648" y="586911"/>
                    <a:pt x="762075" y="586507"/>
                  </a:cubicBezTo>
                  <a:cubicBezTo>
                    <a:pt x="761503" y="586104"/>
                    <a:pt x="760191" y="585666"/>
                    <a:pt x="759450" y="585363"/>
                  </a:cubicBezTo>
                  <a:cubicBezTo>
                    <a:pt x="758710" y="585061"/>
                    <a:pt x="758878" y="585666"/>
                    <a:pt x="756119" y="585363"/>
                  </a:cubicBezTo>
                  <a:cubicBezTo>
                    <a:pt x="753359" y="585061"/>
                    <a:pt x="752046" y="585935"/>
                    <a:pt x="752046" y="585935"/>
                  </a:cubicBezTo>
                  <a:lnTo>
                    <a:pt x="748075" y="588694"/>
                  </a:lnTo>
                  <a:lnTo>
                    <a:pt x="746998" y="592764"/>
                  </a:lnTo>
                  <a:lnTo>
                    <a:pt x="746998" y="600165"/>
                  </a:lnTo>
                  <a:lnTo>
                    <a:pt x="741041" y="599290"/>
                  </a:lnTo>
                  <a:lnTo>
                    <a:pt x="738888" y="594648"/>
                  </a:lnTo>
                  <a:lnTo>
                    <a:pt x="735253" y="591183"/>
                  </a:lnTo>
                  <a:lnTo>
                    <a:pt x="732056" y="588727"/>
                  </a:lnTo>
                  <a:cubicBezTo>
                    <a:pt x="732056" y="588727"/>
                    <a:pt x="730171" y="586709"/>
                    <a:pt x="730036" y="586104"/>
                  </a:cubicBezTo>
                  <a:cubicBezTo>
                    <a:pt x="729902" y="585531"/>
                    <a:pt x="727849" y="582470"/>
                    <a:pt x="727849" y="582470"/>
                  </a:cubicBezTo>
                  <a:cubicBezTo>
                    <a:pt x="727849" y="582470"/>
                    <a:pt x="726536" y="579140"/>
                    <a:pt x="726671" y="578568"/>
                  </a:cubicBezTo>
                  <a:cubicBezTo>
                    <a:pt x="726805" y="577996"/>
                    <a:pt x="727849" y="575675"/>
                    <a:pt x="727849" y="575675"/>
                  </a:cubicBezTo>
                  <a:lnTo>
                    <a:pt x="726099" y="572479"/>
                  </a:lnTo>
                  <a:lnTo>
                    <a:pt x="726099" y="570595"/>
                  </a:lnTo>
                  <a:cubicBezTo>
                    <a:pt x="726099" y="570595"/>
                    <a:pt x="724349" y="569586"/>
                    <a:pt x="724349" y="569149"/>
                  </a:cubicBezTo>
                  <a:cubicBezTo>
                    <a:pt x="724349" y="568712"/>
                    <a:pt x="724349" y="567131"/>
                    <a:pt x="724349" y="567131"/>
                  </a:cubicBezTo>
                  <a:cubicBezTo>
                    <a:pt x="724349" y="567131"/>
                    <a:pt x="724853" y="564675"/>
                    <a:pt x="724988" y="564238"/>
                  </a:cubicBezTo>
                  <a:cubicBezTo>
                    <a:pt x="725123" y="563800"/>
                    <a:pt x="726065" y="562219"/>
                    <a:pt x="726065" y="561647"/>
                  </a:cubicBezTo>
                  <a:cubicBezTo>
                    <a:pt x="726065" y="561076"/>
                    <a:pt x="726065" y="558452"/>
                    <a:pt x="726065" y="558452"/>
                  </a:cubicBezTo>
                  <a:lnTo>
                    <a:pt x="726772" y="556871"/>
                  </a:lnTo>
                  <a:cubicBezTo>
                    <a:pt x="726772" y="556871"/>
                    <a:pt x="728656" y="555996"/>
                    <a:pt x="729094" y="555424"/>
                  </a:cubicBezTo>
                  <a:cubicBezTo>
                    <a:pt x="729531" y="554852"/>
                    <a:pt x="729666" y="554987"/>
                    <a:pt x="730407" y="554415"/>
                  </a:cubicBezTo>
                  <a:cubicBezTo>
                    <a:pt x="731113" y="553843"/>
                    <a:pt x="734546" y="552834"/>
                    <a:pt x="734546" y="552834"/>
                  </a:cubicBezTo>
                  <a:lnTo>
                    <a:pt x="732291" y="550075"/>
                  </a:lnTo>
                  <a:lnTo>
                    <a:pt x="732796" y="545870"/>
                  </a:lnTo>
                  <a:cubicBezTo>
                    <a:pt x="732796" y="545870"/>
                    <a:pt x="734108" y="541733"/>
                    <a:pt x="734546" y="540858"/>
                  </a:cubicBezTo>
                  <a:cubicBezTo>
                    <a:pt x="734983" y="539983"/>
                    <a:pt x="735421" y="538470"/>
                    <a:pt x="736498" y="537595"/>
                  </a:cubicBezTo>
                  <a:cubicBezTo>
                    <a:pt x="737575" y="536721"/>
                    <a:pt x="740200" y="535409"/>
                    <a:pt x="741950" y="534332"/>
                  </a:cubicBezTo>
                  <a:cubicBezTo>
                    <a:pt x="743700" y="533256"/>
                    <a:pt x="746089" y="530632"/>
                    <a:pt x="746089" y="530632"/>
                  </a:cubicBezTo>
                  <a:lnTo>
                    <a:pt x="746965" y="528041"/>
                  </a:lnTo>
                  <a:lnTo>
                    <a:pt x="747604" y="521953"/>
                  </a:lnTo>
                  <a:lnTo>
                    <a:pt x="746291" y="520203"/>
                  </a:lnTo>
                  <a:lnTo>
                    <a:pt x="744541" y="516940"/>
                  </a:lnTo>
                  <a:cubicBezTo>
                    <a:pt x="744541" y="516940"/>
                    <a:pt x="741714" y="511928"/>
                    <a:pt x="741512" y="510852"/>
                  </a:cubicBezTo>
                  <a:cubicBezTo>
                    <a:pt x="741311" y="509775"/>
                    <a:pt x="743027" y="509540"/>
                    <a:pt x="743902" y="509540"/>
                  </a:cubicBezTo>
                  <a:cubicBezTo>
                    <a:pt x="744777" y="509540"/>
                    <a:pt x="748243" y="510852"/>
                    <a:pt x="749994" y="511726"/>
                  </a:cubicBezTo>
                  <a:cubicBezTo>
                    <a:pt x="751744" y="512601"/>
                    <a:pt x="753258" y="508900"/>
                    <a:pt x="753258" y="508900"/>
                  </a:cubicBezTo>
                  <a:lnTo>
                    <a:pt x="756085" y="507387"/>
                  </a:lnTo>
                  <a:cubicBezTo>
                    <a:pt x="756085" y="507387"/>
                    <a:pt x="758273" y="506075"/>
                    <a:pt x="759114" y="505436"/>
                  </a:cubicBezTo>
                  <a:cubicBezTo>
                    <a:pt x="759989" y="504796"/>
                    <a:pt x="761503" y="504359"/>
                    <a:pt x="761503" y="504359"/>
                  </a:cubicBezTo>
                  <a:cubicBezTo>
                    <a:pt x="761503" y="504359"/>
                    <a:pt x="763455" y="501332"/>
                    <a:pt x="764768" y="500221"/>
                  </a:cubicBezTo>
                  <a:cubicBezTo>
                    <a:pt x="766080" y="499145"/>
                    <a:pt x="765845" y="498035"/>
                    <a:pt x="766080" y="497396"/>
                  </a:cubicBezTo>
                  <a:cubicBezTo>
                    <a:pt x="766282" y="496757"/>
                    <a:pt x="766282" y="493258"/>
                    <a:pt x="766282" y="493258"/>
                  </a:cubicBezTo>
                  <a:lnTo>
                    <a:pt x="766484" y="490634"/>
                  </a:lnTo>
                  <a:lnTo>
                    <a:pt x="763455" y="488044"/>
                  </a:lnTo>
                  <a:cubicBezTo>
                    <a:pt x="763455" y="488044"/>
                    <a:pt x="758676" y="488044"/>
                    <a:pt x="757801" y="488044"/>
                  </a:cubicBezTo>
                  <a:cubicBezTo>
                    <a:pt x="756926" y="488044"/>
                    <a:pt x="753897" y="488380"/>
                    <a:pt x="751710" y="489019"/>
                  </a:cubicBezTo>
                  <a:cubicBezTo>
                    <a:pt x="749522" y="489659"/>
                    <a:pt x="747133" y="488683"/>
                    <a:pt x="747133" y="488683"/>
                  </a:cubicBezTo>
                  <a:lnTo>
                    <a:pt x="746493" y="486295"/>
                  </a:lnTo>
                  <a:cubicBezTo>
                    <a:pt x="746493" y="486295"/>
                    <a:pt x="743902" y="481955"/>
                    <a:pt x="742589" y="480441"/>
                  </a:cubicBezTo>
                  <a:cubicBezTo>
                    <a:pt x="741277" y="478927"/>
                    <a:pt x="739763" y="477414"/>
                    <a:pt x="739763" y="477414"/>
                  </a:cubicBezTo>
                  <a:lnTo>
                    <a:pt x="738248" y="475463"/>
                  </a:lnTo>
                  <a:lnTo>
                    <a:pt x="738686" y="470955"/>
                  </a:lnTo>
                  <a:cubicBezTo>
                    <a:pt x="738686" y="470955"/>
                    <a:pt x="740637" y="468533"/>
                    <a:pt x="741075" y="467658"/>
                  </a:cubicBezTo>
                  <a:cubicBezTo>
                    <a:pt x="741512" y="466784"/>
                    <a:pt x="740873" y="463319"/>
                    <a:pt x="740873" y="463319"/>
                  </a:cubicBezTo>
                  <a:lnTo>
                    <a:pt x="738248" y="461368"/>
                  </a:lnTo>
                  <a:lnTo>
                    <a:pt x="734983" y="462242"/>
                  </a:lnTo>
                  <a:cubicBezTo>
                    <a:pt x="734983" y="462242"/>
                    <a:pt x="733032" y="464193"/>
                    <a:pt x="732359" y="464429"/>
                  </a:cubicBezTo>
                  <a:cubicBezTo>
                    <a:pt x="731719" y="464631"/>
                    <a:pt x="730171" y="465943"/>
                    <a:pt x="729330" y="465943"/>
                  </a:cubicBezTo>
                  <a:cubicBezTo>
                    <a:pt x="728454" y="465943"/>
                    <a:pt x="723911" y="468567"/>
                    <a:pt x="724315" y="466582"/>
                  </a:cubicBezTo>
                  <a:cubicBezTo>
                    <a:pt x="724753" y="464631"/>
                    <a:pt x="726940" y="461805"/>
                    <a:pt x="726940" y="461805"/>
                  </a:cubicBezTo>
                  <a:lnTo>
                    <a:pt x="727579" y="455716"/>
                  </a:lnTo>
                  <a:lnTo>
                    <a:pt x="724315" y="454404"/>
                  </a:lnTo>
                  <a:cubicBezTo>
                    <a:pt x="724315" y="454404"/>
                    <a:pt x="721690" y="454606"/>
                    <a:pt x="721488" y="453765"/>
                  </a:cubicBezTo>
                  <a:cubicBezTo>
                    <a:pt x="721286" y="452890"/>
                    <a:pt x="717786" y="448551"/>
                    <a:pt x="717786" y="448551"/>
                  </a:cubicBezTo>
                  <a:cubicBezTo>
                    <a:pt x="717786" y="448551"/>
                    <a:pt x="714084" y="446802"/>
                    <a:pt x="713647" y="446162"/>
                  </a:cubicBezTo>
                  <a:cubicBezTo>
                    <a:pt x="713209" y="445523"/>
                    <a:pt x="713209" y="442025"/>
                    <a:pt x="713209" y="441150"/>
                  </a:cubicBezTo>
                  <a:cubicBezTo>
                    <a:pt x="713209" y="440276"/>
                    <a:pt x="713849" y="439401"/>
                    <a:pt x="713849" y="439401"/>
                  </a:cubicBezTo>
                  <a:lnTo>
                    <a:pt x="717550" y="437013"/>
                  </a:lnTo>
                  <a:lnTo>
                    <a:pt x="720579" y="435499"/>
                  </a:lnTo>
                  <a:lnTo>
                    <a:pt x="724281" y="435701"/>
                  </a:lnTo>
                  <a:lnTo>
                    <a:pt x="726469" y="434187"/>
                  </a:lnTo>
                  <a:lnTo>
                    <a:pt x="727108" y="429410"/>
                  </a:lnTo>
                  <a:lnTo>
                    <a:pt x="727748" y="424633"/>
                  </a:lnTo>
                  <a:lnTo>
                    <a:pt x="727748" y="418107"/>
                  </a:lnTo>
                  <a:lnTo>
                    <a:pt x="727512" y="413969"/>
                  </a:lnTo>
                  <a:lnTo>
                    <a:pt x="729262" y="410505"/>
                  </a:lnTo>
                  <a:lnTo>
                    <a:pt x="730777" y="408553"/>
                  </a:lnTo>
                  <a:lnTo>
                    <a:pt x="731854" y="406804"/>
                  </a:lnTo>
                  <a:lnTo>
                    <a:pt x="733368" y="404214"/>
                  </a:lnTo>
                  <a:lnTo>
                    <a:pt x="734883" y="401825"/>
                  </a:lnTo>
                  <a:cubicBezTo>
                    <a:pt x="734883" y="401825"/>
                    <a:pt x="736195" y="398125"/>
                    <a:pt x="736633" y="396376"/>
                  </a:cubicBezTo>
                  <a:cubicBezTo>
                    <a:pt x="737070" y="394627"/>
                    <a:pt x="737070" y="391162"/>
                    <a:pt x="737070" y="391162"/>
                  </a:cubicBezTo>
                  <a:lnTo>
                    <a:pt x="739022" y="386587"/>
                  </a:lnTo>
                  <a:cubicBezTo>
                    <a:pt x="739022" y="386587"/>
                    <a:pt x="740974" y="383761"/>
                    <a:pt x="741647" y="382886"/>
                  </a:cubicBezTo>
                  <a:cubicBezTo>
                    <a:pt x="742287" y="382012"/>
                    <a:pt x="742724" y="380498"/>
                    <a:pt x="742724" y="380498"/>
                  </a:cubicBezTo>
                  <a:cubicBezTo>
                    <a:pt x="742724" y="380498"/>
                    <a:pt x="747066" y="377672"/>
                    <a:pt x="747503" y="376966"/>
                  </a:cubicBezTo>
                  <a:cubicBezTo>
                    <a:pt x="747941" y="376259"/>
                    <a:pt x="748580" y="374409"/>
                    <a:pt x="748580" y="374409"/>
                  </a:cubicBezTo>
                  <a:cubicBezTo>
                    <a:pt x="748580" y="374409"/>
                    <a:pt x="752484" y="368993"/>
                    <a:pt x="752921" y="368119"/>
                  </a:cubicBezTo>
                  <a:cubicBezTo>
                    <a:pt x="753359" y="367244"/>
                    <a:pt x="753561" y="365730"/>
                    <a:pt x="753561" y="365730"/>
                  </a:cubicBezTo>
                  <a:cubicBezTo>
                    <a:pt x="753561" y="365730"/>
                    <a:pt x="753561" y="365730"/>
                    <a:pt x="754873" y="363981"/>
                  </a:cubicBezTo>
                  <a:cubicBezTo>
                    <a:pt x="756186" y="362232"/>
                    <a:pt x="755950" y="358767"/>
                    <a:pt x="755950" y="358128"/>
                  </a:cubicBezTo>
                  <a:cubicBezTo>
                    <a:pt x="755950" y="357488"/>
                    <a:pt x="754873" y="355537"/>
                    <a:pt x="754873" y="355537"/>
                  </a:cubicBezTo>
                  <a:lnTo>
                    <a:pt x="750296" y="351635"/>
                  </a:lnTo>
                  <a:lnTo>
                    <a:pt x="750296" y="344907"/>
                  </a:lnTo>
                  <a:lnTo>
                    <a:pt x="745517" y="341005"/>
                  </a:lnTo>
                  <a:lnTo>
                    <a:pt x="743565" y="339054"/>
                  </a:lnTo>
                  <a:cubicBezTo>
                    <a:pt x="743565" y="339054"/>
                    <a:pt x="741176" y="338415"/>
                    <a:pt x="740099" y="337742"/>
                  </a:cubicBezTo>
                  <a:cubicBezTo>
                    <a:pt x="739022" y="337103"/>
                    <a:pt x="736397" y="335993"/>
                    <a:pt x="736397" y="335993"/>
                  </a:cubicBezTo>
                  <a:lnTo>
                    <a:pt x="736397" y="333806"/>
                  </a:lnTo>
                  <a:lnTo>
                    <a:pt x="738147" y="332494"/>
                  </a:lnTo>
                  <a:lnTo>
                    <a:pt x="738147" y="328794"/>
                  </a:lnTo>
                  <a:cubicBezTo>
                    <a:pt x="738147" y="328794"/>
                    <a:pt x="737373" y="326204"/>
                    <a:pt x="737171" y="325531"/>
                  </a:cubicBezTo>
                  <a:cubicBezTo>
                    <a:pt x="736969" y="324892"/>
                    <a:pt x="734883" y="323142"/>
                    <a:pt x="734883" y="323142"/>
                  </a:cubicBezTo>
                  <a:cubicBezTo>
                    <a:pt x="734883" y="323142"/>
                    <a:pt x="731854" y="322066"/>
                    <a:pt x="730743" y="322066"/>
                  </a:cubicBezTo>
                  <a:cubicBezTo>
                    <a:pt x="729666" y="322066"/>
                    <a:pt x="728993" y="321864"/>
                    <a:pt x="728993" y="321864"/>
                  </a:cubicBezTo>
                  <a:lnTo>
                    <a:pt x="727041" y="323613"/>
                  </a:lnTo>
                  <a:lnTo>
                    <a:pt x="725527" y="324252"/>
                  </a:lnTo>
                  <a:lnTo>
                    <a:pt x="724214" y="325564"/>
                  </a:lnTo>
                  <a:lnTo>
                    <a:pt x="724214" y="326876"/>
                  </a:lnTo>
                  <a:cubicBezTo>
                    <a:pt x="724214" y="326876"/>
                    <a:pt x="723339" y="328188"/>
                    <a:pt x="723137" y="328827"/>
                  </a:cubicBezTo>
                  <a:cubicBezTo>
                    <a:pt x="722935" y="329467"/>
                    <a:pt x="722498" y="330139"/>
                    <a:pt x="722060" y="330779"/>
                  </a:cubicBezTo>
                  <a:cubicBezTo>
                    <a:pt x="721623" y="331418"/>
                    <a:pt x="719469" y="333167"/>
                    <a:pt x="719469" y="333167"/>
                  </a:cubicBezTo>
                  <a:lnTo>
                    <a:pt x="716002" y="334681"/>
                  </a:lnTo>
                  <a:lnTo>
                    <a:pt x="714488" y="335320"/>
                  </a:lnTo>
                  <a:cubicBezTo>
                    <a:pt x="714488" y="335320"/>
                    <a:pt x="710584" y="335320"/>
                    <a:pt x="709911" y="335118"/>
                  </a:cubicBezTo>
                  <a:cubicBezTo>
                    <a:pt x="709271" y="334916"/>
                    <a:pt x="707723" y="335118"/>
                    <a:pt x="707723" y="335118"/>
                  </a:cubicBezTo>
                  <a:cubicBezTo>
                    <a:pt x="707723" y="335118"/>
                    <a:pt x="703584" y="335118"/>
                    <a:pt x="702709" y="335118"/>
                  </a:cubicBezTo>
                  <a:cubicBezTo>
                    <a:pt x="701834" y="335118"/>
                    <a:pt x="700319" y="334916"/>
                    <a:pt x="700319" y="334916"/>
                  </a:cubicBezTo>
                  <a:lnTo>
                    <a:pt x="698367" y="335118"/>
                  </a:lnTo>
                  <a:lnTo>
                    <a:pt x="697930" y="336632"/>
                  </a:lnTo>
                  <a:cubicBezTo>
                    <a:pt x="697930" y="336632"/>
                    <a:pt x="696853" y="337069"/>
                    <a:pt x="696180" y="338146"/>
                  </a:cubicBezTo>
                  <a:cubicBezTo>
                    <a:pt x="695540" y="339222"/>
                    <a:pt x="695103" y="339660"/>
                    <a:pt x="694867" y="340332"/>
                  </a:cubicBezTo>
                  <a:cubicBezTo>
                    <a:pt x="694632" y="340971"/>
                    <a:pt x="694228" y="342283"/>
                    <a:pt x="693790" y="343158"/>
                  </a:cubicBezTo>
                  <a:cubicBezTo>
                    <a:pt x="693353" y="344033"/>
                    <a:pt x="692040" y="343797"/>
                    <a:pt x="692040" y="343797"/>
                  </a:cubicBezTo>
                  <a:lnTo>
                    <a:pt x="686824" y="343797"/>
                  </a:lnTo>
                  <a:lnTo>
                    <a:pt x="683357" y="343797"/>
                  </a:lnTo>
                  <a:lnTo>
                    <a:pt x="678578" y="343797"/>
                  </a:lnTo>
                  <a:lnTo>
                    <a:pt x="673362" y="342922"/>
                  </a:lnTo>
                  <a:lnTo>
                    <a:pt x="669021" y="340736"/>
                  </a:lnTo>
                  <a:lnTo>
                    <a:pt x="666631" y="337910"/>
                  </a:lnTo>
                  <a:lnTo>
                    <a:pt x="663367" y="331821"/>
                  </a:lnTo>
                  <a:lnTo>
                    <a:pt x="660203" y="328996"/>
                  </a:lnTo>
                  <a:lnTo>
                    <a:pt x="660001" y="326607"/>
                  </a:lnTo>
                  <a:cubicBezTo>
                    <a:pt x="660001" y="326607"/>
                    <a:pt x="660641" y="323445"/>
                    <a:pt x="660641" y="322705"/>
                  </a:cubicBezTo>
                  <a:cubicBezTo>
                    <a:pt x="660641" y="321931"/>
                    <a:pt x="660741" y="319106"/>
                    <a:pt x="660741" y="319106"/>
                  </a:cubicBezTo>
                  <a:lnTo>
                    <a:pt x="661179" y="315203"/>
                  </a:lnTo>
                  <a:lnTo>
                    <a:pt x="661381" y="312916"/>
                  </a:lnTo>
                  <a:lnTo>
                    <a:pt x="662020" y="310427"/>
                  </a:lnTo>
                  <a:cubicBezTo>
                    <a:pt x="662020" y="310427"/>
                    <a:pt x="662559" y="309888"/>
                    <a:pt x="662895" y="309787"/>
                  </a:cubicBezTo>
                  <a:cubicBezTo>
                    <a:pt x="663232" y="309686"/>
                    <a:pt x="663535" y="308812"/>
                    <a:pt x="663535" y="308812"/>
                  </a:cubicBezTo>
                  <a:lnTo>
                    <a:pt x="664847" y="307500"/>
                  </a:lnTo>
                  <a:lnTo>
                    <a:pt x="665924" y="305549"/>
                  </a:lnTo>
                  <a:lnTo>
                    <a:pt x="666160" y="302622"/>
                  </a:lnTo>
                  <a:lnTo>
                    <a:pt x="665083" y="301209"/>
                  </a:lnTo>
                  <a:lnTo>
                    <a:pt x="665083" y="299460"/>
                  </a:lnTo>
                  <a:lnTo>
                    <a:pt x="665689" y="296971"/>
                  </a:lnTo>
                  <a:lnTo>
                    <a:pt x="666597" y="295356"/>
                  </a:lnTo>
                  <a:cubicBezTo>
                    <a:pt x="666597" y="295356"/>
                    <a:pt x="667136" y="292968"/>
                    <a:pt x="667136" y="292631"/>
                  </a:cubicBezTo>
                  <a:cubicBezTo>
                    <a:pt x="667136" y="292295"/>
                    <a:pt x="666698" y="290243"/>
                    <a:pt x="666698" y="290243"/>
                  </a:cubicBezTo>
                  <a:lnTo>
                    <a:pt x="665487" y="287215"/>
                  </a:lnTo>
                  <a:lnTo>
                    <a:pt x="662222" y="285365"/>
                  </a:lnTo>
                  <a:lnTo>
                    <a:pt x="660809" y="285567"/>
                  </a:lnTo>
                  <a:cubicBezTo>
                    <a:pt x="660809" y="285567"/>
                    <a:pt x="659631" y="286004"/>
                    <a:pt x="659092" y="286206"/>
                  </a:cubicBezTo>
                  <a:cubicBezTo>
                    <a:pt x="658554" y="286408"/>
                    <a:pt x="658217" y="287081"/>
                    <a:pt x="658217" y="287081"/>
                  </a:cubicBezTo>
                  <a:lnTo>
                    <a:pt x="655054" y="288595"/>
                  </a:lnTo>
                  <a:lnTo>
                    <a:pt x="652227" y="288157"/>
                  </a:lnTo>
                  <a:lnTo>
                    <a:pt x="651150" y="284692"/>
                  </a:lnTo>
                  <a:lnTo>
                    <a:pt x="651789" y="282943"/>
                  </a:lnTo>
                  <a:lnTo>
                    <a:pt x="656568" y="281631"/>
                  </a:lnTo>
                  <a:lnTo>
                    <a:pt x="656770" y="280555"/>
                  </a:lnTo>
                  <a:lnTo>
                    <a:pt x="656333" y="278603"/>
                  </a:lnTo>
                  <a:lnTo>
                    <a:pt x="656333" y="272515"/>
                  </a:lnTo>
                  <a:lnTo>
                    <a:pt x="660573" y="271640"/>
                  </a:lnTo>
                  <a:lnTo>
                    <a:pt x="663501" y="267301"/>
                  </a:lnTo>
                  <a:cubicBezTo>
                    <a:pt x="663501" y="267301"/>
                    <a:pt x="668179" y="265114"/>
                    <a:pt x="668280" y="264710"/>
                  </a:cubicBezTo>
                  <a:cubicBezTo>
                    <a:pt x="668381" y="264273"/>
                    <a:pt x="669357" y="262759"/>
                    <a:pt x="669357" y="262759"/>
                  </a:cubicBezTo>
                  <a:lnTo>
                    <a:pt x="670434" y="261246"/>
                  </a:lnTo>
                  <a:lnTo>
                    <a:pt x="673160" y="258521"/>
                  </a:lnTo>
                  <a:cubicBezTo>
                    <a:pt x="673160" y="258521"/>
                    <a:pt x="674675" y="257209"/>
                    <a:pt x="675112" y="257007"/>
                  </a:cubicBezTo>
                  <a:cubicBezTo>
                    <a:pt x="675550" y="256805"/>
                    <a:pt x="676290" y="256031"/>
                    <a:pt x="676290" y="256031"/>
                  </a:cubicBezTo>
                  <a:lnTo>
                    <a:pt x="678242" y="254417"/>
                  </a:lnTo>
                  <a:lnTo>
                    <a:pt x="680093" y="251927"/>
                  </a:lnTo>
                  <a:cubicBezTo>
                    <a:pt x="680093" y="251927"/>
                    <a:pt x="680968" y="249202"/>
                    <a:pt x="681069" y="248664"/>
                  </a:cubicBezTo>
                  <a:lnTo>
                    <a:pt x="683256" y="244628"/>
                  </a:lnTo>
                  <a:cubicBezTo>
                    <a:pt x="683256" y="244628"/>
                    <a:pt x="684030" y="242340"/>
                    <a:pt x="684233" y="241701"/>
                  </a:cubicBezTo>
                  <a:cubicBezTo>
                    <a:pt x="684434" y="241062"/>
                    <a:pt x="685444" y="239649"/>
                    <a:pt x="685444" y="239649"/>
                  </a:cubicBezTo>
                  <a:cubicBezTo>
                    <a:pt x="685444" y="239649"/>
                    <a:pt x="685781" y="238572"/>
                    <a:pt x="686420" y="238438"/>
                  </a:cubicBezTo>
                  <a:cubicBezTo>
                    <a:pt x="687059" y="238337"/>
                    <a:pt x="688069" y="238438"/>
                    <a:pt x="688372" y="238539"/>
                  </a:cubicBezTo>
                  <a:cubicBezTo>
                    <a:pt x="688708" y="238640"/>
                    <a:pt x="689348" y="240389"/>
                    <a:pt x="689348" y="240389"/>
                  </a:cubicBezTo>
                  <a:lnTo>
                    <a:pt x="689348" y="242340"/>
                  </a:lnTo>
                  <a:lnTo>
                    <a:pt x="690391" y="242878"/>
                  </a:lnTo>
                  <a:cubicBezTo>
                    <a:pt x="690391" y="242878"/>
                    <a:pt x="691771" y="242676"/>
                    <a:pt x="692175" y="242676"/>
                  </a:cubicBezTo>
                  <a:cubicBezTo>
                    <a:pt x="692612" y="242676"/>
                    <a:pt x="694127" y="243013"/>
                    <a:pt x="694127" y="243013"/>
                  </a:cubicBezTo>
                  <a:lnTo>
                    <a:pt x="695978" y="244964"/>
                  </a:lnTo>
                  <a:lnTo>
                    <a:pt x="696214" y="246141"/>
                  </a:lnTo>
                  <a:lnTo>
                    <a:pt x="698266" y="248092"/>
                  </a:lnTo>
                  <a:cubicBezTo>
                    <a:pt x="698266" y="248092"/>
                    <a:pt x="700319" y="250582"/>
                    <a:pt x="700656" y="251019"/>
                  </a:cubicBezTo>
                  <a:cubicBezTo>
                    <a:pt x="700992" y="251456"/>
                    <a:pt x="702271" y="253307"/>
                    <a:pt x="702944" y="253845"/>
                  </a:cubicBezTo>
                  <a:cubicBezTo>
                    <a:pt x="703584" y="254383"/>
                    <a:pt x="705973" y="256771"/>
                    <a:pt x="706108" y="257209"/>
                  </a:cubicBezTo>
                  <a:cubicBezTo>
                    <a:pt x="706209" y="257646"/>
                    <a:pt x="708060" y="259294"/>
                    <a:pt x="708598" y="259698"/>
                  </a:cubicBezTo>
                  <a:cubicBezTo>
                    <a:pt x="709137" y="260135"/>
                    <a:pt x="711089" y="262087"/>
                    <a:pt x="711089" y="262087"/>
                  </a:cubicBezTo>
                  <a:lnTo>
                    <a:pt x="714151" y="262087"/>
                  </a:lnTo>
                  <a:lnTo>
                    <a:pt x="717517" y="260337"/>
                  </a:lnTo>
                  <a:lnTo>
                    <a:pt x="719132" y="257848"/>
                  </a:lnTo>
                  <a:lnTo>
                    <a:pt x="722397" y="254820"/>
                  </a:lnTo>
                  <a:cubicBezTo>
                    <a:pt x="722397" y="254820"/>
                    <a:pt x="725022" y="253206"/>
                    <a:pt x="725661" y="252768"/>
                  </a:cubicBezTo>
                  <a:cubicBezTo>
                    <a:pt x="726301" y="252331"/>
                    <a:pt x="728253" y="247554"/>
                    <a:pt x="728253" y="247554"/>
                  </a:cubicBezTo>
                  <a:cubicBezTo>
                    <a:pt x="728253" y="247554"/>
                    <a:pt x="729027" y="245502"/>
                    <a:pt x="729128" y="245166"/>
                  </a:cubicBezTo>
                  <a:cubicBezTo>
                    <a:pt x="729229" y="244829"/>
                    <a:pt x="731416" y="242542"/>
                    <a:pt x="731416" y="242542"/>
                  </a:cubicBezTo>
                  <a:lnTo>
                    <a:pt x="733806" y="241465"/>
                  </a:lnTo>
                  <a:cubicBezTo>
                    <a:pt x="733806" y="241465"/>
                    <a:pt x="736532" y="243215"/>
                    <a:pt x="737609" y="243417"/>
                  </a:cubicBezTo>
                  <a:cubicBezTo>
                    <a:pt x="738686" y="243618"/>
                    <a:pt x="739897" y="245166"/>
                    <a:pt x="739897" y="245166"/>
                  </a:cubicBezTo>
                  <a:lnTo>
                    <a:pt x="743162" y="248530"/>
                  </a:lnTo>
                  <a:cubicBezTo>
                    <a:pt x="743162" y="248530"/>
                    <a:pt x="743599" y="249943"/>
                    <a:pt x="743599" y="250380"/>
                  </a:cubicBezTo>
                  <a:cubicBezTo>
                    <a:pt x="743599" y="250817"/>
                    <a:pt x="743599" y="251692"/>
                    <a:pt x="743263" y="252566"/>
                  </a:cubicBezTo>
                  <a:cubicBezTo>
                    <a:pt x="742926" y="253441"/>
                    <a:pt x="743263" y="254955"/>
                    <a:pt x="743363" y="255729"/>
                  </a:cubicBezTo>
                  <a:cubicBezTo>
                    <a:pt x="743465" y="256502"/>
                    <a:pt x="744777" y="257141"/>
                    <a:pt x="745854" y="258353"/>
                  </a:cubicBezTo>
                  <a:cubicBezTo>
                    <a:pt x="746931" y="259530"/>
                    <a:pt x="748041" y="259126"/>
                    <a:pt x="748041" y="259126"/>
                  </a:cubicBezTo>
                  <a:lnTo>
                    <a:pt x="749892" y="258689"/>
                  </a:lnTo>
                  <a:lnTo>
                    <a:pt x="753258" y="257074"/>
                  </a:lnTo>
                  <a:lnTo>
                    <a:pt x="756287" y="256872"/>
                  </a:lnTo>
                  <a:cubicBezTo>
                    <a:pt x="756287" y="256872"/>
                    <a:pt x="763018" y="256771"/>
                    <a:pt x="763893" y="256536"/>
                  </a:cubicBezTo>
                  <a:cubicBezTo>
                    <a:pt x="764768" y="256334"/>
                    <a:pt x="769109" y="256536"/>
                    <a:pt x="769446" y="256536"/>
                  </a:cubicBezTo>
                  <a:cubicBezTo>
                    <a:pt x="769782" y="256536"/>
                    <a:pt x="773047" y="258285"/>
                    <a:pt x="773484" y="258285"/>
                  </a:cubicBezTo>
                  <a:cubicBezTo>
                    <a:pt x="773922" y="258285"/>
                    <a:pt x="777725" y="261313"/>
                    <a:pt x="777725" y="261313"/>
                  </a:cubicBezTo>
                  <a:lnTo>
                    <a:pt x="780013" y="260337"/>
                  </a:lnTo>
                  <a:cubicBezTo>
                    <a:pt x="780013" y="260337"/>
                    <a:pt x="781965" y="257612"/>
                    <a:pt x="782840" y="257175"/>
                  </a:cubicBezTo>
                  <a:cubicBezTo>
                    <a:pt x="783715" y="256738"/>
                    <a:pt x="784927" y="254686"/>
                    <a:pt x="785028" y="254248"/>
                  </a:cubicBezTo>
                  <a:cubicBezTo>
                    <a:pt x="785129" y="253811"/>
                    <a:pt x="787518" y="252062"/>
                    <a:pt x="788393" y="251524"/>
                  </a:cubicBezTo>
                  <a:cubicBezTo>
                    <a:pt x="789268" y="250985"/>
                    <a:pt x="793273" y="249472"/>
                    <a:pt x="793273" y="249472"/>
                  </a:cubicBezTo>
                  <a:lnTo>
                    <a:pt x="794922" y="249034"/>
                  </a:lnTo>
                  <a:cubicBezTo>
                    <a:pt x="794922" y="249034"/>
                    <a:pt x="797749" y="248933"/>
                    <a:pt x="799062" y="248933"/>
                  </a:cubicBezTo>
                  <a:cubicBezTo>
                    <a:pt x="800374" y="248933"/>
                    <a:pt x="803302" y="248294"/>
                    <a:pt x="803302" y="248294"/>
                  </a:cubicBezTo>
                  <a:cubicBezTo>
                    <a:pt x="803302" y="248294"/>
                    <a:pt x="806567" y="248294"/>
                    <a:pt x="808418" y="248294"/>
                  </a:cubicBezTo>
                  <a:cubicBezTo>
                    <a:pt x="810269" y="248294"/>
                    <a:pt x="812456" y="248294"/>
                    <a:pt x="812456" y="248294"/>
                  </a:cubicBezTo>
                  <a:cubicBezTo>
                    <a:pt x="812456" y="248294"/>
                    <a:pt x="814408" y="248294"/>
                    <a:pt x="814745" y="248294"/>
                  </a:cubicBezTo>
                  <a:cubicBezTo>
                    <a:pt x="815081" y="248294"/>
                    <a:pt x="816360" y="246242"/>
                    <a:pt x="816697" y="245906"/>
                  </a:cubicBezTo>
                  <a:cubicBezTo>
                    <a:pt x="817033" y="245569"/>
                    <a:pt x="818110" y="244056"/>
                    <a:pt x="818211" y="243719"/>
                  </a:cubicBezTo>
                  <a:cubicBezTo>
                    <a:pt x="818312" y="243383"/>
                    <a:pt x="819827" y="242205"/>
                    <a:pt x="819827" y="242205"/>
                  </a:cubicBezTo>
                  <a:lnTo>
                    <a:pt x="819827" y="239817"/>
                  </a:lnTo>
                  <a:lnTo>
                    <a:pt x="818077" y="236991"/>
                  </a:lnTo>
                  <a:lnTo>
                    <a:pt x="818077" y="235377"/>
                  </a:lnTo>
                  <a:lnTo>
                    <a:pt x="819053" y="231777"/>
                  </a:lnTo>
                  <a:lnTo>
                    <a:pt x="821240" y="229591"/>
                  </a:lnTo>
                  <a:lnTo>
                    <a:pt x="822990" y="227101"/>
                  </a:lnTo>
                  <a:lnTo>
                    <a:pt x="826591" y="223737"/>
                  </a:lnTo>
                  <a:lnTo>
                    <a:pt x="826793" y="220474"/>
                  </a:lnTo>
                  <a:cubicBezTo>
                    <a:pt x="826793" y="220474"/>
                    <a:pt x="827231" y="218456"/>
                    <a:pt x="827231" y="217850"/>
                  </a:cubicBezTo>
                  <a:cubicBezTo>
                    <a:pt x="827231" y="217278"/>
                    <a:pt x="826793" y="216673"/>
                    <a:pt x="826793" y="216673"/>
                  </a:cubicBezTo>
                  <a:cubicBezTo>
                    <a:pt x="826793" y="216673"/>
                    <a:pt x="824471" y="215361"/>
                    <a:pt x="823899" y="215092"/>
                  </a:cubicBezTo>
                  <a:cubicBezTo>
                    <a:pt x="823327" y="214789"/>
                    <a:pt x="823764" y="213645"/>
                    <a:pt x="823764" y="213645"/>
                  </a:cubicBezTo>
                  <a:lnTo>
                    <a:pt x="825077" y="210181"/>
                  </a:lnTo>
                  <a:lnTo>
                    <a:pt x="829856" y="208734"/>
                  </a:lnTo>
                  <a:lnTo>
                    <a:pt x="832043" y="207422"/>
                  </a:lnTo>
                  <a:lnTo>
                    <a:pt x="832043" y="203957"/>
                  </a:lnTo>
                  <a:lnTo>
                    <a:pt x="832043" y="203385"/>
                  </a:lnTo>
                  <a:lnTo>
                    <a:pt x="831168" y="201367"/>
                  </a:lnTo>
                  <a:cubicBezTo>
                    <a:pt x="831168" y="201367"/>
                    <a:pt x="826389" y="201367"/>
                    <a:pt x="825817" y="201367"/>
                  </a:cubicBezTo>
                  <a:cubicBezTo>
                    <a:pt x="825245" y="201367"/>
                    <a:pt x="823360" y="201367"/>
                    <a:pt x="822788" y="201232"/>
                  </a:cubicBezTo>
                  <a:cubicBezTo>
                    <a:pt x="822216" y="201098"/>
                    <a:pt x="823091" y="198037"/>
                    <a:pt x="823091" y="198037"/>
                  </a:cubicBezTo>
                  <a:lnTo>
                    <a:pt x="823529" y="195278"/>
                  </a:lnTo>
                  <a:lnTo>
                    <a:pt x="825279" y="193832"/>
                  </a:lnTo>
                  <a:lnTo>
                    <a:pt x="826860" y="191813"/>
                  </a:lnTo>
                  <a:lnTo>
                    <a:pt x="826860" y="188920"/>
                  </a:lnTo>
                  <a:lnTo>
                    <a:pt x="826793" y="185018"/>
                  </a:lnTo>
                  <a:cubicBezTo>
                    <a:pt x="826793" y="185018"/>
                    <a:pt x="827163" y="183572"/>
                    <a:pt x="824134" y="182260"/>
                  </a:cubicBezTo>
                  <a:cubicBezTo>
                    <a:pt x="821106" y="180948"/>
                    <a:pt x="820937" y="181385"/>
                    <a:pt x="820937" y="181385"/>
                  </a:cubicBezTo>
                  <a:lnTo>
                    <a:pt x="818750" y="180510"/>
                  </a:lnTo>
                  <a:cubicBezTo>
                    <a:pt x="818750" y="180510"/>
                    <a:pt x="816731" y="180510"/>
                    <a:pt x="815856" y="179804"/>
                  </a:cubicBezTo>
                  <a:cubicBezTo>
                    <a:pt x="814980" y="179064"/>
                    <a:pt x="814105" y="178492"/>
                    <a:pt x="813399" y="178189"/>
                  </a:cubicBezTo>
                  <a:cubicBezTo>
                    <a:pt x="812692" y="177886"/>
                    <a:pt x="810942" y="176743"/>
                    <a:pt x="810067" y="176171"/>
                  </a:cubicBezTo>
                  <a:cubicBezTo>
                    <a:pt x="809192" y="175599"/>
                    <a:pt x="808620" y="174724"/>
                    <a:pt x="808620" y="174724"/>
                  </a:cubicBezTo>
                  <a:cubicBezTo>
                    <a:pt x="808620" y="174724"/>
                    <a:pt x="808317" y="172134"/>
                    <a:pt x="807879" y="171259"/>
                  </a:cubicBezTo>
                  <a:cubicBezTo>
                    <a:pt x="807442" y="170385"/>
                    <a:pt x="807004" y="168501"/>
                    <a:pt x="807004" y="168501"/>
                  </a:cubicBezTo>
                  <a:lnTo>
                    <a:pt x="804413" y="165473"/>
                  </a:lnTo>
                  <a:cubicBezTo>
                    <a:pt x="804413" y="165473"/>
                    <a:pt x="801519" y="164599"/>
                    <a:pt x="801519" y="163724"/>
                  </a:cubicBezTo>
                  <a:cubicBezTo>
                    <a:pt x="801519" y="162850"/>
                    <a:pt x="799062" y="166045"/>
                    <a:pt x="799062" y="166045"/>
                  </a:cubicBezTo>
                  <a:cubicBezTo>
                    <a:pt x="799062" y="166045"/>
                    <a:pt x="797177" y="168501"/>
                    <a:pt x="796874" y="168938"/>
                  </a:cubicBezTo>
                  <a:cubicBezTo>
                    <a:pt x="796571" y="169376"/>
                    <a:pt x="794990" y="171394"/>
                    <a:pt x="794990" y="171394"/>
                  </a:cubicBezTo>
                  <a:lnTo>
                    <a:pt x="794249" y="173278"/>
                  </a:lnTo>
                  <a:cubicBezTo>
                    <a:pt x="794249" y="173278"/>
                    <a:pt x="792937" y="175296"/>
                    <a:pt x="792667" y="175868"/>
                  </a:cubicBezTo>
                  <a:cubicBezTo>
                    <a:pt x="792365" y="176440"/>
                    <a:pt x="790917" y="178458"/>
                    <a:pt x="790917" y="178458"/>
                  </a:cubicBezTo>
                  <a:cubicBezTo>
                    <a:pt x="790917" y="178458"/>
                    <a:pt x="790042" y="179905"/>
                    <a:pt x="790042" y="180342"/>
                  </a:cubicBezTo>
                  <a:cubicBezTo>
                    <a:pt x="790042" y="180780"/>
                    <a:pt x="788158" y="182361"/>
                    <a:pt x="788158" y="182361"/>
                  </a:cubicBezTo>
                  <a:lnTo>
                    <a:pt x="787148" y="183942"/>
                  </a:lnTo>
                  <a:cubicBezTo>
                    <a:pt x="787148" y="183942"/>
                    <a:pt x="786408" y="185691"/>
                    <a:pt x="786273" y="186263"/>
                  </a:cubicBezTo>
                  <a:cubicBezTo>
                    <a:pt x="786138" y="186835"/>
                    <a:pt x="785129" y="188281"/>
                    <a:pt x="784691" y="188584"/>
                  </a:cubicBezTo>
                  <a:cubicBezTo>
                    <a:pt x="784254" y="188887"/>
                    <a:pt x="782369" y="189156"/>
                    <a:pt x="782369" y="189156"/>
                  </a:cubicBezTo>
                  <a:lnTo>
                    <a:pt x="780619" y="188853"/>
                  </a:lnTo>
                  <a:cubicBezTo>
                    <a:pt x="780619" y="188853"/>
                    <a:pt x="779037" y="188416"/>
                    <a:pt x="778297" y="187978"/>
                  </a:cubicBezTo>
                  <a:cubicBezTo>
                    <a:pt x="777557" y="187541"/>
                    <a:pt x="776278" y="187978"/>
                    <a:pt x="776278" y="187978"/>
                  </a:cubicBezTo>
                  <a:lnTo>
                    <a:pt x="774090" y="188281"/>
                  </a:lnTo>
                  <a:lnTo>
                    <a:pt x="773653" y="190737"/>
                  </a:lnTo>
                  <a:lnTo>
                    <a:pt x="772071" y="193764"/>
                  </a:lnTo>
                  <a:cubicBezTo>
                    <a:pt x="772071" y="193764"/>
                    <a:pt x="768167" y="196355"/>
                    <a:pt x="766989" y="196355"/>
                  </a:cubicBezTo>
                  <a:cubicBezTo>
                    <a:pt x="765845" y="196355"/>
                    <a:pt x="763792" y="195648"/>
                    <a:pt x="763354" y="195648"/>
                  </a:cubicBezTo>
                  <a:cubicBezTo>
                    <a:pt x="762917" y="195648"/>
                    <a:pt x="760898" y="194504"/>
                    <a:pt x="760325" y="194504"/>
                  </a:cubicBezTo>
                  <a:cubicBezTo>
                    <a:pt x="759753" y="194504"/>
                    <a:pt x="755546" y="194807"/>
                    <a:pt x="755546" y="194807"/>
                  </a:cubicBezTo>
                  <a:lnTo>
                    <a:pt x="754099" y="195951"/>
                  </a:lnTo>
                  <a:lnTo>
                    <a:pt x="749186" y="196523"/>
                  </a:lnTo>
                  <a:lnTo>
                    <a:pt x="746729" y="195345"/>
                  </a:lnTo>
                  <a:lnTo>
                    <a:pt x="746594" y="193899"/>
                  </a:lnTo>
                  <a:lnTo>
                    <a:pt x="746022" y="191881"/>
                  </a:lnTo>
                  <a:lnTo>
                    <a:pt x="744878" y="189694"/>
                  </a:lnTo>
                  <a:lnTo>
                    <a:pt x="742556" y="186667"/>
                  </a:lnTo>
                  <a:lnTo>
                    <a:pt x="738921" y="184783"/>
                  </a:lnTo>
                  <a:lnTo>
                    <a:pt x="736599" y="184480"/>
                  </a:lnTo>
                  <a:lnTo>
                    <a:pt x="734142" y="182899"/>
                  </a:lnTo>
                  <a:cubicBezTo>
                    <a:pt x="734142" y="182899"/>
                    <a:pt x="730945" y="181318"/>
                    <a:pt x="730373" y="180006"/>
                  </a:cubicBezTo>
                  <a:cubicBezTo>
                    <a:pt x="729801" y="178694"/>
                    <a:pt x="730238" y="178862"/>
                    <a:pt x="730238" y="178257"/>
                  </a:cubicBezTo>
                  <a:cubicBezTo>
                    <a:pt x="730238" y="177685"/>
                    <a:pt x="730373" y="175801"/>
                    <a:pt x="730373" y="175801"/>
                  </a:cubicBezTo>
                  <a:lnTo>
                    <a:pt x="735152" y="172336"/>
                  </a:lnTo>
                  <a:cubicBezTo>
                    <a:pt x="735152" y="172336"/>
                    <a:pt x="736464" y="171327"/>
                    <a:pt x="737474" y="170587"/>
                  </a:cubicBezTo>
                  <a:cubicBezTo>
                    <a:pt x="738484" y="169880"/>
                    <a:pt x="739931" y="169712"/>
                    <a:pt x="739931" y="169712"/>
                  </a:cubicBezTo>
                  <a:cubicBezTo>
                    <a:pt x="739931" y="169712"/>
                    <a:pt x="743565" y="166954"/>
                    <a:pt x="743700" y="166382"/>
                  </a:cubicBezTo>
                  <a:cubicBezTo>
                    <a:pt x="743835" y="165810"/>
                    <a:pt x="743835" y="161605"/>
                    <a:pt x="743835" y="161605"/>
                  </a:cubicBezTo>
                  <a:lnTo>
                    <a:pt x="743094" y="159586"/>
                  </a:lnTo>
                  <a:cubicBezTo>
                    <a:pt x="743094" y="159586"/>
                    <a:pt x="740907" y="159149"/>
                    <a:pt x="740772" y="158712"/>
                  </a:cubicBezTo>
                  <a:cubicBezTo>
                    <a:pt x="740637" y="158275"/>
                    <a:pt x="738585" y="158140"/>
                    <a:pt x="738585" y="158140"/>
                  </a:cubicBezTo>
                  <a:lnTo>
                    <a:pt x="739022" y="156391"/>
                  </a:lnTo>
                  <a:lnTo>
                    <a:pt x="740166" y="153363"/>
                  </a:lnTo>
                  <a:cubicBezTo>
                    <a:pt x="740166" y="153363"/>
                    <a:pt x="742589" y="152320"/>
                    <a:pt x="742489" y="151883"/>
                  </a:cubicBezTo>
                  <a:cubicBezTo>
                    <a:pt x="742354" y="151446"/>
                    <a:pt x="740974" y="147409"/>
                    <a:pt x="740974" y="147409"/>
                  </a:cubicBezTo>
                  <a:lnTo>
                    <a:pt x="737911" y="143372"/>
                  </a:lnTo>
                  <a:cubicBezTo>
                    <a:pt x="737911" y="143372"/>
                    <a:pt x="736296" y="142060"/>
                    <a:pt x="735421" y="141858"/>
                  </a:cubicBezTo>
                  <a:cubicBezTo>
                    <a:pt x="734546" y="141623"/>
                    <a:pt x="734008" y="141858"/>
                    <a:pt x="732056" y="141858"/>
                  </a:cubicBezTo>
                  <a:cubicBezTo>
                    <a:pt x="730104" y="141858"/>
                    <a:pt x="726402" y="139134"/>
                    <a:pt x="725964" y="139134"/>
                  </a:cubicBezTo>
                  <a:cubicBezTo>
                    <a:pt x="725527" y="139134"/>
                    <a:pt x="724248" y="137082"/>
                    <a:pt x="724012" y="136409"/>
                  </a:cubicBezTo>
                  <a:cubicBezTo>
                    <a:pt x="723810" y="135770"/>
                    <a:pt x="723810" y="134660"/>
                    <a:pt x="723810" y="134660"/>
                  </a:cubicBezTo>
                  <a:cubicBezTo>
                    <a:pt x="723810" y="134660"/>
                    <a:pt x="723608" y="129244"/>
                    <a:pt x="723608" y="128806"/>
                  </a:cubicBezTo>
                  <a:cubicBezTo>
                    <a:pt x="723608" y="128369"/>
                    <a:pt x="723810" y="125005"/>
                    <a:pt x="723810" y="125005"/>
                  </a:cubicBezTo>
                  <a:lnTo>
                    <a:pt x="724786" y="123794"/>
                  </a:lnTo>
                  <a:cubicBezTo>
                    <a:pt x="724786" y="123794"/>
                    <a:pt x="727075" y="121944"/>
                    <a:pt x="727277" y="121607"/>
                  </a:cubicBezTo>
                  <a:cubicBezTo>
                    <a:pt x="727479" y="121271"/>
                    <a:pt x="729027" y="119993"/>
                    <a:pt x="729229" y="119656"/>
                  </a:cubicBezTo>
                  <a:cubicBezTo>
                    <a:pt x="729431" y="119320"/>
                    <a:pt x="731416" y="117470"/>
                    <a:pt x="731416" y="117470"/>
                  </a:cubicBezTo>
                  <a:lnTo>
                    <a:pt x="733267" y="116057"/>
                  </a:lnTo>
                  <a:lnTo>
                    <a:pt x="735859" y="114745"/>
                  </a:lnTo>
                  <a:cubicBezTo>
                    <a:pt x="735859" y="114745"/>
                    <a:pt x="738686" y="114207"/>
                    <a:pt x="739325" y="114207"/>
                  </a:cubicBezTo>
                  <a:cubicBezTo>
                    <a:pt x="739965" y="114207"/>
                    <a:pt x="742253" y="111919"/>
                    <a:pt x="742253" y="111919"/>
                  </a:cubicBezTo>
                  <a:lnTo>
                    <a:pt x="743666" y="110843"/>
                  </a:lnTo>
                  <a:lnTo>
                    <a:pt x="744306" y="106705"/>
                  </a:lnTo>
                  <a:cubicBezTo>
                    <a:pt x="744306" y="106705"/>
                    <a:pt x="741378" y="103442"/>
                    <a:pt x="741041" y="103442"/>
                  </a:cubicBezTo>
                  <a:cubicBezTo>
                    <a:pt x="740705" y="103442"/>
                    <a:pt x="737676" y="103879"/>
                    <a:pt x="736700" y="104317"/>
                  </a:cubicBezTo>
                  <a:cubicBezTo>
                    <a:pt x="735724" y="104754"/>
                    <a:pt x="730508" y="104956"/>
                    <a:pt x="730508" y="104956"/>
                  </a:cubicBezTo>
                  <a:cubicBezTo>
                    <a:pt x="730508" y="104956"/>
                    <a:pt x="723339" y="106268"/>
                    <a:pt x="723002" y="106369"/>
                  </a:cubicBezTo>
                  <a:cubicBezTo>
                    <a:pt x="722666" y="106470"/>
                    <a:pt x="718964" y="104754"/>
                    <a:pt x="718964" y="104754"/>
                  </a:cubicBezTo>
                  <a:lnTo>
                    <a:pt x="714623" y="102164"/>
                  </a:lnTo>
                  <a:cubicBezTo>
                    <a:pt x="714623" y="102164"/>
                    <a:pt x="713007" y="102164"/>
                    <a:pt x="712570" y="102164"/>
                  </a:cubicBezTo>
                  <a:cubicBezTo>
                    <a:pt x="712132" y="102164"/>
                    <a:pt x="710079" y="102971"/>
                    <a:pt x="710079" y="102971"/>
                  </a:cubicBezTo>
                  <a:cubicBezTo>
                    <a:pt x="710079" y="102971"/>
                    <a:pt x="708867" y="105427"/>
                    <a:pt x="708565" y="105427"/>
                  </a:cubicBezTo>
                  <a:cubicBezTo>
                    <a:pt x="708228" y="105427"/>
                    <a:pt x="705738" y="105629"/>
                    <a:pt x="704560" y="105629"/>
                  </a:cubicBezTo>
                  <a:cubicBezTo>
                    <a:pt x="703348" y="105629"/>
                    <a:pt x="701632" y="105965"/>
                    <a:pt x="701632" y="105965"/>
                  </a:cubicBezTo>
                  <a:lnTo>
                    <a:pt x="699007" y="105629"/>
                  </a:lnTo>
                  <a:lnTo>
                    <a:pt x="697593" y="105629"/>
                  </a:lnTo>
                  <a:cubicBezTo>
                    <a:pt x="697593" y="105629"/>
                    <a:pt x="694228" y="105561"/>
                    <a:pt x="693790" y="105561"/>
                  </a:cubicBezTo>
                  <a:cubicBezTo>
                    <a:pt x="693353" y="105561"/>
                    <a:pt x="691401" y="104855"/>
                    <a:pt x="691401" y="104855"/>
                  </a:cubicBezTo>
                  <a:lnTo>
                    <a:pt x="690425" y="103543"/>
                  </a:lnTo>
                  <a:lnTo>
                    <a:pt x="688910" y="100818"/>
                  </a:lnTo>
                  <a:cubicBezTo>
                    <a:pt x="688910" y="100818"/>
                    <a:pt x="687160" y="100919"/>
                    <a:pt x="686622" y="100919"/>
                  </a:cubicBezTo>
                  <a:cubicBezTo>
                    <a:pt x="686083" y="100919"/>
                    <a:pt x="685848" y="101020"/>
                    <a:pt x="685848" y="101020"/>
                  </a:cubicBezTo>
                  <a:lnTo>
                    <a:pt x="684434" y="103207"/>
                  </a:lnTo>
                  <a:lnTo>
                    <a:pt x="684098" y="105494"/>
                  </a:lnTo>
                  <a:lnTo>
                    <a:pt x="682785" y="107983"/>
                  </a:lnTo>
                  <a:lnTo>
                    <a:pt x="682146" y="110473"/>
                  </a:lnTo>
                  <a:cubicBezTo>
                    <a:pt x="682146" y="110473"/>
                    <a:pt x="682146" y="110473"/>
                    <a:pt x="679958" y="114610"/>
                  </a:cubicBezTo>
                  <a:cubicBezTo>
                    <a:pt x="677771" y="118748"/>
                    <a:pt x="678982" y="116797"/>
                    <a:pt x="678982" y="117201"/>
                  </a:cubicBezTo>
                  <a:cubicBezTo>
                    <a:pt x="678982" y="117638"/>
                    <a:pt x="679184" y="118613"/>
                    <a:pt x="679319" y="119387"/>
                  </a:cubicBezTo>
                  <a:cubicBezTo>
                    <a:pt x="679420" y="120161"/>
                    <a:pt x="680396" y="120262"/>
                    <a:pt x="681271" y="121136"/>
                  </a:cubicBezTo>
                  <a:cubicBezTo>
                    <a:pt x="682146" y="122011"/>
                    <a:pt x="683122" y="122347"/>
                    <a:pt x="683425" y="122448"/>
                  </a:cubicBezTo>
                  <a:cubicBezTo>
                    <a:pt x="683761" y="122549"/>
                    <a:pt x="684401" y="124400"/>
                    <a:pt x="684939" y="125375"/>
                  </a:cubicBezTo>
                  <a:cubicBezTo>
                    <a:pt x="685478" y="126350"/>
                    <a:pt x="686454" y="127999"/>
                    <a:pt x="686588" y="128302"/>
                  </a:cubicBezTo>
                  <a:cubicBezTo>
                    <a:pt x="686689" y="128638"/>
                    <a:pt x="686790" y="129614"/>
                    <a:pt x="687026" y="130926"/>
                  </a:cubicBezTo>
                  <a:cubicBezTo>
                    <a:pt x="687228" y="132237"/>
                    <a:pt x="687026" y="132439"/>
                    <a:pt x="686925" y="133650"/>
                  </a:cubicBezTo>
                  <a:cubicBezTo>
                    <a:pt x="686824" y="134828"/>
                    <a:pt x="686689" y="136678"/>
                    <a:pt x="686689" y="137452"/>
                  </a:cubicBezTo>
                  <a:cubicBezTo>
                    <a:pt x="686689" y="138225"/>
                    <a:pt x="685915" y="138965"/>
                    <a:pt x="685612" y="139840"/>
                  </a:cubicBezTo>
                  <a:cubicBezTo>
                    <a:pt x="685276" y="140715"/>
                    <a:pt x="684737" y="141455"/>
                    <a:pt x="684199" y="142127"/>
                  </a:cubicBezTo>
                  <a:cubicBezTo>
                    <a:pt x="683660" y="142767"/>
                    <a:pt x="682348" y="144415"/>
                    <a:pt x="681809" y="144852"/>
                  </a:cubicBezTo>
                  <a:cubicBezTo>
                    <a:pt x="681271" y="145290"/>
                    <a:pt x="679756" y="146501"/>
                    <a:pt x="678444" y="147779"/>
                  </a:cubicBezTo>
                  <a:cubicBezTo>
                    <a:pt x="677131" y="149091"/>
                    <a:pt x="676256" y="149629"/>
                    <a:pt x="674978" y="149966"/>
                  </a:cubicBezTo>
                  <a:cubicBezTo>
                    <a:pt x="673665" y="150302"/>
                    <a:pt x="672487" y="149966"/>
                    <a:pt x="672487" y="149966"/>
                  </a:cubicBezTo>
                  <a:lnTo>
                    <a:pt x="669862" y="148990"/>
                  </a:lnTo>
                  <a:lnTo>
                    <a:pt x="669088" y="148654"/>
                  </a:lnTo>
                  <a:lnTo>
                    <a:pt x="665285" y="145391"/>
                  </a:lnTo>
                  <a:lnTo>
                    <a:pt x="662458" y="145592"/>
                  </a:lnTo>
                  <a:lnTo>
                    <a:pt x="661280" y="145592"/>
                  </a:lnTo>
                  <a:lnTo>
                    <a:pt x="659194" y="147611"/>
                  </a:lnTo>
                  <a:lnTo>
                    <a:pt x="656905" y="149192"/>
                  </a:lnTo>
                  <a:lnTo>
                    <a:pt x="656131" y="150706"/>
                  </a:lnTo>
                  <a:cubicBezTo>
                    <a:pt x="656131" y="150706"/>
                    <a:pt x="654818" y="151917"/>
                    <a:pt x="653304" y="152892"/>
                  </a:cubicBezTo>
                  <a:cubicBezTo>
                    <a:pt x="651789" y="153868"/>
                    <a:pt x="650813" y="154507"/>
                    <a:pt x="650039" y="154843"/>
                  </a:cubicBezTo>
                  <a:cubicBezTo>
                    <a:pt x="649265" y="155180"/>
                    <a:pt x="648727" y="155819"/>
                    <a:pt x="648727" y="155819"/>
                  </a:cubicBezTo>
                  <a:cubicBezTo>
                    <a:pt x="648727" y="155819"/>
                    <a:pt x="646876" y="157131"/>
                    <a:pt x="646236" y="157770"/>
                  </a:cubicBezTo>
                  <a:cubicBezTo>
                    <a:pt x="645597" y="158409"/>
                    <a:pt x="644823" y="159957"/>
                    <a:pt x="644587" y="160259"/>
                  </a:cubicBezTo>
                  <a:cubicBezTo>
                    <a:pt x="644385" y="160596"/>
                    <a:pt x="643510" y="162210"/>
                    <a:pt x="643510" y="162210"/>
                  </a:cubicBezTo>
                  <a:lnTo>
                    <a:pt x="642736" y="163859"/>
                  </a:lnTo>
                  <a:lnTo>
                    <a:pt x="642198" y="165709"/>
                  </a:lnTo>
                  <a:cubicBezTo>
                    <a:pt x="642198" y="165709"/>
                    <a:pt x="642198" y="167458"/>
                    <a:pt x="642299" y="167761"/>
                  </a:cubicBezTo>
                  <a:cubicBezTo>
                    <a:pt x="642400" y="168097"/>
                    <a:pt x="643073" y="168737"/>
                    <a:pt x="644150" y="169174"/>
                  </a:cubicBezTo>
                  <a:cubicBezTo>
                    <a:pt x="645227" y="169611"/>
                    <a:pt x="646640" y="171327"/>
                    <a:pt x="647313" y="171663"/>
                  </a:cubicBezTo>
                  <a:cubicBezTo>
                    <a:pt x="647953" y="171999"/>
                    <a:pt x="649501" y="173614"/>
                    <a:pt x="649804" y="173715"/>
                  </a:cubicBezTo>
                  <a:cubicBezTo>
                    <a:pt x="650140" y="173816"/>
                    <a:pt x="650780" y="174253"/>
                    <a:pt x="651554" y="174489"/>
                  </a:cubicBezTo>
                  <a:cubicBezTo>
                    <a:pt x="652328" y="174724"/>
                    <a:pt x="652429" y="175027"/>
                    <a:pt x="652429" y="175027"/>
                  </a:cubicBezTo>
                  <a:cubicBezTo>
                    <a:pt x="652429" y="175027"/>
                    <a:pt x="653405" y="176978"/>
                    <a:pt x="654280" y="177853"/>
                  </a:cubicBezTo>
                  <a:cubicBezTo>
                    <a:pt x="655155" y="178727"/>
                    <a:pt x="654179" y="178929"/>
                    <a:pt x="654179" y="178929"/>
                  </a:cubicBezTo>
                  <a:cubicBezTo>
                    <a:pt x="654179" y="178929"/>
                    <a:pt x="653405" y="180006"/>
                    <a:pt x="653102" y="180342"/>
                  </a:cubicBezTo>
                  <a:cubicBezTo>
                    <a:pt x="652765" y="180679"/>
                    <a:pt x="651588" y="181217"/>
                    <a:pt x="650914" y="182091"/>
                  </a:cubicBezTo>
                  <a:cubicBezTo>
                    <a:pt x="650241" y="182966"/>
                    <a:pt x="649938" y="183067"/>
                    <a:pt x="649938" y="183067"/>
                  </a:cubicBezTo>
                  <a:cubicBezTo>
                    <a:pt x="649938" y="183067"/>
                    <a:pt x="649602" y="185355"/>
                    <a:pt x="649602" y="185657"/>
                  </a:cubicBezTo>
                  <a:cubicBezTo>
                    <a:pt x="649602" y="185994"/>
                    <a:pt x="649063" y="188584"/>
                    <a:pt x="649063" y="188920"/>
                  </a:cubicBezTo>
                  <a:cubicBezTo>
                    <a:pt x="649063" y="189257"/>
                    <a:pt x="648188" y="191208"/>
                    <a:pt x="648188" y="191208"/>
                  </a:cubicBezTo>
                  <a:cubicBezTo>
                    <a:pt x="648188" y="191208"/>
                    <a:pt x="646438" y="194235"/>
                    <a:pt x="646236" y="194572"/>
                  </a:cubicBezTo>
                  <a:cubicBezTo>
                    <a:pt x="646001" y="194908"/>
                    <a:pt x="642534" y="198609"/>
                    <a:pt x="642534" y="198609"/>
                  </a:cubicBezTo>
                  <a:lnTo>
                    <a:pt x="639505" y="200559"/>
                  </a:lnTo>
                  <a:lnTo>
                    <a:pt x="638092" y="200997"/>
                  </a:lnTo>
                  <a:lnTo>
                    <a:pt x="636679" y="201973"/>
                  </a:lnTo>
                  <a:cubicBezTo>
                    <a:pt x="636679" y="201973"/>
                    <a:pt x="635029" y="203385"/>
                    <a:pt x="634491" y="203722"/>
                  </a:cubicBezTo>
                  <a:cubicBezTo>
                    <a:pt x="633953" y="204058"/>
                    <a:pt x="632438" y="206110"/>
                    <a:pt x="632101" y="206211"/>
                  </a:cubicBezTo>
                  <a:cubicBezTo>
                    <a:pt x="631765" y="206312"/>
                    <a:pt x="630587" y="207960"/>
                    <a:pt x="630150" y="208162"/>
                  </a:cubicBezTo>
                  <a:cubicBezTo>
                    <a:pt x="629712" y="208398"/>
                    <a:pt x="629275" y="209575"/>
                    <a:pt x="628635" y="210551"/>
                  </a:cubicBezTo>
                  <a:cubicBezTo>
                    <a:pt x="627996" y="211526"/>
                    <a:pt x="627558" y="212603"/>
                    <a:pt x="627121" y="213141"/>
                  </a:cubicBezTo>
                  <a:cubicBezTo>
                    <a:pt x="626683" y="213679"/>
                    <a:pt x="625370" y="216303"/>
                    <a:pt x="624933" y="217379"/>
                  </a:cubicBezTo>
                  <a:cubicBezTo>
                    <a:pt x="624496" y="218456"/>
                    <a:pt x="624058" y="218456"/>
                    <a:pt x="624058" y="218456"/>
                  </a:cubicBezTo>
                  <a:cubicBezTo>
                    <a:pt x="624058" y="218456"/>
                    <a:pt x="622544" y="218994"/>
                    <a:pt x="621669" y="219095"/>
                  </a:cubicBezTo>
                  <a:cubicBezTo>
                    <a:pt x="620794" y="219196"/>
                    <a:pt x="619818" y="219970"/>
                    <a:pt x="619178" y="220071"/>
                  </a:cubicBezTo>
                  <a:cubicBezTo>
                    <a:pt x="618539" y="220171"/>
                    <a:pt x="616351" y="221820"/>
                    <a:pt x="615914" y="222459"/>
                  </a:cubicBezTo>
                  <a:cubicBezTo>
                    <a:pt x="615476" y="223098"/>
                    <a:pt x="614601" y="224511"/>
                    <a:pt x="614164" y="225184"/>
                  </a:cubicBezTo>
                  <a:cubicBezTo>
                    <a:pt x="613726" y="225823"/>
                    <a:pt x="610798" y="229523"/>
                    <a:pt x="610798" y="229523"/>
                  </a:cubicBezTo>
                  <a:lnTo>
                    <a:pt x="608308" y="232248"/>
                  </a:lnTo>
                  <a:lnTo>
                    <a:pt x="602889" y="237227"/>
                  </a:lnTo>
                  <a:lnTo>
                    <a:pt x="599423" y="238875"/>
                  </a:lnTo>
                  <a:cubicBezTo>
                    <a:pt x="599423" y="238875"/>
                    <a:pt x="597134" y="243215"/>
                    <a:pt x="596798" y="243349"/>
                  </a:cubicBezTo>
                  <a:cubicBezTo>
                    <a:pt x="596461" y="243450"/>
                    <a:pt x="593769" y="244527"/>
                    <a:pt x="592793" y="244527"/>
                  </a:cubicBezTo>
                  <a:cubicBezTo>
                    <a:pt x="591817" y="244527"/>
                    <a:pt x="591144" y="243013"/>
                    <a:pt x="591144" y="243013"/>
                  </a:cubicBezTo>
                  <a:cubicBezTo>
                    <a:pt x="591144" y="243013"/>
                    <a:pt x="590605" y="239649"/>
                    <a:pt x="590370" y="239212"/>
                  </a:cubicBezTo>
                  <a:cubicBezTo>
                    <a:pt x="590168" y="238774"/>
                    <a:pt x="589495" y="236285"/>
                    <a:pt x="589495" y="236285"/>
                  </a:cubicBezTo>
                  <a:cubicBezTo>
                    <a:pt x="589495" y="236285"/>
                    <a:pt x="588182" y="234872"/>
                    <a:pt x="587442" y="234872"/>
                  </a:cubicBezTo>
                  <a:cubicBezTo>
                    <a:pt x="586668" y="234872"/>
                    <a:pt x="585793" y="235208"/>
                    <a:pt x="585793" y="235208"/>
                  </a:cubicBezTo>
                  <a:cubicBezTo>
                    <a:pt x="585793" y="235208"/>
                    <a:pt x="585456" y="238673"/>
                    <a:pt x="585355" y="239111"/>
                  </a:cubicBezTo>
                  <a:cubicBezTo>
                    <a:pt x="585254" y="239548"/>
                    <a:pt x="585019" y="243248"/>
                    <a:pt x="585019" y="243248"/>
                  </a:cubicBezTo>
                  <a:lnTo>
                    <a:pt x="583168" y="245536"/>
                  </a:lnTo>
                  <a:lnTo>
                    <a:pt x="580442" y="248025"/>
                  </a:lnTo>
                  <a:cubicBezTo>
                    <a:pt x="580442" y="248025"/>
                    <a:pt x="579365" y="249438"/>
                    <a:pt x="578490" y="251187"/>
                  </a:cubicBezTo>
                  <a:cubicBezTo>
                    <a:pt x="577615" y="252936"/>
                    <a:pt x="578490" y="253475"/>
                    <a:pt x="578490" y="253475"/>
                  </a:cubicBezTo>
                  <a:cubicBezTo>
                    <a:pt x="578490" y="253475"/>
                    <a:pt x="579028" y="254013"/>
                    <a:pt x="580004" y="254349"/>
                  </a:cubicBezTo>
                  <a:cubicBezTo>
                    <a:pt x="580980" y="254686"/>
                    <a:pt x="582495" y="256973"/>
                    <a:pt x="582932" y="257612"/>
                  </a:cubicBezTo>
                  <a:cubicBezTo>
                    <a:pt x="583370" y="258252"/>
                    <a:pt x="583134" y="259564"/>
                    <a:pt x="583134" y="259564"/>
                  </a:cubicBezTo>
                  <a:lnTo>
                    <a:pt x="582798" y="263365"/>
                  </a:lnTo>
                  <a:cubicBezTo>
                    <a:pt x="582798" y="263365"/>
                    <a:pt x="583875" y="267704"/>
                    <a:pt x="584110" y="268041"/>
                  </a:cubicBezTo>
                  <a:cubicBezTo>
                    <a:pt x="584312" y="268377"/>
                    <a:pt x="583235" y="273356"/>
                    <a:pt x="583235" y="273356"/>
                  </a:cubicBezTo>
                  <a:lnTo>
                    <a:pt x="583235" y="275408"/>
                  </a:lnTo>
                  <a:cubicBezTo>
                    <a:pt x="583235" y="275408"/>
                    <a:pt x="582697" y="280723"/>
                    <a:pt x="582461" y="281160"/>
                  </a:cubicBezTo>
                  <a:cubicBezTo>
                    <a:pt x="582225" y="281597"/>
                    <a:pt x="581485" y="285062"/>
                    <a:pt x="581485" y="285062"/>
                  </a:cubicBezTo>
                  <a:cubicBezTo>
                    <a:pt x="581485" y="285062"/>
                    <a:pt x="580408" y="286913"/>
                    <a:pt x="580172" y="287787"/>
                  </a:cubicBezTo>
                  <a:cubicBezTo>
                    <a:pt x="579970" y="288662"/>
                    <a:pt x="577783" y="291387"/>
                    <a:pt x="577783" y="291824"/>
                  </a:cubicBezTo>
                  <a:cubicBezTo>
                    <a:pt x="577783" y="292261"/>
                    <a:pt x="578221" y="296062"/>
                    <a:pt x="578321" y="296399"/>
                  </a:cubicBezTo>
                  <a:cubicBezTo>
                    <a:pt x="578423" y="296735"/>
                    <a:pt x="578759" y="298585"/>
                    <a:pt x="579197" y="298350"/>
                  </a:cubicBezTo>
                  <a:cubicBezTo>
                    <a:pt x="579634" y="298148"/>
                    <a:pt x="581687" y="301176"/>
                    <a:pt x="581687" y="301176"/>
                  </a:cubicBezTo>
                  <a:lnTo>
                    <a:pt x="582461" y="303463"/>
                  </a:lnTo>
                  <a:cubicBezTo>
                    <a:pt x="582461" y="303463"/>
                    <a:pt x="584110" y="309115"/>
                    <a:pt x="584110" y="309552"/>
                  </a:cubicBezTo>
                  <a:cubicBezTo>
                    <a:pt x="584110" y="309989"/>
                    <a:pt x="583235" y="313353"/>
                    <a:pt x="583235" y="313353"/>
                  </a:cubicBezTo>
                  <a:cubicBezTo>
                    <a:pt x="583235" y="313353"/>
                    <a:pt x="583235" y="318769"/>
                    <a:pt x="583235" y="319879"/>
                  </a:cubicBezTo>
                  <a:cubicBezTo>
                    <a:pt x="583235" y="320956"/>
                    <a:pt x="583572" y="321629"/>
                    <a:pt x="583572" y="321629"/>
                  </a:cubicBezTo>
                  <a:cubicBezTo>
                    <a:pt x="583572" y="321629"/>
                    <a:pt x="584884" y="324993"/>
                    <a:pt x="585221" y="325228"/>
                  </a:cubicBezTo>
                  <a:cubicBezTo>
                    <a:pt x="585557" y="325430"/>
                    <a:pt x="586634" y="327415"/>
                    <a:pt x="587273" y="328054"/>
                  </a:cubicBezTo>
                  <a:cubicBezTo>
                    <a:pt x="587913" y="328693"/>
                    <a:pt x="589024" y="330240"/>
                    <a:pt x="589562" y="330880"/>
                  </a:cubicBezTo>
                  <a:cubicBezTo>
                    <a:pt x="590101" y="331519"/>
                    <a:pt x="590875" y="332292"/>
                    <a:pt x="591211" y="332393"/>
                  </a:cubicBezTo>
                  <a:cubicBezTo>
                    <a:pt x="591548" y="332494"/>
                    <a:pt x="591211" y="334344"/>
                    <a:pt x="591211" y="334782"/>
                  </a:cubicBezTo>
                  <a:cubicBezTo>
                    <a:pt x="591211" y="335219"/>
                    <a:pt x="590572" y="337507"/>
                    <a:pt x="590572" y="338045"/>
                  </a:cubicBezTo>
                  <a:cubicBezTo>
                    <a:pt x="590572" y="338583"/>
                    <a:pt x="589394" y="340299"/>
                    <a:pt x="589394" y="340299"/>
                  </a:cubicBezTo>
                  <a:cubicBezTo>
                    <a:pt x="589394" y="340299"/>
                    <a:pt x="587442" y="340299"/>
                    <a:pt x="587004" y="340299"/>
                  </a:cubicBezTo>
                  <a:cubicBezTo>
                    <a:pt x="586567" y="340299"/>
                    <a:pt x="585591" y="340299"/>
                    <a:pt x="584817" y="340534"/>
                  </a:cubicBezTo>
                  <a:cubicBezTo>
                    <a:pt x="584043" y="340736"/>
                    <a:pt x="582966" y="341274"/>
                    <a:pt x="582966" y="341274"/>
                  </a:cubicBezTo>
                  <a:lnTo>
                    <a:pt x="584649" y="344806"/>
                  </a:lnTo>
                  <a:lnTo>
                    <a:pt x="586230" y="350525"/>
                  </a:lnTo>
                  <a:cubicBezTo>
                    <a:pt x="586230" y="350525"/>
                    <a:pt x="585658" y="354865"/>
                    <a:pt x="585658" y="355235"/>
                  </a:cubicBezTo>
                  <a:cubicBezTo>
                    <a:pt x="585658" y="355605"/>
                    <a:pt x="584581" y="357690"/>
                    <a:pt x="584076" y="358935"/>
                  </a:cubicBezTo>
                  <a:cubicBezTo>
                    <a:pt x="583572" y="360180"/>
                    <a:pt x="582057" y="360684"/>
                    <a:pt x="581821" y="360684"/>
                  </a:cubicBezTo>
                  <a:cubicBezTo>
                    <a:pt x="581586" y="360684"/>
                    <a:pt x="579365" y="361761"/>
                    <a:pt x="578557" y="361828"/>
                  </a:cubicBezTo>
                  <a:cubicBezTo>
                    <a:pt x="577749" y="361895"/>
                    <a:pt x="574855" y="361828"/>
                    <a:pt x="574283" y="361963"/>
                  </a:cubicBezTo>
                  <a:cubicBezTo>
                    <a:pt x="573711" y="362097"/>
                    <a:pt x="570581" y="361963"/>
                    <a:pt x="570581" y="361963"/>
                  </a:cubicBezTo>
                  <a:cubicBezTo>
                    <a:pt x="570581" y="361963"/>
                    <a:pt x="568259" y="363409"/>
                    <a:pt x="567989" y="363409"/>
                  </a:cubicBezTo>
                  <a:cubicBezTo>
                    <a:pt x="567687" y="363409"/>
                    <a:pt x="564220" y="364553"/>
                    <a:pt x="564220" y="364553"/>
                  </a:cubicBezTo>
                  <a:lnTo>
                    <a:pt x="558936" y="366067"/>
                  </a:lnTo>
                  <a:lnTo>
                    <a:pt x="555167" y="368085"/>
                  </a:lnTo>
                  <a:lnTo>
                    <a:pt x="552845" y="369834"/>
                  </a:lnTo>
                  <a:lnTo>
                    <a:pt x="549076" y="369834"/>
                  </a:lnTo>
                  <a:lnTo>
                    <a:pt x="545003" y="367244"/>
                  </a:lnTo>
                  <a:lnTo>
                    <a:pt x="545003" y="364048"/>
                  </a:lnTo>
                  <a:cubicBezTo>
                    <a:pt x="545003" y="364048"/>
                    <a:pt x="548032" y="359406"/>
                    <a:pt x="548032" y="358262"/>
                  </a:cubicBezTo>
                  <a:cubicBezTo>
                    <a:pt x="548032" y="357118"/>
                    <a:pt x="546720" y="356244"/>
                    <a:pt x="546720" y="356244"/>
                  </a:cubicBezTo>
                  <a:lnTo>
                    <a:pt x="541806" y="357388"/>
                  </a:lnTo>
                  <a:lnTo>
                    <a:pt x="538037" y="361155"/>
                  </a:lnTo>
                  <a:lnTo>
                    <a:pt x="532248" y="366369"/>
                  </a:lnTo>
                  <a:lnTo>
                    <a:pt x="528479" y="369834"/>
                  </a:lnTo>
                  <a:lnTo>
                    <a:pt x="525585" y="369834"/>
                  </a:lnTo>
                  <a:cubicBezTo>
                    <a:pt x="525585" y="369834"/>
                    <a:pt x="521378" y="370473"/>
                    <a:pt x="520234" y="370473"/>
                  </a:cubicBezTo>
                  <a:cubicBezTo>
                    <a:pt x="519089" y="370473"/>
                    <a:pt x="515589" y="371415"/>
                    <a:pt x="514714" y="371415"/>
                  </a:cubicBezTo>
                  <a:cubicBezTo>
                    <a:pt x="513839" y="371415"/>
                    <a:pt x="512392" y="372559"/>
                    <a:pt x="512392" y="372559"/>
                  </a:cubicBezTo>
                  <a:cubicBezTo>
                    <a:pt x="512392" y="372559"/>
                    <a:pt x="510810" y="374880"/>
                    <a:pt x="510373" y="375015"/>
                  </a:cubicBezTo>
                  <a:cubicBezTo>
                    <a:pt x="509935" y="375149"/>
                    <a:pt x="508488" y="376327"/>
                    <a:pt x="507916" y="376327"/>
                  </a:cubicBezTo>
                  <a:cubicBezTo>
                    <a:pt x="507344" y="376327"/>
                    <a:pt x="504012" y="380397"/>
                    <a:pt x="503575" y="380532"/>
                  </a:cubicBezTo>
                  <a:cubicBezTo>
                    <a:pt x="503137" y="380666"/>
                    <a:pt x="498930" y="383727"/>
                    <a:pt x="498930" y="383727"/>
                  </a:cubicBezTo>
                  <a:lnTo>
                    <a:pt x="493411" y="383727"/>
                  </a:lnTo>
                  <a:cubicBezTo>
                    <a:pt x="493411" y="383727"/>
                    <a:pt x="487454" y="387125"/>
                    <a:pt x="486310" y="387428"/>
                  </a:cubicBezTo>
                  <a:cubicBezTo>
                    <a:pt x="485166" y="387730"/>
                    <a:pt x="482978" y="388941"/>
                    <a:pt x="481834" y="389816"/>
                  </a:cubicBezTo>
                  <a:cubicBezTo>
                    <a:pt x="480689" y="390691"/>
                    <a:pt x="475877" y="392844"/>
                    <a:pt x="475305" y="392844"/>
                  </a:cubicBezTo>
                  <a:cubicBezTo>
                    <a:pt x="474733" y="392844"/>
                    <a:pt x="470829" y="392541"/>
                    <a:pt x="468776" y="392272"/>
                  </a:cubicBezTo>
                  <a:cubicBezTo>
                    <a:pt x="466756" y="391969"/>
                    <a:pt x="465747" y="390388"/>
                    <a:pt x="465747" y="390388"/>
                  </a:cubicBezTo>
                  <a:lnTo>
                    <a:pt x="465309" y="386183"/>
                  </a:lnTo>
                  <a:lnTo>
                    <a:pt x="465007" y="382853"/>
                  </a:lnTo>
                  <a:lnTo>
                    <a:pt x="465007" y="377773"/>
                  </a:lnTo>
                  <a:lnTo>
                    <a:pt x="463862" y="375587"/>
                  </a:lnTo>
                  <a:lnTo>
                    <a:pt x="460800" y="373265"/>
                  </a:lnTo>
                  <a:lnTo>
                    <a:pt x="459353" y="368354"/>
                  </a:lnTo>
                  <a:lnTo>
                    <a:pt x="458780" y="363275"/>
                  </a:lnTo>
                  <a:lnTo>
                    <a:pt x="457333" y="360651"/>
                  </a:lnTo>
                  <a:lnTo>
                    <a:pt x="455314" y="362097"/>
                  </a:lnTo>
                  <a:cubicBezTo>
                    <a:pt x="455314" y="362097"/>
                    <a:pt x="453732" y="363409"/>
                    <a:pt x="452857" y="363846"/>
                  </a:cubicBezTo>
                  <a:cubicBezTo>
                    <a:pt x="451982" y="364284"/>
                    <a:pt x="450266" y="366302"/>
                    <a:pt x="450266" y="366302"/>
                  </a:cubicBezTo>
                  <a:cubicBezTo>
                    <a:pt x="450266" y="366302"/>
                    <a:pt x="445924" y="366302"/>
                    <a:pt x="445049" y="366302"/>
                  </a:cubicBezTo>
                  <a:cubicBezTo>
                    <a:pt x="444174" y="366302"/>
                    <a:pt x="439968" y="363981"/>
                    <a:pt x="439968" y="363981"/>
                  </a:cubicBezTo>
                  <a:lnTo>
                    <a:pt x="438655" y="359070"/>
                  </a:lnTo>
                  <a:lnTo>
                    <a:pt x="439665" y="353553"/>
                  </a:lnTo>
                  <a:lnTo>
                    <a:pt x="442862" y="353418"/>
                  </a:lnTo>
                  <a:lnTo>
                    <a:pt x="449223" y="352106"/>
                  </a:lnTo>
                  <a:lnTo>
                    <a:pt x="451107" y="348910"/>
                  </a:lnTo>
                  <a:lnTo>
                    <a:pt x="447203" y="342384"/>
                  </a:lnTo>
                  <a:lnTo>
                    <a:pt x="444006" y="337608"/>
                  </a:lnTo>
                  <a:lnTo>
                    <a:pt x="443131" y="335589"/>
                  </a:lnTo>
                  <a:lnTo>
                    <a:pt x="439799" y="332393"/>
                  </a:lnTo>
                  <a:lnTo>
                    <a:pt x="432833" y="329198"/>
                  </a:lnTo>
                  <a:lnTo>
                    <a:pt x="426472" y="325127"/>
                  </a:lnTo>
                  <a:cubicBezTo>
                    <a:pt x="426472" y="325127"/>
                    <a:pt x="425025" y="320922"/>
                    <a:pt x="424722" y="320350"/>
                  </a:cubicBezTo>
                  <a:cubicBezTo>
                    <a:pt x="424419" y="319778"/>
                    <a:pt x="424587" y="316717"/>
                    <a:pt x="424587" y="316717"/>
                  </a:cubicBezTo>
                  <a:cubicBezTo>
                    <a:pt x="424587" y="316717"/>
                    <a:pt x="425900" y="315136"/>
                    <a:pt x="426775" y="314699"/>
                  </a:cubicBezTo>
                  <a:cubicBezTo>
                    <a:pt x="427650" y="314262"/>
                    <a:pt x="429972" y="313690"/>
                    <a:pt x="430847" y="313690"/>
                  </a:cubicBezTo>
                  <a:cubicBezTo>
                    <a:pt x="431722" y="313690"/>
                    <a:pt x="434616" y="311503"/>
                    <a:pt x="434616" y="311503"/>
                  </a:cubicBezTo>
                  <a:lnTo>
                    <a:pt x="436939" y="309182"/>
                  </a:lnTo>
                  <a:lnTo>
                    <a:pt x="438251" y="306726"/>
                  </a:lnTo>
                  <a:lnTo>
                    <a:pt x="440708" y="299326"/>
                  </a:lnTo>
                  <a:lnTo>
                    <a:pt x="438823" y="298888"/>
                  </a:lnTo>
                  <a:cubicBezTo>
                    <a:pt x="438823" y="298888"/>
                    <a:pt x="433169" y="303093"/>
                    <a:pt x="431419" y="303093"/>
                  </a:cubicBezTo>
                  <a:cubicBezTo>
                    <a:pt x="429669" y="303093"/>
                    <a:pt x="427953" y="302353"/>
                    <a:pt x="427953" y="302353"/>
                  </a:cubicBezTo>
                  <a:lnTo>
                    <a:pt x="427515" y="299897"/>
                  </a:lnTo>
                  <a:lnTo>
                    <a:pt x="428390" y="297576"/>
                  </a:lnTo>
                  <a:lnTo>
                    <a:pt x="428828" y="294112"/>
                  </a:lnTo>
                  <a:lnTo>
                    <a:pt x="428962" y="292530"/>
                  </a:lnTo>
                  <a:lnTo>
                    <a:pt x="428087" y="286307"/>
                  </a:lnTo>
                  <a:lnTo>
                    <a:pt x="424890" y="281967"/>
                  </a:lnTo>
                  <a:lnTo>
                    <a:pt x="422568" y="280790"/>
                  </a:lnTo>
                  <a:lnTo>
                    <a:pt x="419808" y="279915"/>
                  </a:lnTo>
                  <a:lnTo>
                    <a:pt x="414020" y="277729"/>
                  </a:lnTo>
                  <a:lnTo>
                    <a:pt x="411395" y="273827"/>
                  </a:lnTo>
                  <a:lnTo>
                    <a:pt x="409005" y="269050"/>
                  </a:lnTo>
                  <a:lnTo>
                    <a:pt x="406616" y="263096"/>
                  </a:lnTo>
                  <a:lnTo>
                    <a:pt x="405875" y="261077"/>
                  </a:lnTo>
                  <a:lnTo>
                    <a:pt x="405875" y="258487"/>
                  </a:lnTo>
                  <a:lnTo>
                    <a:pt x="406380" y="252533"/>
                  </a:lnTo>
                  <a:lnTo>
                    <a:pt x="406313" y="250346"/>
                  </a:lnTo>
                  <a:lnTo>
                    <a:pt x="400524" y="247890"/>
                  </a:lnTo>
                  <a:lnTo>
                    <a:pt x="398337" y="244560"/>
                  </a:lnTo>
                  <a:lnTo>
                    <a:pt x="396890" y="241230"/>
                  </a:lnTo>
                  <a:cubicBezTo>
                    <a:pt x="396890" y="241230"/>
                    <a:pt x="394568" y="229927"/>
                    <a:pt x="394298" y="229355"/>
                  </a:cubicBezTo>
                  <a:cubicBezTo>
                    <a:pt x="393995" y="228783"/>
                    <a:pt x="393726" y="223838"/>
                    <a:pt x="393726" y="223838"/>
                  </a:cubicBezTo>
                  <a:lnTo>
                    <a:pt x="392279" y="218187"/>
                  </a:lnTo>
                  <a:lnTo>
                    <a:pt x="387635" y="218489"/>
                  </a:lnTo>
                  <a:cubicBezTo>
                    <a:pt x="387635" y="218489"/>
                    <a:pt x="385750" y="218489"/>
                    <a:pt x="385010" y="218489"/>
                  </a:cubicBezTo>
                  <a:cubicBezTo>
                    <a:pt x="384269" y="218489"/>
                    <a:pt x="380231" y="213847"/>
                    <a:pt x="380231" y="213847"/>
                  </a:cubicBezTo>
                  <a:lnTo>
                    <a:pt x="380533" y="209945"/>
                  </a:lnTo>
                  <a:lnTo>
                    <a:pt x="379793" y="203722"/>
                  </a:lnTo>
                  <a:lnTo>
                    <a:pt x="379793" y="197364"/>
                  </a:lnTo>
                  <a:lnTo>
                    <a:pt x="378918" y="194471"/>
                  </a:lnTo>
                  <a:lnTo>
                    <a:pt x="374442" y="187945"/>
                  </a:lnTo>
                  <a:lnTo>
                    <a:pt x="371413" y="183303"/>
                  </a:lnTo>
                  <a:lnTo>
                    <a:pt x="369226" y="177214"/>
                  </a:lnTo>
                  <a:lnTo>
                    <a:pt x="367341" y="170688"/>
                  </a:lnTo>
                  <a:lnTo>
                    <a:pt x="366903" y="165608"/>
                  </a:lnTo>
                  <a:lnTo>
                    <a:pt x="363706" y="162580"/>
                  </a:lnTo>
                  <a:lnTo>
                    <a:pt x="361384" y="161706"/>
                  </a:lnTo>
                  <a:lnTo>
                    <a:pt x="358187" y="162715"/>
                  </a:lnTo>
                  <a:lnTo>
                    <a:pt x="357043" y="163287"/>
                  </a:lnTo>
                  <a:lnTo>
                    <a:pt x="354148" y="167795"/>
                  </a:lnTo>
                  <a:lnTo>
                    <a:pt x="349908" y="166348"/>
                  </a:lnTo>
                  <a:lnTo>
                    <a:pt x="346105" y="164061"/>
                  </a:lnTo>
                  <a:lnTo>
                    <a:pt x="345465" y="162210"/>
                  </a:lnTo>
                  <a:lnTo>
                    <a:pt x="343076" y="162009"/>
                  </a:lnTo>
                  <a:cubicBezTo>
                    <a:pt x="343076" y="162009"/>
                    <a:pt x="341999" y="162345"/>
                    <a:pt x="341763" y="162648"/>
                  </a:cubicBezTo>
                  <a:cubicBezTo>
                    <a:pt x="341562" y="162984"/>
                    <a:pt x="340350" y="164834"/>
                    <a:pt x="340013" y="165272"/>
                  </a:cubicBezTo>
                  <a:cubicBezTo>
                    <a:pt x="339677" y="165709"/>
                    <a:pt x="336850" y="169308"/>
                    <a:pt x="336210" y="169611"/>
                  </a:cubicBezTo>
                  <a:cubicBezTo>
                    <a:pt x="335571" y="169948"/>
                    <a:pt x="332307" y="170587"/>
                    <a:pt x="332307" y="170587"/>
                  </a:cubicBezTo>
                  <a:lnTo>
                    <a:pt x="326215" y="169948"/>
                  </a:lnTo>
                  <a:lnTo>
                    <a:pt x="321638" y="166920"/>
                  </a:lnTo>
                  <a:lnTo>
                    <a:pt x="317297" y="160932"/>
                  </a:lnTo>
                  <a:lnTo>
                    <a:pt x="314671" y="156155"/>
                  </a:lnTo>
                  <a:lnTo>
                    <a:pt x="312820" y="151816"/>
                  </a:lnTo>
                  <a:cubicBezTo>
                    <a:pt x="312820" y="151816"/>
                    <a:pt x="310869" y="147140"/>
                    <a:pt x="309994" y="147039"/>
                  </a:cubicBezTo>
                  <a:cubicBezTo>
                    <a:pt x="309118" y="146938"/>
                    <a:pt x="307604" y="144449"/>
                    <a:pt x="307166" y="144112"/>
                  </a:cubicBezTo>
                  <a:cubicBezTo>
                    <a:pt x="306729" y="143776"/>
                    <a:pt x="305315" y="140109"/>
                    <a:pt x="304979" y="139975"/>
                  </a:cubicBezTo>
                  <a:cubicBezTo>
                    <a:pt x="304642" y="139874"/>
                    <a:pt x="304743" y="137586"/>
                    <a:pt x="303902" y="136072"/>
                  </a:cubicBezTo>
                  <a:cubicBezTo>
                    <a:pt x="303027" y="134559"/>
                    <a:pt x="302488" y="132473"/>
                    <a:pt x="302388" y="132036"/>
                  </a:cubicBezTo>
                  <a:cubicBezTo>
                    <a:pt x="302286" y="131598"/>
                    <a:pt x="302286" y="129412"/>
                    <a:pt x="302388" y="129109"/>
                  </a:cubicBezTo>
                  <a:cubicBezTo>
                    <a:pt x="302488" y="128773"/>
                    <a:pt x="303801" y="128234"/>
                    <a:pt x="304239" y="128234"/>
                  </a:cubicBezTo>
                  <a:cubicBezTo>
                    <a:pt x="304676" y="128234"/>
                    <a:pt x="306089" y="127797"/>
                    <a:pt x="306089" y="127797"/>
                  </a:cubicBezTo>
                  <a:cubicBezTo>
                    <a:pt x="306089" y="127797"/>
                    <a:pt x="307301" y="127360"/>
                    <a:pt x="311643" y="126821"/>
                  </a:cubicBezTo>
                  <a:cubicBezTo>
                    <a:pt x="315984" y="126283"/>
                    <a:pt x="313931" y="126283"/>
                    <a:pt x="314234" y="126182"/>
                  </a:cubicBezTo>
                  <a:cubicBezTo>
                    <a:pt x="314571" y="126081"/>
                    <a:pt x="315008" y="125745"/>
                    <a:pt x="315748" y="125409"/>
                  </a:cubicBezTo>
                  <a:cubicBezTo>
                    <a:pt x="316523" y="125072"/>
                    <a:pt x="317498" y="123121"/>
                    <a:pt x="317936" y="122583"/>
                  </a:cubicBezTo>
                  <a:cubicBezTo>
                    <a:pt x="318373" y="122045"/>
                    <a:pt x="318474" y="120968"/>
                    <a:pt x="318710" y="120531"/>
                  </a:cubicBezTo>
                  <a:cubicBezTo>
                    <a:pt x="318912" y="120094"/>
                    <a:pt x="319047" y="117167"/>
                    <a:pt x="319047" y="116730"/>
                  </a:cubicBezTo>
                  <a:cubicBezTo>
                    <a:pt x="319047" y="116292"/>
                    <a:pt x="319047" y="115081"/>
                    <a:pt x="318710" y="114644"/>
                  </a:cubicBezTo>
                  <a:cubicBezTo>
                    <a:pt x="318373" y="114207"/>
                    <a:pt x="318071" y="113029"/>
                    <a:pt x="318071" y="113029"/>
                  </a:cubicBezTo>
                  <a:cubicBezTo>
                    <a:pt x="318071" y="113029"/>
                    <a:pt x="315580" y="110977"/>
                    <a:pt x="315143" y="110977"/>
                  </a:cubicBezTo>
                  <a:cubicBezTo>
                    <a:pt x="314705" y="110977"/>
                    <a:pt x="313090" y="109901"/>
                    <a:pt x="313090" y="109901"/>
                  </a:cubicBezTo>
                  <a:lnTo>
                    <a:pt x="310061" y="105898"/>
                  </a:lnTo>
                  <a:lnTo>
                    <a:pt x="308849" y="102096"/>
                  </a:lnTo>
                  <a:lnTo>
                    <a:pt x="308748" y="99069"/>
                  </a:lnTo>
                  <a:lnTo>
                    <a:pt x="304844" y="92442"/>
                  </a:lnTo>
                  <a:lnTo>
                    <a:pt x="301681" y="84402"/>
                  </a:lnTo>
                  <a:lnTo>
                    <a:pt x="300469" y="80062"/>
                  </a:lnTo>
                  <a:lnTo>
                    <a:pt x="298517" y="77472"/>
                  </a:lnTo>
                  <a:cubicBezTo>
                    <a:pt x="298517" y="77472"/>
                    <a:pt x="293637" y="77808"/>
                    <a:pt x="293200" y="77808"/>
                  </a:cubicBezTo>
                  <a:cubicBezTo>
                    <a:pt x="292762" y="77808"/>
                    <a:pt x="289397" y="74882"/>
                    <a:pt x="289397" y="74882"/>
                  </a:cubicBezTo>
                  <a:lnTo>
                    <a:pt x="287445" y="71182"/>
                  </a:lnTo>
                  <a:cubicBezTo>
                    <a:pt x="287445" y="71182"/>
                    <a:pt x="284719" y="68793"/>
                    <a:pt x="284180" y="68019"/>
                  </a:cubicBezTo>
                  <a:cubicBezTo>
                    <a:pt x="283642" y="67246"/>
                    <a:pt x="282969" y="65295"/>
                    <a:pt x="282531" y="64655"/>
                  </a:cubicBezTo>
                  <a:cubicBezTo>
                    <a:pt x="282094" y="64016"/>
                    <a:pt x="281555" y="62031"/>
                    <a:pt x="281555" y="62031"/>
                  </a:cubicBezTo>
                  <a:cubicBezTo>
                    <a:pt x="281555" y="62031"/>
                    <a:pt x="281118" y="58668"/>
                    <a:pt x="281118" y="58028"/>
                  </a:cubicBezTo>
                  <a:cubicBezTo>
                    <a:pt x="281118" y="57389"/>
                    <a:pt x="281757" y="55304"/>
                    <a:pt x="281757" y="55304"/>
                  </a:cubicBezTo>
                  <a:cubicBezTo>
                    <a:pt x="281757" y="55304"/>
                    <a:pt x="282531" y="53554"/>
                    <a:pt x="282969" y="52915"/>
                  </a:cubicBezTo>
                  <a:cubicBezTo>
                    <a:pt x="283406" y="52276"/>
                    <a:pt x="283844" y="51502"/>
                    <a:pt x="283844" y="51502"/>
                  </a:cubicBezTo>
                  <a:cubicBezTo>
                    <a:pt x="283844" y="51502"/>
                    <a:pt x="282228" y="48777"/>
                    <a:pt x="281892" y="48777"/>
                  </a:cubicBezTo>
                  <a:cubicBezTo>
                    <a:pt x="281555" y="48777"/>
                    <a:pt x="279940" y="48576"/>
                    <a:pt x="279940" y="48576"/>
                  </a:cubicBezTo>
                  <a:cubicBezTo>
                    <a:pt x="279940" y="48576"/>
                    <a:pt x="277012" y="49013"/>
                    <a:pt x="276137" y="49013"/>
                  </a:cubicBezTo>
                  <a:cubicBezTo>
                    <a:pt x="275262" y="49013"/>
                    <a:pt x="274521" y="49652"/>
                    <a:pt x="274185" y="49787"/>
                  </a:cubicBezTo>
                  <a:cubicBezTo>
                    <a:pt x="273849" y="49888"/>
                    <a:pt x="273209" y="50863"/>
                    <a:pt x="273209" y="50863"/>
                  </a:cubicBezTo>
                  <a:cubicBezTo>
                    <a:pt x="273209" y="50863"/>
                    <a:pt x="271897" y="52915"/>
                    <a:pt x="271594" y="53252"/>
                  </a:cubicBezTo>
                  <a:cubicBezTo>
                    <a:pt x="271257" y="53588"/>
                    <a:pt x="270718" y="54664"/>
                    <a:pt x="270718" y="54664"/>
                  </a:cubicBezTo>
                  <a:lnTo>
                    <a:pt x="270382" y="58264"/>
                  </a:lnTo>
                  <a:cubicBezTo>
                    <a:pt x="270382" y="58264"/>
                    <a:pt x="267791" y="61292"/>
                    <a:pt x="267017" y="61426"/>
                  </a:cubicBezTo>
                  <a:cubicBezTo>
                    <a:pt x="266243" y="61527"/>
                    <a:pt x="265502" y="63041"/>
                    <a:pt x="265502" y="63041"/>
                  </a:cubicBezTo>
                  <a:cubicBezTo>
                    <a:pt x="265502" y="63041"/>
                    <a:pt x="264291" y="66741"/>
                    <a:pt x="263988" y="67279"/>
                  </a:cubicBezTo>
                  <a:cubicBezTo>
                    <a:pt x="263651" y="67818"/>
                    <a:pt x="261262" y="70980"/>
                    <a:pt x="261262" y="70980"/>
                  </a:cubicBezTo>
                  <a:cubicBezTo>
                    <a:pt x="261262" y="70980"/>
                    <a:pt x="260084" y="72931"/>
                    <a:pt x="259613" y="73469"/>
                  </a:cubicBezTo>
                  <a:cubicBezTo>
                    <a:pt x="259175" y="74007"/>
                    <a:pt x="257223" y="76059"/>
                    <a:pt x="256886" y="76396"/>
                  </a:cubicBezTo>
                  <a:cubicBezTo>
                    <a:pt x="256550" y="76732"/>
                    <a:pt x="255574" y="78145"/>
                    <a:pt x="254262" y="79020"/>
                  </a:cubicBezTo>
                  <a:cubicBezTo>
                    <a:pt x="252949" y="79894"/>
                    <a:pt x="253185" y="79793"/>
                    <a:pt x="252848" y="79894"/>
                  </a:cubicBezTo>
                  <a:cubicBezTo>
                    <a:pt x="252511" y="79995"/>
                    <a:pt x="251334" y="80231"/>
                    <a:pt x="249482" y="80769"/>
                  </a:cubicBezTo>
                  <a:cubicBezTo>
                    <a:pt x="247631" y="81307"/>
                    <a:pt x="245882" y="80769"/>
                    <a:pt x="245343" y="81004"/>
                  </a:cubicBezTo>
                  <a:cubicBezTo>
                    <a:pt x="244805" y="81240"/>
                    <a:pt x="243055" y="82182"/>
                    <a:pt x="242853" y="82619"/>
                  </a:cubicBezTo>
                  <a:cubicBezTo>
                    <a:pt x="242651" y="83056"/>
                    <a:pt x="241978" y="84133"/>
                    <a:pt x="241978" y="84469"/>
                  </a:cubicBezTo>
                  <a:cubicBezTo>
                    <a:pt x="241978" y="84806"/>
                    <a:pt x="241540" y="85781"/>
                    <a:pt x="241439" y="86656"/>
                  </a:cubicBezTo>
                  <a:cubicBezTo>
                    <a:pt x="241338" y="87530"/>
                    <a:pt x="240699" y="90894"/>
                    <a:pt x="240699" y="90894"/>
                  </a:cubicBezTo>
                  <a:cubicBezTo>
                    <a:pt x="240699" y="90894"/>
                    <a:pt x="240699" y="92408"/>
                    <a:pt x="240699" y="93485"/>
                  </a:cubicBezTo>
                  <a:cubicBezTo>
                    <a:pt x="240699" y="94561"/>
                    <a:pt x="242449" y="99573"/>
                    <a:pt x="242449" y="99573"/>
                  </a:cubicBezTo>
                  <a:cubicBezTo>
                    <a:pt x="242449" y="99573"/>
                    <a:pt x="242449" y="102399"/>
                    <a:pt x="242449" y="103476"/>
                  </a:cubicBezTo>
                  <a:cubicBezTo>
                    <a:pt x="242449" y="104552"/>
                    <a:pt x="241574" y="110977"/>
                    <a:pt x="241574" y="111414"/>
                  </a:cubicBezTo>
                  <a:cubicBezTo>
                    <a:pt x="241574" y="111852"/>
                    <a:pt x="240497" y="115653"/>
                    <a:pt x="240396" y="116090"/>
                  </a:cubicBezTo>
                  <a:cubicBezTo>
                    <a:pt x="240295" y="116528"/>
                    <a:pt x="234304" y="116427"/>
                    <a:pt x="234304" y="116427"/>
                  </a:cubicBezTo>
                  <a:lnTo>
                    <a:pt x="229424" y="110002"/>
                  </a:lnTo>
                  <a:lnTo>
                    <a:pt x="225621" y="105561"/>
                  </a:lnTo>
                  <a:lnTo>
                    <a:pt x="220607" y="98497"/>
                  </a:lnTo>
                  <a:lnTo>
                    <a:pt x="219092" y="89582"/>
                  </a:lnTo>
                  <a:lnTo>
                    <a:pt x="218217" y="85142"/>
                  </a:lnTo>
                  <a:lnTo>
                    <a:pt x="218554" y="79490"/>
                  </a:lnTo>
                  <a:lnTo>
                    <a:pt x="219092" y="76665"/>
                  </a:lnTo>
                  <a:lnTo>
                    <a:pt x="220169" y="72763"/>
                  </a:lnTo>
                  <a:lnTo>
                    <a:pt x="219833" y="70038"/>
                  </a:lnTo>
                  <a:lnTo>
                    <a:pt x="219833" y="62099"/>
                  </a:lnTo>
                  <a:lnTo>
                    <a:pt x="219294" y="58836"/>
                  </a:lnTo>
                  <a:lnTo>
                    <a:pt x="218958" y="55035"/>
                  </a:lnTo>
                  <a:lnTo>
                    <a:pt x="218083" y="50897"/>
                  </a:lnTo>
                  <a:lnTo>
                    <a:pt x="218083" y="47297"/>
                  </a:lnTo>
                  <a:lnTo>
                    <a:pt x="220203" y="43732"/>
                  </a:lnTo>
                  <a:lnTo>
                    <a:pt x="222323" y="37004"/>
                  </a:lnTo>
                  <a:lnTo>
                    <a:pt x="224915" y="31251"/>
                  </a:lnTo>
                  <a:lnTo>
                    <a:pt x="226429" y="24523"/>
                  </a:lnTo>
                  <a:lnTo>
                    <a:pt x="227304" y="21496"/>
                  </a:lnTo>
                  <a:lnTo>
                    <a:pt x="227742" y="18872"/>
                  </a:lnTo>
                  <a:lnTo>
                    <a:pt x="227102" y="9318"/>
                  </a:lnTo>
                  <a:lnTo>
                    <a:pt x="226766" y="5618"/>
                  </a:lnTo>
                  <a:cubicBezTo>
                    <a:pt x="226766" y="5618"/>
                    <a:pt x="223602" y="1379"/>
                    <a:pt x="223165" y="1379"/>
                  </a:cubicBezTo>
                  <a:cubicBezTo>
                    <a:pt x="222727" y="1379"/>
                    <a:pt x="221549" y="1178"/>
                    <a:pt x="221549" y="1178"/>
                  </a:cubicBezTo>
                  <a:cubicBezTo>
                    <a:pt x="221549" y="1178"/>
                    <a:pt x="220035" y="639"/>
                    <a:pt x="219496" y="538"/>
                  </a:cubicBezTo>
                  <a:cubicBezTo>
                    <a:pt x="218958" y="437"/>
                    <a:pt x="216333" y="0"/>
                    <a:pt x="215256" y="0"/>
                  </a:cubicBezTo>
                  <a:cubicBezTo>
                    <a:pt x="214179" y="0"/>
                    <a:pt x="213203" y="538"/>
                    <a:pt x="211890" y="538"/>
                  </a:cubicBezTo>
                  <a:cubicBezTo>
                    <a:pt x="210578" y="538"/>
                    <a:pt x="208525" y="2388"/>
                    <a:pt x="208525" y="2388"/>
                  </a:cubicBezTo>
                  <a:lnTo>
                    <a:pt x="205900" y="4037"/>
                  </a:lnTo>
                  <a:lnTo>
                    <a:pt x="205900" y="4575"/>
                  </a:lnTo>
                  <a:lnTo>
                    <a:pt x="209602" y="9251"/>
                  </a:lnTo>
                  <a:cubicBezTo>
                    <a:pt x="209602" y="9251"/>
                    <a:pt x="210578" y="10899"/>
                    <a:pt x="210241" y="11000"/>
                  </a:cubicBezTo>
                  <a:cubicBezTo>
                    <a:pt x="209905" y="11101"/>
                    <a:pt x="209063" y="11539"/>
                    <a:pt x="208727" y="11774"/>
                  </a:cubicBezTo>
                  <a:cubicBezTo>
                    <a:pt x="208390" y="12009"/>
                    <a:pt x="207414" y="13826"/>
                    <a:pt x="207414" y="13826"/>
                  </a:cubicBezTo>
                  <a:lnTo>
                    <a:pt x="207852" y="14701"/>
                  </a:lnTo>
                  <a:lnTo>
                    <a:pt x="209501" y="16114"/>
                  </a:lnTo>
                  <a:lnTo>
                    <a:pt x="210140" y="17426"/>
                  </a:lnTo>
                  <a:cubicBezTo>
                    <a:pt x="210140" y="17426"/>
                    <a:pt x="210241" y="19612"/>
                    <a:pt x="210241" y="20049"/>
                  </a:cubicBezTo>
                  <a:cubicBezTo>
                    <a:pt x="210241" y="20487"/>
                    <a:pt x="209905" y="22236"/>
                    <a:pt x="209905" y="22236"/>
                  </a:cubicBezTo>
                  <a:lnTo>
                    <a:pt x="207414" y="22337"/>
                  </a:lnTo>
                  <a:cubicBezTo>
                    <a:pt x="207414" y="22337"/>
                    <a:pt x="204789" y="22438"/>
                    <a:pt x="204486" y="22438"/>
                  </a:cubicBezTo>
                  <a:cubicBezTo>
                    <a:pt x="204150" y="22438"/>
                    <a:pt x="203275" y="23851"/>
                    <a:pt x="203275" y="23851"/>
                  </a:cubicBezTo>
                  <a:lnTo>
                    <a:pt x="205227" y="26441"/>
                  </a:lnTo>
                  <a:lnTo>
                    <a:pt x="204587" y="27517"/>
                  </a:lnTo>
                  <a:lnTo>
                    <a:pt x="201424" y="28829"/>
                  </a:lnTo>
                  <a:lnTo>
                    <a:pt x="200549" y="31218"/>
                  </a:lnTo>
                  <a:cubicBezTo>
                    <a:pt x="200549" y="31218"/>
                    <a:pt x="200751" y="33707"/>
                    <a:pt x="200751" y="34144"/>
                  </a:cubicBezTo>
                  <a:cubicBezTo>
                    <a:pt x="200751" y="34582"/>
                    <a:pt x="200953" y="36331"/>
                    <a:pt x="200953" y="36331"/>
                  </a:cubicBezTo>
                  <a:lnTo>
                    <a:pt x="201929" y="39897"/>
                  </a:lnTo>
                  <a:cubicBezTo>
                    <a:pt x="201929" y="39897"/>
                    <a:pt x="201727" y="40973"/>
                    <a:pt x="201289" y="41209"/>
                  </a:cubicBezTo>
                  <a:cubicBezTo>
                    <a:pt x="200852" y="41444"/>
                    <a:pt x="199001" y="42823"/>
                    <a:pt x="199001" y="42823"/>
                  </a:cubicBezTo>
                  <a:lnTo>
                    <a:pt x="196308" y="43160"/>
                  </a:lnTo>
                  <a:lnTo>
                    <a:pt x="193683" y="43160"/>
                  </a:lnTo>
                  <a:cubicBezTo>
                    <a:pt x="193683" y="43160"/>
                    <a:pt x="192707" y="42790"/>
                    <a:pt x="192371" y="42790"/>
                  </a:cubicBezTo>
                  <a:cubicBezTo>
                    <a:pt x="192034" y="42790"/>
                    <a:pt x="191058" y="42521"/>
                    <a:pt x="191058" y="42521"/>
                  </a:cubicBezTo>
                  <a:lnTo>
                    <a:pt x="190183" y="40569"/>
                  </a:lnTo>
                  <a:lnTo>
                    <a:pt x="190183" y="38181"/>
                  </a:lnTo>
                  <a:lnTo>
                    <a:pt x="190284" y="35692"/>
                  </a:lnTo>
                  <a:lnTo>
                    <a:pt x="190722" y="32092"/>
                  </a:lnTo>
                  <a:lnTo>
                    <a:pt x="191260" y="28930"/>
                  </a:lnTo>
                  <a:lnTo>
                    <a:pt x="190284" y="23178"/>
                  </a:lnTo>
                  <a:lnTo>
                    <a:pt x="189510" y="21597"/>
                  </a:lnTo>
                  <a:cubicBezTo>
                    <a:pt x="189510" y="21597"/>
                    <a:pt x="186044" y="21428"/>
                    <a:pt x="185371" y="21597"/>
                  </a:cubicBezTo>
                  <a:cubicBezTo>
                    <a:pt x="185371" y="21597"/>
                    <a:pt x="184495" y="24389"/>
                    <a:pt x="184159" y="24591"/>
                  </a:cubicBezTo>
                  <a:cubicBezTo>
                    <a:pt x="183823" y="24792"/>
                    <a:pt x="183082" y="24490"/>
                    <a:pt x="183082" y="24490"/>
                  </a:cubicBezTo>
                  <a:cubicBezTo>
                    <a:pt x="183082" y="24490"/>
                    <a:pt x="183082" y="24490"/>
                    <a:pt x="182005" y="23716"/>
                  </a:cubicBezTo>
                  <a:cubicBezTo>
                    <a:pt x="180928" y="22942"/>
                    <a:pt x="181366" y="22841"/>
                    <a:pt x="181231" y="21967"/>
                  </a:cubicBezTo>
                  <a:cubicBezTo>
                    <a:pt x="181130" y="21092"/>
                    <a:pt x="178943" y="21967"/>
                    <a:pt x="178943" y="21967"/>
                  </a:cubicBezTo>
                  <a:lnTo>
                    <a:pt x="177866" y="22606"/>
                  </a:lnTo>
                  <a:cubicBezTo>
                    <a:pt x="177866" y="22606"/>
                    <a:pt x="175914" y="23918"/>
                    <a:pt x="175240" y="24120"/>
                  </a:cubicBezTo>
                  <a:cubicBezTo>
                    <a:pt x="174601" y="24322"/>
                    <a:pt x="173928" y="24994"/>
                    <a:pt x="173928" y="24994"/>
                  </a:cubicBezTo>
                  <a:lnTo>
                    <a:pt x="173726" y="26306"/>
                  </a:lnTo>
                  <a:cubicBezTo>
                    <a:pt x="173726" y="26306"/>
                    <a:pt x="175039" y="29031"/>
                    <a:pt x="175342" y="29233"/>
                  </a:cubicBezTo>
                  <a:cubicBezTo>
                    <a:pt x="175678" y="29468"/>
                    <a:pt x="175880" y="32059"/>
                    <a:pt x="175880" y="32496"/>
                  </a:cubicBezTo>
                  <a:cubicBezTo>
                    <a:pt x="175880" y="32933"/>
                    <a:pt x="175678" y="35221"/>
                    <a:pt x="175678" y="35658"/>
                  </a:cubicBezTo>
                  <a:cubicBezTo>
                    <a:pt x="175678" y="36095"/>
                    <a:pt x="175039" y="37407"/>
                    <a:pt x="174702" y="37508"/>
                  </a:cubicBezTo>
                  <a:cubicBezTo>
                    <a:pt x="174366" y="37609"/>
                    <a:pt x="173289" y="39897"/>
                    <a:pt x="173289" y="39897"/>
                  </a:cubicBezTo>
                  <a:lnTo>
                    <a:pt x="171236" y="41545"/>
                  </a:lnTo>
                  <a:cubicBezTo>
                    <a:pt x="171236" y="41545"/>
                    <a:pt x="171236" y="43193"/>
                    <a:pt x="171337" y="43496"/>
                  </a:cubicBezTo>
                  <a:cubicBezTo>
                    <a:pt x="171437" y="43833"/>
                    <a:pt x="173928" y="46759"/>
                    <a:pt x="173928" y="46759"/>
                  </a:cubicBezTo>
                  <a:cubicBezTo>
                    <a:pt x="173928" y="46759"/>
                    <a:pt x="174803" y="49047"/>
                    <a:pt x="174904" y="49820"/>
                  </a:cubicBezTo>
                  <a:cubicBezTo>
                    <a:pt x="175005" y="50594"/>
                    <a:pt x="174904" y="52982"/>
                    <a:pt x="174904" y="52982"/>
                  </a:cubicBezTo>
                  <a:lnTo>
                    <a:pt x="172178" y="55270"/>
                  </a:lnTo>
                  <a:lnTo>
                    <a:pt x="170327" y="57558"/>
                  </a:lnTo>
                  <a:cubicBezTo>
                    <a:pt x="170327" y="57558"/>
                    <a:pt x="168274" y="59408"/>
                    <a:pt x="168139" y="59744"/>
                  </a:cubicBezTo>
                  <a:cubicBezTo>
                    <a:pt x="168039" y="60081"/>
                    <a:pt x="168039" y="61258"/>
                    <a:pt x="168039" y="61594"/>
                  </a:cubicBezTo>
                  <a:cubicBezTo>
                    <a:pt x="168039" y="61931"/>
                    <a:pt x="167937" y="64218"/>
                    <a:pt x="167937" y="65194"/>
                  </a:cubicBezTo>
                  <a:cubicBezTo>
                    <a:pt x="167937" y="66169"/>
                    <a:pt x="168375" y="68558"/>
                    <a:pt x="168375" y="68558"/>
                  </a:cubicBezTo>
                  <a:cubicBezTo>
                    <a:pt x="168375" y="68558"/>
                    <a:pt x="168577" y="71282"/>
                    <a:pt x="168577" y="72359"/>
                  </a:cubicBezTo>
                  <a:cubicBezTo>
                    <a:pt x="168577" y="73435"/>
                    <a:pt x="168779" y="75723"/>
                    <a:pt x="168779" y="76699"/>
                  </a:cubicBezTo>
                  <a:cubicBezTo>
                    <a:pt x="168779" y="77674"/>
                    <a:pt x="168981" y="78751"/>
                    <a:pt x="168981" y="78751"/>
                  </a:cubicBezTo>
                  <a:lnTo>
                    <a:pt x="170394" y="82013"/>
                  </a:lnTo>
                  <a:cubicBezTo>
                    <a:pt x="170394" y="82013"/>
                    <a:pt x="171572" y="84940"/>
                    <a:pt x="171808" y="85377"/>
                  </a:cubicBezTo>
                  <a:cubicBezTo>
                    <a:pt x="172043" y="85815"/>
                    <a:pt x="173558" y="89078"/>
                    <a:pt x="173558" y="89078"/>
                  </a:cubicBezTo>
                  <a:lnTo>
                    <a:pt x="174736" y="94931"/>
                  </a:lnTo>
                  <a:lnTo>
                    <a:pt x="174399" y="101558"/>
                  </a:lnTo>
                  <a:lnTo>
                    <a:pt x="173962" y="103610"/>
                  </a:lnTo>
                  <a:cubicBezTo>
                    <a:pt x="173962" y="103610"/>
                    <a:pt x="172212" y="108723"/>
                    <a:pt x="172111" y="109060"/>
                  </a:cubicBezTo>
                  <a:cubicBezTo>
                    <a:pt x="172010" y="109396"/>
                    <a:pt x="170899" y="111785"/>
                    <a:pt x="170495" y="111885"/>
                  </a:cubicBezTo>
                  <a:cubicBezTo>
                    <a:pt x="170058" y="111986"/>
                    <a:pt x="167668" y="114711"/>
                    <a:pt x="167668" y="114711"/>
                  </a:cubicBezTo>
                  <a:lnTo>
                    <a:pt x="164841" y="114610"/>
                  </a:lnTo>
                  <a:lnTo>
                    <a:pt x="163327" y="113971"/>
                  </a:lnTo>
                  <a:lnTo>
                    <a:pt x="161476" y="112659"/>
                  </a:lnTo>
                  <a:lnTo>
                    <a:pt x="157908" y="111011"/>
                  </a:lnTo>
                  <a:lnTo>
                    <a:pt x="154981" y="111011"/>
                  </a:lnTo>
                  <a:lnTo>
                    <a:pt x="153029" y="111885"/>
                  </a:lnTo>
                  <a:lnTo>
                    <a:pt x="151817" y="113399"/>
                  </a:lnTo>
                  <a:lnTo>
                    <a:pt x="150942" y="114913"/>
                  </a:lnTo>
                  <a:lnTo>
                    <a:pt x="148552" y="116326"/>
                  </a:lnTo>
                  <a:lnTo>
                    <a:pt x="145288" y="118176"/>
                  </a:lnTo>
                  <a:lnTo>
                    <a:pt x="142898" y="118075"/>
                  </a:lnTo>
                  <a:lnTo>
                    <a:pt x="140846" y="116662"/>
                  </a:lnTo>
                  <a:lnTo>
                    <a:pt x="139230" y="115687"/>
                  </a:lnTo>
                  <a:lnTo>
                    <a:pt x="138692" y="113937"/>
                  </a:lnTo>
                  <a:lnTo>
                    <a:pt x="137918" y="111885"/>
                  </a:lnTo>
                  <a:lnTo>
                    <a:pt x="137918" y="108286"/>
                  </a:lnTo>
                  <a:lnTo>
                    <a:pt x="138961" y="106537"/>
                  </a:lnTo>
                  <a:cubicBezTo>
                    <a:pt x="138961" y="106537"/>
                    <a:pt x="139567" y="104048"/>
                    <a:pt x="139129" y="103375"/>
                  </a:cubicBezTo>
                  <a:cubicBezTo>
                    <a:pt x="138692" y="102736"/>
                    <a:pt x="138692" y="100448"/>
                    <a:pt x="138692" y="100448"/>
                  </a:cubicBezTo>
                  <a:cubicBezTo>
                    <a:pt x="138692" y="100448"/>
                    <a:pt x="138894" y="98833"/>
                    <a:pt x="138894" y="98396"/>
                  </a:cubicBezTo>
                  <a:cubicBezTo>
                    <a:pt x="138894" y="97959"/>
                    <a:pt x="139870" y="96108"/>
                    <a:pt x="139870" y="95671"/>
                  </a:cubicBezTo>
                  <a:cubicBezTo>
                    <a:pt x="139870" y="95234"/>
                    <a:pt x="139668" y="93518"/>
                    <a:pt x="139668" y="93518"/>
                  </a:cubicBezTo>
                  <a:lnTo>
                    <a:pt x="138254" y="89616"/>
                  </a:lnTo>
                  <a:cubicBezTo>
                    <a:pt x="138254" y="89616"/>
                    <a:pt x="137480" y="87867"/>
                    <a:pt x="137480" y="87430"/>
                  </a:cubicBezTo>
                  <a:cubicBezTo>
                    <a:pt x="137480" y="86992"/>
                    <a:pt x="136605" y="85579"/>
                    <a:pt x="136605" y="85579"/>
                  </a:cubicBezTo>
                  <a:cubicBezTo>
                    <a:pt x="136605" y="85579"/>
                    <a:pt x="134855" y="83830"/>
                    <a:pt x="134216" y="84234"/>
                  </a:cubicBezTo>
                  <a:cubicBezTo>
                    <a:pt x="133576" y="84637"/>
                    <a:pt x="132466" y="84267"/>
                    <a:pt x="132466" y="84267"/>
                  </a:cubicBezTo>
                  <a:cubicBezTo>
                    <a:pt x="132466" y="84267"/>
                    <a:pt x="130278" y="84166"/>
                    <a:pt x="129639" y="84267"/>
                  </a:cubicBezTo>
                  <a:cubicBezTo>
                    <a:pt x="128999" y="84368"/>
                    <a:pt x="126374" y="85344"/>
                    <a:pt x="126374" y="85344"/>
                  </a:cubicBezTo>
                  <a:lnTo>
                    <a:pt x="125398" y="86555"/>
                  </a:lnTo>
                  <a:lnTo>
                    <a:pt x="123985" y="89280"/>
                  </a:lnTo>
                  <a:cubicBezTo>
                    <a:pt x="123985" y="89280"/>
                    <a:pt x="123985" y="91231"/>
                    <a:pt x="123985" y="91769"/>
                  </a:cubicBezTo>
                  <a:cubicBezTo>
                    <a:pt x="123985" y="92307"/>
                    <a:pt x="126105" y="94258"/>
                    <a:pt x="126441" y="94595"/>
                  </a:cubicBezTo>
                  <a:cubicBezTo>
                    <a:pt x="126778" y="94931"/>
                    <a:pt x="126812" y="97757"/>
                    <a:pt x="126812" y="97757"/>
                  </a:cubicBezTo>
                  <a:cubicBezTo>
                    <a:pt x="126812" y="97757"/>
                    <a:pt x="127350" y="101121"/>
                    <a:pt x="127014" y="101895"/>
                  </a:cubicBezTo>
                  <a:cubicBezTo>
                    <a:pt x="126677" y="102668"/>
                    <a:pt x="125701" y="103947"/>
                    <a:pt x="125263" y="104518"/>
                  </a:cubicBezTo>
                  <a:cubicBezTo>
                    <a:pt x="124826" y="105057"/>
                    <a:pt x="123413" y="105830"/>
                    <a:pt x="122975" y="106032"/>
                  </a:cubicBezTo>
                  <a:cubicBezTo>
                    <a:pt x="122537" y="106234"/>
                    <a:pt x="120686" y="107983"/>
                    <a:pt x="120686" y="107983"/>
                  </a:cubicBezTo>
                  <a:cubicBezTo>
                    <a:pt x="120686" y="107983"/>
                    <a:pt x="118499" y="109598"/>
                    <a:pt x="118095" y="109598"/>
                  </a:cubicBezTo>
                  <a:cubicBezTo>
                    <a:pt x="117658" y="109598"/>
                    <a:pt x="116244" y="110473"/>
                    <a:pt x="116244" y="110473"/>
                  </a:cubicBezTo>
                  <a:cubicBezTo>
                    <a:pt x="116244" y="110473"/>
                    <a:pt x="114629" y="111448"/>
                    <a:pt x="114191" y="111448"/>
                  </a:cubicBezTo>
                  <a:cubicBezTo>
                    <a:pt x="113754" y="111448"/>
                    <a:pt x="112340" y="112861"/>
                    <a:pt x="112004" y="112861"/>
                  </a:cubicBezTo>
                  <a:cubicBezTo>
                    <a:pt x="111667" y="112861"/>
                    <a:pt x="109816" y="114812"/>
                    <a:pt x="109816" y="114812"/>
                  </a:cubicBezTo>
                  <a:lnTo>
                    <a:pt x="108302" y="115990"/>
                  </a:lnTo>
                  <a:cubicBezTo>
                    <a:pt x="108302" y="115990"/>
                    <a:pt x="106686" y="118042"/>
                    <a:pt x="106249" y="118378"/>
                  </a:cubicBezTo>
                  <a:cubicBezTo>
                    <a:pt x="105811" y="118714"/>
                    <a:pt x="105710" y="120430"/>
                    <a:pt x="105710" y="120430"/>
                  </a:cubicBezTo>
                  <a:cubicBezTo>
                    <a:pt x="105710" y="120430"/>
                    <a:pt x="105172" y="122045"/>
                    <a:pt x="104835" y="122482"/>
                  </a:cubicBezTo>
                  <a:cubicBezTo>
                    <a:pt x="104499" y="122919"/>
                    <a:pt x="104633" y="123559"/>
                    <a:pt x="104499" y="124130"/>
                  </a:cubicBezTo>
                  <a:cubicBezTo>
                    <a:pt x="104398" y="124668"/>
                    <a:pt x="104263" y="126182"/>
                    <a:pt x="104263" y="127292"/>
                  </a:cubicBezTo>
                  <a:cubicBezTo>
                    <a:pt x="104263" y="128369"/>
                    <a:pt x="104364" y="128369"/>
                    <a:pt x="104499" y="128705"/>
                  </a:cubicBezTo>
                  <a:cubicBezTo>
                    <a:pt x="104600" y="129042"/>
                    <a:pt x="104835" y="130455"/>
                    <a:pt x="104835" y="130455"/>
                  </a:cubicBezTo>
                  <a:cubicBezTo>
                    <a:pt x="104835" y="130455"/>
                    <a:pt x="106047" y="132944"/>
                    <a:pt x="106249" y="133381"/>
                  </a:cubicBezTo>
                  <a:cubicBezTo>
                    <a:pt x="106450" y="133819"/>
                    <a:pt x="107225" y="136308"/>
                    <a:pt x="107561" y="137418"/>
                  </a:cubicBezTo>
                  <a:cubicBezTo>
                    <a:pt x="107898" y="138495"/>
                    <a:pt x="108537" y="139470"/>
                    <a:pt x="108537" y="139907"/>
                  </a:cubicBezTo>
                  <a:cubicBezTo>
                    <a:pt x="108537" y="140345"/>
                    <a:pt x="108975" y="143271"/>
                    <a:pt x="109176" y="143709"/>
                  </a:cubicBezTo>
                  <a:cubicBezTo>
                    <a:pt x="109412" y="144146"/>
                    <a:pt x="109951" y="146736"/>
                    <a:pt x="110253" y="148284"/>
                  </a:cubicBezTo>
                  <a:cubicBezTo>
                    <a:pt x="110590" y="149797"/>
                    <a:pt x="110455" y="151547"/>
                    <a:pt x="110455" y="152825"/>
                  </a:cubicBezTo>
                  <a:cubicBezTo>
                    <a:pt x="110455" y="154137"/>
                    <a:pt x="110018" y="154036"/>
                    <a:pt x="109479" y="155449"/>
                  </a:cubicBezTo>
                  <a:cubicBezTo>
                    <a:pt x="108941" y="156862"/>
                    <a:pt x="108268" y="158375"/>
                    <a:pt x="108167" y="158712"/>
                  </a:cubicBezTo>
                  <a:cubicBezTo>
                    <a:pt x="108066" y="159048"/>
                    <a:pt x="108268" y="161975"/>
                    <a:pt x="108369" y="162311"/>
                  </a:cubicBezTo>
                  <a:cubicBezTo>
                    <a:pt x="108470" y="162648"/>
                    <a:pt x="109984" y="166752"/>
                    <a:pt x="109984" y="166752"/>
                  </a:cubicBezTo>
                  <a:lnTo>
                    <a:pt x="112912" y="168602"/>
                  </a:lnTo>
                  <a:cubicBezTo>
                    <a:pt x="112912" y="168602"/>
                    <a:pt x="113552" y="171428"/>
                    <a:pt x="113552" y="171764"/>
                  </a:cubicBezTo>
                  <a:cubicBezTo>
                    <a:pt x="113552" y="172100"/>
                    <a:pt x="113451" y="173715"/>
                    <a:pt x="113451" y="173715"/>
                  </a:cubicBezTo>
                  <a:cubicBezTo>
                    <a:pt x="113451" y="173715"/>
                    <a:pt x="113451" y="175330"/>
                    <a:pt x="113552" y="175767"/>
                  </a:cubicBezTo>
                  <a:cubicBezTo>
                    <a:pt x="113653" y="176204"/>
                    <a:pt x="115066" y="178795"/>
                    <a:pt x="115302" y="179669"/>
                  </a:cubicBezTo>
                  <a:cubicBezTo>
                    <a:pt x="115537" y="180544"/>
                    <a:pt x="116951" y="182058"/>
                    <a:pt x="117153" y="182394"/>
                  </a:cubicBezTo>
                  <a:cubicBezTo>
                    <a:pt x="117355" y="182731"/>
                    <a:pt x="118667" y="184144"/>
                    <a:pt x="120754" y="185758"/>
                  </a:cubicBezTo>
                  <a:cubicBezTo>
                    <a:pt x="122807" y="187373"/>
                    <a:pt x="122807" y="187709"/>
                    <a:pt x="122807" y="187709"/>
                  </a:cubicBezTo>
                  <a:cubicBezTo>
                    <a:pt x="122807" y="187709"/>
                    <a:pt x="124456" y="188046"/>
                    <a:pt x="125836" y="187911"/>
                  </a:cubicBezTo>
                  <a:cubicBezTo>
                    <a:pt x="127249" y="187810"/>
                    <a:pt x="128225" y="187474"/>
                    <a:pt x="128326" y="187137"/>
                  </a:cubicBezTo>
                  <a:cubicBezTo>
                    <a:pt x="128427" y="186801"/>
                    <a:pt x="128965" y="186061"/>
                    <a:pt x="129201" y="185085"/>
                  </a:cubicBezTo>
                  <a:cubicBezTo>
                    <a:pt x="129403" y="184110"/>
                    <a:pt x="129840" y="182260"/>
                    <a:pt x="129840" y="182260"/>
                  </a:cubicBezTo>
                  <a:lnTo>
                    <a:pt x="131893" y="180309"/>
                  </a:lnTo>
                  <a:cubicBezTo>
                    <a:pt x="131893" y="180309"/>
                    <a:pt x="132970" y="180510"/>
                    <a:pt x="133744" y="180510"/>
                  </a:cubicBezTo>
                  <a:cubicBezTo>
                    <a:pt x="134518" y="180510"/>
                    <a:pt x="135595" y="180948"/>
                    <a:pt x="135595" y="180948"/>
                  </a:cubicBezTo>
                  <a:cubicBezTo>
                    <a:pt x="135595" y="180948"/>
                    <a:pt x="136369" y="180309"/>
                    <a:pt x="136369" y="179871"/>
                  </a:cubicBezTo>
                  <a:cubicBezTo>
                    <a:pt x="136369" y="179434"/>
                    <a:pt x="136706" y="178021"/>
                    <a:pt x="136706" y="178021"/>
                  </a:cubicBezTo>
                  <a:lnTo>
                    <a:pt x="140307" y="177247"/>
                  </a:lnTo>
                  <a:lnTo>
                    <a:pt x="141821" y="177786"/>
                  </a:lnTo>
                  <a:cubicBezTo>
                    <a:pt x="141821" y="177786"/>
                    <a:pt x="143336" y="179434"/>
                    <a:pt x="143672" y="179838"/>
                  </a:cubicBezTo>
                  <a:cubicBezTo>
                    <a:pt x="144009" y="180275"/>
                    <a:pt x="143773" y="181150"/>
                    <a:pt x="143773" y="181150"/>
                  </a:cubicBezTo>
                  <a:cubicBezTo>
                    <a:pt x="143773" y="181150"/>
                    <a:pt x="144211" y="182764"/>
                    <a:pt x="144985" y="183975"/>
                  </a:cubicBezTo>
                  <a:cubicBezTo>
                    <a:pt x="145759" y="185186"/>
                    <a:pt x="147375" y="183975"/>
                    <a:pt x="147375" y="183975"/>
                  </a:cubicBezTo>
                  <a:lnTo>
                    <a:pt x="149125" y="183975"/>
                  </a:lnTo>
                  <a:lnTo>
                    <a:pt x="149899" y="183975"/>
                  </a:lnTo>
                  <a:lnTo>
                    <a:pt x="153264" y="185422"/>
                  </a:lnTo>
                  <a:lnTo>
                    <a:pt x="153466" y="190030"/>
                  </a:lnTo>
                  <a:lnTo>
                    <a:pt x="153466" y="194605"/>
                  </a:lnTo>
                  <a:cubicBezTo>
                    <a:pt x="153466" y="194605"/>
                    <a:pt x="155216" y="206110"/>
                    <a:pt x="155216" y="206985"/>
                  </a:cubicBezTo>
                  <a:cubicBezTo>
                    <a:pt x="155216" y="207859"/>
                    <a:pt x="154139" y="211560"/>
                    <a:pt x="154139" y="211560"/>
                  </a:cubicBezTo>
                  <a:lnTo>
                    <a:pt x="151009" y="219465"/>
                  </a:lnTo>
                  <a:cubicBezTo>
                    <a:pt x="151009" y="219465"/>
                    <a:pt x="150437" y="222930"/>
                    <a:pt x="150437" y="224242"/>
                  </a:cubicBezTo>
                  <a:cubicBezTo>
                    <a:pt x="150437" y="225554"/>
                    <a:pt x="151312" y="232349"/>
                    <a:pt x="151750" y="232652"/>
                  </a:cubicBezTo>
                  <a:cubicBezTo>
                    <a:pt x="152187" y="232921"/>
                    <a:pt x="152490" y="235242"/>
                    <a:pt x="152490" y="235242"/>
                  </a:cubicBezTo>
                  <a:lnTo>
                    <a:pt x="152355" y="243921"/>
                  </a:lnTo>
                  <a:lnTo>
                    <a:pt x="151783" y="248832"/>
                  </a:lnTo>
                  <a:lnTo>
                    <a:pt x="151649" y="255190"/>
                  </a:lnTo>
                  <a:lnTo>
                    <a:pt x="151783" y="259530"/>
                  </a:lnTo>
                  <a:cubicBezTo>
                    <a:pt x="151783" y="259530"/>
                    <a:pt x="151783" y="264038"/>
                    <a:pt x="151783" y="264441"/>
                  </a:cubicBezTo>
                  <a:cubicBezTo>
                    <a:pt x="151783" y="264879"/>
                    <a:pt x="152086" y="265888"/>
                    <a:pt x="151918" y="266325"/>
                  </a:cubicBezTo>
                  <a:cubicBezTo>
                    <a:pt x="151783" y="266762"/>
                    <a:pt x="151480" y="270093"/>
                    <a:pt x="151480" y="270093"/>
                  </a:cubicBezTo>
                  <a:cubicBezTo>
                    <a:pt x="151480" y="270093"/>
                    <a:pt x="150302" y="272279"/>
                    <a:pt x="149899" y="272683"/>
                  </a:cubicBezTo>
                  <a:cubicBezTo>
                    <a:pt x="149495" y="273087"/>
                    <a:pt x="148452" y="275273"/>
                    <a:pt x="148452" y="275273"/>
                  </a:cubicBezTo>
                  <a:cubicBezTo>
                    <a:pt x="148452" y="275273"/>
                    <a:pt x="148754" y="278738"/>
                    <a:pt x="149461" y="279915"/>
                  </a:cubicBezTo>
                  <a:cubicBezTo>
                    <a:pt x="150168" y="281093"/>
                    <a:pt x="151043" y="282674"/>
                    <a:pt x="151043" y="283246"/>
                  </a:cubicBezTo>
                  <a:cubicBezTo>
                    <a:pt x="151043" y="283818"/>
                    <a:pt x="151918" y="289032"/>
                    <a:pt x="151918" y="289604"/>
                  </a:cubicBezTo>
                  <a:cubicBezTo>
                    <a:pt x="151918" y="290176"/>
                    <a:pt x="152658" y="298451"/>
                    <a:pt x="152658" y="299023"/>
                  </a:cubicBezTo>
                  <a:cubicBezTo>
                    <a:pt x="152658" y="299595"/>
                    <a:pt x="149899" y="304674"/>
                    <a:pt x="149899" y="304674"/>
                  </a:cubicBezTo>
                  <a:cubicBezTo>
                    <a:pt x="149899" y="304674"/>
                    <a:pt x="149394" y="309014"/>
                    <a:pt x="148855" y="309888"/>
                  </a:cubicBezTo>
                  <a:cubicBezTo>
                    <a:pt x="148317" y="310763"/>
                    <a:pt x="146264" y="312378"/>
                    <a:pt x="146028" y="312714"/>
                  </a:cubicBezTo>
                  <a:cubicBezTo>
                    <a:pt x="145826" y="313050"/>
                    <a:pt x="144850" y="314564"/>
                    <a:pt x="144177" y="315876"/>
                  </a:cubicBezTo>
                  <a:cubicBezTo>
                    <a:pt x="143538" y="317188"/>
                    <a:pt x="144177" y="317726"/>
                    <a:pt x="144615" y="318601"/>
                  </a:cubicBezTo>
                  <a:cubicBezTo>
                    <a:pt x="145052" y="319476"/>
                    <a:pt x="145490" y="320990"/>
                    <a:pt x="145793" y="321662"/>
                  </a:cubicBezTo>
                  <a:cubicBezTo>
                    <a:pt x="146129" y="322301"/>
                    <a:pt x="146567" y="323849"/>
                    <a:pt x="146432" y="324387"/>
                  </a:cubicBezTo>
                  <a:cubicBezTo>
                    <a:pt x="146331" y="324925"/>
                    <a:pt x="144581" y="325800"/>
                    <a:pt x="144043" y="326002"/>
                  </a:cubicBezTo>
                  <a:cubicBezTo>
                    <a:pt x="143504" y="326237"/>
                    <a:pt x="141552" y="328289"/>
                    <a:pt x="141552" y="328289"/>
                  </a:cubicBezTo>
                  <a:lnTo>
                    <a:pt x="138456" y="331115"/>
                  </a:lnTo>
                  <a:cubicBezTo>
                    <a:pt x="138456" y="331115"/>
                    <a:pt x="137110" y="332360"/>
                    <a:pt x="136942" y="332427"/>
                  </a:cubicBezTo>
                  <a:cubicBezTo>
                    <a:pt x="136773" y="332494"/>
                    <a:pt x="136336" y="333739"/>
                    <a:pt x="136302" y="333941"/>
                  </a:cubicBezTo>
                  <a:cubicBezTo>
                    <a:pt x="136269" y="334143"/>
                    <a:pt x="136538" y="335623"/>
                    <a:pt x="136538" y="335623"/>
                  </a:cubicBezTo>
                  <a:lnTo>
                    <a:pt x="138120" y="337843"/>
                  </a:lnTo>
                  <a:lnTo>
                    <a:pt x="138759" y="338617"/>
                  </a:lnTo>
                  <a:lnTo>
                    <a:pt x="140509" y="338617"/>
                  </a:lnTo>
                  <a:lnTo>
                    <a:pt x="141754" y="338617"/>
                  </a:lnTo>
                  <a:lnTo>
                    <a:pt x="143370" y="341644"/>
                  </a:lnTo>
                  <a:cubicBezTo>
                    <a:pt x="143370" y="341644"/>
                    <a:pt x="143740" y="343461"/>
                    <a:pt x="143908" y="343831"/>
                  </a:cubicBezTo>
                  <a:cubicBezTo>
                    <a:pt x="144076" y="344201"/>
                    <a:pt x="144076" y="345580"/>
                    <a:pt x="144009" y="346488"/>
                  </a:cubicBezTo>
                  <a:cubicBezTo>
                    <a:pt x="143942" y="347397"/>
                    <a:pt x="143908" y="348170"/>
                    <a:pt x="143908" y="348944"/>
                  </a:cubicBezTo>
                  <a:cubicBezTo>
                    <a:pt x="143908" y="349718"/>
                    <a:pt x="143370" y="349650"/>
                    <a:pt x="143370" y="349650"/>
                  </a:cubicBezTo>
                  <a:cubicBezTo>
                    <a:pt x="143370" y="349650"/>
                    <a:pt x="141754" y="350290"/>
                    <a:pt x="141317" y="350458"/>
                  </a:cubicBezTo>
                  <a:cubicBezTo>
                    <a:pt x="140879" y="350626"/>
                    <a:pt x="138826" y="350458"/>
                    <a:pt x="138591" y="350458"/>
                  </a:cubicBezTo>
                  <a:cubicBezTo>
                    <a:pt x="138389" y="350458"/>
                    <a:pt x="136807" y="349819"/>
                    <a:pt x="136571" y="349650"/>
                  </a:cubicBezTo>
                  <a:cubicBezTo>
                    <a:pt x="136369" y="349482"/>
                    <a:pt x="135696" y="348507"/>
                    <a:pt x="135595" y="348305"/>
                  </a:cubicBezTo>
                  <a:cubicBezTo>
                    <a:pt x="135494" y="348103"/>
                    <a:pt x="134788" y="346623"/>
                    <a:pt x="134788" y="346455"/>
                  </a:cubicBezTo>
                  <a:cubicBezTo>
                    <a:pt x="134788" y="346286"/>
                    <a:pt x="133711" y="344975"/>
                    <a:pt x="133273" y="344672"/>
                  </a:cubicBezTo>
                  <a:cubicBezTo>
                    <a:pt x="132836" y="344335"/>
                    <a:pt x="131792" y="343831"/>
                    <a:pt x="131792" y="343831"/>
                  </a:cubicBezTo>
                  <a:lnTo>
                    <a:pt x="130042" y="343831"/>
                  </a:lnTo>
                  <a:lnTo>
                    <a:pt x="127922" y="343831"/>
                  </a:lnTo>
                  <a:cubicBezTo>
                    <a:pt x="127922" y="343831"/>
                    <a:pt x="125701" y="343932"/>
                    <a:pt x="125364" y="343932"/>
                  </a:cubicBezTo>
                  <a:cubicBezTo>
                    <a:pt x="125028" y="343932"/>
                    <a:pt x="124927" y="344268"/>
                    <a:pt x="124994" y="344504"/>
                  </a:cubicBezTo>
                  <a:cubicBezTo>
                    <a:pt x="125062" y="344739"/>
                    <a:pt x="125701" y="346017"/>
                    <a:pt x="125701" y="346791"/>
                  </a:cubicBezTo>
                  <a:cubicBezTo>
                    <a:pt x="125701" y="347565"/>
                    <a:pt x="126340" y="348406"/>
                    <a:pt x="126340" y="349247"/>
                  </a:cubicBezTo>
                  <a:cubicBezTo>
                    <a:pt x="126340" y="350088"/>
                    <a:pt x="125802" y="350323"/>
                    <a:pt x="125802" y="350323"/>
                  </a:cubicBezTo>
                  <a:lnTo>
                    <a:pt x="125162" y="351131"/>
                  </a:lnTo>
                  <a:cubicBezTo>
                    <a:pt x="125162" y="351131"/>
                    <a:pt x="124288" y="352611"/>
                    <a:pt x="124254" y="352745"/>
                  </a:cubicBezTo>
                  <a:cubicBezTo>
                    <a:pt x="124186" y="352914"/>
                    <a:pt x="124254" y="355201"/>
                    <a:pt x="124254" y="355201"/>
                  </a:cubicBezTo>
                  <a:lnTo>
                    <a:pt x="124624" y="356345"/>
                  </a:lnTo>
                  <a:lnTo>
                    <a:pt x="126576" y="357657"/>
                  </a:lnTo>
                  <a:cubicBezTo>
                    <a:pt x="126576" y="357657"/>
                    <a:pt x="128427" y="360482"/>
                    <a:pt x="129066" y="360819"/>
                  </a:cubicBezTo>
                  <a:cubicBezTo>
                    <a:pt x="129706" y="361155"/>
                    <a:pt x="130817" y="362669"/>
                    <a:pt x="130817" y="362669"/>
                  </a:cubicBezTo>
                  <a:lnTo>
                    <a:pt x="132230" y="364620"/>
                  </a:lnTo>
                  <a:lnTo>
                    <a:pt x="134417" y="369094"/>
                  </a:lnTo>
                  <a:cubicBezTo>
                    <a:pt x="134417" y="369094"/>
                    <a:pt x="134417" y="371920"/>
                    <a:pt x="134417" y="372357"/>
                  </a:cubicBezTo>
                  <a:cubicBezTo>
                    <a:pt x="134417" y="372794"/>
                    <a:pt x="133543" y="374847"/>
                    <a:pt x="133442" y="375183"/>
                  </a:cubicBezTo>
                  <a:cubicBezTo>
                    <a:pt x="133341" y="375519"/>
                    <a:pt x="132365" y="378782"/>
                    <a:pt x="132365" y="378782"/>
                  </a:cubicBezTo>
                  <a:lnTo>
                    <a:pt x="131927" y="380834"/>
                  </a:lnTo>
                  <a:lnTo>
                    <a:pt x="130413" y="382886"/>
                  </a:lnTo>
                  <a:cubicBezTo>
                    <a:pt x="130413" y="382886"/>
                    <a:pt x="126071" y="381575"/>
                    <a:pt x="125095" y="380935"/>
                  </a:cubicBezTo>
                  <a:cubicBezTo>
                    <a:pt x="124119" y="380296"/>
                    <a:pt x="122908" y="379085"/>
                    <a:pt x="122908" y="379085"/>
                  </a:cubicBezTo>
                  <a:lnTo>
                    <a:pt x="119643" y="376899"/>
                  </a:lnTo>
                  <a:lnTo>
                    <a:pt x="116480" y="376899"/>
                  </a:lnTo>
                  <a:lnTo>
                    <a:pt x="113215" y="378211"/>
                  </a:lnTo>
                  <a:cubicBezTo>
                    <a:pt x="113215" y="378211"/>
                    <a:pt x="112239" y="379859"/>
                    <a:pt x="112239" y="380263"/>
                  </a:cubicBezTo>
                  <a:cubicBezTo>
                    <a:pt x="112239" y="380700"/>
                    <a:pt x="111028" y="382315"/>
                    <a:pt x="111028" y="382752"/>
                  </a:cubicBezTo>
                  <a:cubicBezTo>
                    <a:pt x="111028" y="383189"/>
                    <a:pt x="109951" y="386755"/>
                    <a:pt x="109951" y="386755"/>
                  </a:cubicBezTo>
                  <a:lnTo>
                    <a:pt x="109614" y="390455"/>
                  </a:lnTo>
                  <a:lnTo>
                    <a:pt x="104398" y="396544"/>
                  </a:lnTo>
                  <a:cubicBezTo>
                    <a:pt x="104398" y="396544"/>
                    <a:pt x="102109" y="399370"/>
                    <a:pt x="101806" y="399370"/>
                  </a:cubicBezTo>
                  <a:cubicBezTo>
                    <a:pt x="101470" y="399370"/>
                    <a:pt x="100729" y="400446"/>
                    <a:pt x="100393" y="400682"/>
                  </a:cubicBezTo>
                  <a:cubicBezTo>
                    <a:pt x="100056" y="400884"/>
                    <a:pt x="99316" y="401994"/>
                    <a:pt x="98878" y="401994"/>
                  </a:cubicBezTo>
                  <a:cubicBezTo>
                    <a:pt x="98441" y="401994"/>
                    <a:pt x="96825" y="403205"/>
                    <a:pt x="96825" y="403205"/>
                  </a:cubicBezTo>
                  <a:cubicBezTo>
                    <a:pt x="96825" y="403205"/>
                    <a:pt x="94234" y="405055"/>
                    <a:pt x="93561" y="405055"/>
                  </a:cubicBezTo>
                  <a:cubicBezTo>
                    <a:pt x="92921" y="405055"/>
                    <a:pt x="91811" y="404718"/>
                    <a:pt x="91508" y="404618"/>
                  </a:cubicBezTo>
                  <a:cubicBezTo>
                    <a:pt x="91171" y="404517"/>
                    <a:pt x="90532" y="404281"/>
                    <a:pt x="90532" y="404281"/>
                  </a:cubicBezTo>
                  <a:lnTo>
                    <a:pt x="85753" y="400682"/>
                  </a:lnTo>
                  <a:cubicBezTo>
                    <a:pt x="85753" y="400682"/>
                    <a:pt x="83801" y="397419"/>
                    <a:pt x="83363" y="397755"/>
                  </a:cubicBezTo>
                  <a:cubicBezTo>
                    <a:pt x="82926" y="398092"/>
                    <a:pt x="81411" y="397755"/>
                    <a:pt x="81411" y="397755"/>
                  </a:cubicBezTo>
                  <a:lnTo>
                    <a:pt x="79224" y="397755"/>
                  </a:lnTo>
                  <a:lnTo>
                    <a:pt x="77710" y="398832"/>
                  </a:lnTo>
                  <a:cubicBezTo>
                    <a:pt x="77710" y="398832"/>
                    <a:pt x="77171" y="400345"/>
                    <a:pt x="77171" y="400783"/>
                  </a:cubicBezTo>
                  <a:cubicBezTo>
                    <a:pt x="77171" y="401220"/>
                    <a:pt x="77508" y="402296"/>
                    <a:pt x="77508" y="402296"/>
                  </a:cubicBezTo>
                  <a:lnTo>
                    <a:pt x="79560" y="404348"/>
                  </a:lnTo>
                  <a:lnTo>
                    <a:pt x="81176" y="407813"/>
                  </a:lnTo>
                  <a:lnTo>
                    <a:pt x="81411" y="408991"/>
                  </a:lnTo>
                  <a:lnTo>
                    <a:pt x="79662" y="411615"/>
                  </a:lnTo>
                  <a:lnTo>
                    <a:pt x="78046" y="411615"/>
                  </a:lnTo>
                  <a:lnTo>
                    <a:pt x="76532" y="409865"/>
                  </a:lnTo>
                  <a:lnTo>
                    <a:pt x="74782" y="408991"/>
                  </a:lnTo>
                  <a:lnTo>
                    <a:pt x="73267" y="410740"/>
                  </a:lnTo>
                  <a:cubicBezTo>
                    <a:pt x="73267" y="410740"/>
                    <a:pt x="73065" y="412254"/>
                    <a:pt x="73065" y="413330"/>
                  </a:cubicBezTo>
                  <a:cubicBezTo>
                    <a:pt x="73065" y="414407"/>
                    <a:pt x="73503" y="415618"/>
                    <a:pt x="73503" y="415618"/>
                  </a:cubicBezTo>
                  <a:lnTo>
                    <a:pt x="74041" y="416392"/>
                  </a:lnTo>
                  <a:lnTo>
                    <a:pt x="74142" y="418881"/>
                  </a:lnTo>
                  <a:lnTo>
                    <a:pt x="74479" y="420294"/>
                  </a:lnTo>
                  <a:lnTo>
                    <a:pt x="72964" y="422682"/>
                  </a:lnTo>
                  <a:lnTo>
                    <a:pt x="70373" y="426382"/>
                  </a:lnTo>
                  <a:cubicBezTo>
                    <a:pt x="70373" y="426382"/>
                    <a:pt x="67310" y="428132"/>
                    <a:pt x="66671" y="428132"/>
                  </a:cubicBezTo>
                  <a:cubicBezTo>
                    <a:pt x="66031" y="428132"/>
                    <a:pt x="61017" y="431832"/>
                    <a:pt x="61017" y="431832"/>
                  </a:cubicBezTo>
                  <a:lnTo>
                    <a:pt x="58426" y="434220"/>
                  </a:lnTo>
                  <a:cubicBezTo>
                    <a:pt x="58426" y="434220"/>
                    <a:pt x="57349" y="435970"/>
                    <a:pt x="56675" y="436172"/>
                  </a:cubicBezTo>
                  <a:cubicBezTo>
                    <a:pt x="56036" y="436407"/>
                    <a:pt x="54925" y="439435"/>
                    <a:pt x="54925" y="439435"/>
                  </a:cubicBezTo>
                  <a:lnTo>
                    <a:pt x="51223" y="443337"/>
                  </a:lnTo>
                  <a:lnTo>
                    <a:pt x="47959" y="442900"/>
                  </a:lnTo>
                  <a:lnTo>
                    <a:pt x="44930" y="439435"/>
                  </a:lnTo>
                  <a:lnTo>
                    <a:pt x="39714" y="439435"/>
                  </a:lnTo>
                  <a:lnTo>
                    <a:pt x="36887" y="439435"/>
                  </a:lnTo>
                  <a:cubicBezTo>
                    <a:pt x="36887" y="439435"/>
                    <a:pt x="36011" y="440309"/>
                    <a:pt x="35810" y="440948"/>
                  </a:cubicBezTo>
                  <a:cubicBezTo>
                    <a:pt x="35608" y="441588"/>
                    <a:pt x="33622" y="444212"/>
                    <a:pt x="33622" y="444212"/>
                  </a:cubicBezTo>
                  <a:lnTo>
                    <a:pt x="30795" y="450065"/>
                  </a:lnTo>
                  <a:lnTo>
                    <a:pt x="29045" y="453967"/>
                  </a:lnTo>
                  <a:lnTo>
                    <a:pt x="27093" y="458307"/>
                  </a:lnTo>
                  <a:lnTo>
                    <a:pt x="25579" y="460897"/>
                  </a:lnTo>
                  <a:lnTo>
                    <a:pt x="24502" y="463722"/>
                  </a:lnTo>
                  <a:lnTo>
                    <a:pt x="24939" y="466346"/>
                  </a:lnTo>
                  <a:cubicBezTo>
                    <a:pt x="24939" y="466346"/>
                    <a:pt x="24939" y="470249"/>
                    <a:pt x="24939" y="470921"/>
                  </a:cubicBezTo>
                  <a:cubicBezTo>
                    <a:pt x="24939" y="471561"/>
                    <a:pt x="26891" y="476775"/>
                    <a:pt x="28641" y="477649"/>
                  </a:cubicBezTo>
                  <a:cubicBezTo>
                    <a:pt x="30391" y="478524"/>
                    <a:pt x="31670" y="479600"/>
                    <a:pt x="31670" y="479600"/>
                  </a:cubicBezTo>
                  <a:cubicBezTo>
                    <a:pt x="31670" y="479600"/>
                    <a:pt x="29920" y="482863"/>
                    <a:pt x="29281" y="484175"/>
                  </a:cubicBezTo>
                  <a:cubicBezTo>
                    <a:pt x="28641" y="485487"/>
                    <a:pt x="26016" y="484175"/>
                    <a:pt x="26016" y="484175"/>
                  </a:cubicBezTo>
                  <a:lnTo>
                    <a:pt x="21035" y="486564"/>
                  </a:lnTo>
                  <a:lnTo>
                    <a:pt x="17131" y="488078"/>
                  </a:lnTo>
                  <a:lnTo>
                    <a:pt x="16054" y="488078"/>
                  </a:lnTo>
                  <a:lnTo>
                    <a:pt x="13026" y="489390"/>
                  </a:lnTo>
                  <a:lnTo>
                    <a:pt x="11073" y="491340"/>
                  </a:lnTo>
                  <a:cubicBezTo>
                    <a:pt x="11073" y="491340"/>
                    <a:pt x="9559" y="493292"/>
                    <a:pt x="8684" y="493292"/>
                  </a:cubicBezTo>
                  <a:cubicBezTo>
                    <a:pt x="7809" y="493292"/>
                    <a:pt x="6497" y="494604"/>
                    <a:pt x="6497" y="494604"/>
                  </a:cubicBezTo>
                  <a:lnTo>
                    <a:pt x="3468" y="496790"/>
                  </a:lnTo>
                  <a:lnTo>
                    <a:pt x="3030" y="498102"/>
                  </a:lnTo>
                  <a:lnTo>
                    <a:pt x="1280" y="503955"/>
                  </a:lnTo>
                  <a:cubicBezTo>
                    <a:pt x="1280" y="503955"/>
                    <a:pt x="1078" y="505907"/>
                    <a:pt x="1078" y="506781"/>
                  </a:cubicBezTo>
                  <a:cubicBezTo>
                    <a:pt x="1078" y="507656"/>
                    <a:pt x="1280" y="510246"/>
                    <a:pt x="1280" y="510919"/>
                  </a:cubicBezTo>
                  <a:cubicBezTo>
                    <a:pt x="1280" y="511558"/>
                    <a:pt x="640" y="513307"/>
                    <a:pt x="640" y="513307"/>
                  </a:cubicBezTo>
                  <a:cubicBezTo>
                    <a:pt x="640" y="513307"/>
                    <a:pt x="640" y="518521"/>
                    <a:pt x="640" y="519396"/>
                  </a:cubicBezTo>
                  <a:cubicBezTo>
                    <a:pt x="640" y="520271"/>
                    <a:pt x="540" y="520708"/>
                    <a:pt x="102" y="521986"/>
                  </a:cubicBezTo>
                  <a:cubicBezTo>
                    <a:pt x="-335" y="523298"/>
                    <a:pt x="775" y="523937"/>
                    <a:pt x="775" y="523937"/>
                  </a:cubicBezTo>
                  <a:cubicBezTo>
                    <a:pt x="775" y="523937"/>
                    <a:pt x="-32" y="527402"/>
                    <a:pt x="775" y="529589"/>
                  </a:cubicBezTo>
                  <a:cubicBezTo>
                    <a:pt x="1583" y="531775"/>
                    <a:pt x="4982" y="533289"/>
                    <a:pt x="4982" y="533289"/>
                  </a:cubicBezTo>
                  <a:cubicBezTo>
                    <a:pt x="4982" y="533289"/>
                    <a:pt x="10838" y="533289"/>
                    <a:pt x="12588" y="533289"/>
                  </a:cubicBezTo>
                  <a:cubicBezTo>
                    <a:pt x="14338" y="533289"/>
                    <a:pt x="13026" y="536990"/>
                    <a:pt x="13026" y="536990"/>
                  </a:cubicBezTo>
                  <a:cubicBezTo>
                    <a:pt x="13026" y="536990"/>
                    <a:pt x="14540" y="542204"/>
                    <a:pt x="15213" y="542843"/>
                  </a:cubicBezTo>
                  <a:cubicBezTo>
                    <a:pt x="15852" y="543482"/>
                    <a:pt x="14338" y="547182"/>
                    <a:pt x="14338" y="547182"/>
                  </a:cubicBezTo>
                  <a:lnTo>
                    <a:pt x="14977" y="551757"/>
                  </a:lnTo>
                  <a:cubicBezTo>
                    <a:pt x="14977" y="551757"/>
                    <a:pt x="17602" y="553271"/>
                    <a:pt x="18444" y="554146"/>
                  </a:cubicBezTo>
                  <a:cubicBezTo>
                    <a:pt x="19319" y="555021"/>
                    <a:pt x="21708" y="555895"/>
                    <a:pt x="22348" y="556097"/>
                  </a:cubicBezTo>
                  <a:cubicBezTo>
                    <a:pt x="22987" y="556332"/>
                    <a:pt x="22583" y="557611"/>
                    <a:pt x="22583" y="558485"/>
                  </a:cubicBezTo>
                  <a:cubicBezTo>
                    <a:pt x="22583" y="559360"/>
                    <a:pt x="22583" y="560672"/>
                    <a:pt x="20194" y="563060"/>
                  </a:cubicBezTo>
                  <a:cubicBezTo>
                    <a:pt x="17804" y="565449"/>
                    <a:pt x="17367" y="565886"/>
                    <a:pt x="17367" y="565886"/>
                  </a:cubicBezTo>
                  <a:cubicBezTo>
                    <a:pt x="17367" y="565886"/>
                    <a:pt x="15852" y="566963"/>
                    <a:pt x="14102" y="566963"/>
                  </a:cubicBezTo>
                  <a:cubicBezTo>
                    <a:pt x="12352" y="566963"/>
                    <a:pt x="11275" y="569351"/>
                    <a:pt x="10636" y="569788"/>
                  </a:cubicBezTo>
                  <a:cubicBezTo>
                    <a:pt x="9997" y="570225"/>
                    <a:pt x="9323" y="572177"/>
                    <a:pt x="8684" y="572412"/>
                  </a:cubicBezTo>
                  <a:cubicBezTo>
                    <a:pt x="8045" y="572614"/>
                    <a:pt x="6497" y="574599"/>
                    <a:pt x="5857" y="575002"/>
                  </a:cubicBezTo>
                  <a:cubicBezTo>
                    <a:pt x="5218" y="575440"/>
                    <a:pt x="1717" y="578905"/>
                    <a:pt x="1078" y="580217"/>
                  </a:cubicBezTo>
                  <a:cubicBezTo>
                    <a:pt x="439" y="581528"/>
                    <a:pt x="1078" y="582605"/>
                    <a:pt x="1078" y="585868"/>
                  </a:cubicBezTo>
                  <a:cubicBezTo>
                    <a:pt x="1078" y="589131"/>
                    <a:pt x="1717" y="587617"/>
                    <a:pt x="2155" y="588256"/>
                  </a:cubicBezTo>
                  <a:cubicBezTo>
                    <a:pt x="2592" y="588895"/>
                    <a:pt x="5857" y="590645"/>
                    <a:pt x="7371" y="591082"/>
                  </a:cubicBezTo>
                  <a:cubicBezTo>
                    <a:pt x="8886" y="591519"/>
                    <a:pt x="15415" y="592394"/>
                    <a:pt x="15415" y="592394"/>
                  </a:cubicBezTo>
                  <a:cubicBezTo>
                    <a:pt x="15415" y="592394"/>
                    <a:pt x="18679" y="592394"/>
                    <a:pt x="20631" y="592394"/>
                  </a:cubicBezTo>
                  <a:cubicBezTo>
                    <a:pt x="22583" y="592394"/>
                    <a:pt x="24098" y="589568"/>
                    <a:pt x="24098" y="589568"/>
                  </a:cubicBezTo>
                  <a:lnTo>
                    <a:pt x="28237" y="586945"/>
                  </a:lnTo>
                  <a:lnTo>
                    <a:pt x="34329" y="585868"/>
                  </a:lnTo>
                  <a:lnTo>
                    <a:pt x="39343" y="582840"/>
                  </a:lnTo>
                  <a:lnTo>
                    <a:pt x="48699" y="581091"/>
                  </a:lnTo>
                  <a:lnTo>
                    <a:pt x="54791" y="577391"/>
                  </a:lnTo>
                  <a:cubicBezTo>
                    <a:pt x="54791" y="577391"/>
                    <a:pt x="60647" y="577189"/>
                    <a:pt x="61522" y="577189"/>
                  </a:cubicBezTo>
                  <a:cubicBezTo>
                    <a:pt x="62397" y="577189"/>
                    <a:pt x="66301" y="578064"/>
                    <a:pt x="69363" y="578064"/>
                  </a:cubicBezTo>
                  <a:cubicBezTo>
                    <a:pt x="72392" y="578064"/>
                    <a:pt x="76094" y="578265"/>
                    <a:pt x="76767" y="578064"/>
                  </a:cubicBezTo>
                  <a:cubicBezTo>
                    <a:pt x="77407" y="577862"/>
                    <a:pt x="81344" y="576987"/>
                    <a:pt x="81546" y="576112"/>
                  </a:cubicBezTo>
                  <a:cubicBezTo>
                    <a:pt x="81782" y="575238"/>
                    <a:pt x="85013" y="572210"/>
                    <a:pt x="86763" y="571537"/>
                  </a:cubicBezTo>
                  <a:cubicBezTo>
                    <a:pt x="88513" y="570898"/>
                    <a:pt x="93729" y="569788"/>
                    <a:pt x="93729" y="569788"/>
                  </a:cubicBezTo>
                  <a:lnTo>
                    <a:pt x="98946" y="569788"/>
                  </a:lnTo>
                  <a:lnTo>
                    <a:pt x="100023" y="571639"/>
                  </a:lnTo>
                  <a:cubicBezTo>
                    <a:pt x="100023" y="571639"/>
                    <a:pt x="102850" y="576314"/>
                    <a:pt x="103489" y="576953"/>
                  </a:cubicBezTo>
                  <a:cubicBezTo>
                    <a:pt x="104128" y="577593"/>
                    <a:pt x="106955" y="579981"/>
                    <a:pt x="106955" y="579981"/>
                  </a:cubicBezTo>
                  <a:lnTo>
                    <a:pt x="111869" y="577593"/>
                  </a:lnTo>
                  <a:cubicBezTo>
                    <a:pt x="111869" y="577593"/>
                    <a:pt x="118061" y="574767"/>
                    <a:pt x="119138" y="574565"/>
                  </a:cubicBezTo>
                  <a:cubicBezTo>
                    <a:pt x="120215" y="574330"/>
                    <a:pt x="122840" y="574330"/>
                    <a:pt x="124792" y="574565"/>
                  </a:cubicBezTo>
                  <a:cubicBezTo>
                    <a:pt x="126744" y="574767"/>
                    <a:pt x="128259" y="574565"/>
                    <a:pt x="128259" y="574565"/>
                  </a:cubicBezTo>
                  <a:cubicBezTo>
                    <a:pt x="128259" y="574565"/>
                    <a:pt x="131961" y="576079"/>
                    <a:pt x="132600" y="576314"/>
                  </a:cubicBezTo>
                  <a:cubicBezTo>
                    <a:pt x="133240" y="576516"/>
                    <a:pt x="133240" y="579376"/>
                    <a:pt x="133240" y="579376"/>
                  </a:cubicBezTo>
                  <a:cubicBezTo>
                    <a:pt x="133240" y="579376"/>
                    <a:pt x="131086" y="582403"/>
                    <a:pt x="130413" y="582639"/>
                  </a:cubicBezTo>
                  <a:cubicBezTo>
                    <a:pt x="129773" y="582840"/>
                    <a:pt x="126273" y="587415"/>
                    <a:pt x="126273" y="587415"/>
                  </a:cubicBezTo>
                  <a:lnTo>
                    <a:pt x="123244" y="588929"/>
                  </a:lnTo>
                  <a:cubicBezTo>
                    <a:pt x="123244" y="588929"/>
                    <a:pt x="120215" y="591318"/>
                    <a:pt x="119542" y="591519"/>
                  </a:cubicBezTo>
                  <a:cubicBezTo>
                    <a:pt x="118903" y="591721"/>
                    <a:pt x="115840" y="593033"/>
                    <a:pt x="114965" y="593471"/>
                  </a:cubicBezTo>
                  <a:cubicBezTo>
                    <a:pt x="114090" y="593908"/>
                    <a:pt x="111835" y="596296"/>
                    <a:pt x="111835" y="596296"/>
                  </a:cubicBezTo>
                  <a:cubicBezTo>
                    <a:pt x="111835" y="596296"/>
                    <a:pt x="112138" y="599122"/>
                    <a:pt x="111936" y="599997"/>
                  </a:cubicBezTo>
                  <a:cubicBezTo>
                    <a:pt x="111734" y="600871"/>
                    <a:pt x="111936" y="608911"/>
                    <a:pt x="111936" y="608911"/>
                  </a:cubicBezTo>
                  <a:lnTo>
                    <a:pt x="111936" y="612376"/>
                  </a:lnTo>
                  <a:lnTo>
                    <a:pt x="114561" y="616716"/>
                  </a:lnTo>
                  <a:lnTo>
                    <a:pt x="116076" y="616716"/>
                  </a:lnTo>
                  <a:lnTo>
                    <a:pt x="120215" y="619440"/>
                  </a:lnTo>
                  <a:cubicBezTo>
                    <a:pt x="120215" y="619440"/>
                    <a:pt x="123042" y="624116"/>
                    <a:pt x="123682" y="624554"/>
                  </a:cubicBezTo>
                  <a:cubicBezTo>
                    <a:pt x="124321" y="624991"/>
                    <a:pt x="126307" y="626942"/>
                    <a:pt x="127148" y="627817"/>
                  </a:cubicBezTo>
                  <a:cubicBezTo>
                    <a:pt x="128023" y="628691"/>
                    <a:pt x="126509" y="633031"/>
                    <a:pt x="126509" y="633031"/>
                  </a:cubicBezTo>
                  <a:cubicBezTo>
                    <a:pt x="126509" y="633031"/>
                    <a:pt x="125634" y="640297"/>
                    <a:pt x="125533" y="640734"/>
                  </a:cubicBezTo>
                  <a:cubicBezTo>
                    <a:pt x="125432" y="641171"/>
                    <a:pt x="124994" y="642248"/>
                    <a:pt x="124994" y="642248"/>
                  </a:cubicBezTo>
                  <a:cubicBezTo>
                    <a:pt x="124994" y="642248"/>
                    <a:pt x="123783" y="644300"/>
                    <a:pt x="123581" y="644737"/>
                  </a:cubicBezTo>
                  <a:cubicBezTo>
                    <a:pt x="123345" y="645175"/>
                    <a:pt x="122369" y="647126"/>
                    <a:pt x="122369" y="647126"/>
                  </a:cubicBezTo>
                  <a:lnTo>
                    <a:pt x="122369" y="650288"/>
                  </a:lnTo>
                  <a:lnTo>
                    <a:pt x="124052" y="654527"/>
                  </a:lnTo>
                  <a:lnTo>
                    <a:pt x="126172" y="657891"/>
                  </a:lnTo>
                  <a:lnTo>
                    <a:pt x="129100" y="660615"/>
                  </a:lnTo>
                  <a:lnTo>
                    <a:pt x="128663" y="663542"/>
                  </a:lnTo>
                  <a:cubicBezTo>
                    <a:pt x="128663" y="663542"/>
                    <a:pt x="125836" y="664416"/>
                    <a:pt x="125196" y="664517"/>
                  </a:cubicBezTo>
                  <a:cubicBezTo>
                    <a:pt x="124557" y="664619"/>
                    <a:pt x="125196" y="666367"/>
                    <a:pt x="125196" y="666367"/>
                  </a:cubicBezTo>
                  <a:lnTo>
                    <a:pt x="128461" y="667141"/>
                  </a:lnTo>
                  <a:lnTo>
                    <a:pt x="133139" y="667141"/>
                  </a:lnTo>
                  <a:lnTo>
                    <a:pt x="134350" y="668049"/>
                  </a:lnTo>
                  <a:lnTo>
                    <a:pt x="134115" y="669294"/>
                  </a:lnTo>
                  <a:cubicBezTo>
                    <a:pt x="134115" y="669294"/>
                    <a:pt x="133341" y="670472"/>
                    <a:pt x="133139" y="670808"/>
                  </a:cubicBezTo>
                  <a:cubicBezTo>
                    <a:pt x="132937" y="671144"/>
                    <a:pt x="131826" y="672221"/>
                    <a:pt x="131826" y="672221"/>
                  </a:cubicBezTo>
                  <a:cubicBezTo>
                    <a:pt x="131826" y="672221"/>
                    <a:pt x="130312" y="673095"/>
                    <a:pt x="129975" y="673196"/>
                  </a:cubicBezTo>
                  <a:cubicBezTo>
                    <a:pt x="129639" y="673297"/>
                    <a:pt x="127788" y="674811"/>
                    <a:pt x="127350" y="674811"/>
                  </a:cubicBezTo>
                  <a:cubicBezTo>
                    <a:pt x="126913" y="674811"/>
                    <a:pt x="127888" y="676661"/>
                    <a:pt x="128124" y="676998"/>
                  </a:cubicBezTo>
                  <a:cubicBezTo>
                    <a:pt x="128326" y="677334"/>
                    <a:pt x="131052" y="678411"/>
                    <a:pt x="131052" y="678411"/>
                  </a:cubicBezTo>
                  <a:lnTo>
                    <a:pt x="131052" y="679924"/>
                  </a:lnTo>
                  <a:lnTo>
                    <a:pt x="128865" y="680698"/>
                  </a:lnTo>
                  <a:cubicBezTo>
                    <a:pt x="128865" y="680698"/>
                    <a:pt x="128225" y="681674"/>
                    <a:pt x="128091" y="682010"/>
                  </a:cubicBezTo>
                  <a:cubicBezTo>
                    <a:pt x="127989" y="682346"/>
                    <a:pt x="126340" y="684634"/>
                    <a:pt x="126340" y="685038"/>
                  </a:cubicBezTo>
                  <a:cubicBezTo>
                    <a:pt x="126340" y="685475"/>
                    <a:pt x="127114" y="687964"/>
                    <a:pt x="127114" y="687964"/>
                  </a:cubicBezTo>
                  <a:lnTo>
                    <a:pt x="130715" y="688503"/>
                  </a:lnTo>
                  <a:lnTo>
                    <a:pt x="137884" y="689579"/>
                  </a:lnTo>
                  <a:lnTo>
                    <a:pt x="141249" y="692203"/>
                  </a:lnTo>
                  <a:lnTo>
                    <a:pt x="145288" y="693817"/>
                  </a:lnTo>
                  <a:lnTo>
                    <a:pt x="151144" y="694793"/>
                  </a:lnTo>
                  <a:lnTo>
                    <a:pt x="155182" y="696441"/>
                  </a:lnTo>
                  <a:lnTo>
                    <a:pt x="166255" y="698830"/>
                  </a:lnTo>
                  <a:lnTo>
                    <a:pt x="168745" y="699469"/>
                  </a:lnTo>
                  <a:cubicBezTo>
                    <a:pt x="168745" y="699469"/>
                    <a:pt x="176015" y="701218"/>
                    <a:pt x="176452" y="701218"/>
                  </a:cubicBezTo>
                  <a:cubicBezTo>
                    <a:pt x="176890" y="701218"/>
                    <a:pt x="182106" y="701656"/>
                    <a:pt x="183856" y="701857"/>
                  </a:cubicBezTo>
                  <a:cubicBezTo>
                    <a:pt x="185606" y="702059"/>
                    <a:pt x="189409" y="702396"/>
                    <a:pt x="189712" y="702497"/>
                  </a:cubicBezTo>
                  <a:cubicBezTo>
                    <a:pt x="190049" y="702597"/>
                    <a:pt x="191024" y="705322"/>
                    <a:pt x="191126" y="705659"/>
                  </a:cubicBezTo>
                  <a:cubicBezTo>
                    <a:pt x="191226" y="705995"/>
                    <a:pt x="190149" y="711411"/>
                    <a:pt x="190149" y="711411"/>
                  </a:cubicBezTo>
                  <a:cubicBezTo>
                    <a:pt x="190149" y="711411"/>
                    <a:pt x="190149" y="713261"/>
                    <a:pt x="190149" y="713699"/>
                  </a:cubicBezTo>
                  <a:cubicBezTo>
                    <a:pt x="190149" y="714136"/>
                    <a:pt x="189611" y="717164"/>
                    <a:pt x="189611" y="717164"/>
                  </a:cubicBezTo>
                  <a:lnTo>
                    <a:pt x="187996" y="718375"/>
                  </a:lnTo>
                  <a:cubicBezTo>
                    <a:pt x="187996" y="718375"/>
                    <a:pt x="185169" y="720326"/>
                    <a:pt x="184630" y="720662"/>
                  </a:cubicBezTo>
                  <a:cubicBezTo>
                    <a:pt x="184092" y="720999"/>
                    <a:pt x="180928" y="722512"/>
                    <a:pt x="180053" y="722815"/>
                  </a:cubicBezTo>
                  <a:cubicBezTo>
                    <a:pt x="179178" y="723151"/>
                    <a:pt x="176452" y="725842"/>
                    <a:pt x="176452" y="725842"/>
                  </a:cubicBezTo>
                  <a:cubicBezTo>
                    <a:pt x="176452" y="725842"/>
                    <a:pt x="173289" y="728466"/>
                    <a:pt x="172986" y="728668"/>
                  </a:cubicBezTo>
                  <a:cubicBezTo>
                    <a:pt x="172649" y="728870"/>
                    <a:pt x="172111" y="730417"/>
                    <a:pt x="171774" y="730518"/>
                  </a:cubicBezTo>
                  <a:cubicBezTo>
                    <a:pt x="171437" y="730619"/>
                    <a:pt x="169822" y="733580"/>
                    <a:pt x="169587" y="734421"/>
                  </a:cubicBezTo>
                  <a:cubicBezTo>
                    <a:pt x="169351" y="735295"/>
                    <a:pt x="168173" y="736910"/>
                    <a:pt x="168173" y="736910"/>
                  </a:cubicBezTo>
                  <a:cubicBezTo>
                    <a:pt x="168173" y="736910"/>
                    <a:pt x="166962" y="739635"/>
                    <a:pt x="166962" y="740072"/>
                  </a:cubicBezTo>
                  <a:cubicBezTo>
                    <a:pt x="166962" y="740509"/>
                    <a:pt x="166086" y="742259"/>
                    <a:pt x="166086" y="742561"/>
                  </a:cubicBezTo>
                  <a:cubicBezTo>
                    <a:pt x="166086" y="742898"/>
                    <a:pt x="165750" y="744613"/>
                    <a:pt x="165750" y="744613"/>
                  </a:cubicBezTo>
                  <a:lnTo>
                    <a:pt x="168476" y="747338"/>
                  </a:lnTo>
                  <a:lnTo>
                    <a:pt x="169014" y="748953"/>
                  </a:lnTo>
                  <a:lnTo>
                    <a:pt x="169351" y="751341"/>
                  </a:lnTo>
                  <a:lnTo>
                    <a:pt x="169149" y="753528"/>
                  </a:lnTo>
                  <a:cubicBezTo>
                    <a:pt x="169149" y="753528"/>
                    <a:pt x="168072" y="754402"/>
                    <a:pt x="168072" y="754840"/>
                  </a:cubicBezTo>
                  <a:cubicBezTo>
                    <a:pt x="168072" y="755277"/>
                    <a:pt x="167971" y="757464"/>
                    <a:pt x="167971" y="757464"/>
                  </a:cubicBezTo>
                  <a:cubicBezTo>
                    <a:pt x="167971" y="757464"/>
                    <a:pt x="166995" y="761063"/>
                    <a:pt x="166995" y="761500"/>
                  </a:cubicBezTo>
                  <a:cubicBezTo>
                    <a:pt x="166995" y="761938"/>
                    <a:pt x="164808" y="765941"/>
                    <a:pt x="164808" y="765941"/>
                  </a:cubicBezTo>
                  <a:lnTo>
                    <a:pt x="162620" y="771592"/>
                  </a:lnTo>
                  <a:cubicBezTo>
                    <a:pt x="162620" y="771592"/>
                    <a:pt x="160668" y="773207"/>
                    <a:pt x="160130" y="773644"/>
                  </a:cubicBezTo>
                  <a:cubicBezTo>
                    <a:pt x="159591" y="774082"/>
                    <a:pt x="157841" y="775495"/>
                    <a:pt x="157538" y="775596"/>
                  </a:cubicBezTo>
                  <a:cubicBezTo>
                    <a:pt x="157202" y="775696"/>
                    <a:pt x="155923" y="778085"/>
                    <a:pt x="155923" y="778085"/>
                  </a:cubicBezTo>
                  <a:lnTo>
                    <a:pt x="153971" y="780810"/>
                  </a:lnTo>
                  <a:lnTo>
                    <a:pt x="153668" y="784376"/>
                  </a:lnTo>
                  <a:lnTo>
                    <a:pt x="153668" y="786562"/>
                  </a:lnTo>
                  <a:lnTo>
                    <a:pt x="152086" y="788849"/>
                  </a:lnTo>
                  <a:lnTo>
                    <a:pt x="150605" y="791137"/>
                  </a:lnTo>
                  <a:lnTo>
                    <a:pt x="147879" y="792886"/>
                  </a:lnTo>
                  <a:lnTo>
                    <a:pt x="144716" y="795073"/>
                  </a:lnTo>
                  <a:lnTo>
                    <a:pt x="142596" y="797798"/>
                  </a:lnTo>
                  <a:cubicBezTo>
                    <a:pt x="142596" y="797798"/>
                    <a:pt x="142427" y="800859"/>
                    <a:pt x="142663" y="801263"/>
                  </a:cubicBezTo>
                  <a:cubicBezTo>
                    <a:pt x="142865" y="801700"/>
                    <a:pt x="142427" y="802675"/>
                    <a:pt x="142663" y="803012"/>
                  </a:cubicBezTo>
                  <a:cubicBezTo>
                    <a:pt x="142865" y="803348"/>
                    <a:pt x="145692" y="805838"/>
                    <a:pt x="145826" y="806174"/>
                  </a:cubicBezTo>
                  <a:cubicBezTo>
                    <a:pt x="145927" y="806510"/>
                    <a:pt x="150269" y="808899"/>
                    <a:pt x="150504" y="809202"/>
                  </a:cubicBezTo>
                  <a:cubicBezTo>
                    <a:pt x="150740" y="809538"/>
                    <a:pt x="157134" y="809975"/>
                    <a:pt x="157134" y="809975"/>
                  </a:cubicBezTo>
                  <a:lnTo>
                    <a:pt x="169519" y="810312"/>
                  </a:lnTo>
                  <a:lnTo>
                    <a:pt x="177361" y="810850"/>
                  </a:lnTo>
                  <a:cubicBezTo>
                    <a:pt x="177361" y="810850"/>
                    <a:pt x="184967" y="811624"/>
                    <a:pt x="185404" y="811624"/>
                  </a:cubicBezTo>
                  <a:cubicBezTo>
                    <a:pt x="185842" y="811624"/>
                    <a:pt x="191159" y="813810"/>
                    <a:pt x="191159" y="813810"/>
                  </a:cubicBezTo>
                  <a:cubicBezTo>
                    <a:pt x="191159" y="813810"/>
                    <a:pt x="195299" y="817510"/>
                    <a:pt x="195736" y="817813"/>
                  </a:cubicBezTo>
                  <a:cubicBezTo>
                    <a:pt x="196174" y="818150"/>
                    <a:pt x="201592" y="819764"/>
                    <a:pt x="201592" y="819764"/>
                  </a:cubicBezTo>
                  <a:lnTo>
                    <a:pt x="205496" y="820101"/>
                  </a:lnTo>
                  <a:cubicBezTo>
                    <a:pt x="205496" y="820101"/>
                    <a:pt x="207684" y="821715"/>
                    <a:pt x="207986" y="821715"/>
                  </a:cubicBezTo>
                  <a:cubicBezTo>
                    <a:pt x="208323" y="821715"/>
                    <a:pt x="211352" y="823666"/>
                    <a:pt x="212126" y="824205"/>
                  </a:cubicBezTo>
                  <a:cubicBezTo>
                    <a:pt x="212900" y="824743"/>
                    <a:pt x="215727" y="825079"/>
                    <a:pt x="216467" y="824978"/>
                  </a:cubicBezTo>
                  <a:cubicBezTo>
                    <a:pt x="217242" y="824878"/>
                    <a:pt x="220607" y="823566"/>
                    <a:pt x="220607" y="823566"/>
                  </a:cubicBezTo>
                  <a:lnTo>
                    <a:pt x="225722" y="823566"/>
                  </a:lnTo>
                  <a:lnTo>
                    <a:pt x="228987" y="823498"/>
                  </a:lnTo>
                  <a:lnTo>
                    <a:pt x="230501" y="826021"/>
                  </a:lnTo>
                  <a:lnTo>
                    <a:pt x="230602" y="828342"/>
                  </a:lnTo>
                  <a:lnTo>
                    <a:pt x="230064" y="830193"/>
                  </a:lnTo>
                  <a:lnTo>
                    <a:pt x="228751" y="832144"/>
                  </a:lnTo>
                  <a:lnTo>
                    <a:pt x="228314" y="832917"/>
                  </a:lnTo>
                  <a:cubicBezTo>
                    <a:pt x="228314" y="832917"/>
                    <a:pt x="227338" y="835407"/>
                    <a:pt x="227001" y="835844"/>
                  </a:cubicBezTo>
                  <a:cubicBezTo>
                    <a:pt x="226665" y="836281"/>
                    <a:pt x="226126" y="839208"/>
                    <a:pt x="226126" y="839208"/>
                  </a:cubicBezTo>
                  <a:lnTo>
                    <a:pt x="224915" y="841832"/>
                  </a:lnTo>
                  <a:lnTo>
                    <a:pt x="224915" y="845196"/>
                  </a:lnTo>
                  <a:lnTo>
                    <a:pt x="224915" y="849233"/>
                  </a:lnTo>
                  <a:cubicBezTo>
                    <a:pt x="224915" y="849233"/>
                    <a:pt x="224376" y="853471"/>
                    <a:pt x="224040" y="853707"/>
                  </a:cubicBezTo>
                  <a:cubicBezTo>
                    <a:pt x="223703" y="853908"/>
                    <a:pt x="223165" y="855019"/>
                    <a:pt x="222189" y="855893"/>
                  </a:cubicBezTo>
                  <a:cubicBezTo>
                    <a:pt x="221213" y="856768"/>
                    <a:pt x="222189" y="858080"/>
                    <a:pt x="222189" y="858080"/>
                  </a:cubicBezTo>
                  <a:lnTo>
                    <a:pt x="223400" y="860266"/>
                  </a:lnTo>
                  <a:lnTo>
                    <a:pt x="225891" y="863429"/>
                  </a:lnTo>
                  <a:cubicBezTo>
                    <a:pt x="225891" y="863429"/>
                    <a:pt x="226530" y="865178"/>
                    <a:pt x="226968" y="865279"/>
                  </a:cubicBezTo>
                  <a:cubicBezTo>
                    <a:pt x="227405" y="865380"/>
                    <a:pt x="229256" y="867129"/>
                    <a:pt x="229256" y="867129"/>
                  </a:cubicBezTo>
                  <a:cubicBezTo>
                    <a:pt x="229256" y="867129"/>
                    <a:pt x="232420" y="867129"/>
                    <a:pt x="232857" y="867129"/>
                  </a:cubicBezTo>
                  <a:cubicBezTo>
                    <a:pt x="233295" y="867129"/>
                    <a:pt x="234910" y="866961"/>
                    <a:pt x="234910" y="866961"/>
                  </a:cubicBezTo>
                  <a:cubicBezTo>
                    <a:pt x="234910" y="866961"/>
                    <a:pt x="236526" y="866591"/>
                    <a:pt x="237401" y="866591"/>
                  </a:cubicBezTo>
                  <a:cubicBezTo>
                    <a:pt x="238276" y="866591"/>
                    <a:pt x="239689" y="867465"/>
                    <a:pt x="240227" y="867566"/>
                  </a:cubicBezTo>
                  <a:cubicBezTo>
                    <a:pt x="240766" y="867667"/>
                    <a:pt x="241540" y="868643"/>
                    <a:pt x="241978" y="868979"/>
                  </a:cubicBezTo>
                  <a:cubicBezTo>
                    <a:pt x="242415" y="869316"/>
                    <a:pt x="242617" y="870392"/>
                    <a:pt x="242617" y="870392"/>
                  </a:cubicBezTo>
                  <a:lnTo>
                    <a:pt x="242819" y="873117"/>
                  </a:lnTo>
                  <a:lnTo>
                    <a:pt x="242617" y="874328"/>
                  </a:lnTo>
                  <a:cubicBezTo>
                    <a:pt x="242617" y="874328"/>
                    <a:pt x="241540" y="876851"/>
                    <a:pt x="241204" y="877389"/>
                  </a:cubicBezTo>
                  <a:cubicBezTo>
                    <a:pt x="240867" y="877927"/>
                    <a:pt x="240901" y="878264"/>
                    <a:pt x="241338" y="879138"/>
                  </a:cubicBezTo>
                  <a:cubicBezTo>
                    <a:pt x="241776" y="880013"/>
                    <a:pt x="240901" y="882401"/>
                    <a:pt x="241338" y="883377"/>
                  </a:cubicBezTo>
                  <a:cubicBezTo>
                    <a:pt x="241776" y="884352"/>
                    <a:pt x="241338" y="884790"/>
                    <a:pt x="241338" y="885664"/>
                  </a:cubicBezTo>
                  <a:cubicBezTo>
                    <a:pt x="241338" y="886539"/>
                    <a:pt x="242213" y="887313"/>
                    <a:pt x="242213" y="887313"/>
                  </a:cubicBezTo>
                  <a:cubicBezTo>
                    <a:pt x="242213" y="887313"/>
                    <a:pt x="243425" y="889701"/>
                    <a:pt x="244704" y="890576"/>
                  </a:cubicBezTo>
                  <a:cubicBezTo>
                    <a:pt x="246016" y="891450"/>
                    <a:pt x="246319" y="890475"/>
                    <a:pt x="246992" y="890138"/>
                  </a:cubicBezTo>
                  <a:cubicBezTo>
                    <a:pt x="247631" y="889802"/>
                    <a:pt x="249382" y="888288"/>
                    <a:pt x="249382" y="888288"/>
                  </a:cubicBezTo>
                  <a:lnTo>
                    <a:pt x="253959" y="887851"/>
                  </a:lnTo>
                  <a:lnTo>
                    <a:pt x="257324" y="889499"/>
                  </a:lnTo>
                  <a:lnTo>
                    <a:pt x="260589" y="888826"/>
                  </a:lnTo>
                  <a:lnTo>
                    <a:pt x="262540" y="885025"/>
                  </a:lnTo>
                  <a:cubicBezTo>
                    <a:pt x="262540" y="885025"/>
                    <a:pt x="269709" y="884386"/>
                    <a:pt x="271459" y="884588"/>
                  </a:cubicBezTo>
                  <a:cubicBezTo>
                    <a:pt x="273209" y="884790"/>
                    <a:pt x="275700" y="887615"/>
                    <a:pt x="275700" y="887615"/>
                  </a:cubicBezTo>
                  <a:cubicBezTo>
                    <a:pt x="275700" y="887615"/>
                    <a:pt x="281017" y="891753"/>
                    <a:pt x="281454" y="891753"/>
                  </a:cubicBezTo>
                  <a:cubicBezTo>
                    <a:pt x="281892" y="891753"/>
                    <a:pt x="285897" y="892628"/>
                    <a:pt x="285897" y="892628"/>
                  </a:cubicBezTo>
                  <a:cubicBezTo>
                    <a:pt x="285897" y="892628"/>
                    <a:pt x="291214" y="892729"/>
                    <a:pt x="292089" y="892729"/>
                  </a:cubicBezTo>
                  <a:cubicBezTo>
                    <a:pt x="292964" y="892729"/>
                    <a:pt x="299157" y="890239"/>
                    <a:pt x="299157" y="890239"/>
                  </a:cubicBezTo>
                  <a:lnTo>
                    <a:pt x="304272" y="886875"/>
                  </a:lnTo>
                  <a:lnTo>
                    <a:pt x="310902" y="882435"/>
                  </a:lnTo>
                  <a:cubicBezTo>
                    <a:pt x="310902" y="882435"/>
                    <a:pt x="319484" y="875539"/>
                    <a:pt x="319854" y="875270"/>
                  </a:cubicBezTo>
                  <a:cubicBezTo>
                    <a:pt x="320224" y="874967"/>
                    <a:pt x="325374" y="871300"/>
                    <a:pt x="326080" y="871199"/>
                  </a:cubicBezTo>
                  <a:cubicBezTo>
                    <a:pt x="326821" y="871132"/>
                    <a:pt x="333484" y="869517"/>
                    <a:pt x="334191" y="869383"/>
                  </a:cubicBezTo>
                  <a:cubicBezTo>
                    <a:pt x="334931" y="869248"/>
                    <a:pt x="340922" y="867936"/>
                    <a:pt x="340922" y="867936"/>
                  </a:cubicBezTo>
                  <a:lnTo>
                    <a:pt x="343682" y="864606"/>
                  </a:lnTo>
                  <a:cubicBezTo>
                    <a:pt x="343682" y="864606"/>
                    <a:pt x="348259" y="861646"/>
                    <a:pt x="348091" y="861343"/>
                  </a:cubicBezTo>
                  <a:cubicBezTo>
                    <a:pt x="347956" y="861040"/>
                    <a:pt x="352230" y="859325"/>
                    <a:pt x="352230" y="859325"/>
                  </a:cubicBezTo>
                  <a:lnTo>
                    <a:pt x="354418" y="859392"/>
                  </a:lnTo>
                  <a:lnTo>
                    <a:pt x="355865" y="859762"/>
                  </a:lnTo>
                  <a:lnTo>
                    <a:pt x="356504" y="861646"/>
                  </a:lnTo>
                  <a:cubicBezTo>
                    <a:pt x="356504" y="861646"/>
                    <a:pt x="355764" y="864404"/>
                    <a:pt x="355562" y="864539"/>
                  </a:cubicBezTo>
                  <a:cubicBezTo>
                    <a:pt x="355360" y="864673"/>
                    <a:pt x="354990" y="865783"/>
                    <a:pt x="354552" y="866355"/>
                  </a:cubicBezTo>
                  <a:cubicBezTo>
                    <a:pt x="354115" y="866927"/>
                    <a:pt x="353374" y="867230"/>
                    <a:pt x="353374" y="867230"/>
                  </a:cubicBezTo>
                  <a:cubicBezTo>
                    <a:pt x="353374" y="867230"/>
                    <a:pt x="351860" y="869181"/>
                    <a:pt x="351557" y="869753"/>
                  </a:cubicBezTo>
                  <a:cubicBezTo>
                    <a:pt x="351254" y="870325"/>
                    <a:pt x="351119" y="870930"/>
                    <a:pt x="351119" y="870930"/>
                  </a:cubicBezTo>
                  <a:lnTo>
                    <a:pt x="352869" y="873319"/>
                  </a:lnTo>
                  <a:lnTo>
                    <a:pt x="354620" y="874193"/>
                  </a:lnTo>
                  <a:lnTo>
                    <a:pt x="354047" y="877221"/>
                  </a:lnTo>
                  <a:cubicBezTo>
                    <a:pt x="354047" y="877221"/>
                    <a:pt x="351288" y="879542"/>
                    <a:pt x="351018" y="880114"/>
                  </a:cubicBezTo>
                  <a:cubicBezTo>
                    <a:pt x="350715" y="880686"/>
                    <a:pt x="350143" y="883747"/>
                    <a:pt x="350143" y="883747"/>
                  </a:cubicBezTo>
                  <a:lnTo>
                    <a:pt x="350143" y="888255"/>
                  </a:lnTo>
                  <a:lnTo>
                    <a:pt x="354215" y="890273"/>
                  </a:lnTo>
                  <a:lnTo>
                    <a:pt x="353913" y="892729"/>
                  </a:lnTo>
                  <a:lnTo>
                    <a:pt x="353038" y="895622"/>
                  </a:lnTo>
                  <a:cubicBezTo>
                    <a:pt x="353038" y="895622"/>
                    <a:pt x="350850" y="897640"/>
                    <a:pt x="350446" y="897808"/>
                  </a:cubicBezTo>
                  <a:cubicBezTo>
                    <a:pt x="350009" y="897943"/>
                    <a:pt x="348124" y="899389"/>
                    <a:pt x="348124" y="899389"/>
                  </a:cubicBezTo>
                  <a:lnTo>
                    <a:pt x="351153" y="902148"/>
                  </a:lnTo>
                  <a:lnTo>
                    <a:pt x="353610" y="904604"/>
                  </a:lnTo>
                  <a:lnTo>
                    <a:pt x="353610" y="908943"/>
                  </a:lnTo>
                  <a:lnTo>
                    <a:pt x="354990" y="914023"/>
                  </a:lnTo>
                  <a:lnTo>
                    <a:pt x="355360" y="917925"/>
                  </a:lnTo>
                  <a:cubicBezTo>
                    <a:pt x="355360" y="917925"/>
                    <a:pt x="356672" y="924451"/>
                    <a:pt x="356807" y="925023"/>
                  </a:cubicBezTo>
                  <a:cubicBezTo>
                    <a:pt x="356942" y="925595"/>
                    <a:pt x="358254" y="928353"/>
                    <a:pt x="358557" y="928925"/>
                  </a:cubicBezTo>
                  <a:cubicBezTo>
                    <a:pt x="358860" y="929497"/>
                    <a:pt x="362192" y="932255"/>
                    <a:pt x="362192" y="932255"/>
                  </a:cubicBezTo>
                  <a:cubicBezTo>
                    <a:pt x="362192" y="932255"/>
                    <a:pt x="364951" y="932962"/>
                    <a:pt x="365524" y="932962"/>
                  </a:cubicBezTo>
                  <a:cubicBezTo>
                    <a:pt x="366096" y="932962"/>
                    <a:pt x="368721" y="933096"/>
                    <a:pt x="369427" y="933096"/>
                  </a:cubicBezTo>
                  <a:cubicBezTo>
                    <a:pt x="370168" y="933096"/>
                    <a:pt x="372759" y="931650"/>
                    <a:pt x="372759" y="931650"/>
                  </a:cubicBezTo>
                  <a:lnTo>
                    <a:pt x="375216" y="928622"/>
                  </a:lnTo>
                  <a:lnTo>
                    <a:pt x="378851" y="926301"/>
                  </a:lnTo>
                  <a:lnTo>
                    <a:pt x="384067" y="926301"/>
                  </a:lnTo>
                  <a:lnTo>
                    <a:pt x="390596" y="926873"/>
                  </a:lnTo>
                  <a:lnTo>
                    <a:pt x="395947" y="931078"/>
                  </a:lnTo>
                  <a:lnTo>
                    <a:pt x="399582" y="935552"/>
                  </a:lnTo>
                  <a:cubicBezTo>
                    <a:pt x="399582" y="935552"/>
                    <a:pt x="405943" y="941506"/>
                    <a:pt x="406549" y="941943"/>
                  </a:cubicBezTo>
                  <a:cubicBezTo>
                    <a:pt x="407121" y="942381"/>
                    <a:pt x="409140" y="941943"/>
                    <a:pt x="409140" y="941943"/>
                  </a:cubicBezTo>
                  <a:lnTo>
                    <a:pt x="410722" y="939488"/>
                  </a:lnTo>
                  <a:lnTo>
                    <a:pt x="413178" y="937907"/>
                  </a:lnTo>
                  <a:cubicBezTo>
                    <a:pt x="413178" y="937907"/>
                    <a:pt x="415501" y="938344"/>
                    <a:pt x="416207" y="937907"/>
                  </a:cubicBezTo>
                  <a:cubicBezTo>
                    <a:pt x="416948" y="937470"/>
                    <a:pt x="418227" y="935317"/>
                    <a:pt x="418832" y="934577"/>
                  </a:cubicBezTo>
                  <a:cubicBezTo>
                    <a:pt x="419405" y="933836"/>
                    <a:pt x="419405" y="931381"/>
                    <a:pt x="419405" y="931381"/>
                  </a:cubicBezTo>
                  <a:lnTo>
                    <a:pt x="417520" y="927479"/>
                  </a:lnTo>
                  <a:lnTo>
                    <a:pt x="414626" y="924585"/>
                  </a:lnTo>
                  <a:lnTo>
                    <a:pt x="412169" y="922399"/>
                  </a:lnTo>
                  <a:lnTo>
                    <a:pt x="411731" y="916747"/>
                  </a:lnTo>
                  <a:cubicBezTo>
                    <a:pt x="411731" y="916747"/>
                    <a:pt x="411866" y="912677"/>
                    <a:pt x="411866" y="912105"/>
                  </a:cubicBezTo>
                  <a:cubicBezTo>
                    <a:pt x="411866" y="911533"/>
                    <a:pt x="412303" y="906757"/>
                    <a:pt x="412303" y="906757"/>
                  </a:cubicBezTo>
                  <a:lnTo>
                    <a:pt x="412606" y="903561"/>
                  </a:lnTo>
                  <a:lnTo>
                    <a:pt x="413919" y="899221"/>
                  </a:lnTo>
                  <a:lnTo>
                    <a:pt x="414356" y="895016"/>
                  </a:lnTo>
                  <a:lnTo>
                    <a:pt x="416376" y="891417"/>
                  </a:lnTo>
                  <a:cubicBezTo>
                    <a:pt x="416376" y="891417"/>
                    <a:pt x="418563" y="888658"/>
                    <a:pt x="419135" y="887649"/>
                  </a:cubicBezTo>
                  <a:cubicBezTo>
                    <a:pt x="419707" y="886640"/>
                    <a:pt x="421592" y="885025"/>
                    <a:pt x="421592" y="885025"/>
                  </a:cubicBezTo>
                  <a:lnTo>
                    <a:pt x="421155" y="881123"/>
                  </a:lnTo>
                  <a:lnTo>
                    <a:pt x="419707" y="877793"/>
                  </a:lnTo>
                  <a:lnTo>
                    <a:pt x="417957" y="875034"/>
                  </a:lnTo>
                  <a:lnTo>
                    <a:pt x="417957" y="871704"/>
                  </a:lnTo>
                  <a:lnTo>
                    <a:pt x="415501" y="863731"/>
                  </a:lnTo>
                  <a:lnTo>
                    <a:pt x="412169" y="856499"/>
                  </a:lnTo>
                  <a:lnTo>
                    <a:pt x="405068" y="846373"/>
                  </a:lnTo>
                  <a:lnTo>
                    <a:pt x="404058" y="838569"/>
                  </a:lnTo>
                  <a:lnTo>
                    <a:pt x="404058" y="834936"/>
                  </a:lnTo>
                  <a:lnTo>
                    <a:pt x="403351" y="830159"/>
                  </a:lnTo>
                  <a:lnTo>
                    <a:pt x="401164" y="823633"/>
                  </a:lnTo>
                  <a:lnTo>
                    <a:pt x="399144" y="819865"/>
                  </a:lnTo>
                  <a:lnTo>
                    <a:pt x="396822" y="816232"/>
                  </a:lnTo>
                  <a:lnTo>
                    <a:pt x="402039" y="812902"/>
                  </a:lnTo>
                  <a:lnTo>
                    <a:pt x="405808" y="810446"/>
                  </a:lnTo>
                  <a:lnTo>
                    <a:pt x="410150" y="803214"/>
                  </a:lnTo>
                  <a:lnTo>
                    <a:pt x="409409" y="796688"/>
                  </a:lnTo>
                  <a:lnTo>
                    <a:pt x="412001" y="790901"/>
                  </a:lnTo>
                  <a:lnTo>
                    <a:pt x="416476" y="788278"/>
                  </a:lnTo>
                  <a:cubicBezTo>
                    <a:pt x="416476" y="788278"/>
                    <a:pt x="420111" y="788715"/>
                    <a:pt x="420683" y="788849"/>
                  </a:cubicBezTo>
                  <a:cubicBezTo>
                    <a:pt x="421256" y="788984"/>
                    <a:pt x="426640" y="794804"/>
                    <a:pt x="427078" y="794635"/>
                  </a:cubicBezTo>
                  <a:cubicBezTo>
                    <a:pt x="427515" y="794501"/>
                    <a:pt x="436198" y="795342"/>
                    <a:pt x="436770" y="795342"/>
                  </a:cubicBezTo>
                  <a:cubicBezTo>
                    <a:pt x="437342" y="795342"/>
                    <a:pt x="448381" y="798807"/>
                    <a:pt x="450670" y="798975"/>
                  </a:cubicBezTo>
                  <a:cubicBezTo>
                    <a:pt x="452992" y="799110"/>
                    <a:pt x="463425" y="803886"/>
                    <a:pt x="464569" y="803886"/>
                  </a:cubicBezTo>
                  <a:cubicBezTo>
                    <a:pt x="465713" y="803886"/>
                    <a:pt x="470357" y="797226"/>
                    <a:pt x="470357" y="797226"/>
                  </a:cubicBezTo>
                  <a:lnTo>
                    <a:pt x="476584" y="788984"/>
                  </a:lnTo>
                  <a:lnTo>
                    <a:pt x="480925" y="778556"/>
                  </a:lnTo>
                  <a:lnTo>
                    <a:pt x="492368" y="768699"/>
                  </a:lnTo>
                  <a:lnTo>
                    <a:pt x="496844" y="761299"/>
                  </a:lnTo>
                  <a:lnTo>
                    <a:pt x="503373" y="762745"/>
                  </a:lnTo>
                  <a:lnTo>
                    <a:pt x="512224" y="765638"/>
                  </a:lnTo>
                  <a:lnTo>
                    <a:pt x="517878" y="771727"/>
                  </a:lnTo>
                  <a:lnTo>
                    <a:pt x="528681" y="778320"/>
                  </a:lnTo>
                  <a:lnTo>
                    <a:pt x="533460" y="783602"/>
                  </a:lnTo>
                  <a:lnTo>
                    <a:pt x="538676" y="788109"/>
                  </a:lnTo>
                  <a:lnTo>
                    <a:pt x="539383" y="792953"/>
                  </a:lnTo>
                  <a:lnTo>
                    <a:pt x="536994" y="796654"/>
                  </a:lnTo>
                  <a:cubicBezTo>
                    <a:pt x="536994" y="796654"/>
                    <a:pt x="541234" y="797663"/>
                    <a:pt x="541402" y="797730"/>
                  </a:cubicBezTo>
                  <a:cubicBezTo>
                    <a:pt x="541571" y="797798"/>
                    <a:pt x="545676" y="802877"/>
                    <a:pt x="545676" y="802877"/>
                  </a:cubicBezTo>
                  <a:lnTo>
                    <a:pt x="549479" y="802877"/>
                  </a:lnTo>
                  <a:lnTo>
                    <a:pt x="554629" y="802406"/>
                  </a:lnTo>
                  <a:lnTo>
                    <a:pt x="557927" y="800960"/>
                  </a:lnTo>
                  <a:lnTo>
                    <a:pt x="561932" y="799311"/>
                  </a:lnTo>
                  <a:lnTo>
                    <a:pt x="567316" y="796553"/>
                  </a:lnTo>
                  <a:lnTo>
                    <a:pt x="569874" y="794602"/>
                  </a:lnTo>
                  <a:lnTo>
                    <a:pt x="570682" y="793189"/>
                  </a:lnTo>
                  <a:lnTo>
                    <a:pt x="570244" y="787537"/>
                  </a:lnTo>
                  <a:lnTo>
                    <a:pt x="571725" y="783366"/>
                  </a:lnTo>
                  <a:lnTo>
                    <a:pt x="574754" y="779330"/>
                  </a:lnTo>
                  <a:lnTo>
                    <a:pt x="579533" y="774216"/>
                  </a:lnTo>
                  <a:cubicBezTo>
                    <a:pt x="579533" y="774216"/>
                    <a:pt x="582124" y="771491"/>
                    <a:pt x="582293" y="771323"/>
                  </a:cubicBezTo>
                  <a:cubicBezTo>
                    <a:pt x="582461" y="771155"/>
                    <a:pt x="584682" y="770516"/>
                    <a:pt x="584682" y="770516"/>
                  </a:cubicBezTo>
                  <a:lnTo>
                    <a:pt x="587947" y="771323"/>
                  </a:lnTo>
                  <a:lnTo>
                    <a:pt x="592086" y="775226"/>
                  </a:lnTo>
                  <a:lnTo>
                    <a:pt x="596091" y="778690"/>
                  </a:lnTo>
                  <a:lnTo>
                    <a:pt x="598144" y="782155"/>
                  </a:lnTo>
                  <a:lnTo>
                    <a:pt x="602048" y="787807"/>
                  </a:lnTo>
                  <a:lnTo>
                    <a:pt x="604707" y="788883"/>
                  </a:lnTo>
                  <a:lnTo>
                    <a:pt x="607298" y="788883"/>
                  </a:lnTo>
                  <a:lnTo>
                    <a:pt x="610361" y="787403"/>
                  </a:lnTo>
                  <a:lnTo>
                    <a:pt x="612649" y="784644"/>
                  </a:lnTo>
                  <a:lnTo>
                    <a:pt x="616015" y="775831"/>
                  </a:lnTo>
                  <a:lnTo>
                    <a:pt x="616015" y="770079"/>
                  </a:lnTo>
                  <a:lnTo>
                    <a:pt x="615039" y="763653"/>
                  </a:lnTo>
                  <a:lnTo>
                    <a:pt x="615914" y="759314"/>
                  </a:lnTo>
                  <a:lnTo>
                    <a:pt x="618640" y="758338"/>
                  </a:lnTo>
                  <a:cubicBezTo>
                    <a:pt x="618640" y="758338"/>
                    <a:pt x="619515" y="758439"/>
                    <a:pt x="619851" y="758574"/>
                  </a:cubicBezTo>
                  <a:cubicBezTo>
                    <a:pt x="620188" y="758675"/>
                    <a:pt x="624092" y="761736"/>
                    <a:pt x="624092" y="761736"/>
                  </a:cubicBezTo>
                  <a:cubicBezTo>
                    <a:pt x="624092" y="761736"/>
                    <a:pt x="627558" y="765537"/>
                    <a:pt x="628332" y="766748"/>
                  </a:cubicBezTo>
                  <a:cubicBezTo>
                    <a:pt x="629106" y="767926"/>
                    <a:pt x="630284" y="770348"/>
                    <a:pt x="630284" y="770785"/>
                  </a:cubicBezTo>
                  <a:cubicBezTo>
                    <a:pt x="630284" y="771222"/>
                    <a:pt x="633650" y="775360"/>
                    <a:pt x="633650" y="775360"/>
                  </a:cubicBezTo>
                  <a:cubicBezTo>
                    <a:pt x="633650" y="775360"/>
                    <a:pt x="638765" y="779700"/>
                    <a:pt x="639203" y="779801"/>
                  </a:cubicBezTo>
                  <a:cubicBezTo>
                    <a:pt x="639640" y="779901"/>
                    <a:pt x="644857" y="784039"/>
                    <a:pt x="644857" y="784039"/>
                  </a:cubicBezTo>
                  <a:lnTo>
                    <a:pt x="650073" y="789690"/>
                  </a:lnTo>
                  <a:cubicBezTo>
                    <a:pt x="650073" y="789690"/>
                    <a:pt x="651386" y="792953"/>
                    <a:pt x="651386" y="793391"/>
                  </a:cubicBezTo>
                  <a:cubicBezTo>
                    <a:pt x="651386" y="793828"/>
                    <a:pt x="653573" y="796755"/>
                    <a:pt x="653573" y="796755"/>
                  </a:cubicBezTo>
                  <a:cubicBezTo>
                    <a:pt x="653573" y="796755"/>
                    <a:pt x="657814" y="798470"/>
                    <a:pt x="658150" y="798067"/>
                  </a:cubicBezTo>
                  <a:cubicBezTo>
                    <a:pt x="658487" y="797629"/>
                    <a:pt x="661179" y="798168"/>
                    <a:pt x="661516" y="798067"/>
                  </a:cubicBezTo>
                  <a:cubicBezTo>
                    <a:pt x="661852" y="797966"/>
                    <a:pt x="662828" y="797091"/>
                    <a:pt x="662828" y="797091"/>
                  </a:cubicBezTo>
                  <a:cubicBezTo>
                    <a:pt x="662828" y="797091"/>
                    <a:pt x="664242" y="793727"/>
                    <a:pt x="664578" y="793492"/>
                  </a:cubicBezTo>
                  <a:cubicBezTo>
                    <a:pt x="664915" y="793256"/>
                    <a:pt x="666530" y="788042"/>
                    <a:pt x="666530" y="788042"/>
                  </a:cubicBezTo>
                  <a:lnTo>
                    <a:pt x="666530" y="784577"/>
                  </a:lnTo>
                  <a:lnTo>
                    <a:pt x="666530" y="779363"/>
                  </a:lnTo>
                  <a:lnTo>
                    <a:pt x="666530" y="775226"/>
                  </a:lnTo>
                  <a:cubicBezTo>
                    <a:pt x="666530" y="775226"/>
                    <a:pt x="668213" y="769238"/>
                    <a:pt x="668213" y="768699"/>
                  </a:cubicBezTo>
                  <a:cubicBezTo>
                    <a:pt x="668213" y="768161"/>
                    <a:pt x="671982" y="766311"/>
                    <a:pt x="672723" y="766210"/>
                  </a:cubicBezTo>
                  <a:cubicBezTo>
                    <a:pt x="673497" y="766109"/>
                    <a:pt x="678814" y="766109"/>
                    <a:pt x="679252" y="766109"/>
                  </a:cubicBezTo>
                  <a:cubicBezTo>
                    <a:pt x="679689" y="766109"/>
                    <a:pt x="684367" y="771424"/>
                    <a:pt x="684367" y="771424"/>
                  </a:cubicBezTo>
                  <a:cubicBezTo>
                    <a:pt x="684367" y="771424"/>
                    <a:pt x="685175" y="773544"/>
                    <a:pt x="685814" y="774519"/>
                  </a:cubicBezTo>
                  <a:cubicBezTo>
                    <a:pt x="686454" y="775461"/>
                    <a:pt x="687497" y="779868"/>
                    <a:pt x="687564" y="780103"/>
                  </a:cubicBezTo>
                  <a:cubicBezTo>
                    <a:pt x="687631" y="780339"/>
                    <a:pt x="690963" y="781415"/>
                    <a:pt x="692713" y="781483"/>
                  </a:cubicBezTo>
                  <a:cubicBezTo>
                    <a:pt x="694463" y="781550"/>
                    <a:pt x="696685" y="781483"/>
                    <a:pt x="697863" y="781483"/>
                  </a:cubicBezTo>
                  <a:cubicBezTo>
                    <a:pt x="699007" y="781483"/>
                    <a:pt x="701699" y="778421"/>
                    <a:pt x="701699" y="778421"/>
                  </a:cubicBezTo>
                  <a:lnTo>
                    <a:pt x="704964" y="775596"/>
                  </a:lnTo>
                  <a:lnTo>
                    <a:pt x="705334" y="770953"/>
                  </a:lnTo>
                  <a:lnTo>
                    <a:pt x="708464" y="767757"/>
                  </a:lnTo>
                  <a:lnTo>
                    <a:pt x="711223" y="765672"/>
                  </a:lnTo>
                  <a:lnTo>
                    <a:pt x="714387" y="767186"/>
                  </a:lnTo>
                  <a:lnTo>
                    <a:pt x="716137" y="768060"/>
                  </a:lnTo>
                  <a:lnTo>
                    <a:pt x="723104" y="768060"/>
                  </a:lnTo>
                  <a:lnTo>
                    <a:pt x="727748" y="768060"/>
                  </a:lnTo>
                  <a:lnTo>
                    <a:pt x="733839" y="766748"/>
                  </a:lnTo>
                  <a:lnTo>
                    <a:pt x="736162" y="763990"/>
                  </a:lnTo>
                  <a:cubicBezTo>
                    <a:pt x="736162" y="763990"/>
                    <a:pt x="741950" y="759919"/>
                    <a:pt x="742556" y="758776"/>
                  </a:cubicBezTo>
                  <a:cubicBezTo>
                    <a:pt x="743128" y="757632"/>
                    <a:pt x="746897" y="758776"/>
                    <a:pt x="746897" y="758776"/>
                  </a:cubicBezTo>
                  <a:lnTo>
                    <a:pt x="750094" y="753259"/>
                  </a:lnTo>
                  <a:lnTo>
                    <a:pt x="750094" y="750366"/>
                  </a:lnTo>
                  <a:lnTo>
                    <a:pt x="747066" y="746901"/>
                  </a:lnTo>
                  <a:lnTo>
                    <a:pt x="743734" y="742831"/>
                  </a:lnTo>
                  <a:lnTo>
                    <a:pt x="742589" y="736473"/>
                  </a:lnTo>
                  <a:lnTo>
                    <a:pt x="749825" y="734454"/>
                  </a:lnTo>
                  <a:lnTo>
                    <a:pt x="756186" y="731696"/>
                  </a:lnTo>
                  <a:lnTo>
                    <a:pt x="762850" y="727491"/>
                  </a:lnTo>
                  <a:lnTo>
                    <a:pt x="770085" y="722848"/>
                  </a:lnTo>
                  <a:lnTo>
                    <a:pt x="776480" y="722848"/>
                  </a:lnTo>
                  <a:lnTo>
                    <a:pt x="782268" y="728634"/>
                  </a:lnTo>
                  <a:lnTo>
                    <a:pt x="784288" y="722848"/>
                  </a:lnTo>
                  <a:lnTo>
                    <a:pt x="786038" y="723151"/>
                  </a:lnTo>
                  <a:lnTo>
                    <a:pt x="791826" y="722008"/>
                  </a:lnTo>
                  <a:lnTo>
                    <a:pt x="791826" y="713329"/>
                  </a:lnTo>
                  <a:lnTo>
                    <a:pt x="792802" y="711075"/>
                  </a:lnTo>
                  <a:lnTo>
                    <a:pt x="797547" y="713766"/>
                  </a:lnTo>
                  <a:lnTo>
                    <a:pt x="814745" y="733041"/>
                  </a:lnTo>
                  <a:lnTo>
                    <a:pt x="820130" y="733613"/>
                  </a:lnTo>
                  <a:lnTo>
                    <a:pt x="821072" y="731292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28" name="Freeform 894">
              <a:extLst>
                <a:ext uri="{FF2B5EF4-FFF2-40B4-BE49-F238E27FC236}">
                  <a16:creationId xmlns:a16="http://schemas.microsoft.com/office/drawing/2014/main" id="{214B1F15-47F1-06F1-DDAC-D61CDCF74F95}"/>
                </a:ext>
              </a:extLst>
            </p:cNvPr>
            <p:cNvSpPr/>
            <p:nvPr/>
          </p:nvSpPr>
          <p:spPr>
            <a:xfrm>
              <a:off x="7412913" y="3167111"/>
              <a:ext cx="311268" cy="270392"/>
            </a:xfrm>
            <a:custGeom>
              <a:avLst/>
              <a:gdLst>
                <a:gd name="connsiteX0" fmla="*/ 592758 w 597604"/>
                <a:gd name="connsiteY0" fmla="*/ 357320 h 519126"/>
                <a:gd name="connsiteX1" fmla="*/ 590739 w 597604"/>
                <a:gd name="connsiteY1" fmla="*/ 350660 h 519126"/>
                <a:gd name="connsiteX2" fmla="*/ 583200 w 597604"/>
                <a:gd name="connsiteY2" fmla="*/ 346589 h 519126"/>
                <a:gd name="connsiteX3" fmla="*/ 584344 w 597604"/>
                <a:gd name="connsiteY3" fmla="*/ 342552 h 519126"/>
                <a:gd name="connsiteX4" fmla="*/ 590705 w 597604"/>
                <a:gd name="connsiteY4" fmla="*/ 338348 h 519126"/>
                <a:gd name="connsiteX5" fmla="*/ 587945 w 597604"/>
                <a:gd name="connsiteY5" fmla="*/ 335589 h 519126"/>
                <a:gd name="connsiteX6" fmla="*/ 583167 w 597604"/>
                <a:gd name="connsiteY6" fmla="*/ 335589 h 519126"/>
                <a:gd name="connsiteX7" fmla="*/ 579969 w 597604"/>
                <a:gd name="connsiteY7" fmla="*/ 338785 h 519126"/>
                <a:gd name="connsiteX8" fmla="*/ 577344 w 597604"/>
                <a:gd name="connsiteY8" fmla="*/ 341981 h 519126"/>
                <a:gd name="connsiteX9" fmla="*/ 572431 w 597604"/>
                <a:gd name="connsiteY9" fmla="*/ 338213 h 519126"/>
                <a:gd name="connsiteX10" fmla="*/ 570984 w 597604"/>
                <a:gd name="connsiteY10" fmla="*/ 335623 h 519126"/>
                <a:gd name="connsiteX11" fmla="*/ 570950 w 597604"/>
                <a:gd name="connsiteY11" fmla="*/ 327818 h 519126"/>
                <a:gd name="connsiteX12" fmla="*/ 573306 w 597604"/>
                <a:gd name="connsiteY12" fmla="*/ 322032 h 519126"/>
                <a:gd name="connsiteX13" fmla="*/ 576772 w 597604"/>
                <a:gd name="connsiteY13" fmla="*/ 317121 h 519126"/>
                <a:gd name="connsiteX14" fmla="*/ 579969 w 597604"/>
                <a:gd name="connsiteY14" fmla="*/ 312781 h 519126"/>
                <a:gd name="connsiteX15" fmla="*/ 581820 w 597604"/>
                <a:gd name="connsiteY15" fmla="*/ 306995 h 519126"/>
                <a:gd name="connsiteX16" fmla="*/ 581820 w 597604"/>
                <a:gd name="connsiteY16" fmla="*/ 304102 h 519126"/>
                <a:gd name="connsiteX17" fmla="*/ 577041 w 597604"/>
                <a:gd name="connsiteY17" fmla="*/ 297442 h 519126"/>
                <a:gd name="connsiteX18" fmla="*/ 573272 w 597604"/>
                <a:gd name="connsiteY18" fmla="*/ 294549 h 519126"/>
                <a:gd name="connsiteX19" fmla="*/ 570916 w 597604"/>
                <a:gd name="connsiteY19" fmla="*/ 291925 h 519126"/>
                <a:gd name="connsiteX20" fmla="*/ 574719 w 597604"/>
                <a:gd name="connsiteY20" fmla="*/ 288157 h 519126"/>
                <a:gd name="connsiteX21" fmla="*/ 581787 w 597604"/>
                <a:gd name="connsiteY21" fmla="*/ 284692 h 519126"/>
                <a:gd name="connsiteX22" fmla="*/ 585724 w 597604"/>
                <a:gd name="connsiteY22" fmla="*/ 283549 h 519126"/>
                <a:gd name="connsiteX23" fmla="*/ 589191 w 597604"/>
                <a:gd name="connsiteY23" fmla="*/ 282102 h 519126"/>
                <a:gd name="connsiteX24" fmla="*/ 595854 w 597604"/>
                <a:gd name="connsiteY24" fmla="*/ 277460 h 519126"/>
                <a:gd name="connsiteX25" fmla="*/ 597604 w 597604"/>
                <a:gd name="connsiteY25" fmla="*/ 273389 h 519126"/>
                <a:gd name="connsiteX26" fmla="*/ 594407 w 597604"/>
                <a:gd name="connsiteY26" fmla="*/ 270934 h 519126"/>
                <a:gd name="connsiteX27" fmla="*/ 589763 w 597604"/>
                <a:gd name="connsiteY27" fmla="*/ 269622 h 519126"/>
                <a:gd name="connsiteX28" fmla="*/ 588316 w 597604"/>
                <a:gd name="connsiteY28" fmla="*/ 269622 h 519126"/>
                <a:gd name="connsiteX29" fmla="*/ 588316 w 597604"/>
                <a:gd name="connsiteY29" fmla="*/ 267301 h 519126"/>
                <a:gd name="connsiteX30" fmla="*/ 590066 w 597604"/>
                <a:gd name="connsiteY30" fmla="*/ 263836 h 519126"/>
                <a:gd name="connsiteX31" fmla="*/ 594138 w 597604"/>
                <a:gd name="connsiteY31" fmla="*/ 260943 h 519126"/>
                <a:gd name="connsiteX32" fmla="*/ 595282 w 597604"/>
                <a:gd name="connsiteY32" fmla="*/ 260943 h 519126"/>
                <a:gd name="connsiteX33" fmla="*/ 597604 w 597604"/>
                <a:gd name="connsiteY33" fmla="*/ 257478 h 519126"/>
                <a:gd name="connsiteX34" fmla="*/ 595854 w 597604"/>
                <a:gd name="connsiteY34" fmla="*/ 253138 h 519126"/>
                <a:gd name="connsiteX35" fmla="*/ 591513 w 597604"/>
                <a:gd name="connsiteY35" fmla="*/ 249371 h 519126"/>
                <a:gd name="connsiteX36" fmla="*/ 588046 w 597604"/>
                <a:gd name="connsiteY36" fmla="*/ 245031 h 519126"/>
                <a:gd name="connsiteX37" fmla="*/ 588619 w 597604"/>
                <a:gd name="connsiteY37" fmla="*/ 240254 h 519126"/>
                <a:gd name="connsiteX38" fmla="*/ 582224 w 597604"/>
                <a:gd name="connsiteY38" fmla="*/ 236621 h 519126"/>
                <a:gd name="connsiteX39" fmla="*/ 577883 w 597604"/>
                <a:gd name="connsiteY39" fmla="*/ 236621 h 519126"/>
                <a:gd name="connsiteX40" fmla="*/ 570882 w 597604"/>
                <a:gd name="connsiteY40" fmla="*/ 238371 h 519126"/>
                <a:gd name="connsiteX41" fmla="*/ 568325 w 597604"/>
                <a:gd name="connsiteY41" fmla="*/ 238942 h 519126"/>
                <a:gd name="connsiteX42" fmla="*/ 566003 w 597604"/>
                <a:gd name="connsiteY42" fmla="*/ 242138 h 519126"/>
                <a:gd name="connsiteX43" fmla="*/ 563681 w 597604"/>
                <a:gd name="connsiteY43" fmla="*/ 244459 h 519126"/>
                <a:gd name="connsiteX44" fmla="*/ 559777 w 597604"/>
                <a:gd name="connsiteY44" fmla="*/ 245031 h 519126"/>
                <a:gd name="connsiteX45" fmla="*/ 557892 w 597604"/>
                <a:gd name="connsiteY45" fmla="*/ 242710 h 519126"/>
                <a:gd name="connsiteX46" fmla="*/ 557892 w 597604"/>
                <a:gd name="connsiteY46" fmla="*/ 240961 h 519126"/>
                <a:gd name="connsiteX47" fmla="*/ 554998 w 597604"/>
                <a:gd name="connsiteY47" fmla="*/ 241264 h 519126"/>
                <a:gd name="connsiteX48" fmla="*/ 552103 w 597604"/>
                <a:gd name="connsiteY48" fmla="*/ 242138 h 519126"/>
                <a:gd name="connsiteX49" fmla="*/ 547459 w 597604"/>
                <a:gd name="connsiteY49" fmla="*/ 245334 h 519126"/>
                <a:gd name="connsiteX50" fmla="*/ 540796 w 597604"/>
                <a:gd name="connsiteY50" fmla="*/ 247083 h 519126"/>
                <a:gd name="connsiteX51" fmla="*/ 539045 w 597604"/>
                <a:gd name="connsiteY51" fmla="*/ 247655 h 519126"/>
                <a:gd name="connsiteX52" fmla="*/ 532685 w 597604"/>
                <a:gd name="connsiteY52" fmla="*/ 248799 h 519126"/>
                <a:gd name="connsiteX53" fmla="*/ 524843 w 597604"/>
                <a:gd name="connsiteY53" fmla="*/ 250245 h 519126"/>
                <a:gd name="connsiteX54" fmla="*/ 524843 w 597604"/>
                <a:gd name="connsiteY54" fmla="*/ 246175 h 519126"/>
                <a:gd name="connsiteX55" fmla="*/ 527435 w 597604"/>
                <a:gd name="connsiteY55" fmla="*/ 243282 h 519126"/>
                <a:gd name="connsiteX56" fmla="*/ 530632 w 597604"/>
                <a:gd name="connsiteY56" fmla="*/ 240692 h 519126"/>
                <a:gd name="connsiteX57" fmla="*/ 534704 w 597604"/>
                <a:gd name="connsiteY57" fmla="*/ 236621 h 519126"/>
                <a:gd name="connsiteX58" fmla="*/ 540796 w 597604"/>
                <a:gd name="connsiteY58" fmla="*/ 231104 h 519126"/>
                <a:gd name="connsiteX59" fmla="*/ 541940 w 597604"/>
                <a:gd name="connsiteY59" fmla="*/ 228783 h 519126"/>
                <a:gd name="connsiteX60" fmla="*/ 543690 w 597604"/>
                <a:gd name="connsiteY60" fmla="*/ 226193 h 519126"/>
                <a:gd name="connsiteX61" fmla="*/ 545440 w 597604"/>
                <a:gd name="connsiteY61" fmla="*/ 224746 h 519126"/>
                <a:gd name="connsiteX62" fmla="*/ 550353 w 597604"/>
                <a:gd name="connsiteY62" fmla="*/ 222997 h 519126"/>
                <a:gd name="connsiteX63" fmla="*/ 553248 w 597604"/>
                <a:gd name="connsiteY63" fmla="*/ 221820 h 519126"/>
                <a:gd name="connsiteX64" fmla="*/ 554695 w 597604"/>
                <a:gd name="connsiteY64" fmla="*/ 220373 h 519126"/>
                <a:gd name="connsiteX65" fmla="*/ 554964 w 597604"/>
                <a:gd name="connsiteY65" fmla="*/ 216303 h 519126"/>
                <a:gd name="connsiteX66" fmla="*/ 556411 w 597604"/>
                <a:gd name="connsiteY66" fmla="*/ 211963 h 519126"/>
                <a:gd name="connsiteX67" fmla="*/ 559036 w 597604"/>
                <a:gd name="connsiteY67" fmla="*/ 208499 h 519126"/>
                <a:gd name="connsiteX68" fmla="*/ 561224 w 597604"/>
                <a:gd name="connsiteY68" fmla="*/ 207052 h 519126"/>
                <a:gd name="connsiteX69" fmla="*/ 565733 w 597604"/>
                <a:gd name="connsiteY69" fmla="*/ 207052 h 519126"/>
                <a:gd name="connsiteX70" fmla="*/ 568931 w 597604"/>
                <a:gd name="connsiteY70" fmla="*/ 207052 h 519126"/>
                <a:gd name="connsiteX71" fmla="*/ 573844 w 597604"/>
                <a:gd name="connsiteY71" fmla="*/ 204428 h 519126"/>
                <a:gd name="connsiteX72" fmla="*/ 576469 w 597604"/>
                <a:gd name="connsiteY72" fmla="*/ 202982 h 519126"/>
                <a:gd name="connsiteX73" fmla="*/ 580508 w 597604"/>
                <a:gd name="connsiteY73" fmla="*/ 200661 h 519126"/>
                <a:gd name="connsiteX74" fmla="*/ 585724 w 597604"/>
                <a:gd name="connsiteY74" fmla="*/ 198339 h 519126"/>
                <a:gd name="connsiteX75" fmla="*/ 587441 w 597604"/>
                <a:gd name="connsiteY75" fmla="*/ 196018 h 519126"/>
                <a:gd name="connsiteX76" fmla="*/ 588619 w 597604"/>
                <a:gd name="connsiteY76" fmla="*/ 192822 h 519126"/>
                <a:gd name="connsiteX77" fmla="*/ 588922 w 597604"/>
                <a:gd name="connsiteY77" fmla="*/ 187036 h 519126"/>
                <a:gd name="connsiteX78" fmla="*/ 589224 w 597604"/>
                <a:gd name="connsiteY78" fmla="*/ 181250 h 519126"/>
                <a:gd name="connsiteX79" fmla="*/ 586902 w 597604"/>
                <a:gd name="connsiteY79" fmla="*/ 178055 h 519126"/>
                <a:gd name="connsiteX80" fmla="*/ 582561 w 597604"/>
                <a:gd name="connsiteY80" fmla="*/ 172538 h 519126"/>
                <a:gd name="connsiteX81" fmla="*/ 579969 w 597604"/>
                <a:gd name="connsiteY81" fmla="*/ 170519 h 519126"/>
                <a:gd name="connsiteX82" fmla="*/ 577344 w 597604"/>
                <a:gd name="connsiteY82" fmla="*/ 166180 h 519126"/>
                <a:gd name="connsiteX83" fmla="*/ 575594 w 597604"/>
                <a:gd name="connsiteY83" fmla="*/ 160966 h 519126"/>
                <a:gd name="connsiteX84" fmla="*/ 575897 w 597604"/>
                <a:gd name="connsiteY84" fmla="*/ 154877 h 519126"/>
                <a:gd name="connsiteX85" fmla="*/ 576166 w 597604"/>
                <a:gd name="connsiteY85" fmla="*/ 149966 h 519126"/>
                <a:gd name="connsiteX86" fmla="*/ 573844 w 597604"/>
                <a:gd name="connsiteY86" fmla="*/ 146501 h 519126"/>
                <a:gd name="connsiteX87" fmla="*/ 575291 w 597604"/>
                <a:gd name="connsiteY87" fmla="*/ 142733 h 519126"/>
                <a:gd name="connsiteX88" fmla="*/ 575864 w 597604"/>
                <a:gd name="connsiteY88" fmla="*/ 141589 h 519126"/>
                <a:gd name="connsiteX89" fmla="*/ 577613 w 597604"/>
                <a:gd name="connsiteY89" fmla="*/ 137822 h 519126"/>
                <a:gd name="connsiteX90" fmla="*/ 575594 w 597604"/>
                <a:gd name="connsiteY90" fmla="*/ 131464 h 519126"/>
                <a:gd name="connsiteX91" fmla="*/ 574450 w 597604"/>
                <a:gd name="connsiteY91" fmla="*/ 128268 h 519126"/>
                <a:gd name="connsiteX92" fmla="*/ 577344 w 597604"/>
                <a:gd name="connsiteY92" fmla="*/ 123626 h 519126"/>
                <a:gd name="connsiteX93" fmla="*/ 579094 w 597604"/>
                <a:gd name="connsiteY93" fmla="*/ 119286 h 519126"/>
                <a:gd name="connsiteX94" fmla="*/ 577950 w 597604"/>
                <a:gd name="connsiteY94" fmla="*/ 114947 h 519126"/>
                <a:gd name="connsiteX95" fmla="*/ 577378 w 597604"/>
                <a:gd name="connsiteY95" fmla="*/ 113769 h 519126"/>
                <a:gd name="connsiteX96" fmla="*/ 572734 w 597604"/>
                <a:gd name="connsiteY96" fmla="*/ 110002 h 519126"/>
                <a:gd name="connsiteX97" fmla="*/ 571589 w 597604"/>
                <a:gd name="connsiteY97" fmla="*/ 105359 h 519126"/>
                <a:gd name="connsiteX98" fmla="*/ 570714 w 597604"/>
                <a:gd name="connsiteY98" fmla="*/ 98699 h 519126"/>
                <a:gd name="connsiteX99" fmla="*/ 572161 w 597604"/>
                <a:gd name="connsiteY99" fmla="*/ 93485 h 519126"/>
                <a:gd name="connsiteX100" fmla="*/ 571354 w 597604"/>
                <a:gd name="connsiteY100" fmla="*/ 87833 h 519126"/>
                <a:gd name="connsiteX101" fmla="*/ 571354 w 597604"/>
                <a:gd name="connsiteY101" fmla="*/ 87833 h 519126"/>
                <a:gd name="connsiteX102" fmla="*/ 568594 w 597604"/>
                <a:gd name="connsiteY102" fmla="*/ 87530 h 519126"/>
                <a:gd name="connsiteX103" fmla="*/ 567517 w 597604"/>
                <a:gd name="connsiteY103" fmla="*/ 88842 h 519126"/>
                <a:gd name="connsiteX104" fmla="*/ 564690 w 597604"/>
                <a:gd name="connsiteY104" fmla="*/ 88842 h 519126"/>
                <a:gd name="connsiteX105" fmla="*/ 562738 w 597604"/>
                <a:gd name="connsiteY105" fmla="*/ 90154 h 519126"/>
                <a:gd name="connsiteX106" fmla="*/ 560887 w 597604"/>
                <a:gd name="connsiteY106" fmla="*/ 92980 h 519126"/>
                <a:gd name="connsiteX107" fmla="*/ 559474 w 597604"/>
                <a:gd name="connsiteY107" fmla="*/ 94931 h 519126"/>
                <a:gd name="connsiteX108" fmla="*/ 558969 w 597604"/>
                <a:gd name="connsiteY108" fmla="*/ 97656 h 519126"/>
                <a:gd name="connsiteX109" fmla="*/ 558935 w 597604"/>
                <a:gd name="connsiteY109" fmla="*/ 100044 h 519126"/>
                <a:gd name="connsiteX110" fmla="*/ 558935 w 597604"/>
                <a:gd name="connsiteY110" fmla="*/ 101794 h 519126"/>
                <a:gd name="connsiteX111" fmla="*/ 558935 w 597604"/>
                <a:gd name="connsiteY111" fmla="*/ 103543 h 519126"/>
                <a:gd name="connsiteX112" fmla="*/ 558060 w 597604"/>
                <a:gd name="connsiteY112" fmla="*/ 106369 h 519126"/>
                <a:gd name="connsiteX113" fmla="*/ 557286 w 597604"/>
                <a:gd name="connsiteY113" fmla="*/ 107681 h 519126"/>
                <a:gd name="connsiteX114" fmla="*/ 556209 w 597604"/>
                <a:gd name="connsiteY114" fmla="*/ 109430 h 519126"/>
                <a:gd name="connsiteX115" fmla="*/ 555031 w 597604"/>
                <a:gd name="connsiteY115" fmla="*/ 111919 h 519126"/>
                <a:gd name="connsiteX116" fmla="*/ 554998 w 597604"/>
                <a:gd name="connsiteY116" fmla="*/ 113870 h 519126"/>
                <a:gd name="connsiteX117" fmla="*/ 554998 w 597604"/>
                <a:gd name="connsiteY117" fmla="*/ 116898 h 519126"/>
                <a:gd name="connsiteX118" fmla="*/ 553921 w 597604"/>
                <a:gd name="connsiteY118" fmla="*/ 118748 h 519126"/>
                <a:gd name="connsiteX119" fmla="*/ 552406 w 597604"/>
                <a:gd name="connsiteY119" fmla="*/ 119084 h 519126"/>
                <a:gd name="connsiteX120" fmla="*/ 550454 w 597604"/>
                <a:gd name="connsiteY120" fmla="*/ 118983 h 519126"/>
                <a:gd name="connsiteX121" fmla="*/ 548166 w 597604"/>
                <a:gd name="connsiteY121" fmla="*/ 117772 h 519126"/>
                <a:gd name="connsiteX122" fmla="*/ 546651 w 597604"/>
                <a:gd name="connsiteY122" fmla="*/ 117436 h 519126"/>
                <a:gd name="connsiteX123" fmla="*/ 544901 w 597604"/>
                <a:gd name="connsiteY123" fmla="*/ 120161 h 519126"/>
                <a:gd name="connsiteX124" fmla="*/ 540762 w 597604"/>
                <a:gd name="connsiteY124" fmla="*/ 120161 h 519126"/>
                <a:gd name="connsiteX125" fmla="*/ 538036 w 597604"/>
                <a:gd name="connsiteY125" fmla="*/ 119724 h 519126"/>
                <a:gd name="connsiteX126" fmla="*/ 533930 w 597604"/>
                <a:gd name="connsiteY126" fmla="*/ 116696 h 519126"/>
                <a:gd name="connsiteX127" fmla="*/ 530766 w 597604"/>
                <a:gd name="connsiteY127" fmla="*/ 112895 h 519126"/>
                <a:gd name="connsiteX128" fmla="*/ 528141 w 597604"/>
                <a:gd name="connsiteY128" fmla="*/ 111482 h 519126"/>
                <a:gd name="connsiteX129" fmla="*/ 527064 w 597604"/>
                <a:gd name="connsiteY129" fmla="*/ 112121 h 519126"/>
                <a:gd name="connsiteX130" fmla="*/ 525987 w 597604"/>
                <a:gd name="connsiteY130" fmla="*/ 114308 h 519126"/>
                <a:gd name="connsiteX131" fmla="*/ 522958 w 597604"/>
                <a:gd name="connsiteY131" fmla="*/ 116360 h 519126"/>
                <a:gd name="connsiteX132" fmla="*/ 521242 w 597604"/>
                <a:gd name="connsiteY132" fmla="*/ 115821 h 519126"/>
                <a:gd name="connsiteX133" fmla="*/ 519694 w 597604"/>
                <a:gd name="connsiteY133" fmla="*/ 114072 h 519126"/>
                <a:gd name="connsiteX134" fmla="*/ 519694 w 597604"/>
                <a:gd name="connsiteY134" fmla="*/ 110170 h 519126"/>
                <a:gd name="connsiteX135" fmla="*/ 520805 w 597604"/>
                <a:gd name="connsiteY135" fmla="*/ 106907 h 519126"/>
                <a:gd name="connsiteX136" fmla="*/ 521208 w 597604"/>
                <a:gd name="connsiteY136" fmla="*/ 103307 h 519126"/>
                <a:gd name="connsiteX137" fmla="*/ 521107 w 597604"/>
                <a:gd name="connsiteY137" fmla="*/ 100482 h 519126"/>
                <a:gd name="connsiteX138" fmla="*/ 521107 w 597604"/>
                <a:gd name="connsiteY138" fmla="*/ 95267 h 519126"/>
                <a:gd name="connsiteX139" fmla="*/ 521107 w 597604"/>
                <a:gd name="connsiteY139" fmla="*/ 93216 h 519126"/>
                <a:gd name="connsiteX140" fmla="*/ 520434 w 597604"/>
                <a:gd name="connsiteY140" fmla="*/ 91164 h 519126"/>
                <a:gd name="connsiteX141" fmla="*/ 519122 w 597604"/>
                <a:gd name="connsiteY141" fmla="*/ 88977 h 519126"/>
                <a:gd name="connsiteX142" fmla="*/ 516497 w 597604"/>
                <a:gd name="connsiteY142" fmla="*/ 86689 h 519126"/>
                <a:gd name="connsiteX143" fmla="*/ 514208 w 597604"/>
                <a:gd name="connsiteY143" fmla="*/ 87329 h 519126"/>
                <a:gd name="connsiteX144" fmla="*/ 512357 w 597604"/>
                <a:gd name="connsiteY144" fmla="*/ 88102 h 519126"/>
                <a:gd name="connsiteX145" fmla="*/ 510304 w 597604"/>
                <a:gd name="connsiteY145" fmla="*/ 88977 h 519126"/>
                <a:gd name="connsiteX146" fmla="*/ 509968 w 597604"/>
                <a:gd name="connsiteY146" fmla="*/ 89616 h 519126"/>
                <a:gd name="connsiteX147" fmla="*/ 510069 w 597604"/>
                <a:gd name="connsiteY147" fmla="*/ 92005 h 519126"/>
                <a:gd name="connsiteX148" fmla="*/ 510977 w 597604"/>
                <a:gd name="connsiteY148" fmla="*/ 93855 h 519126"/>
                <a:gd name="connsiteX149" fmla="*/ 510944 w 597604"/>
                <a:gd name="connsiteY149" fmla="*/ 95066 h 519126"/>
                <a:gd name="connsiteX150" fmla="*/ 510944 w 597604"/>
                <a:gd name="connsiteY150" fmla="*/ 98430 h 519126"/>
                <a:gd name="connsiteX151" fmla="*/ 510944 w 597604"/>
                <a:gd name="connsiteY151" fmla="*/ 100482 h 519126"/>
                <a:gd name="connsiteX152" fmla="*/ 509631 w 597604"/>
                <a:gd name="connsiteY152" fmla="*/ 101895 h 519126"/>
                <a:gd name="connsiteX153" fmla="*/ 504415 w 597604"/>
                <a:gd name="connsiteY153" fmla="*/ 101356 h 519126"/>
                <a:gd name="connsiteX154" fmla="*/ 502025 w 597604"/>
                <a:gd name="connsiteY154" fmla="*/ 98295 h 519126"/>
                <a:gd name="connsiteX155" fmla="*/ 502362 w 597604"/>
                <a:gd name="connsiteY155" fmla="*/ 92846 h 519126"/>
                <a:gd name="connsiteX156" fmla="*/ 502025 w 597604"/>
                <a:gd name="connsiteY156" fmla="*/ 89482 h 519126"/>
                <a:gd name="connsiteX157" fmla="*/ 502799 w 597604"/>
                <a:gd name="connsiteY157" fmla="*/ 85781 h 519126"/>
                <a:gd name="connsiteX158" fmla="*/ 503641 w 597604"/>
                <a:gd name="connsiteY158" fmla="*/ 81374 h 519126"/>
                <a:gd name="connsiteX159" fmla="*/ 504583 w 597604"/>
                <a:gd name="connsiteY159" fmla="*/ 79928 h 519126"/>
                <a:gd name="connsiteX160" fmla="*/ 505895 w 597604"/>
                <a:gd name="connsiteY160" fmla="*/ 78044 h 519126"/>
                <a:gd name="connsiteX161" fmla="*/ 507780 w 597604"/>
                <a:gd name="connsiteY161" fmla="*/ 76968 h 519126"/>
                <a:gd name="connsiteX162" fmla="*/ 509530 w 597604"/>
                <a:gd name="connsiteY162" fmla="*/ 74781 h 519126"/>
                <a:gd name="connsiteX163" fmla="*/ 510271 w 597604"/>
                <a:gd name="connsiteY163" fmla="*/ 73469 h 519126"/>
                <a:gd name="connsiteX164" fmla="*/ 510977 w 597604"/>
                <a:gd name="connsiteY164" fmla="*/ 68827 h 519126"/>
                <a:gd name="connsiteX165" fmla="*/ 510977 w 597604"/>
                <a:gd name="connsiteY165" fmla="*/ 65496 h 519126"/>
                <a:gd name="connsiteX166" fmla="*/ 510775 w 597604"/>
                <a:gd name="connsiteY166" fmla="*/ 63175 h 519126"/>
                <a:gd name="connsiteX167" fmla="*/ 507511 w 597604"/>
                <a:gd name="connsiteY167" fmla="*/ 60417 h 519126"/>
                <a:gd name="connsiteX168" fmla="*/ 504549 w 597604"/>
                <a:gd name="connsiteY168" fmla="*/ 59408 h 519126"/>
                <a:gd name="connsiteX169" fmla="*/ 501924 w 597604"/>
                <a:gd name="connsiteY169" fmla="*/ 59038 h 519126"/>
                <a:gd name="connsiteX170" fmla="*/ 500107 w 597604"/>
                <a:gd name="connsiteY170" fmla="*/ 61056 h 519126"/>
                <a:gd name="connsiteX171" fmla="*/ 498929 w 597604"/>
                <a:gd name="connsiteY171" fmla="*/ 63579 h 519126"/>
                <a:gd name="connsiteX172" fmla="*/ 498559 w 597604"/>
                <a:gd name="connsiteY172" fmla="*/ 65530 h 519126"/>
                <a:gd name="connsiteX173" fmla="*/ 498559 w 597604"/>
                <a:gd name="connsiteY173" fmla="*/ 67212 h 519126"/>
                <a:gd name="connsiteX174" fmla="*/ 497549 w 597604"/>
                <a:gd name="connsiteY174" fmla="*/ 69903 h 519126"/>
                <a:gd name="connsiteX175" fmla="*/ 496742 w 597604"/>
                <a:gd name="connsiteY175" fmla="*/ 71652 h 519126"/>
                <a:gd name="connsiteX176" fmla="*/ 495362 w 597604"/>
                <a:gd name="connsiteY176" fmla="*/ 73974 h 519126"/>
                <a:gd name="connsiteX177" fmla="*/ 491727 w 597604"/>
                <a:gd name="connsiteY177" fmla="*/ 73604 h 519126"/>
                <a:gd name="connsiteX178" fmla="*/ 487655 w 597604"/>
                <a:gd name="connsiteY178" fmla="*/ 70778 h 519126"/>
                <a:gd name="connsiteX179" fmla="*/ 483583 w 597604"/>
                <a:gd name="connsiteY179" fmla="*/ 66775 h 519126"/>
                <a:gd name="connsiteX180" fmla="*/ 479881 w 597604"/>
                <a:gd name="connsiteY180" fmla="*/ 63142 h 519126"/>
                <a:gd name="connsiteX181" fmla="*/ 478736 w 597604"/>
                <a:gd name="connsiteY181" fmla="*/ 59811 h 519126"/>
                <a:gd name="connsiteX182" fmla="*/ 479376 w 597604"/>
                <a:gd name="connsiteY182" fmla="*/ 57356 h 519126"/>
                <a:gd name="connsiteX183" fmla="*/ 481563 w 597604"/>
                <a:gd name="connsiteY183" fmla="*/ 55270 h 519126"/>
                <a:gd name="connsiteX184" fmla="*/ 483583 w 597604"/>
                <a:gd name="connsiteY184" fmla="*/ 53016 h 519126"/>
                <a:gd name="connsiteX185" fmla="*/ 482640 w 597604"/>
                <a:gd name="connsiteY185" fmla="*/ 49753 h 519126"/>
                <a:gd name="connsiteX186" fmla="*/ 481261 w 597604"/>
                <a:gd name="connsiteY186" fmla="*/ 47869 h 519126"/>
                <a:gd name="connsiteX187" fmla="*/ 478635 w 597604"/>
                <a:gd name="connsiteY187" fmla="*/ 43025 h 519126"/>
                <a:gd name="connsiteX188" fmla="*/ 477256 w 597604"/>
                <a:gd name="connsiteY188" fmla="*/ 38820 h 519126"/>
                <a:gd name="connsiteX189" fmla="*/ 478332 w 597604"/>
                <a:gd name="connsiteY189" fmla="*/ 37643 h 519126"/>
                <a:gd name="connsiteX190" fmla="*/ 479578 w 597604"/>
                <a:gd name="connsiteY190" fmla="*/ 35759 h 519126"/>
                <a:gd name="connsiteX191" fmla="*/ 479578 w 597604"/>
                <a:gd name="connsiteY191" fmla="*/ 33303 h 519126"/>
                <a:gd name="connsiteX192" fmla="*/ 479409 w 597604"/>
                <a:gd name="connsiteY192" fmla="*/ 30175 h 519126"/>
                <a:gd name="connsiteX193" fmla="*/ 477626 w 597604"/>
                <a:gd name="connsiteY193" fmla="*/ 25533 h 519126"/>
                <a:gd name="connsiteX194" fmla="*/ 477626 w 597604"/>
                <a:gd name="connsiteY194" fmla="*/ 23279 h 519126"/>
                <a:gd name="connsiteX195" fmla="*/ 477188 w 597604"/>
                <a:gd name="connsiteY195" fmla="*/ 20453 h 519126"/>
                <a:gd name="connsiteX196" fmla="*/ 475741 w 597604"/>
                <a:gd name="connsiteY196" fmla="*/ 18132 h 519126"/>
                <a:gd name="connsiteX197" fmla="*/ 473991 w 597604"/>
                <a:gd name="connsiteY197" fmla="*/ 16820 h 519126"/>
                <a:gd name="connsiteX198" fmla="*/ 472039 w 597604"/>
                <a:gd name="connsiteY198" fmla="*/ 16753 h 519126"/>
                <a:gd name="connsiteX199" fmla="*/ 469784 w 597604"/>
                <a:gd name="connsiteY199" fmla="*/ 18132 h 519126"/>
                <a:gd name="connsiteX200" fmla="*/ 467529 w 597604"/>
                <a:gd name="connsiteY200" fmla="*/ 19444 h 519126"/>
                <a:gd name="connsiteX201" fmla="*/ 464198 w 597604"/>
                <a:gd name="connsiteY201" fmla="*/ 19242 h 519126"/>
                <a:gd name="connsiteX202" fmla="*/ 461741 w 597604"/>
                <a:gd name="connsiteY202" fmla="*/ 18872 h 519126"/>
                <a:gd name="connsiteX203" fmla="*/ 458409 w 597604"/>
                <a:gd name="connsiteY203" fmla="*/ 17627 h 519126"/>
                <a:gd name="connsiteX204" fmla="*/ 455649 w 597604"/>
                <a:gd name="connsiteY204" fmla="*/ 16618 h 519126"/>
                <a:gd name="connsiteX205" fmla="*/ 452553 w 597604"/>
                <a:gd name="connsiteY205" fmla="*/ 16753 h 519126"/>
                <a:gd name="connsiteX206" fmla="*/ 450096 w 597604"/>
                <a:gd name="connsiteY206" fmla="*/ 18334 h 519126"/>
                <a:gd name="connsiteX207" fmla="*/ 448144 w 597604"/>
                <a:gd name="connsiteY207" fmla="*/ 20352 h 519126"/>
                <a:gd name="connsiteX208" fmla="*/ 445822 w 597604"/>
                <a:gd name="connsiteY208" fmla="*/ 21597 h 519126"/>
                <a:gd name="connsiteX209" fmla="*/ 440740 w 597604"/>
                <a:gd name="connsiteY209" fmla="*/ 21967 h 519126"/>
                <a:gd name="connsiteX210" fmla="*/ 438822 w 597604"/>
                <a:gd name="connsiteY210" fmla="*/ 24019 h 519126"/>
                <a:gd name="connsiteX211" fmla="*/ 437038 w 597604"/>
                <a:gd name="connsiteY211" fmla="*/ 24826 h 519126"/>
                <a:gd name="connsiteX212" fmla="*/ 435995 w 597604"/>
                <a:gd name="connsiteY212" fmla="*/ 26609 h 519126"/>
                <a:gd name="connsiteX213" fmla="*/ 433505 w 597604"/>
                <a:gd name="connsiteY213" fmla="*/ 28392 h 519126"/>
                <a:gd name="connsiteX214" fmla="*/ 432192 w 597604"/>
                <a:gd name="connsiteY214" fmla="*/ 28493 h 519126"/>
                <a:gd name="connsiteX215" fmla="*/ 429365 w 597604"/>
                <a:gd name="connsiteY215" fmla="*/ 27786 h 519126"/>
                <a:gd name="connsiteX216" fmla="*/ 428221 w 597604"/>
                <a:gd name="connsiteY216" fmla="*/ 27618 h 519126"/>
                <a:gd name="connsiteX217" fmla="*/ 426706 w 597604"/>
                <a:gd name="connsiteY217" fmla="*/ 25869 h 519126"/>
                <a:gd name="connsiteX218" fmla="*/ 426000 w 597604"/>
                <a:gd name="connsiteY218" fmla="*/ 24288 h 519126"/>
                <a:gd name="connsiteX219" fmla="*/ 425360 w 597604"/>
                <a:gd name="connsiteY219" fmla="*/ 22370 h 519126"/>
                <a:gd name="connsiteX220" fmla="*/ 425024 w 597604"/>
                <a:gd name="connsiteY220" fmla="*/ 20789 h 519126"/>
                <a:gd name="connsiteX221" fmla="*/ 425663 w 597604"/>
                <a:gd name="connsiteY221" fmla="*/ 18233 h 519126"/>
                <a:gd name="connsiteX222" fmla="*/ 425663 w 597604"/>
                <a:gd name="connsiteY222" fmla="*/ 17459 h 519126"/>
                <a:gd name="connsiteX223" fmla="*/ 425899 w 597604"/>
                <a:gd name="connsiteY223" fmla="*/ 15777 h 519126"/>
                <a:gd name="connsiteX224" fmla="*/ 426235 w 597604"/>
                <a:gd name="connsiteY224" fmla="*/ 13927 h 519126"/>
                <a:gd name="connsiteX225" fmla="*/ 425663 w 597604"/>
                <a:gd name="connsiteY225" fmla="*/ 11269 h 519126"/>
                <a:gd name="connsiteX226" fmla="*/ 425663 w 597604"/>
                <a:gd name="connsiteY226" fmla="*/ 8982 h 519126"/>
                <a:gd name="connsiteX227" fmla="*/ 424990 w 597604"/>
                <a:gd name="connsiteY227" fmla="*/ 6963 h 519126"/>
                <a:gd name="connsiteX228" fmla="*/ 424317 w 597604"/>
                <a:gd name="connsiteY228" fmla="*/ 4844 h 519126"/>
                <a:gd name="connsiteX229" fmla="*/ 422971 w 597604"/>
                <a:gd name="connsiteY229" fmla="*/ 3768 h 519126"/>
                <a:gd name="connsiteX230" fmla="*/ 420918 w 597604"/>
                <a:gd name="connsiteY230" fmla="*/ 3061 h 519126"/>
                <a:gd name="connsiteX231" fmla="*/ 418360 w 597604"/>
                <a:gd name="connsiteY231" fmla="*/ 3162 h 519126"/>
                <a:gd name="connsiteX232" fmla="*/ 417048 w 597604"/>
                <a:gd name="connsiteY232" fmla="*/ 3667 h 519126"/>
                <a:gd name="connsiteX233" fmla="*/ 415264 w 597604"/>
                <a:gd name="connsiteY233" fmla="*/ 5147 h 519126"/>
                <a:gd name="connsiteX234" fmla="*/ 413110 w 597604"/>
                <a:gd name="connsiteY234" fmla="*/ 6795 h 519126"/>
                <a:gd name="connsiteX235" fmla="*/ 407456 w 597604"/>
                <a:gd name="connsiteY235" fmla="*/ 5214 h 519126"/>
                <a:gd name="connsiteX236" fmla="*/ 405134 w 597604"/>
                <a:gd name="connsiteY236" fmla="*/ 3768 h 519126"/>
                <a:gd name="connsiteX237" fmla="*/ 403821 w 597604"/>
                <a:gd name="connsiteY237" fmla="*/ 2758 h 519126"/>
                <a:gd name="connsiteX238" fmla="*/ 400927 w 597604"/>
                <a:gd name="connsiteY238" fmla="*/ 875 h 519126"/>
                <a:gd name="connsiteX239" fmla="*/ 398739 w 597604"/>
                <a:gd name="connsiteY239" fmla="*/ 0 h 519126"/>
                <a:gd name="connsiteX240" fmla="*/ 396821 w 597604"/>
                <a:gd name="connsiteY240" fmla="*/ 0 h 519126"/>
                <a:gd name="connsiteX241" fmla="*/ 394364 w 597604"/>
                <a:gd name="connsiteY241" fmla="*/ 1884 h 519126"/>
                <a:gd name="connsiteX242" fmla="*/ 392782 w 597604"/>
                <a:gd name="connsiteY242" fmla="*/ 4642 h 519126"/>
                <a:gd name="connsiteX243" fmla="*/ 389148 w 597604"/>
                <a:gd name="connsiteY243" fmla="*/ 7670 h 519126"/>
                <a:gd name="connsiteX244" fmla="*/ 386691 w 597604"/>
                <a:gd name="connsiteY244" fmla="*/ 8679 h 519126"/>
                <a:gd name="connsiteX245" fmla="*/ 386119 w 597604"/>
                <a:gd name="connsiteY245" fmla="*/ 11303 h 519126"/>
                <a:gd name="connsiteX246" fmla="*/ 385244 w 597604"/>
                <a:gd name="connsiteY246" fmla="*/ 16080 h 519126"/>
                <a:gd name="connsiteX247" fmla="*/ 385816 w 597604"/>
                <a:gd name="connsiteY247" fmla="*/ 19982 h 519126"/>
                <a:gd name="connsiteX248" fmla="*/ 385816 w 597604"/>
                <a:gd name="connsiteY248" fmla="*/ 21866 h 519126"/>
                <a:gd name="connsiteX249" fmla="*/ 387196 w 597604"/>
                <a:gd name="connsiteY249" fmla="*/ 24456 h 519126"/>
                <a:gd name="connsiteX250" fmla="*/ 391033 w 597604"/>
                <a:gd name="connsiteY250" fmla="*/ 25331 h 519126"/>
                <a:gd name="connsiteX251" fmla="*/ 392782 w 597604"/>
                <a:gd name="connsiteY251" fmla="*/ 28661 h 519126"/>
                <a:gd name="connsiteX252" fmla="*/ 392782 w 597604"/>
                <a:gd name="connsiteY252" fmla="*/ 32126 h 519126"/>
                <a:gd name="connsiteX253" fmla="*/ 392782 w 597604"/>
                <a:gd name="connsiteY253" fmla="*/ 34312 h 519126"/>
                <a:gd name="connsiteX254" fmla="*/ 391706 w 597604"/>
                <a:gd name="connsiteY254" fmla="*/ 36499 h 519126"/>
                <a:gd name="connsiteX255" fmla="*/ 389585 w 597604"/>
                <a:gd name="connsiteY255" fmla="*/ 38517 h 519126"/>
                <a:gd name="connsiteX256" fmla="*/ 387129 w 597604"/>
                <a:gd name="connsiteY256" fmla="*/ 39829 h 519126"/>
                <a:gd name="connsiteX257" fmla="*/ 384672 w 597604"/>
                <a:gd name="connsiteY257" fmla="*/ 40704 h 519126"/>
                <a:gd name="connsiteX258" fmla="*/ 382215 w 597604"/>
                <a:gd name="connsiteY258" fmla="*/ 41713 h 519126"/>
                <a:gd name="connsiteX259" fmla="*/ 380465 w 597604"/>
                <a:gd name="connsiteY259" fmla="*/ 43160 h 519126"/>
                <a:gd name="connsiteX260" fmla="*/ 379152 w 597604"/>
                <a:gd name="connsiteY260" fmla="*/ 44741 h 519126"/>
                <a:gd name="connsiteX261" fmla="*/ 377133 w 597604"/>
                <a:gd name="connsiteY261" fmla="*/ 47634 h 519126"/>
                <a:gd name="connsiteX262" fmla="*/ 375551 w 597604"/>
                <a:gd name="connsiteY262" fmla="*/ 49652 h 519126"/>
                <a:gd name="connsiteX263" fmla="*/ 373229 w 597604"/>
                <a:gd name="connsiteY263" fmla="*/ 49787 h 519126"/>
                <a:gd name="connsiteX264" fmla="*/ 371917 w 597604"/>
                <a:gd name="connsiteY264" fmla="*/ 49349 h 519126"/>
                <a:gd name="connsiteX265" fmla="*/ 370469 w 597604"/>
                <a:gd name="connsiteY265" fmla="*/ 45279 h 519126"/>
                <a:gd name="connsiteX266" fmla="*/ 370469 w 597604"/>
                <a:gd name="connsiteY266" fmla="*/ 41949 h 519126"/>
                <a:gd name="connsiteX267" fmla="*/ 367272 w 597604"/>
                <a:gd name="connsiteY267" fmla="*/ 37172 h 519126"/>
                <a:gd name="connsiteX268" fmla="*/ 362359 w 597604"/>
                <a:gd name="connsiteY268" fmla="*/ 36432 h 519126"/>
                <a:gd name="connsiteX269" fmla="*/ 357580 w 597604"/>
                <a:gd name="connsiteY269" fmla="*/ 36432 h 519126"/>
                <a:gd name="connsiteX270" fmla="*/ 353810 w 597604"/>
                <a:gd name="connsiteY270" fmla="*/ 37676 h 519126"/>
                <a:gd name="connsiteX271" fmla="*/ 349402 w 597604"/>
                <a:gd name="connsiteY271" fmla="*/ 39056 h 519126"/>
                <a:gd name="connsiteX272" fmla="*/ 348392 w 597604"/>
                <a:gd name="connsiteY272" fmla="*/ 39493 h 519126"/>
                <a:gd name="connsiteX273" fmla="*/ 347753 w 597604"/>
                <a:gd name="connsiteY273" fmla="*/ 41074 h 519126"/>
                <a:gd name="connsiteX274" fmla="*/ 347181 w 597604"/>
                <a:gd name="connsiteY274" fmla="*/ 43597 h 519126"/>
                <a:gd name="connsiteX275" fmla="*/ 346306 w 597604"/>
                <a:gd name="connsiteY275" fmla="*/ 46793 h 519126"/>
                <a:gd name="connsiteX276" fmla="*/ 344926 w 597604"/>
                <a:gd name="connsiteY276" fmla="*/ 48407 h 519126"/>
                <a:gd name="connsiteX277" fmla="*/ 343277 w 597604"/>
                <a:gd name="connsiteY277" fmla="*/ 47533 h 519126"/>
                <a:gd name="connsiteX278" fmla="*/ 339642 w 597604"/>
                <a:gd name="connsiteY278" fmla="*/ 45851 h 519126"/>
                <a:gd name="connsiteX279" fmla="*/ 337690 w 597604"/>
                <a:gd name="connsiteY279" fmla="*/ 45414 h 519126"/>
                <a:gd name="connsiteX280" fmla="*/ 335940 w 597604"/>
                <a:gd name="connsiteY280" fmla="*/ 45986 h 519126"/>
                <a:gd name="connsiteX281" fmla="*/ 333853 w 597604"/>
                <a:gd name="connsiteY281" fmla="*/ 47230 h 519126"/>
                <a:gd name="connsiteX282" fmla="*/ 330387 w 597604"/>
                <a:gd name="connsiteY282" fmla="*/ 49417 h 519126"/>
                <a:gd name="connsiteX283" fmla="*/ 327796 w 597604"/>
                <a:gd name="connsiteY283" fmla="*/ 53117 h 519126"/>
                <a:gd name="connsiteX284" fmla="*/ 329512 w 597604"/>
                <a:gd name="connsiteY284" fmla="*/ 55068 h 519126"/>
                <a:gd name="connsiteX285" fmla="*/ 333147 w 597604"/>
                <a:gd name="connsiteY285" fmla="*/ 58903 h 519126"/>
                <a:gd name="connsiteX286" fmla="*/ 333954 w 597604"/>
                <a:gd name="connsiteY286" fmla="*/ 61729 h 519126"/>
                <a:gd name="connsiteX287" fmla="*/ 333584 w 597604"/>
                <a:gd name="connsiteY287" fmla="*/ 65059 h 519126"/>
                <a:gd name="connsiteX288" fmla="*/ 332204 w 597604"/>
                <a:gd name="connsiteY288" fmla="*/ 66741 h 519126"/>
                <a:gd name="connsiteX289" fmla="*/ 330050 w 597604"/>
                <a:gd name="connsiteY289" fmla="*/ 69264 h 519126"/>
                <a:gd name="connsiteX290" fmla="*/ 326853 w 597604"/>
                <a:gd name="connsiteY290" fmla="*/ 69062 h 519126"/>
                <a:gd name="connsiteX291" fmla="*/ 324094 w 597604"/>
                <a:gd name="connsiteY291" fmla="*/ 67178 h 519126"/>
                <a:gd name="connsiteX292" fmla="*/ 322209 w 597604"/>
                <a:gd name="connsiteY292" fmla="*/ 66236 h 519126"/>
                <a:gd name="connsiteX293" fmla="*/ 320829 w 597604"/>
                <a:gd name="connsiteY293" fmla="*/ 65597 h 519126"/>
                <a:gd name="connsiteX294" fmla="*/ 319887 w 597604"/>
                <a:gd name="connsiteY294" fmla="*/ 66539 h 519126"/>
                <a:gd name="connsiteX295" fmla="*/ 320391 w 597604"/>
                <a:gd name="connsiteY295" fmla="*/ 68793 h 519126"/>
                <a:gd name="connsiteX296" fmla="*/ 320694 w 597604"/>
                <a:gd name="connsiteY296" fmla="*/ 70744 h 519126"/>
                <a:gd name="connsiteX297" fmla="*/ 321805 w 597604"/>
                <a:gd name="connsiteY297" fmla="*/ 72998 h 519126"/>
                <a:gd name="connsiteX298" fmla="*/ 321704 w 597604"/>
                <a:gd name="connsiteY298" fmla="*/ 75387 h 519126"/>
                <a:gd name="connsiteX299" fmla="*/ 321704 w 597604"/>
                <a:gd name="connsiteY299" fmla="*/ 77203 h 519126"/>
                <a:gd name="connsiteX300" fmla="*/ 321603 w 597604"/>
                <a:gd name="connsiteY300" fmla="*/ 79154 h 519126"/>
                <a:gd name="connsiteX301" fmla="*/ 321603 w 597604"/>
                <a:gd name="connsiteY301" fmla="*/ 80971 h 519126"/>
                <a:gd name="connsiteX302" fmla="*/ 320291 w 597604"/>
                <a:gd name="connsiteY302" fmla="*/ 83729 h 519126"/>
                <a:gd name="connsiteX303" fmla="*/ 318642 w 597604"/>
                <a:gd name="connsiteY303" fmla="*/ 85478 h 519126"/>
                <a:gd name="connsiteX304" fmla="*/ 316622 w 597604"/>
                <a:gd name="connsiteY304" fmla="*/ 84604 h 519126"/>
                <a:gd name="connsiteX305" fmla="*/ 316050 w 597604"/>
                <a:gd name="connsiteY305" fmla="*/ 83292 h 519126"/>
                <a:gd name="connsiteX306" fmla="*/ 314603 w 597604"/>
                <a:gd name="connsiteY306" fmla="*/ 79659 h 519126"/>
                <a:gd name="connsiteX307" fmla="*/ 314031 w 597604"/>
                <a:gd name="connsiteY307" fmla="*/ 79087 h 519126"/>
                <a:gd name="connsiteX308" fmla="*/ 310766 w 597604"/>
                <a:gd name="connsiteY308" fmla="*/ 78649 h 519126"/>
                <a:gd name="connsiteX309" fmla="*/ 307939 w 597604"/>
                <a:gd name="connsiteY309" fmla="*/ 78448 h 519126"/>
                <a:gd name="connsiteX310" fmla="*/ 306290 w 597604"/>
                <a:gd name="connsiteY310" fmla="*/ 76127 h 519126"/>
                <a:gd name="connsiteX311" fmla="*/ 306156 w 597604"/>
                <a:gd name="connsiteY311" fmla="*/ 74445 h 519126"/>
                <a:gd name="connsiteX312" fmla="*/ 306526 w 597604"/>
                <a:gd name="connsiteY312" fmla="*/ 73133 h 519126"/>
                <a:gd name="connsiteX313" fmla="*/ 306829 w 597604"/>
                <a:gd name="connsiteY313" fmla="*/ 71989 h 519126"/>
                <a:gd name="connsiteX314" fmla="*/ 307535 w 597604"/>
                <a:gd name="connsiteY314" fmla="*/ 70542 h 519126"/>
                <a:gd name="connsiteX315" fmla="*/ 307973 w 597604"/>
                <a:gd name="connsiteY315" fmla="*/ 69668 h 519126"/>
                <a:gd name="connsiteX316" fmla="*/ 309218 w 597604"/>
                <a:gd name="connsiteY316" fmla="*/ 67717 h 519126"/>
                <a:gd name="connsiteX317" fmla="*/ 310161 w 597604"/>
                <a:gd name="connsiteY317" fmla="*/ 66707 h 519126"/>
                <a:gd name="connsiteX318" fmla="*/ 311036 w 597604"/>
                <a:gd name="connsiteY318" fmla="*/ 65631 h 519126"/>
                <a:gd name="connsiteX319" fmla="*/ 311473 w 597604"/>
                <a:gd name="connsiteY319" fmla="*/ 64252 h 519126"/>
                <a:gd name="connsiteX320" fmla="*/ 311911 w 597604"/>
                <a:gd name="connsiteY320" fmla="*/ 63310 h 519126"/>
                <a:gd name="connsiteX321" fmla="*/ 312415 w 597604"/>
                <a:gd name="connsiteY321" fmla="*/ 62233 h 519126"/>
                <a:gd name="connsiteX322" fmla="*/ 312920 w 597604"/>
                <a:gd name="connsiteY322" fmla="*/ 59980 h 519126"/>
                <a:gd name="connsiteX323" fmla="*/ 312920 w 597604"/>
                <a:gd name="connsiteY323" fmla="*/ 58903 h 519126"/>
                <a:gd name="connsiteX324" fmla="*/ 312718 w 597604"/>
                <a:gd name="connsiteY324" fmla="*/ 56885 h 519126"/>
                <a:gd name="connsiteX325" fmla="*/ 313391 w 597604"/>
                <a:gd name="connsiteY325" fmla="*/ 54934 h 519126"/>
                <a:gd name="connsiteX326" fmla="*/ 311439 w 597604"/>
                <a:gd name="connsiteY326" fmla="*/ 54227 h 519126"/>
                <a:gd name="connsiteX327" fmla="*/ 310632 w 597604"/>
                <a:gd name="connsiteY327" fmla="*/ 54093 h 519126"/>
                <a:gd name="connsiteX328" fmla="*/ 308949 w 597604"/>
                <a:gd name="connsiteY328" fmla="*/ 53958 h 519126"/>
                <a:gd name="connsiteX329" fmla="*/ 305886 w 597604"/>
                <a:gd name="connsiteY329" fmla="*/ 51940 h 519126"/>
                <a:gd name="connsiteX330" fmla="*/ 304742 w 597604"/>
                <a:gd name="connsiteY330" fmla="*/ 49989 h 519126"/>
                <a:gd name="connsiteX331" fmla="*/ 302285 w 597604"/>
                <a:gd name="connsiteY331" fmla="*/ 49114 h 519126"/>
                <a:gd name="connsiteX332" fmla="*/ 301141 w 597604"/>
                <a:gd name="connsiteY332" fmla="*/ 47297 h 519126"/>
                <a:gd name="connsiteX333" fmla="*/ 300232 w 597604"/>
                <a:gd name="connsiteY333" fmla="*/ 46793 h 519126"/>
                <a:gd name="connsiteX334" fmla="*/ 298886 w 597604"/>
                <a:gd name="connsiteY334" fmla="*/ 43160 h 519126"/>
                <a:gd name="connsiteX335" fmla="*/ 297204 w 597604"/>
                <a:gd name="connsiteY335" fmla="*/ 41579 h 519126"/>
                <a:gd name="connsiteX336" fmla="*/ 295958 w 597604"/>
                <a:gd name="connsiteY336" fmla="*/ 40569 h 519126"/>
                <a:gd name="connsiteX337" fmla="*/ 294949 w 597604"/>
                <a:gd name="connsiteY337" fmla="*/ 39325 h 519126"/>
                <a:gd name="connsiteX338" fmla="*/ 292929 w 597604"/>
                <a:gd name="connsiteY338" fmla="*/ 38316 h 519126"/>
                <a:gd name="connsiteX339" fmla="*/ 291920 w 597604"/>
                <a:gd name="connsiteY339" fmla="*/ 38316 h 519126"/>
                <a:gd name="connsiteX340" fmla="*/ 290977 w 597604"/>
                <a:gd name="connsiteY340" fmla="*/ 39829 h 519126"/>
                <a:gd name="connsiteX341" fmla="*/ 290237 w 597604"/>
                <a:gd name="connsiteY341" fmla="*/ 40973 h 519126"/>
                <a:gd name="connsiteX342" fmla="*/ 289968 w 597604"/>
                <a:gd name="connsiteY342" fmla="*/ 43933 h 519126"/>
                <a:gd name="connsiteX343" fmla="*/ 289968 w 597604"/>
                <a:gd name="connsiteY343" fmla="*/ 46187 h 519126"/>
                <a:gd name="connsiteX344" fmla="*/ 291415 w 597604"/>
                <a:gd name="connsiteY344" fmla="*/ 48811 h 519126"/>
                <a:gd name="connsiteX345" fmla="*/ 292795 w 597604"/>
                <a:gd name="connsiteY345" fmla="*/ 50830 h 519126"/>
                <a:gd name="connsiteX346" fmla="*/ 295050 w 597604"/>
                <a:gd name="connsiteY346" fmla="*/ 52646 h 519126"/>
                <a:gd name="connsiteX347" fmla="*/ 296127 w 597604"/>
                <a:gd name="connsiteY347" fmla="*/ 53891 h 519126"/>
                <a:gd name="connsiteX348" fmla="*/ 298449 w 597604"/>
                <a:gd name="connsiteY348" fmla="*/ 55909 h 519126"/>
                <a:gd name="connsiteX349" fmla="*/ 299896 w 597604"/>
                <a:gd name="connsiteY349" fmla="*/ 58735 h 519126"/>
                <a:gd name="connsiteX350" fmla="*/ 300199 w 597604"/>
                <a:gd name="connsiteY350" fmla="*/ 60417 h 519126"/>
                <a:gd name="connsiteX351" fmla="*/ 299627 w 597604"/>
                <a:gd name="connsiteY351" fmla="*/ 62805 h 519126"/>
                <a:gd name="connsiteX352" fmla="*/ 297944 w 597604"/>
                <a:gd name="connsiteY352" fmla="*/ 63747 h 519126"/>
                <a:gd name="connsiteX353" fmla="*/ 297439 w 597604"/>
                <a:gd name="connsiteY353" fmla="*/ 64117 h 519126"/>
                <a:gd name="connsiteX354" fmla="*/ 295117 w 597604"/>
                <a:gd name="connsiteY354" fmla="*/ 65261 h 519126"/>
                <a:gd name="connsiteX355" fmla="*/ 293434 w 597604"/>
                <a:gd name="connsiteY355" fmla="*/ 66405 h 519126"/>
                <a:gd name="connsiteX356" fmla="*/ 292795 w 597604"/>
                <a:gd name="connsiteY356" fmla="*/ 67481 h 519126"/>
                <a:gd name="connsiteX357" fmla="*/ 293165 w 597604"/>
                <a:gd name="connsiteY357" fmla="*/ 68995 h 519126"/>
                <a:gd name="connsiteX358" fmla="*/ 293804 w 597604"/>
                <a:gd name="connsiteY358" fmla="*/ 69432 h 519126"/>
                <a:gd name="connsiteX359" fmla="*/ 294107 w 597604"/>
                <a:gd name="connsiteY359" fmla="*/ 70576 h 519126"/>
                <a:gd name="connsiteX360" fmla="*/ 294107 w 597604"/>
                <a:gd name="connsiteY360" fmla="*/ 71652 h 519126"/>
                <a:gd name="connsiteX361" fmla="*/ 293165 w 597604"/>
                <a:gd name="connsiteY361" fmla="*/ 72729 h 519126"/>
                <a:gd name="connsiteX362" fmla="*/ 292391 w 597604"/>
                <a:gd name="connsiteY362" fmla="*/ 73032 h 519126"/>
                <a:gd name="connsiteX363" fmla="*/ 291213 w 597604"/>
                <a:gd name="connsiteY363" fmla="*/ 73469 h 519126"/>
                <a:gd name="connsiteX364" fmla="*/ 289396 w 597604"/>
                <a:gd name="connsiteY364" fmla="*/ 71585 h 519126"/>
                <a:gd name="connsiteX365" fmla="*/ 288386 w 597604"/>
                <a:gd name="connsiteY365" fmla="*/ 70946 h 519126"/>
                <a:gd name="connsiteX366" fmla="*/ 287511 w 597604"/>
                <a:gd name="connsiteY366" fmla="*/ 70374 h 519126"/>
                <a:gd name="connsiteX367" fmla="*/ 286939 w 597604"/>
                <a:gd name="connsiteY367" fmla="*/ 69802 h 519126"/>
                <a:gd name="connsiteX368" fmla="*/ 285694 w 597604"/>
                <a:gd name="connsiteY368" fmla="*/ 69500 h 519126"/>
                <a:gd name="connsiteX369" fmla="*/ 284751 w 597604"/>
                <a:gd name="connsiteY369" fmla="*/ 69634 h 519126"/>
                <a:gd name="connsiteX370" fmla="*/ 283371 w 597604"/>
                <a:gd name="connsiteY370" fmla="*/ 70879 h 519126"/>
                <a:gd name="connsiteX371" fmla="*/ 283573 w 597604"/>
                <a:gd name="connsiteY371" fmla="*/ 72695 h 519126"/>
                <a:gd name="connsiteX372" fmla="*/ 285155 w 597604"/>
                <a:gd name="connsiteY372" fmla="*/ 74276 h 519126"/>
                <a:gd name="connsiteX373" fmla="*/ 284213 w 597604"/>
                <a:gd name="connsiteY373" fmla="*/ 77102 h 519126"/>
                <a:gd name="connsiteX374" fmla="*/ 282799 w 597604"/>
                <a:gd name="connsiteY374" fmla="*/ 78582 h 519126"/>
                <a:gd name="connsiteX375" fmla="*/ 281049 w 597604"/>
                <a:gd name="connsiteY375" fmla="*/ 78347 h 519126"/>
                <a:gd name="connsiteX376" fmla="*/ 279198 w 597604"/>
                <a:gd name="connsiteY376" fmla="*/ 77708 h 519126"/>
                <a:gd name="connsiteX377" fmla="*/ 277583 w 597604"/>
                <a:gd name="connsiteY377" fmla="*/ 76934 h 519126"/>
                <a:gd name="connsiteX378" fmla="*/ 275732 w 597604"/>
                <a:gd name="connsiteY378" fmla="*/ 75319 h 519126"/>
                <a:gd name="connsiteX379" fmla="*/ 274756 w 597604"/>
                <a:gd name="connsiteY379" fmla="*/ 73705 h 519126"/>
                <a:gd name="connsiteX380" fmla="*/ 273982 w 597604"/>
                <a:gd name="connsiteY380" fmla="*/ 72090 h 519126"/>
                <a:gd name="connsiteX381" fmla="*/ 272804 w 597604"/>
                <a:gd name="connsiteY381" fmla="*/ 70879 h 519126"/>
                <a:gd name="connsiteX382" fmla="*/ 270717 w 597604"/>
                <a:gd name="connsiteY382" fmla="*/ 71215 h 519126"/>
                <a:gd name="connsiteX383" fmla="*/ 269641 w 597604"/>
                <a:gd name="connsiteY383" fmla="*/ 68928 h 519126"/>
                <a:gd name="connsiteX384" fmla="*/ 268866 w 597604"/>
                <a:gd name="connsiteY384" fmla="*/ 67077 h 519126"/>
                <a:gd name="connsiteX385" fmla="*/ 266813 w 597604"/>
                <a:gd name="connsiteY385" fmla="*/ 62940 h 519126"/>
                <a:gd name="connsiteX386" fmla="*/ 264188 w 597604"/>
                <a:gd name="connsiteY386" fmla="*/ 61628 h 519126"/>
                <a:gd name="connsiteX387" fmla="*/ 262775 w 597604"/>
                <a:gd name="connsiteY387" fmla="*/ 61830 h 519126"/>
                <a:gd name="connsiteX388" fmla="*/ 261260 w 597604"/>
                <a:gd name="connsiteY388" fmla="*/ 62166 h 519126"/>
                <a:gd name="connsiteX389" fmla="*/ 258534 w 597604"/>
                <a:gd name="connsiteY389" fmla="*/ 61964 h 519126"/>
                <a:gd name="connsiteX390" fmla="*/ 256044 w 597604"/>
                <a:gd name="connsiteY390" fmla="*/ 59475 h 519126"/>
                <a:gd name="connsiteX391" fmla="*/ 253991 w 597604"/>
                <a:gd name="connsiteY391" fmla="*/ 56750 h 519126"/>
                <a:gd name="connsiteX392" fmla="*/ 250525 w 597604"/>
                <a:gd name="connsiteY392" fmla="*/ 53386 h 519126"/>
                <a:gd name="connsiteX393" fmla="*/ 249212 w 597604"/>
                <a:gd name="connsiteY393" fmla="*/ 50560 h 519126"/>
                <a:gd name="connsiteX394" fmla="*/ 248438 w 597604"/>
                <a:gd name="connsiteY394" fmla="*/ 47836 h 519126"/>
                <a:gd name="connsiteX395" fmla="*/ 245948 w 597604"/>
                <a:gd name="connsiteY395" fmla="*/ 46961 h 519126"/>
                <a:gd name="connsiteX396" fmla="*/ 243895 w 597604"/>
                <a:gd name="connsiteY396" fmla="*/ 46961 h 519126"/>
                <a:gd name="connsiteX397" fmla="*/ 241606 w 597604"/>
                <a:gd name="connsiteY397" fmla="*/ 50392 h 519126"/>
                <a:gd name="connsiteX398" fmla="*/ 239553 w 597604"/>
                <a:gd name="connsiteY398" fmla="*/ 52512 h 519126"/>
                <a:gd name="connsiteX399" fmla="*/ 238140 w 597604"/>
                <a:gd name="connsiteY399" fmla="*/ 54799 h 519126"/>
                <a:gd name="connsiteX400" fmla="*/ 238140 w 597604"/>
                <a:gd name="connsiteY400" fmla="*/ 55976 h 519126"/>
                <a:gd name="connsiteX401" fmla="*/ 238577 w 597604"/>
                <a:gd name="connsiteY401" fmla="*/ 62065 h 519126"/>
                <a:gd name="connsiteX402" fmla="*/ 236962 w 597604"/>
                <a:gd name="connsiteY402" fmla="*/ 64891 h 519126"/>
                <a:gd name="connsiteX403" fmla="*/ 235212 w 597604"/>
                <a:gd name="connsiteY403" fmla="*/ 65227 h 519126"/>
                <a:gd name="connsiteX404" fmla="*/ 231611 w 597604"/>
                <a:gd name="connsiteY404" fmla="*/ 65126 h 519126"/>
                <a:gd name="connsiteX405" fmla="*/ 229423 w 597604"/>
                <a:gd name="connsiteY405" fmla="*/ 64252 h 519126"/>
                <a:gd name="connsiteX406" fmla="*/ 226832 w 597604"/>
                <a:gd name="connsiteY406" fmla="*/ 62637 h 519126"/>
                <a:gd name="connsiteX407" fmla="*/ 223668 w 597604"/>
                <a:gd name="connsiteY407" fmla="*/ 62637 h 519126"/>
                <a:gd name="connsiteX408" fmla="*/ 220639 w 597604"/>
                <a:gd name="connsiteY408" fmla="*/ 63613 h 519126"/>
                <a:gd name="connsiteX409" fmla="*/ 219125 w 597604"/>
                <a:gd name="connsiteY409" fmla="*/ 64487 h 519126"/>
                <a:gd name="connsiteX410" fmla="*/ 217610 w 597604"/>
                <a:gd name="connsiteY410" fmla="*/ 65799 h 519126"/>
                <a:gd name="connsiteX411" fmla="*/ 216735 w 597604"/>
                <a:gd name="connsiteY411" fmla="*/ 66438 h 519126"/>
                <a:gd name="connsiteX412" fmla="*/ 215658 w 597604"/>
                <a:gd name="connsiteY412" fmla="*/ 67515 h 519126"/>
                <a:gd name="connsiteX413" fmla="*/ 212932 w 597604"/>
                <a:gd name="connsiteY413" fmla="*/ 70441 h 519126"/>
                <a:gd name="connsiteX414" fmla="*/ 211755 w 597604"/>
                <a:gd name="connsiteY414" fmla="*/ 71417 h 519126"/>
                <a:gd name="connsiteX415" fmla="*/ 210678 w 597604"/>
                <a:gd name="connsiteY415" fmla="*/ 73604 h 519126"/>
                <a:gd name="connsiteX416" fmla="*/ 209365 w 597604"/>
                <a:gd name="connsiteY416" fmla="*/ 75454 h 519126"/>
                <a:gd name="connsiteX417" fmla="*/ 207615 w 597604"/>
                <a:gd name="connsiteY417" fmla="*/ 77405 h 519126"/>
                <a:gd name="connsiteX418" fmla="*/ 207278 w 597604"/>
                <a:gd name="connsiteY418" fmla="*/ 79692 h 519126"/>
                <a:gd name="connsiteX419" fmla="*/ 208793 w 597604"/>
                <a:gd name="connsiteY419" fmla="*/ 81442 h 519126"/>
                <a:gd name="connsiteX420" fmla="*/ 212057 w 597604"/>
                <a:gd name="connsiteY420" fmla="*/ 84368 h 519126"/>
                <a:gd name="connsiteX421" fmla="*/ 212057 w 597604"/>
                <a:gd name="connsiteY421" fmla="*/ 86858 h 519126"/>
                <a:gd name="connsiteX422" fmla="*/ 211048 w 597604"/>
                <a:gd name="connsiteY422" fmla="*/ 92846 h 519126"/>
                <a:gd name="connsiteX423" fmla="*/ 211115 w 597604"/>
                <a:gd name="connsiteY423" fmla="*/ 96176 h 519126"/>
                <a:gd name="connsiteX424" fmla="*/ 210678 w 597604"/>
                <a:gd name="connsiteY424" fmla="*/ 98934 h 519126"/>
                <a:gd name="connsiteX425" fmla="*/ 212495 w 597604"/>
                <a:gd name="connsiteY425" fmla="*/ 100583 h 519126"/>
                <a:gd name="connsiteX426" fmla="*/ 213235 w 597604"/>
                <a:gd name="connsiteY426" fmla="*/ 102063 h 519126"/>
                <a:gd name="connsiteX427" fmla="*/ 215423 w 597604"/>
                <a:gd name="connsiteY427" fmla="*/ 104249 h 519126"/>
                <a:gd name="connsiteX428" fmla="*/ 217442 w 597604"/>
                <a:gd name="connsiteY428" fmla="*/ 102937 h 519126"/>
                <a:gd name="connsiteX429" fmla="*/ 222356 w 597604"/>
                <a:gd name="connsiteY429" fmla="*/ 100852 h 519126"/>
                <a:gd name="connsiteX430" fmla="*/ 226125 w 597604"/>
                <a:gd name="connsiteY430" fmla="*/ 100919 h 519126"/>
                <a:gd name="connsiteX431" fmla="*/ 226832 w 597604"/>
                <a:gd name="connsiteY431" fmla="*/ 100919 h 519126"/>
                <a:gd name="connsiteX432" fmla="*/ 227707 w 597604"/>
                <a:gd name="connsiteY432" fmla="*/ 102298 h 519126"/>
                <a:gd name="connsiteX433" fmla="*/ 229019 w 597604"/>
                <a:gd name="connsiteY433" fmla="*/ 104115 h 519126"/>
                <a:gd name="connsiteX434" fmla="*/ 231779 w 597604"/>
                <a:gd name="connsiteY434" fmla="*/ 107008 h 519126"/>
                <a:gd name="connsiteX435" fmla="*/ 232789 w 597604"/>
                <a:gd name="connsiteY435" fmla="*/ 111078 h 519126"/>
                <a:gd name="connsiteX436" fmla="*/ 233091 w 597604"/>
                <a:gd name="connsiteY436" fmla="*/ 115855 h 519126"/>
                <a:gd name="connsiteX437" fmla="*/ 234236 w 597604"/>
                <a:gd name="connsiteY437" fmla="*/ 118883 h 519126"/>
                <a:gd name="connsiteX438" fmla="*/ 233226 w 597604"/>
                <a:gd name="connsiteY438" fmla="*/ 121069 h 519126"/>
                <a:gd name="connsiteX439" fmla="*/ 232519 w 597604"/>
                <a:gd name="connsiteY439" fmla="*/ 122650 h 519126"/>
                <a:gd name="connsiteX440" fmla="*/ 232654 w 597604"/>
                <a:gd name="connsiteY440" fmla="*/ 125678 h 519126"/>
                <a:gd name="connsiteX441" fmla="*/ 233798 w 597604"/>
                <a:gd name="connsiteY441" fmla="*/ 126990 h 519126"/>
                <a:gd name="connsiteX442" fmla="*/ 236996 w 597604"/>
                <a:gd name="connsiteY442" fmla="*/ 126990 h 519126"/>
                <a:gd name="connsiteX443" fmla="*/ 242952 w 597604"/>
                <a:gd name="connsiteY443" fmla="*/ 126418 h 519126"/>
                <a:gd name="connsiteX444" fmla="*/ 246419 w 597604"/>
                <a:gd name="connsiteY444" fmla="*/ 125543 h 519126"/>
                <a:gd name="connsiteX445" fmla="*/ 248741 w 597604"/>
                <a:gd name="connsiteY445" fmla="*/ 124097 h 519126"/>
                <a:gd name="connsiteX446" fmla="*/ 250760 w 597604"/>
                <a:gd name="connsiteY446" fmla="*/ 122852 h 519126"/>
                <a:gd name="connsiteX447" fmla="*/ 253587 w 597604"/>
                <a:gd name="connsiteY447" fmla="*/ 121843 h 519126"/>
                <a:gd name="connsiteX448" fmla="*/ 254900 w 597604"/>
                <a:gd name="connsiteY448" fmla="*/ 120329 h 519126"/>
                <a:gd name="connsiteX449" fmla="*/ 256414 w 597604"/>
                <a:gd name="connsiteY449" fmla="*/ 120026 h 519126"/>
                <a:gd name="connsiteX450" fmla="*/ 260554 w 597604"/>
                <a:gd name="connsiteY450" fmla="*/ 120026 h 519126"/>
                <a:gd name="connsiteX451" fmla="*/ 261799 w 597604"/>
                <a:gd name="connsiteY451" fmla="*/ 120363 h 519126"/>
                <a:gd name="connsiteX452" fmla="*/ 263414 w 597604"/>
                <a:gd name="connsiteY452" fmla="*/ 121776 h 519126"/>
                <a:gd name="connsiteX453" fmla="*/ 265568 w 597604"/>
                <a:gd name="connsiteY453" fmla="*/ 121776 h 519126"/>
                <a:gd name="connsiteX454" fmla="*/ 268328 w 597604"/>
                <a:gd name="connsiteY454" fmla="*/ 123222 h 519126"/>
                <a:gd name="connsiteX455" fmla="*/ 270616 w 597604"/>
                <a:gd name="connsiteY455" fmla="*/ 124265 h 519126"/>
                <a:gd name="connsiteX456" fmla="*/ 271592 w 597604"/>
                <a:gd name="connsiteY456" fmla="*/ 126182 h 519126"/>
                <a:gd name="connsiteX457" fmla="*/ 271592 w 597604"/>
                <a:gd name="connsiteY457" fmla="*/ 128302 h 519126"/>
                <a:gd name="connsiteX458" fmla="*/ 271121 w 597604"/>
                <a:gd name="connsiteY458" fmla="*/ 130253 h 519126"/>
                <a:gd name="connsiteX459" fmla="*/ 270313 w 597604"/>
                <a:gd name="connsiteY459" fmla="*/ 131127 h 519126"/>
                <a:gd name="connsiteX460" fmla="*/ 269506 w 597604"/>
                <a:gd name="connsiteY460" fmla="*/ 132540 h 519126"/>
                <a:gd name="connsiteX461" fmla="*/ 269506 w 597604"/>
                <a:gd name="connsiteY461" fmla="*/ 134559 h 519126"/>
                <a:gd name="connsiteX462" fmla="*/ 272333 w 597604"/>
                <a:gd name="connsiteY462" fmla="*/ 136611 h 519126"/>
                <a:gd name="connsiteX463" fmla="*/ 273847 w 597604"/>
                <a:gd name="connsiteY463" fmla="*/ 137654 h 519126"/>
                <a:gd name="connsiteX464" fmla="*/ 274520 w 597604"/>
                <a:gd name="connsiteY464" fmla="*/ 140042 h 519126"/>
                <a:gd name="connsiteX465" fmla="*/ 276472 w 597604"/>
                <a:gd name="connsiteY465" fmla="*/ 141791 h 519126"/>
                <a:gd name="connsiteX466" fmla="*/ 276472 w 597604"/>
                <a:gd name="connsiteY466" fmla="*/ 144180 h 519126"/>
                <a:gd name="connsiteX467" fmla="*/ 276169 w 597604"/>
                <a:gd name="connsiteY467" fmla="*/ 147005 h 519126"/>
                <a:gd name="connsiteX468" fmla="*/ 276035 w 597604"/>
                <a:gd name="connsiteY468" fmla="*/ 150268 h 519126"/>
                <a:gd name="connsiteX469" fmla="*/ 275900 w 597604"/>
                <a:gd name="connsiteY469" fmla="*/ 151580 h 519126"/>
                <a:gd name="connsiteX470" fmla="*/ 275597 w 597604"/>
                <a:gd name="connsiteY470" fmla="*/ 153531 h 519126"/>
                <a:gd name="connsiteX471" fmla="*/ 275597 w 597604"/>
                <a:gd name="connsiteY471" fmla="*/ 155920 h 519126"/>
                <a:gd name="connsiteX472" fmla="*/ 274285 w 597604"/>
                <a:gd name="connsiteY472" fmla="*/ 157433 h 519126"/>
                <a:gd name="connsiteX473" fmla="*/ 272535 w 597604"/>
                <a:gd name="connsiteY473" fmla="*/ 160697 h 519126"/>
                <a:gd name="connsiteX474" fmla="*/ 270583 w 597604"/>
                <a:gd name="connsiteY474" fmla="*/ 163186 h 519126"/>
                <a:gd name="connsiteX475" fmla="*/ 266679 w 597604"/>
                <a:gd name="connsiteY475" fmla="*/ 165036 h 519126"/>
                <a:gd name="connsiteX476" fmla="*/ 263212 w 597604"/>
                <a:gd name="connsiteY476" fmla="*/ 163186 h 519126"/>
                <a:gd name="connsiteX477" fmla="*/ 261025 w 597604"/>
                <a:gd name="connsiteY477" fmla="*/ 158745 h 519126"/>
                <a:gd name="connsiteX478" fmla="*/ 255573 w 597604"/>
                <a:gd name="connsiteY478" fmla="*/ 157433 h 519126"/>
                <a:gd name="connsiteX479" fmla="*/ 255573 w 597604"/>
                <a:gd name="connsiteY479" fmla="*/ 158005 h 519126"/>
                <a:gd name="connsiteX480" fmla="*/ 253082 w 597604"/>
                <a:gd name="connsiteY480" fmla="*/ 161336 h 519126"/>
                <a:gd name="connsiteX481" fmla="*/ 250154 w 597604"/>
                <a:gd name="connsiteY481" fmla="*/ 163455 h 519126"/>
                <a:gd name="connsiteX482" fmla="*/ 238846 w 597604"/>
                <a:gd name="connsiteY482" fmla="*/ 162210 h 519126"/>
                <a:gd name="connsiteX483" fmla="*/ 233832 w 597604"/>
                <a:gd name="connsiteY483" fmla="*/ 161773 h 519126"/>
                <a:gd name="connsiteX484" fmla="*/ 224476 w 597604"/>
                <a:gd name="connsiteY484" fmla="*/ 161773 h 519126"/>
                <a:gd name="connsiteX485" fmla="*/ 222524 w 597604"/>
                <a:gd name="connsiteY485" fmla="*/ 164700 h 519126"/>
                <a:gd name="connsiteX486" fmla="*/ 219933 w 597604"/>
                <a:gd name="connsiteY486" fmla="*/ 168737 h 519126"/>
                <a:gd name="connsiteX487" fmla="*/ 211250 w 597604"/>
                <a:gd name="connsiteY487" fmla="*/ 168737 h 519126"/>
                <a:gd name="connsiteX488" fmla="*/ 207110 w 597604"/>
                <a:gd name="connsiteY488" fmla="*/ 168737 h 519126"/>
                <a:gd name="connsiteX489" fmla="*/ 200514 w 597604"/>
                <a:gd name="connsiteY489" fmla="*/ 165272 h 519126"/>
                <a:gd name="connsiteX490" fmla="*/ 197620 w 597604"/>
                <a:gd name="connsiteY490" fmla="*/ 163825 h 519126"/>
                <a:gd name="connsiteX491" fmla="*/ 195870 w 597604"/>
                <a:gd name="connsiteY491" fmla="*/ 159755 h 519126"/>
                <a:gd name="connsiteX492" fmla="*/ 193547 w 597604"/>
                <a:gd name="connsiteY492" fmla="*/ 158005 h 519126"/>
                <a:gd name="connsiteX493" fmla="*/ 190350 w 597604"/>
                <a:gd name="connsiteY493" fmla="*/ 160024 h 519126"/>
                <a:gd name="connsiteX494" fmla="*/ 185437 w 597604"/>
                <a:gd name="connsiteY494" fmla="*/ 160024 h 519126"/>
                <a:gd name="connsiteX495" fmla="*/ 179917 w 597604"/>
                <a:gd name="connsiteY495" fmla="*/ 165238 h 519126"/>
                <a:gd name="connsiteX496" fmla="*/ 175744 w 597604"/>
                <a:gd name="connsiteY496" fmla="*/ 165238 h 519126"/>
                <a:gd name="connsiteX497" fmla="*/ 176013 w 597604"/>
                <a:gd name="connsiteY497" fmla="*/ 166113 h 519126"/>
                <a:gd name="connsiteX498" fmla="*/ 175576 w 597604"/>
                <a:gd name="connsiteY498" fmla="*/ 168703 h 519126"/>
                <a:gd name="connsiteX499" fmla="*/ 175374 w 597604"/>
                <a:gd name="connsiteY499" fmla="*/ 171966 h 519126"/>
                <a:gd name="connsiteX500" fmla="*/ 171773 w 597604"/>
                <a:gd name="connsiteY500" fmla="*/ 175330 h 519126"/>
                <a:gd name="connsiteX501" fmla="*/ 170023 w 597604"/>
                <a:gd name="connsiteY501" fmla="*/ 177819 h 519126"/>
                <a:gd name="connsiteX502" fmla="*/ 167869 w 597604"/>
                <a:gd name="connsiteY502" fmla="*/ 180006 h 519126"/>
                <a:gd name="connsiteX503" fmla="*/ 166893 w 597604"/>
                <a:gd name="connsiteY503" fmla="*/ 183605 h 519126"/>
                <a:gd name="connsiteX504" fmla="*/ 166893 w 597604"/>
                <a:gd name="connsiteY504" fmla="*/ 185220 h 519126"/>
                <a:gd name="connsiteX505" fmla="*/ 168643 w 597604"/>
                <a:gd name="connsiteY505" fmla="*/ 188046 h 519126"/>
                <a:gd name="connsiteX506" fmla="*/ 168643 w 597604"/>
                <a:gd name="connsiteY506" fmla="*/ 190434 h 519126"/>
                <a:gd name="connsiteX507" fmla="*/ 166994 w 597604"/>
                <a:gd name="connsiteY507" fmla="*/ 191948 h 519126"/>
                <a:gd name="connsiteX508" fmla="*/ 165480 w 597604"/>
                <a:gd name="connsiteY508" fmla="*/ 194134 h 519126"/>
                <a:gd name="connsiteX509" fmla="*/ 163528 w 597604"/>
                <a:gd name="connsiteY509" fmla="*/ 196523 h 519126"/>
                <a:gd name="connsiteX510" fmla="*/ 161239 w 597604"/>
                <a:gd name="connsiteY510" fmla="*/ 196523 h 519126"/>
                <a:gd name="connsiteX511" fmla="*/ 157200 w 597604"/>
                <a:gd name="connsiteY511" fmla="*/ 196523 h 519126"/>
                <a:gd name="connsiteX512" fmla="*/ 152085 w 597604"/>
                <a:gd name="connsiteY512" fmla="*/ 196523 h 519126"/>
                <a:gd name="connsiteX513" fmla="*/ 147845 w 597604"/>
                <a:gd name="connsiteY513" fmla="*/ 197162 h 519126"/>
                <a:gd name="connsiteX514" fmla="*/ 143705 w 597604"/>
                <a:gd name="connsiteY514" fmla="*/ 197263 h 519126"/>
                <a:gd name="connsiteX515" fmla="*/ 142090 w 597604"/>
                <a:gd name="connsiteY515" fmla="*/ 197700 h 519126"/>
                <a:gd name="connsiteX516" fmla="*/ 137210 w 597604"/>
                <a:gd name="connsiteY516" fmla="*/ 199752 h 519126"/>
                <a:gd name="connsiteX517" fmla="*/ 133844 w 597604"/>
                <a:gd name="connsiteY517" fmla="*/ 202477 h 519126"/>
                <a:gd name="connsiteX518" fmla="*/ 131657 w 597604"/>
                <a:gd name="connsiteY518" fmla="*/ 205404 h 519126"/>
                <a:gd name="connsiteX519" fmla="*/ 128830 w 597604"/>
                <a:gd name="connsiteY519" fmla="*/ 208566 h 519126"/>
                <a:gd name="connsiteX520" fmla="*/ 126541 w 597604"/>
                <a:gd name="connsiteY520" fmla="*/ 209541 h 519126"/>
                <a:gd name="connsiteX521" fmla="*/ 122301 w 597604"/>
                <a:gd name="connsiteY521" fmla="*/ 206480 h 519126"/>
                <a:gd name="connsiteX522" fmla="*/ 118296 w 597604"/>
                <a:gd name="connsiteY522" fmla="*/ 204731 h 519126"/>
                <a:gd name="connsiteX523" fmla="*/ 112743 w 597604"/>
                <a:gd name="connsiteY523" fmla="*/ 204731 h 519126"/>
                <a:gd name="connsiteX524" fmla="*/ 105137 w 597604"/>
                <a:gd name="connsiteY524" fmla="*/ 205067 h 519126"/>
                <a:gd name="connsiteX525" fmla="*/ 102108 w 597604"/>
                <a:gd name="connsiteY525" fmla="*/ 205269 h 519126"/>
                <a:gd name="connsiteX526" fmla="*/ 98742 w 597604"/>
                <a:gd name="connsiteY526" fmla="*/ 206884 h 519126"/>
                <a:gd name="connsiteX527" fmla="*/ 96891 w 597604"/>
                <a:gd name="connsiteY527" fmla="*/ 207321 h 519126"/>
                <a:gd name="connsiteX528" fmla="*/ 94704 w 597604"/>
                <a:gd name="connsiteY528" fmla="*/ 206547 h 519126"/>
                <a:gd name="connsiteX529" fmla="*/ 92213 w 597604"/>
                <a:gd name="connsiteY529" fmla="*/ 203923 h 519126"/>
                <a:gd name="connsiteX530" fmla="*/ 92113 w 597604"/>
                <a:gd name="connsiteY530" fmla="*/ 200761 h 519126"/>
                <a:gd name="connsiteX531" fmla="*/ 92449 w 597604"/>
                <a:gd name="connsiteY531" fmla="*/ 198575 h 519126"/>
                <a:gd name="connsiteX532" fmla="*/ 92012 w 597604"/>
                <a:gd name="connsiteY532" fmla="*/ 196725 h 519126"/>
                <a:gd name="connsiteX533" fmla="*/ 88747 w 597604"/>
                <a:gd name="connsiteY533" fmla="*/ 193361 h 519126"/>
                <a:gd name="connsiteX534" fmla="*/ 86459 w 597604"/>
                <a:gd name="connsiteY534" fmla="*/ 191611 h 519126"/>
                <a:gd name="connsiteX535" fmla="*/ 82656 w 597604"/>
                <a:gd name="connsiteY535" fmla="*/ 189660 h 519126"/>
                <a:gd name="connsiteX536" fmla="*/ 80266 w 597604"/>
                <a:gd name="connsiteY536" fmla="*/ 190737 h 519126"/>
                <a:gd name="connsiteX537" fmla="*/ 77978 w 597604"/>
                <a:gd name="connsiteY537" fmla="*/ 193361 h 519126"/>
                <a:gd name="connsiteX538" fmla="*/ 77103 w 597604"/>
                <a:gd name="connsiteY538" fmla="*/ 195749 h 519126"/>
                <a:gd name="connsiteX539" fmla="*/ 74477 w 597604"/>
                <a:gd name="connsiteY539" fmla="*/ 200963 h 519126"/>
                <a:gd name="connsiteX540" fmla="*/ 71213 w 597604"/>
                <a:gd name="connsiteY540" fmla="*/ 203015 h 519126"/>
                <a:gd name="connsiteX541" fmla="*/ 67949 w 597604"/>
                <a:gd name="connsiteY541" fmla="*/ 206043 h 519126"/>
                <a:gd name="connsiteX542" fmla="*/ 66299 w 597604"/>
                <a:gd name="connsiteY542" fmla="*/ 208532 h 519126"/>
                <a:gd name="connsiteX543" fmla="*/ 62934 w 597604"/>
                <a:gd name="connsiteY543" fmla="*/ 210281 h 519126"/>
                <a:gd name="connsiteX544" fmla="*/ 59905 w 597604"/>
                <a:gd name="connsiteY544" fmla="*/ 210281 h 519126"/>
                <a:gd name="connsiteX545" fmla="*/ 57415 w 597604"/>
                <a:gd name="connsiteY545" fmla="*/ 207893 h 519126"/>
                <a:gd name="connsiteX546" fmla="*/ 54924 w 597604"/>
                <a:gd name="connsiteY546" fmla="*/ 205404 h 519126"/>
                <a:gd name="connsiteX547" fmla="*/ 51761 w 597604"/>
                <a:gd name="connsiteY547" fmla="*/ 202040 h 519126"/>
                <a:gd name="connsiteX548" fmla="*/ 49472 w 597604"/>
                <a:gd name="connsiteY548" fmla="*/ 199214 h 519126"/>
                <a:gd name="connsiteX549" fmla="*/ 47083 w 597604"/>
                <a:gd name="connsiteY549" fmla="*/ 196287 h 519126"/>
                <a:gd name="connsiteX550" fmla="*/ 45030 w 597604"/>
                <a:gd name="connsiteY550" fmla="*/ 194336 h 519126"/>
                <a:gd name="connsiteX551" fmla="*/ 44828 w 597604"/>
                <a:gd name="connsiteY551" fmla="*/ 193125 h 519126"/>
                <a:gd name="connsiteX552" fmla="*/ 42977 w 597604"/>
                <a:gd name="connsiteY552" fmla="*/ 191174 h 519126"/>
                <a:gd name="connsiteX553" fmla="*/ 41025 w 597604"/>
                <a:gd name="connsiteY553" fmla="*/ 190838 h 519126"/>
                <a:gd name="connsiteX554" fmla="*/ 39241 w 597604"/>
                <a:gd name="connsiteY554" fmla="*/ 191040 h 519126"/>
                <a:gd name="connsiteX555" fmla="*/ 38232 w 597604"/>
                <a:gd name="connsiteY555" fmla="*/ 190501 h 519126"/>
                <a:gd name="connsiteX556" fmla="*/ 38232 w 597604"/>
                <a:gd name="connsiteY556" fmla="*/ 188550 h 519126"/>
                <a:gd name="connsiteX557" fmla="*/ 37255 w 597604"/>
                <a:gd name="connsiteY557" fmla="*/ 186700 h 519126"/>
                <a:gd name="connsiteX558" fmla="*/ 35304 w 597604"/>
                <a:gd name="connsiteY558" fmla="*/ 186599 h 519126"/>
                <a:gd name="connsiteX559" fmla="*/ 34328 w 597604"/>
                <a:gd name="connsiteY559" fmla="*/ 187810 h 519126"/>
                <a:gd name="connsiteX560" fmla="*/ 33116 w 597604"/>
                <a:gd name="connsiteY560" fmla="*/ 189862 h 519126"/>
                <a:gd name="connsiteX561" fmla="*/ 32140 w 597604"/>
                <a:gd name="connsiteY561" fmla="*/ 192789 h 519126"/>
                <a:gd name="connsiteX562" fmla="*/ 29952 w 597604"/>
                <a:gd name="connsiteY562" fmla="*/ 196826 h 519126"/>
                <a:gd name="connsiteX563" fmla="*/ 28977 w 597604"/>
                <a:gd name="connsiteY563" fmla="*/ 200089 h 519126"/>
                <a:gd name="connsiteX564" fmla="*/ 27126 w 597604"/>
                <a:gd name="connsiteY564" fmla="*/ 202578 h 519126"/>
                <a:gd name="connsiteX565" fmla="*/ 25174 w 597604"/>
                <a:gd name="connsiteY565" fmla="*/ 204193 h 519126"/>
                <a:gd name="connsiteX566" fmla="*/ 23996 w 597604"/>
                <a:gd name="connsiteY566" fmla="*/ 205168 h 519126"/>
                <a:gd name="connsiteX567" fmla="*/ 22044 w 597604"/>
                <a:gd name="connsiteY567" fmla="*/ 206682 h 519126"/>
                <a:gd name="connsiteX568" fmla="*/ 19318 w 597604"/>
                <a:gd name="connsiteY568" fmla="*/ 209407 h 519126"/>
                <a:gd name="connsiteX569" fmla="*/ 18241 w 597604"/>
                <a:gd name="connsiteY569" fmla="*/ 210921 h 519126"/>
                <a:gd name="connsiteX570" fmla="*/ 17164 w 597604"/>
                <a:gd name="connsiteY570" fmla="*/ 212872 h 519126"/>
                <a:gd name="connsiteX571" fmla="*/ 12385 w 597604"/>
                <a:gd name="connsiteY571" fmla="*/ 215495 h 519126"/>
                <a:gd name="connsiteX572" fmla="*/ 9457 w 597604"/>
                <a:gd name="connsiteY572" fmla="*/ 219835 h 519126"/>
                <a:gd name="connsiteX573" fmla="*/ 5216 w 597604"/>
                <a:gd name="connsiteY573" fmla="*/ 220710 h 519126"/>
                <a:gd name="connsiteX574" fmla="*/ 5216 w 597604"/>
                <a:gd name="connsiteY574" fmla="*/ 226799 h 519126"/>
                <a:gd name="connsiteX575" fmla="*/ 5654 w 597604"/>
                <a:gd name="connsiteY575" fmla="*/ 228750 h 519126"/>
                <a:gd name="connsiteX576" fmla="*/ 5418 w 597604"/>
                <a:gd name="connsiteY576" fmla="*/ 229826 h 519126"/>
                <a:gd name="connsiteX577" fmla="*/ 639 w 597604"/>
                <a:gd name="connsiteY577" fmla="*/ 231138 h 519126"/>
                <a:gd name="connsiteX578" fmla="*/ 0 w 597604"/>
                <a:gd name="connsiteY578" fmla="*/ 232887 h 519126"/>
                <a:gd name="connsiteX579" fmla="*/ 1077 w 597604"/>
                <a:gd name="connsiteY579" fmla="*/ 236352 h 519126"/>
                <a:gd name="connsiteX580" fmla="*/ 3904 w 597604"/>
                <a:gd name="connsiteY580" fmla="*/ 236789 h 519126"/>
                <a:gd name="connsiteX581" fmla="*/ 7067 w 597604"/>
                <a:gd name="connsiteY581" fmla="*/ 235276 h 519126"/>
                <a:gd name="connsiteX582" fmla="*/ 7942 w 597604"/>
                <a:gd name="connsiteY582" fmla="*/ 234401 h 519126"/>
                <a:gd name="connsiteX583" fmla="*/ 9692 w 597604"/>
                <a:gd name="connsiteY583" fmla="*/ 233762 h 519126"/>
                <a:gd name="connsiteX584" fmla="*/ 11106 w 597604"/>
                <a:gd name="connsiteY584" fmla="*/ 233526 h 519126"/>
                <a:gd name="connsiteX585" fmla="*/ 14370 w 597604"/>
                <a:gd name="connsiteY585" fmla="*/ 235377 h 519126"/>
                <a:gd name="connsiteX586" fmla="*/ 15582 w 597604"/>
                <a:gd name="connsiteY586" fmla="*/ 238404 h 519126"/>
                <a:gd name="connsiteX587" fmla="*/ 16019 w 597604"/>
                <a:gd name="connsiteY587" fmla="*/ 240793 h 519126"/>
                <a:gd name="connsiteX588" fmla="*/ 15481 w 597604"/>
                <a:gd name="connsiteY588" fmla="*/ 243517 h 519126"/>
                <a:gd name="connsiteX589" fmla="*/ 14572 w 597604"/>
                <a:gd name="connsiteY589" fmla="*/ 245132 h 519126"/>
                <a:gd name="connsiteX590" fmla="*/ 13967 w 597604"/>
                <a:gd name="connsiteY590" fmla="*/ 247622 h 519126"/>
                <a:gd name="connsiteX591" fmla="*/ 13967 w 597604"/>
                <a:gd name="connsiteY591" fmla="*/ 249371 h 519126"/>
                <a:gd name="connsiteX592" fmla="*/ 15043 w 597604"/>
                <a:gd name="connsiteY592" fmla="*/ 250783 h 519126"/>
                <a:gd name="connsiteX593" fmla="*/ 14842 w 597604"/>
                <a:gd name="connsiteY593" fmla="*/ 253710 h 519126"/>
                <a:gd name="connsiteX594" fmla="*/ 13765 w 597604"/>
                <a:gd name="connsiteY594" fmla="*/ 255661 h 519126"/>
                <a:gd name="connsiteX595" fmla="*/ 12452 w 597604"/>
                <a:gd name="connsiteY595" fmla="*/ 256973 h 519126"/>
                <a:gd name="connsiteX596" fmla="*/ 11813 w 597604"/>
                <a:gd name="connsiteY596" fmla="*/ 257949 h 519126"/>
                <a:gd name="connsiteX597" fmla="*/ 10938 w 597604"/>
                <a:gd name="connsiteY597" fmla="*/ 258588 h 519126"/>
                <a:gd name="connsiteX598" fmla="*/ 10265 w 597604"/>
                <a:gd name="connsiteY598" fmla="*/ 261077 h 519126"/>
                <a:gd name="connsiteX599" fmla="*/ 10063 w 597604"/>
                <a:gd name="connsiteY599" fmla="*/ 263365 h 519126"/>
                <a:gd name="connsiteX600" fmla="*/ 9625 w 597604"/>
                <a:gd name="connsiteY600" fmla="*/ 267267 h 519126"/>
                <a:gd name="connsiteX601" fmla="*/ 9524 w 597604"/>
                <a:gd name="connsiteY601" fmla="*/ 270866 h 519126"/>
                <a:gd name="connsiteX602" fmla="*/ 8885 w 597604"/>
                <a:gd name="connsiteY602" fmla="*/ 274769 h 519126"/>
                <a:gd name="connsiteX603" fmla="*/ 9087 w 597604"/>
                <a:gd name="connsiteY603" fmla="*/ 277157 h 519126"/>
                <a:gd name="connsiteX604" fmla="*/ 12250 w 597604"/>
                <a:gd name="connsiteY604" fmla="*/ 279983 h 519126"/>
                <a:gd name="connsiteX605" fmla="*/ 15515 w 597604"/>
                <a:gd name="connsiteY605" fmla="*/ 286072 h 519126"/>
                <a:gd name="connsiteX606" fmla="*/ 17904 w 597604"/>
                <a:gd name="connsiteY606" fmla="*/ 288897 h 519126"/>
                <a:gd name="connsiteX607" fmla="*/ 22246 w 597604"/>
                <a:gd name="connsiteY607" fmla="*/ 291084 h 519126"/>
                <a:gd name="connsiteX608" fmla="*/ 27462 w 597604"/>
                <a:gd name="connsiteY608" fmla="*/ 291959 h 519126"/>
                <a:gd name="connsiteX609" fmla="*/ 32241 w 597604"/>
                <a:gd name="connsiteY609" fmla="*/ 291959 h 519126"/>
                <a:gd name="connsiteX610" fmla="*/ 35707 w 597604"/>
                <a:gd name="connsiteY610" fmla="*/ 291959 h 519126"/>
                <a:gd name="connsiteX611" fmla="*/ 40924 w 597604"/>
                <a:gd name="connsiteY611" fmla="*/ 291959 h 519126"/>
                <a:gd name="connsiteX612" fmla="*/ 42674 w 597604"/>
                <a:gd name="connsiteY612" fmla="*/ 291319 h 519126"/>
                <a:gd name="connsiteX613" fmla="*/ 43751 w 597604"/>
                <a:gd name="connsiteY613" fmla="*/ 288494 h 519126"/>
                <a:gd name="connsiteX614" fmla="*/ 45063 w 597604"/>
                <a:gd name="connsiteY614" fmla="*/ 286307 h 519126"/>
                <a:gd name="connsiteX615" fmla="*/ 46813 w 597604"/>
                <a:gd name="connsiteY615" fmla="*/ 284793 h 519126"/>
                <a:gd name="connsiteX616" fmla="*/ 47251 w 597604"/>
                <a:gd name="connsiteY616" fmla="*/ 283279 h 519126"/>
                <a:gd name="connsiteX617" fmla="*/ 49203 w 597604"/>
                <a:gd name="connsiteY617" fmla="*/ 283044 h 519126"/>
                <a:gd name="connsiteX618" fmla="*/ 51592 w 597604"/>
                <a:gd name="connsiteY618" fmla="*/ 283279 h 519126"/>
                <a:gd name="connsiteX619" fmla="*/ 56607 w 597604"/>
                <a:gd name="connsiteY619" fmla="*/ 283279 h 519126"/>
                <a:gd name="connsiteX620" fmla="*/ 58794 w 597604"/>
                <a:gd name="connsiteY620" fmla="*/ 283279 h 519126"/>
                <a:gd name="connsiteX621" fmla="*/ 63371 w 597604"/>
                <a:gd name="connsiteY621" fmla="*/ 283481 h 519126"/>
                <a:gd name="connsiteX622" fmla="*/ 64886 w 597604"/>
                <a:gd name="connsiteY622" fmla="*/ 282842 h 519126"/>
                <a:gd name="connsiteX623" fmla="*/ 68352 w 597604"/>
                <a:gd name="connsiteY623" fmla="*/ 281328 h 519126"/>
                <a:gd name="connsiteX624" fmla="*/ 70977 w 597604"/>
                <a:gd name="connsiteY624" fmla="*/ 278940 h 519126"/>
                <a:gd name="connsiteX625" fmla="*/ 72054 w 597604"/>
                <a:gd name="connsiteY625" fmla="*/ 276989 h 519126"/>
                <a:gd name="connsiteX626" fmla="*/ 73131 w 597604"/>
                <a:gd name="connsiteY626" fmla="*/ 275038 h 519126"/>
                <a:gd name="connsiteX627" fmla="*/ 73131 w 597604"/>
                <a:gd name="connsiteY627" fmla="*/ 273726 h 519126"/>
                <a:gd name="connsiteX628" fmla="*/ 74444 w 597604"/>
                <a:gd name="connsiteY628" fmla="*/ 272414 h 519126"/>
                <a:gd name="connsiteX629" fmla="*/ 75958 w 597604"/>
                <a:gd name="connsiteY629" fmla="*/ 271775 h 519126"/>
                <a:gd name="connsiteX630" fmla="*/ 77910 w 597604"/>
                <a:gd name="connsiteY630" fmla="*/ 270025 h 519126"/>
                <a:gd name="connsiteX631" fmla="*/ 79660 w 597604"/>
                <a:gd name="connsiteY631" fmla="*/ 270227 h 519126"/>
                <a:gd name="connsiteX632" fmla="*/ 83800 w 597604"/>
                <a:gd name="connsiteY632" fmla="*/ 271304 h 519126"/>
                <a:gd name="connsiteX633" fmla="*/ 86088 w 597604"/>
                <a:gd name="connsiteY633" fmla="*/ 273692 h 519126"/>
                <a:gd name="connsiteX634" fmla="*/ 87064 w 597604"/>
                <a:gd name="connsiteY634" fmla="*/ 276955 h 519126"/>
                <a:gd name="connsiteX635" fmla="*/ 87064 w 597604"/>
                <a:gd name="connsiteY635" fmla="*/ 280655 h 519126"/>
                <a:gd name="connsiteX636" fmla="*/ 85314 w 597604"/>
                <a:gd name="connsiteY636" fmla="*/ 281967 h 519126"/>
                <a:gd name="connsiteX637" fmla="*/ 85314 w 597604"/>
                <a:gd name="connsiteY637" fmla="*/ 284154 h 519126"/>
                <a:gd name="connsiteX638" fmla="*/ 89016 w 597604"/>
                <a:gd name="connsiteY638" fmla="*/ 285903 h 519126"/>
                <a:gd name="connsiteX639" fmla="*/ 92483 w 597604"/>
                <a:gd name="connsiteY639" fmla="*/ 287215 h 519126"/>
                <a:gd name="connsiteX640" fmla="*/ 94435 w 597604"/>
                <a:gd name="connsiteY640" fmla="*/ 289166 h 519126"/>
                <a:gd name="connsiteX641" fmla="*/ 99214 w 597604"/>
                <a:gd name="connsiteY641" fmla="*/ 293068 h 519126"/>
                <a:gd name="connsiteX642" fmla="*/ 99214 w 597604"/>
                <a:gd name="connsiteY642" fmla="*/ 299796 h 519126"/>
                <a:gd name="connsiteX643" fmla="*/ 103791 w 597604"/>
                <a:gd name="connsiteY643" fmla="*/ 303699 h 519126"/>
                <a:gd name="connsiteX644" fmla="*/ 104868 w 597604"/>
                <a:gd name="connsiteY644" fmla="*/ 306289 h 519126"/>
                <a:gd name="connsiteX645" fmla="*/ 103791 w 597604"/>
                <a:gd name="connsiteY645" fmla="*/ 312142 h 519126"/>
                <a:gd name="connsiteX646" fmla="*/ 102478 w 597604"/>
                <a:gd name="connsiteY646" fmla="*/ 313891 h 519126"/>
                <a:gd name="connsiteX647" fmla="*/ 101839 w 597604"/>
                <a:gd name="connsiteY647" fmla="*/ 316280 h 519126"/>
                <a:gd name="connsiteX648" fmla="*/ 97497 w 597604"/>
                <a:gd name="connsiteY648" fmla="*/ 322571 h 519126"/>
                <a:gd name="connsiteX649" fmla="*/ 96420 w 597604"/>
                <a:gd name="connsiteY649" fmla="*/ 325127 h 519126"/>
                <a:gd name="connsiteX650" fmla="*/ 91641 w 597604"/>
                <a:gd name="connsiteY650" fmla="*/ 328659 h 519126"/>
                <a:gd name="connsiteX651" fmla="*/ 90564 w 597604"/>
                <a:gd name="connsiteY651" fmla="*/ 331048 h 519126"/>
                <a:gd name="connsiteX652" fmla="*/ 87939 w 597604"/>
                <a:gd name="connsiteY652" fmla="*/ 334748 h 519126"/>
                <a:gd name="connsiteX653" fmla="*/ 85987 w 597604"/>
                <a:gd name="connsiteY653" fmla="*/ 339323 h 519126"/>
                <a:gd name="connsiteX654" fmla="*/ 85550 w 597604"/>
                <a:gd name="connsiteY654" fmla="*/ 344537 h 519126"/>
                <a:gd name="connsiteX655" fmla="*/ 83800 w 597604"/>
                <a:gd name="connsiteY655" fmla="*/ 349987 h 519126"/>
                <a:gd name="connsiteX656" fmla="*/ 82285 w 597604"/>
                <a:gd name="connsiteY656" fmla="*/ 352375 h 519126"/>
                <a:gd name="connsiteX657" fmla="*/ 80771 w 597604"/>
                <a:gd name="connsiteY657" fmla="*/ 354965 h 519126"/>
                <a:gd name="connsiteX658" fmla="*/ 79694 w 597604"/>
                <a:gd name="connsiteY658" fmla="*/ 356715 h 519126"/>
                <a:gd name="connsiteX659" fmla="*/ 78180 w 597604"/>
                <a:gd name="connsiteY659" fmla="*/ 358666 h 519126"/>
                <a:gd name="connsiteX660" fmla="*/ 76429 w 597604"/>
                <a:gd name="connsiteY660" fmla="*/ 362131 h 519126"/>
                <a:gd name="connsiteX661" fmla="*/ 76665 w 597604"/>
                <a:gd name="connsiteY661" fmla="*/ 366268 h 519126"/>
                <a:gd name="connsiteX662" fmla="*/ 76665 w 597604"/>
                <a:gd name="connsiteY662" fmla="*/ 372794 h 519126"/>
                <a:gd name="connsiteX663" fmla="*/ 76026 w 597604"/>
                <a:gd name="connsiteY663" fmla="*/ 377571 h 519126"/>
                <a:gd name="connsiteX664" fmla="*/ 75386 w 597604"/>
                <a:gd name="connsiteY664" fmla="*/ 382348 h 519126"/>
                <a:gd name="connsiteX665" fmla="*/ 73199 w 597604"/>
                <a:gd name="connsiteY665" fmla="*/ 383862 h 519126"/>
                <a:gd name="connsiteX666" fmla="*/ 69497 w 597604"/>
                <a:gd name="connsiteY666" fmla="*/ 383660 h 519126"/>
                <a:gd name="connsiteX667" fmla="*/ 66434 w 597604"/>
                <a:gd name="connsiteY667" fmla="*/ 385174 h 519126"/>
                <a:gd name="connsiteX668" fmla="*/ 62732 w 597604"/>
                <a:gd name="connsiteY668" fmla="*/ 387562 h 519126"/>
                <a:gd name="connsiteX669" fmla="*/ 62093 w 597604"/>
                <a:gd name="connsiteY669" fmla="*/ 389312 h 519126"/>
                <a:gd name="connsiteX670" fmla="*/ 62530 w 597604"/>
                <a:gd name="connsiteY670" fmla="*/ 394324 h 519126"/>
                <a:gd name="connsiteX671" fmla="*/ 66670 w 597604"/>
                <a:gd name="connsiteY671" fmla="*/ 396712 h 519126"/>
                <a:gd name="connsiteX672" fmla="*/ 70372 w 597604"/>
                <a:gd name="connsiteY672" fmla="*/ 401926 h 519126"/>
                <a:gd name="connsiteX673" fmla="*/ 73199 w 597604"/>
                <a:gd name="connsiteY673" fmla="*/ 402566 h 519126"/>
                <a:gd name="connsiteX674" fmla="*/ 76463 w 597604"/>
                <a:gd name="connsiteY674" fmla="*/ 403877 h 519126"/>
                <a:gd name="connsiteX675" fmla="*/ 75824 w 597604"/>
                <a:gd name="connsiteY675" fmla="*/ 409966 h 519126"/>
                <a:gd name="connsiteX676" fmla="*/ 73199 w 597604"/>
                <a:gd name="connsiteY676" fmla="*/ 414743 h 519126"/>
                <a:gd name="connsiteX677" fmla="*/ 78213 w 597604"/>
                <a:gd name="connsiteY677" fmla="*/ 414104 h 519126"/>
                <a:gd name="connsiteX678" fmla="*/ 81242 w 597604"/>
                <a:gd name="connsiteY678" fmla="*/ 412590 h 519126"/>
                <a:gd name="connsiteX679" fmla="*/ 83867 w 597604"/>
                <a:gd name="connsiteY679" fmla="*/ 410404 h 519126"/>
                <a:gd name="connsiteX680" fmla="*/ 87132 w 597604"/>
                <a:gd name="connsiteY680" fmla="*/ 409529 h 519126"/>
                <a:gd name="connsiteX681" fmla="*/ 89757 w 597604"/>
                <a:gd name="connsiteY681" fmla="*/ 411480 h 519126"/>
                <a:gd name="connsiteX682" fmla="*/ 89992 w 597604"/>
                <a:gd name="connsiteY682" fmla="*/ 415820 h 519126"/>
                <a:gd name="connsiteX683" fmla="*/ 87603 w 597604"/>
                <a:gd name="connsiteY683" fmla="*/ 419116 h 519126"/>
                <a:gd name="connsiteX684" fmla="*/ 87165 w 597604"/>
                <a:gd name="connsiteY684" fmla="*/ 423624 h 519126"/>
                <a:gd name="connsiteX685" fmla="*/ 88680 w 597604"/>
                <a:gd name="connsiteY685" fmla="*/ 425575 h 519126"/>
                <a:gd name="connsiteX686" fmla="*/ 91507 w 597604"/>
                <a:gd name="connsiteY686" fmla="*/ 428603 h 519126"/>
                <a:gd name="connsiteX687" fmla="*/ 95411 w 597604"/>
                <a:gd name="connsiteY687" fmla="*/ 434456 h 519126"/>
                <a:gd name="connsiteX688" fmla="*/ 96050 w 597604"/>
                <a:gd name="connsiteY688" fmla="*/ 436844 h 519126"/>
                <a:gd name="connsiteX689" fmla="*/ 100627 w 597604"/>
                <a:gd name="connsiteY689" fmla="*/ 437181 h 519126"/>
                <a:gd name="connsiteX690" fmla="*/ 106719 w 597604"/>
                <a:gd name="connsiteY690" fmla="*/ 436205 h 519126"/>
                <a:gd name="connsiteX691" fmla="*/ 112372 w 597604"/>
                <a:gd name="connsiteY691" fmla="*/ 436205 h 519126"/>
                <a:gd name="connsiteX692" fmla="*/ 115401 w 597604"/>
                <a:gd name="connsiteY692" fmla="*/ 438795 h 519126"/>
                <a:gd name="connsiteX693" fmla="*/ 115200 w 597604"/>
                <a:gd name="connsiteY693" fmla="*/ 441419 h 519126"/>
                <a:gd name="connsiteX694" fmla="*/ 114964 w 597604"/>
                <a:gd name="connsiteY694" fmla="*/ 445557 h 519126"/>
                <a:gd name="connsiteX695" fmla="*/ 113651 w 597604"/>
                <a:gd name="connsiteY695" fmla="*/ 448383 h 519126"/>
                <a:gd name="connsiteX696" fmla="*/ 110387 w 597604"/>
                <a:gd name="connsiteY696" fmla="*/ 452520 h 519126"/>
                <a:gd name="connsiteX697" fmla="*/ 107997 w 597604"/>
                <a:gd name="connsiteY697" fmla="*/ 453597 h 519126"/>
                <a:gd name="connsiteX698" fmla="*/ 104969 w 597604"/>
                <a:gd name="connsiteY698" fmla="*/ 455548 h 519126"/>
                <a:gd name="connsiteX699" fmla="*/ 102142 w 597604"/>
                <a:gd name="connsiteY699" fmla="*/ 457062 h 519126"/>
                <a:gd name="connsiteX700" fmla="*/ 98877 w 597604"/>
                <a:gd name="connsiteY700" fmla="*/ 459888 h 519126"/>
                <a:gd name="connsiteX701" fmla="*/ 92786 w 597604"/>
                <a:gd name="connsiteY701" fmla="*/ 457701 h 519126"/>
                <a:gd name="connsiteX702" fmla="*/ 90396 w 597604"/>
                <a:gd name="connsiteY702" fmla="*/ 459013 h 519126"/>
                <a:gd name="connsiteX703" fmla="*/ 93425 w 597604"/>
                <a:gd name="connsiteY703" fmla="*/ 465102 h 519126"/>
                <a:gd name="connsiteX704" fmla="*/ 95175 w 597604"/>
                <a:gd name="connsiteY704" fmla="*/ 468365 h 519126"/>
                <a:gd name="connsiteX705" fmla="*/ 96488 w 597604"/>
                <a:gd name="connsiteY705" fmla="*/ 470114 h 519126"/>
                <a:gd name="connsiteX706" fmla="*/ 95848 w 597604"/>
                <a:gd name="connsiteY706" fmla="*/ 476203 h 519126"/>
                <a:gd name="connsiteX707" fmla="*/ 94973 w 597604"/>
                <a:gd name="connsiteY707" fmla="*/ 478793 h 519126"/>
                <a:gd name="connsiteX708" fmla="*/ 90834 w 597604"/>
                <a:gd name="connsiteY708" fmla="*/ 482493 h 519126"/>
                <a:gd name="connsiteX709" fmla="*/ 85382 w 597604"/>
                <a:gd name="connsiteY709" fmla="*/ 485756 h 519126"/>
                <a:gd name="connsiteX710" fmla="*/ 83430 w 597604"/>
                <a:gd name="connsiteY710" fmla="*/ 489019 h 519126"/>
                <a:gd name="connsiteX711" fmla="*/ 81680 w 597604"/>
                <a:gd name="connsiteY711" fmla="*/ 494032 h 519126"/>
                <a:gd name="connsiteX712" fmla="*/ 81175 w 597604"/>
                <a:gd name="connsiteY712" fmla="*/ 498237 h 519126"/>
                <a:gd name="connsiteX713" fmla="*/ 83430 w 597604"/>
                <a:gd name="connsiteY713" fmla="*/ 500995 h 519126"/>
                <a:gd name="connsiteX714" fmla="*/ 85617 w 597604"/>
                <a:gd name="connsiteY714" fmla="*/ 502072 h 519126"/>
                <a:gd name="connsiteX715" fmla="*/ 87569 w 597604"/>
                <a:gd name="connsiteY715" fmla="*/ 504258 h 519126"/>
                <a:gd name="connsiteX716" fmla="*/ 90968 w 597604"/>
                <a:gd name="connsiteY716" fmla="*/ 508598 h 519126"/>
                <a:gd name="connsiteX717" fmla="*/ 93593 w 597604"/>
                <a:gd name="connsiteY717" fmla="*/ 510986 h 519126"/>
                <a:gd name="connsiteX718" fmla="*/ 96790 w 597604"/>
                <a:gd name="connsiteY718" fmla="*/ 513879 h 519126"/>
                <a:gd name="connsiteX719" fmla="*/ 98036 w 597604"/>
                <a:gd name="connsiteY719" fmla="*/ 513946 h 519126"/>
                <a:gd name="connsiteX720" fmla="*/ 100795 w 597604"/>
                <a:gd name="connsiteY720" fmla="*/ 513307 h 519126"/>
                <a:gd name="connsiteX721" fmla="*/ 104127 w 597604"/>
                <a:gd name="connsiteY721" fmla="*/ 511222 h 519126"/>
                <a:gd name="connsiteX722" fmla="*/ 107897 w 597604"/>
                <a:gd name="connsiteY722" fmla="*/ 509775 h 519126"/>
                <a:gd name="connsiteX723" fmla="*/ 110589 w 597604"/>
                <a:gd name="connsiteY723" fmla="*/ 509439 h 519126"/>
                <a:gd name="connsiteX724" fmla="*/ 113281 w 597604"/>
                <a:gd name="connsiteY724" fmla="*/ 509270 h 519126"/>
                <a:gd name="connsiteX725" fmla="*/ 115906 w 597604"/>
                <a:gd name="connsiteY725" fmla="*/ 509270 h 519126"/>
                <a:gd name="connsiteX726" fmla="*/ 117051 w 597604"/>
                <a:gd name="connsiteY726" fmla="*/ 508194 h 519126"/>
                <a:gd name="connsiteX727" fmla="*/ 117757 w 597604"/>
                <a:gd name="connsiteY727" fmla="*/ 504561 h 519126"/>
                <a:gd name="connsiteX728" fmla="*/ 118498 w 597604"/>
                <a:gd name="connsiteY728" fmla="*/ 502374 h 519126"/>
                <a:gd name="connsiteX729" fmla="*/ 119743 w 597604"/>
                <a:gd name="connsiteY729" fmla="*/ 500356 h 519126"/>
                <a:gd name="connsiteX730" fmla="*/ 120988 w 597604"/>
                <a:gd name="connsiteY730" fmla="*/ 498977 h 519126"/>
                <a:gd name="connsiteX731" fmla="*/ 123748 w 597604"/>
                <a:gd name="connsiteY731" fmla="*/ 496723 h 519126"/>
                <a:gd name="connsiteX732" fmla="*/ 125060 w 597604"/>
                <a:gd name="connsiteY732" fmla="*/ 495041 h 519126"/>
                <a:gd name="connsiteX733" fmla="*/ 133171 w 597604"/>
                <a:gd name="connsiteY733" fmla="*/ 487068 h 519126"/>
                <a:gd name="connsiteX734" fmla="*/ 135931 w 597604"/>
                <a:gd name="connsiteY734" fmla="*/ 483301 h 519126"/>
                <a:gd name="connsiteX735" fmla="*/ 135628 w 597604"/>
                <a:gd name="connsiteY735" fmla="*/ 482594 h 519126"/>
                <a:gd name="connsiteX736" fmla="*/ 133474 w 597604"/>
                <a:gd name="connsiteY736" fmla="*/ 480845 h 519126"/>
                <a:gd name="connsiteX737" fmla="*/ 132296 w 597604"/>
                <a:gd name="connsiteY737" fmla="*/ 478524 h 519126"/>
                <a:gd name="connsiteX738" fmla="*/ 134315 w 597604"/>
                <a:gd name="connsiteY738" fmla="*/ 477515 h 519126"/>
                <a:gd name="connsiteX739" fmla="*/ 140541 w 597604"/>
                <a:gd name="connsiteY739" fmla="*/ 475496 h 519126"/>
                <a:gd name="connsiteX740" fmla="*/ 143133 w 597604"/>
                <a:gd name="connsiteY740" fmla="*/ 473478 h 519126"/>
                <a:gd name="connsiteX741" fmla="*/ 146027 w 597604"/>
                <a:gd name="connsiteY741" fmla="*/ 471594 h 519126"/>
                <a:gd name="connsiteX742" fmla="*/ 150671 w 597604"/>
                <a:gd name="connsiteY742" fmla="*/ 467692 h 519126"/>
                <a:gd name="connsiteX743" fmla="*/ 151816 w 597604"/>
                <a:gd name="connsiteY743" fmla="*/ 466548 h 519126"/>
                <a:gd name="connsiteX744" fmla="*/ 155013 w 597604"/>
                <a:gd name="connsiteY744" fmla="*/ 468297 h 519126"/>
                <a:gd name="connsiteX745" fmla="*/ 157470 w 597604"/>
                <a:gd name="connsiteY745" fmla="*/ 470888 h 519126"/>
                <a:gd name="connsiteX746" fmla="*/ 158042 w 597604"/>
                <a:gd name="connsiteY746" fmla="*/ 474353 h 519126"/>
                <a:gd name="connsiteX747" fmla="*/ 157907 w 597604"/>
                <a:gd name="connsiteY747" fmla="*/ 477380 h 519126"/>
                <a:gd name="connsiteX748" fmla="*/ 158042 w 597604"/>
                <a:gd name="connsiteY748" fmla="*/ 480139 h 519126"/>
                <a:gd name="connsiteX749" fmla="*/ 161811 w 597604"/>
                <a:gd name="connsiteY749" fmla="*/ 481148 h 519126"/>
                <a:gd name="connsiteX750" fmla="*/ 167028 w 597604"/>
                <a:gd name="connsiteY750" fmla="*/ 481013 h 519126"/>
                <a:gd name="connsiteX751" fmla="*/ 171807 w 597604"/>
                <a:gd name="connsiteY751" fmla="*/ 479264 h 519126"/>
                <a:gd name="connsiteX752" fmla="*/ 173994 w 597604"/>
                <a:gd name="connsiteY752" fmla="*/ 478120 h 519126"/>
                <a:gd name="connsiteX753" fmla="*/ 178470 w 597604"/>
                <a:gd name="connsiteY753" fmla="*/ 477818 h 519126"/>
                <a:gd name="connsiteX754" fmla="*/ 180052 w 597604"/>
                <a:gd name="connsiteY754" fmla="*/ 479264 h 519126"/>
                <a:gd name="connsiteX755" fmla="*/ 178739 w 597604"/>
                <a:gd name="connsiteY755" fmla="*/ 481888 h 519126"/>
                <a:gd name="connsiteX756" fmla="*/ 177999 w 597604"/>
                <a:gd name="connsiteY756" fmla="*/ 483032 h 519126"/>
                <a:gd name="connsiteX757" fmla="*/ 178436 w 597604"/>
                <a:gd name="connsiteY757" fmla="*/ 486665 h 519126"/>
                <a:gd name="connsiteX758" fmla="*/ 180018 w 597604"/>
                <a:gd name="connsiteY758" fmla="*/ 489423 h 519126"/>
                <a:gd name="connsiteX759" fmla="*/ 183047 w 597604"/>
                <a:gd name="connsiteY759" fmla="*/ 493056 h 519126"/>
                <a:gd name="connsiteX760" fmla="*/ 185067 w 597604"/>
                <a:gd name="connsiteY760" fmla="*/ 495377 h 519126"/>
                <a:gd name="connsiteX761" fmla="*/ 189139 w 597604"/>
                <a:gd name="connsiteY761" fmla="*/ 498136 h 519126"/>
                <a:gd name="connsiteX762" fmla="*/ 194927 w 597604"/>
                <a:gd name="connsiteY762" fmla="*/ 499145 h 519126"/>
                <a:gd name="connsiteX763" fmla="*/ 199134 w 597604"/>
                <a:gd name="connsiteY763" fmla="*/ 499414 h 519126"/>
                <a:gd name="connsiteX764" fmla="*/ 201019 w 597604"/>
                <a:gd name="connsiteY764" fmla="*/ 500289 h 519126"/>
                <a:gd name="connsiteX765" fmla="*/ 207110 w 597604"/>
                <a:gd name="connsiteY765" fmla="*/ 504359 h 519126"/>
                <a:gd name="connsiteX766" fmla="*/ 208423 w 597604"/>
                <a:gd name="connsiteY766" fmla="*/ 505234 h 519126"/>
                <a:gd name="connsiteX767" fmla="*/ 210307 w 597604"/>
                <a:gd name="connsiteY767" fmla="*/ 507824 h 519126"/>
                <a:gd name="connsiteX768" fmla="*/ 211452 w 597604"/>
                <a:gd name="connsiteY768" fmla="*/ 509270 h 519126"/>
                <a:gd name="connsiteX769" fmla="*/ 216533 w 597604"/>
                <a:gd name="connsiteY769" fmla="*/ 509573 h 519126"/>
                <a:gd name="connsiteX770" fmla="*/ 221312 w 597604"/>
                <a:gd name="connsiteY770" fmla="*/ 508699 h 519126"/>
                <a:gd name="connsiteX771" fmla="*/ 224207 w 597604"/>
                <a:gd name="connsiteY771" fmla="*/ 508127 h 519126"/>
                <a:gd name="connsiteX772" fmla="*/ 226226 w 597604"/>
                <a:gd name="connsiteY772" fmla="*/ 508261 h 519126"/>
                <a:gd name="connsiteX773" fmla="*/ 228414 w 597604"/>
                <a:gd name="connsiteY773" fmla="*/ 512904 h 519126"/>
                <a:gd name="connsiteX774" fmla="*/ 229861 w 597604"/>
                <a:gd name="connsiteY774" fmla="*/ 516368 h 519126"/>
                <a:gd name="connsiteX775" fmla="*/ 233630 w 597604"/>
                <a:gd name="connsiteY775" fmla="*/ 518252 h 519126"/>
                <a:gd name="connsiteX776" fmla="*/ 238140 w 597604"/>
                <a:gd name="connsiteY776" fmla="*/ 519127 h 519126"/>
                <a:gd name="connsiteX777" fmla="*/ 243356 w 597604"/>
                <a:gd name="connsiteY777" fmla="*/ 517680 h 519126"/>
                <a:gd name="connsiteX778" fmla="*/ 248573 w 597604"/>
                <a:gd name="connsiteY778" fmla="*/ 510145 h 519126"/>
                <a:gd name="connsiteX779" fmla="*/ 250895 w 597604"/>
                <a:gd name="connsiteY779" fmla="*/ 507387 h 519126"/>
                <a:gd name="connsiteX780" fmla="*/ 254361 w 597604"/>
                <a:gd name="connsiteY780" fmla="*/ 499986 h 519126"/>
                <a:gd name="connsiteX781" fmla="*/ 258433 w 597604"/>
                <a:gd name="connsiteY781" fmla="*/ 497530 h 519126"/>
                <a:gd name="connsiteX782" fmla="*/ 257121 w 597604"/>
                <a:gd name="connsiteY782" fmla="*/ 492013 h 519126"/>
                <a:gd name="connsiteX783" fmla="*/ 253217 w 597604"/>
                <a:gd name="connsiteY783" fmla="*/ 487808 h 519126"/>
                <a:gd name="connsiteX784" fmla="*/ 251770 w 597604"/>
                <a:gd name="connsiteY784" fmla="*/ 486362 h 519126"/>
                <a:gd name="connsiteX785" fmla="*/ 253217 w 597604"/>
                <a:gd name="connsiteY785" fmla="*/ 482594 h 519126"/>
                <a:gd name="connsiteX786" fmla="*/ 255539 w 597604"/>
                <a:gd name="connsiteY786" fmla="*/ 481148 h 519126"/>
                <a:gd name="connsiteX787" fmla="*/ 260318 w 597604"/>
                <a:gd name="connsiteY787" fmla="*/ 480576 h 519126"/>
                <a:gd name="connsiteX788" fmla="*/ 271761 w 597604"/>
                <a:gd name="connsiteY788" fmla="*/ 480273 h 519126"/>
                <a:gd name="connsiteX789" fmla="*/ 275227 w 597604"/>
                <a:gd name="connsiteY789" fmla="*/ 477818 h 519126"/>
                <a:gd name="connsiteX790" fmla="*/ 277549 w 597604"/>
                <a:gd name="connsiteY790" fmla="*/ 475362 h 519126"/>
                <a:gd name="connsiteX791" fmla="*/ 279871 w 597604"/>
                <a:gd name="connsiteY791" fmla="*/ 473915 h 519126"/>
                <a:gd name="connsiteX792" fmla="*/ 285963 w 597604"/>
                <a:gd name="connsiteY792" fmla="*/ 470450 h 519126"/>
                <a:gd name="connsiteX793" fmla="*/ 290607 w 597604"/>
                <a:gd name="connsiteY793" fmla="*/ 468701 h 519126"/>
                <a:gd name="connsiteX794" fmla="*/ 293199 w 597604"/>
                <a:gd name="connsiteY794" fmla="*/ 467692 h 519126"/>
                <a:gd name="connsiteX795" fmla="*/ 296530 w 597604"/>
                <a:gd name="connsiteY795" fmla="*/ 465808 h 519126"/>
                <a:gd name="connsiteX796" fmla="*/ 302184 w 597604"/>
                <a:gd name="connsiteY796" fmla="*/ 462041 h 519126"/>
                <a:gd name="connsiteX797" fmla="*/ 304507 w 597604"/>
                <a:gd name="connsiteY797" fmla="*/ 460291 h 519126"/>
                <a:gd name="connsiteX798" fmla="*/ 308713 w 597604"/>
                <a:gd name="connsiteY798" fmla="*/ 460291 h 519126"/>
                <a:gd name="connsiteX799" fmla="*/ 316824 w 597604"/>
                <a:gd name="connsiteY799" fmla="*/ 459147 h 519126"/>
                <a:gd name="connsiteX800" fmla="*/ 325372 w 597604"/>
                <a:gd name="connsiteY800" fmla="*/ 458407 h 519126"/>
                <a:gd name="connsiteX801" fmla="*/ 327829 w 597604"/>
                <a:gd name="connsiteY801" fmla="*/ 456389 h 519126"/>
                <a:gd name="connsiteX802" fmla="*/ 329276 w 597604"/>
                <a:gd name="connsiteY802" fmla="*/ 455649 h 519126"/>
                <a:gd name="connsiteX803" fmla="*/ 334493 w 597604"/>
                <a:gd name="connsiteY803" fmla="*/ 450569 h 519126"/>
                <a:gd name="connsiteX804" fmla="*/ 336815 w 597604"/>
                <a:gd name="connsiteY804" fmla="*/ 447542 h 519126"/>
                <a:gd name="connsiteX805" fmla="*/ 337252 w 597604"/>
                <a:gd name="connsiteY805" fmla="*/ 443202 h 519126"/>
                <a:gd name="connsiteX806" fmla="*/ 337118 w 597604"/>
                <a:gd name="connsiteY806" fmla="*/ 438728 h 519126"/>
                <a:gd name="connsiteX807" fmla="*/ 335805 w 597604"/>
                <a:gd name="connsiteY807" fmla="*/ 435970 h 519126"/>
                <a:gd name="connsiteX808" fmla="*/ 334055 w 597604"/>
                <a:gd name="connsiteY808" fmla="*/ 431630 h 519126"/>
                <a:gd name="connsiteX809" fmla="*/ 334762 w 597604"/>
                <a:gd name="connsiteY809" fmla="*/ 427291 h 519126"/>
                <a:gd name="connsiteX810" fmla="*/ 339272 w 597604"/>
                <a:gd name="connsiteY810" fmla="*/ 423826 h 519126"/>
                <a:gd name="connsiteX811" fmla="*/ 341897 w 597604"/>
                <a:gd name="connsiteY811" fmla="*/ 420495 h 519126"/>
                <a:gd name="connsiteX812" fmla="*/ 346810 w 597604"/>
                <a:gd name="connsiteY812" fmla="*/ 417165 h 519126"/>
                <a:gd name="connsiteX813" fmla="*/ 353777 w 597604"/>
                <a:gd name="connsiteY813" fmla="*/ 414407 h 519126"/>
                <a:gd name="connsiteX814" fmla="*/ 360306 w 597604"/>
                <a:gd name="connsiteY814" fmla="*/ 414407 h 519126"/>
                <a:gd name="connsiteX815" fmla="*/ 362931 w 597604"/>
                <a:gd name="connsiteY815" fmla="*/ 415147 h 519126"/>
                <a:gd name="connsiteX816" fmla="*/ 366397 w 597604"/>
                <a:gd name="connsiteY816" fmla="*/ 418914 h 519126"/>
                <a:gd name="connsiteX817" fmla="*/ 371311 w 597604"/>
                <a:gd name="connsiteY817" fmla="*/ 424263 h 519126"/>
                <a:gd name="connsiteX818" fmla="*/ 373768 w 597604"/>
                <a:gd name="connsiteY818" fmla="*/ 430184 h 519126"/>
                <a:gd name="connsiteX819" fmla="*/ 374912 w 597604"/>
                <a:gd name="connsiteY819" fmla="*/ 436272 h 519126"/>
                <a:gd name="connsiteX820" fmla="*/ 381878 w 597604"/>
                <a:gd name="connsiteY820" fmla="*/ 441924 h 519126"/>
                <a:gd name="connsiteX821" fmla="*/ 381744 w 597604"/>
                <a:gd name="connsiteY821" fmla="*/ 447878 h 519126"/>
                <a:gd name="connsiteX822" fmla="*/ 384638 w 597604"/>
                <a:gd name="connsiteY822" fmla="*/ 452790 h 519126"/>
                <a:gd name="connsiteX823" fmla="*/ 388273 w 597604"/>
                <a:gd name="connsiteY823" fmla="*/ 453664 h 519126"/>
                <a:gd name="connsiteX824" fmla="*/ 391907 w 597604"/>
                <a:gd name="connsiteY824" fmla="*/ 453227 h 519126"/>
                <a:gd name="connsiteX825" fmla="*/ 394802 w 597604"/>
                <a:gd name="connsiteY825" fmla="*/ 452790 h 519126"/>
                <a:gd name="connsiteX826" fmla="*/ 398706 w 597604"/>
                <a:gd name="connsiteY826" fmla="*/ 450771 h 519126"/>
                <a:gd name="connsiteX827" fmla="*/ 401297 w 597604"/>
                <a:gd name="connsiteY827" fmla="*/ 448013 h 519126"/>
                <a:gd name="connsiteX828" fmla="*/ 402744 w 597604"/>
                <a:gd name="connsiteY828" fmla="*/ 447138 h 519126"/>
                <a:gd name="connsiteX829" fmla="*/ 408398 w 597604"/>
                <a:gd name="connsiteY829" fmla="*/ 449459 h 519126"/>
                <a:gd name="connsiteX830" fmla="*/ 409273 w 597604"/>
                <a:gd name="connsiteY830" fmla="*/ 453361 h 519126"/>
                <a:gd name="connsiteX831" fmla="*/ 410855 w 597604"/>
                <a:gd name="connsiteY831" fmla="*/ 456995 h 519126"/>
                <a:gd name="connsiteX832" fmla="*/ 413446 w 597604"/>
                <a:gd name="connsiteY832" fmla="*/ 460897 h 519126"/>
                <a:gd name="connsiteX833" fmla="*/ 416778 w 597604"/>
                <a:gd name="connsiteY833" fmla="*/ 462209 h 519126"/>
                <a:gd name="connsiteX834" fmla="*/ 421423 w 597604"/>
                <a:gd name="connsiteY834" fmla="*/ 463790 h 519126"/>
                <a:gd name="connsiteX835" fmla="*/ 424620 w 597604"/>
                <a:gd name="connsiteY835" fmla="*/ 464362 h 519126"/>
                <a:gd name="connsiteX836" fmla="*/ 428086 w 597604"/>
                <a:gd name="connsiteY836" fmla="*/ 463655 h 519126"/>
                <a:gd name="connsiteX837" fmla="*/ 434750 w 597604"/>
                <a:gd name="connsiteY837" fmla="*/ 462343 h 519126"/>
                <a:gd name="connsiteX838" fmla="*/ 440538 w 597604"/>
                <a:gd name="connsiteY838" fmla="*/ 461603 h 519126"/>
                <a:gd name="connsiteX839" fmla="*/ 446192 w 597604"/>
                <a:gd name="connsiteY839" fmla="*/ 459719 h 519126"/>
                <a:gd name="connsiteX840" fmla="*/ 449524 w 597604"/>
                <a:gd name="connsiteY840" fmla="*/ 456524 h 519126"/>
                <a:gd name="connsiteX841" fmla="*/ 453428 w 597604"/>
                <a:gd name="connsiteY841" fmla="*/ 453059 h 519126"/>
                <a:gd name="connsiteX842" fmla="*/ 454303 w 597604"/>
                <a:gd name="connsiteY842" fmla="*/ 449426 h 519126"/>
                <a:gd name="connsiteX843" fmla="*/ 453294 w 597604"/>
                <a:gd name="connsiteY843" fmla="*/ 444918 h 519126"/>
                <a:gd name="connsiteX844" fmla="*/ 453159 w 597604"/>
                <a:gd name="connsiteY844" fmla="*/ 441150 h 519126"/>
                <a:gd name="connsiteX845" fmla="*/ 454337 w 597604"/>
                <a:gd name="connsiteY845" fmla="*/ 436071 h 519126"/>
                <a:gd name="connsiteX846" fmla="*/ 455649 w 597604"/>
                <a:gd name="connsiteY846" fmla="*/ 433884 h 519126"/>
                <a:gd name="connsiteX847" fmla="*/ 458846 w 597604"/>
                <a:gd name="connsiteY847" fmla="*/ 429107 h 519126"/>
                <a:gd name="connsiteX848" fmla="*/ 464063 w 597604"/>
                <a:gd name="connsiteY848" fmla="*/ 424600 h 519126"/>
                <a:gd name="connsiteX849" fmla="*/ 471467 w 597604"/>
                <a:gd name="connsiteY849" fmla="*/ 421404 h 519126"/>
                <a:gd name="connsiteX850" fmla="*/ 476381 w 597604"/>
                <a:gd name="connsiteY850" fmla="*/ 424162 h 519126"/>
                <a:gd name="connsiteX851" fmla="*/ 481866 w 597604"/>
                <a:gd name="connsiteY851" fmla="*/ 428064 h 519126"/>
                <a:gd name="connsiteX852" fmla="*/ 487520 w 597604"/>
                <a:gd name="connsiteY852" fmla="*/ 431967 h 519126"/>
                <a:gd name="connsiteX853" fmla="*/ 490280 w 597604"/>
                <a:gd name="connsiteY853" fmla="*/ 434725 h 519126"/>
                <a:gd name="connsiteX854" fmla="*/ 493914 w 597604"/>
                <a:gd name="connsiteY854" fmla="*/ 436609 h 519126"/>
                <a:gd name="connsiteX855" fmla="*/ 494924 w 597604"/>
                <a:gd name="connsiteY855" fmla="*/ 439805 h 519126"/>
                <a:gd name="connsiteX856" fmla="*/ 497381 w 597604"/>
                <a:gd name="connsiteY856" fmla="*/ 443572 h 519126"/>
                <a:gd name="connsiteX857" fmla="*/ 498694 w 597604"/>
                <a:gd name="connsiteY857" fmla="*/ 444144 h 519126"/>
                <a:gd name="connsiteX858" fmla="*/ 501453 w 597604"/>
                <a:gd name="connsiteY858" fmla="*/ 443572 h 519126"/>
                <a:gd name="connsiteX859" fmla="*/ 502328 w 597604"/>
                <a:gd name="connsiteY859" fmla="*/ 440948 h 519126"/>
                <a:gd name="connsiteX860" fmla="*/ 502900 w 597604"/>
                <a:gd name="connsiteY860" fmla="*/ 437181 h 519126"/>
                <a:gd name="connsiteX861" fmla="*/ 502766 w 597604"/>
                <a:gd name="connsiteY861" fmla="*/ 434860 h 519126"/>
                <a:gd name="connsiteX862" fmla="*/ 502766 w 597604"/>
                <a:gd name="connsiteY862" fmla="*/ 431799 h 519126"/>
                <a:gd name="connsiteX863" fmla="*/ 503069 w 597604"/>
                <a:gd name="connsiteY863" fmla="*/ 427594 h 519126"/>
                <a:gd name="connsiteX864" fmla="*/ 504819 w 597604"/>
                <a:gd name="connsiteY864" fmla="*/ 425407 h 519126"/>
                <a:gd name="connsiteX865" fmla="*/ 507006 w 597604"/>
                <a:gd name="connsiteY865" fmla="*/ 423389 h 519126"/>
                <a:gd name="connsiteX866" fmla="*/ 509766 w 597604"/>
                <a:gd name="connsiteY866" fmla="*/ 421067 h 519126"/>
                <a:gd name="connsiteX867" fmla="*/ 509900 w 597604"/>
                <a:gd name="connsiteY867" fmla="*/ 417165 h 519126"/>
                <a:gd name="connsiteX868" fmla="*/ 515252 w 597604"/>
                <a:gd name="connsiteY868" fmla="*/ 411245 h 519126"/>
                <a:gd name="connsiteX869" fmla="*/ 516564 w 597604"/>
                <a:gd name="connsiteY869" fmla="*/ 410505 h 519126"/>
                <a:gd name="connsiteX870" fmla="*/ 518449 w 597604"/>
                <a:gd name="connsiteY870" fmla="*/ 409630 h 519126"/>
                <a:gd name="connsiteX871" fmla="*/ 521343 w 597604"/>
                <a:gd name="connsiteY871" fmla="*/ 410942 h 519126"/>
                <a:gd name="connsiteX872" fmla="*/ 522656 w 597604"/>
                <a:gd name="connsiteY872" fmla="*/ 413398 h 519126"/>
                <a:gd name="connsiteX873" fmla="*/ 522521 w 597604"/>
                <a:gd name="connsiteY873" fmla="*/ 417468 h 519126"/>
                <a:gd name="connsiteX874" fmla="*/ 527165 w 597604"/>
                <a:gd name="connsiteY874" fmla="*/ 421942 h 519126"/>
                <a:gd name="connsiteX875" fmla="*/ 531641 w 597604"/>
                <a:gd name="connsiteY875" fmla="*/ 422077 h 519126"/>
                <a:gd name="connsiteX876" fmla="*/ 536993 w 597604"/>
                <a:gd name="connsiteY876" fmla="*/ 421639 h 519126"/>
                <a:gd name="connsiteX877" fmla="*/ 540896 w 597604"/>
                <a:gd name="connsiteY877" fmla="*/ 417434 h 519126"/>
                <a:gd name="connsiteX878" fmla="*/ 542041 w 597604"/>
                <a:gd name="connsiteY878" fmla="*/ 416863 h 519126"/>
                <a:gd name="connsiteX879" fmla="*/ 543791 w 597604"/>
                <a:gd name="connsiteY879" fmla="*/ 413835 h 519126"/>
                <a:gd name="connsiteX880" fmla="*/ 544935 w 597604"/>
                <a:gd name="connsiteY880" fmla="*/ 409630 h 519126"/>
                <a:gd name="connsiteX881" fmla="*/ 544800 w 597604"/>
                <a:gd name="connsiteY881" fmla="*/ 406602 h 519126"/>
                <a:gd name="connsiteX882" fmla="*/ 543925 w 597604"/>
                <a:gd name="connsiteY882" fmla="*/ 404012 h 519126"/>
                <a:gd name="connsiteX883" fmla="*/ 539719 w 597604"/>
                <a:gd name="connsiteY883" fmla="*/ 403003 h 519126"/>
                <a:gd name="connsiteX884" fmla="*/ 536084 w 597604"/>
                <a:gd name="connsiteY884" fmla="*/ 403877 h 519126"/>
                <a:gd name="connsiteX885" fmla="*/ 534132 w 597604"/>
                <a:gd name="connsiteY885" fmla="*/ 404180 h 519126"/>
                <a:gd name="connsiteX886" fmla="*/ 532314 w 597604"/>
                <a:gd name="connsiteY886" fmla="*/ 403608 h 519126"/>
                <a:gd name="connsiteX887" fmla="*/ 532314 w 597604"/>
                <a:gd name="connsiteY887" fmla="*/ 402296 h 519126"/>
                <a:gd name="connsiteX888" fmla="*/ 533055 w 597604"/>
                <a:gd name="connsiteY888" fmla="*/ 400547 h 519126"/>
                <a:gd name="connsiteX889" fmla="*/ 534502 w 597604"/>
                <a:gd name="connsiteY889" fmla="*/ 399235 h 519126"/>
                <a:gd name="connsiteX890" fmla="*/ 535949 w 597604"/>
                <a:gd name="connsiteY890" fmla="*/ 397923 h 519126"/>
                <a:gd name="connsiteX891" fmla="*/ 537531 w 597604"/>
                <a:gd name="connsiteY891" fmla="*/ 396914 h 519126"/>
                <a:gd name="connsiteX892" fmla="*/ 539685 w 597604"/>
                <a:gd name="connsiteY892" fmla="*/ 395602 h 519126"/>
                <a:gd name="connsiteX893" fmla="*/ 544026 w 597604"/>
                <a:gd name="connsiteY893" fmla="*/ 393281 h 519126"/>
                <a:gd name="connsiteX894" fmla="*/ 545473 w 597604"/>
                <a:gd name="connsiteY894" fmla="*/ 392406 h 519126"/>
                <a:gd name="connsiteX895" fmla="*/ 548233 w 597604"/>
                <a:gd name="connsiteY895" fmla="*/ 390657 h 519126"/>
                <a:gd name="connsiteX896" fmla="*/ 549848 w 597604"/>
                <a:gd name="connsiteY896" fmla="*/ 389782 h 519126"/>
                <a:gd name="connsiteX897" fmla="*/ 551868 w 597604"/>
                <a:gd name="connsiteY897" fmla="*/ 389211 h 519126"/>
                <a:gd name="connsiteX898" fmla="*/ 554055 w 597604"/>
                <a:gd name="connsiteY898" fmla="*/ 389211 h 519126"/>
                <a:gd name="connsiteX899" fmla="*/ 555200 w 597604"/>
                <a:gd name="connsiteY899" fmla="*/ 390085 h 519126"/>
                <a:gd name="connsiteX900" fmla="*/ 555906 w 597604"/>
                <a:gd name="connsiteY900" fmla="*/ 391532 h 519126"/>
                <a:gd name="connsiteX901" fmla="*/ 558094 w 597604"/>
                <a:gd name="connsiteY901" fmla="*/ 394290 h 519126"/>
                <a:gd name="connsiteX902" fmla="*/ 559978 w 597604"/>
                <a:gd name="connsiteY902" fmla="*/ 396174 h 519126"/>
                <a:gd name="connsiteX903" fmla="*/ 561863 w 597604"/>
                <a:gd name="connsiteY903" fmla="*/ 397183 h 519126"/>
                <a:gd name="connsiteX904" fmla="*/ 564185 w 597604"/>
                <a:gd name="connsiteY904" fmla="*/ 397923 h 519126"/>
                <a:gd name="connsiteX905" fmla="*/ 567786 w 597604"/>
                <a:gd name="connsiteY905" fmla="*/ 398361 h 519126"/>
                <a:gd name="connsiteX906" fmla="*/ 571421 w 597604"/>
                <a:gd name="connsiteY906" fmla="*/ 398933 h 519126"/>
                <a:gd name="connsiteX907" fmla="*/ 574450 w 597604"/>
                <a:gd name="connsiteY907" fmla="*/ 398495 h 519126"/>
                <a:gd name="connsiteX908" fmla="*/ 575762 w 597604"/>
                <a:gd name="connsiteY908" fmla="*/ 395737 h 519126"/>
                <a:gd name="connsiteX909" fmla="*/ 576772 w 597604"/>
                <a:gd name="connsiteY909" fmla="*/ 395299 h 519126"/>
                <a:gd name="connsiteX910" fmla="*/ 576638 w 597604"/>
                <a:gd name="connsiteY910" fmla="*/ 393146 h 519126"/>
                <a:gd name="connsiteX911" fmla="*/ 576503 w 597604"/>
                <a:gd name="connsiteY911" fmla="*/ 392137 h 519126"/>
                <a:gd name="connsiteX912" fmla="*/ 574753 w 597604"/>
                <a:gd name="connsiteY912" fmla="*/ 390119 h 519126"/>
                <a:gd name="connsiteX913" fmla="*/ 574450 w 597604"/>
                <a:gd name="connsiteY913" fmla="*/ 389244 h 519126"/>
                <a:gd name="connsiteX914" fmla="*/ 575762 w 597604"/>
                <a:gd name="connsiteY914" fmla="*/ 387360 h 519126"/>
                <a:gd name="connsiteX915" fmla="*/ 578085 w 597604"/>
                <a:gd name="connsiteY915" fmla="*/ 386048 h 519126"/>
                <a:gd name="connsiteX916" fmla="*/ 578657 w 597604"/>
                <a:gd name="connsiteY916" fmla="*/ 384165 h 519126"/>
                <a:gd name="connsiteX917" fmla="*/ 579801 w 597604"/>
                <a:gd name="connsiteY917" fmla="*/ 380969 h 519126"/>
                <a:gd name="connsiteX918" fmla="*/ 581989 w 597604"/>
                <a:gd name="connsiteY918" fmla="*/ 377504 h 519126"/>
                <a:gd name="connsiteX919" fmla="*/ 584883 w 597604"/>
                <a:gd name="connsiteY919" fmla="*/ 374308 h 519126"/>
                <a:gd name="connsiteX920" fmla="*/ 587071 w 597604"/>
                <a:gd name="connsiteY920" fmla="*/ 371550 h 519126"/>
                <a:gd name="connsiteX921" fmla="*/ 587373 w 597604"/>
                <a:gd name="connsiteY921" fmla="*/ 364317 h 519126"/>
                <a:gd name="connsiteX922" fmla="*/ 589696 w 597604"/>
                <a:gd name="connsiteY922" fmla="*/ 363174 h 519126"/>
                <a:gd name="connsiteX923" fmla="*/ 592287 w 597604"/>
                <a:gd name="connsiteY923" fmla="*/ 363174 h 519126"/>
                <a:gd name="connsiteX924" fmla="*/ 593162 w 597604"/>
                <a:gd name="connsiteY924" fmla="*/ 363005 h 519126"/>
                <a:gd name="connsiteX925" fmla="*/ 592758 w 597604"/>
                <a:gd name="connsiteY925" fmla="*/ 357320 h 519126"/>
                <a:gd name="connsiteX926" fmla="*/ 592758 w 597604"/>
                <a:gd name="connsiteY926" fmla="*/ 357320 h 519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</a:cxnLst>
              <a:rect l="l" t="t" r="r" b="b"/>
              <a:pathLst>
                <a:path w="597604" h="519126">
                  <a:moveTo>
                    <a:pt x="592758" y="357320"/>
                  </a:moveTo>
                  <a:lnTo>
                    <a:pt x="590739" y="350660"/>
                  </a:lnTo>
                  <a:lnTo>
                    <a:pt x="583200" y="346589"/>
                  </a:lnTo>
                  <a:cubicBezTo>
                    <a:pt x="583200" y="346589"/>
                    <a:pt x="584075" y="343393"/>
                    <a:pt x="584344" y="342552"/>
                  </a:cubicBezTo>
                  <a:cubicBezTo>
                    <a:pt x="584647" y="341678"/>
                    <a:pt x="590705" y="338348"/>
                    <a:pt x="590705" y="338348"/>
                  </a:cubicBezTo>
                  <a:lnTo>
                    <a:pt x="587945" y="335589"/>
                  </a:lnTo>
                  <a:lnTo>
                    <a:pt x="583167" y="335589"/>
                  </a:lnTo>
                  <a:lnTo>
                    <a:pt x="579969" y="338785"/>
                  </a:lnTo>
                  <a:cubicBezTo>
                    <a:pt x="579969" y="338785"/>
                    <a:pt x="578219" y="341678"/>
                    <a:pt x="577344" y="341981"/>
                  </a:cubicBezTo>
                  <a:cubicBezTo>
                    <a:pt x="576469" y="342283"/>
                    <a:pt x="572431" y="338213"/>
                    <a:pt x="572431" y="338213"/>
                  </a:cubicBezTo>
                  <a:cubicBezTo>
                    <a:pt x="572431" y="338213"/>
                    <a:pt x="570681" y="338516"/>
                    <a:pt x="570984" y="335623"/>
                  </a:cubicBezTo>
                  <a:cubicBezTo>
                    <a:pt x="571287" y="332730"/>
                    <a:pt x="570950" y="327818"/>
                    <a:pt x="570950" y="327818"/>
                  </a:cubicBezTo>
                  <a:lnTo>
                    <a:pt x="573306" y="322032"/>
                  </a:lnTo>
                  <a:lnTo>
                    <a:pt x="576772" y="317121"/>
                  </a:lnTo>
                  <a:lnTo>
                    <a:pt x="579969" y="312781"/>
                  </a:lnTo>
                  <a:cubicBezTo>
                    <a:pt x="579969" y="312781"/>
                    <a:pt x="582830" y="308139"/>
                    <a:pt x="581820" y="306995"/>
                  </a:cubicBezTo>
                  <a:cubicBezTo>
                    <a:pt x="580811" y="305852"/>
                    <a:pt x="583974" y="305246"/>
                    <a:pt x="581820" y="304102"/>
                  </a:cubicBezTo>
                  <a:cubicBezTo>
                    <a:pt x="579667" y="302959"/>
                    <a:pt x="577041" y="297442"/>
                    <a:pt x="577041" y="297442"/>
                  </a:cubicBezTo>
                  <a:cubicBezTo>
                    <a:pt x="577041" y="297442"/>
                    <a:pt x="574719" y="294851"/>
                    <a:pt x="573272" y="294549"/>
                  </a:cubicBezTo>
                  <a:cubicBezTo>
                    <a:pt x="571825" y="294246"/>
                    <a:pt x="570916" y="291925"/>
                    <a:pt x="570916" y="291925"/>
                  </a:cubicBezTo>
                  <a:lnTo>
                    <a:pt x="574719" y="288157"/>
                  </a:lnTo>
                  <a:lnTo>
                    <a:pt x="581787" y="284692"/>
                  </a:lnTo>
                  <a:lnTo>
                    <a:pt x="585724" y="283549"/>
                  </a:lnTo>
                  <a:cubicBezTo>
                    <a:pt x="585724" y="283549"/>
                    <a:pt x="586599" y="283549"/>
                    <a:pt x="589191" y="282102"/>
                  </a:cubicBezTo>
                  <a:cubicBezTo>
                    <a:pt x="591782" y="280655"/>
                    <a:pt x="595854" y="277460"/>
                    <a:pt x="595854" y="277460"/>
                  </a:cubicBezTo>
                  <a:lnTo>
                    <a:pt x="597604" y="273389"/>
                  </a:lnTo>
                  <a:lnTo>
                    <a:pt x="594407" y="270934"/>
                  </a:lnTo>
                  <a:lnTo>
                    <a:pt x="589763" y="269622"/>
                  </a:lnTo>
                  <a:lnTo>
                    <a:pt x="588316" y="269622"/>
                  </a:lnTo>
                  <a:cubicBezTo>
                    <a:pt x="588316" y="269622"/>
                    <a:pt x="587441" y="269050"/>
                    <a:pt x="588316" y="267301"/>
                  </a:cubicBezTo>
                  <a:cubicBezTo>
                    <a:pt x="589191" y="265551"/>
                    <a:pt x="590066" y="263836"/>
                    <a:pt x="590066" y="263836"/>
                  </a:cubicBezTo>
                  <a:lnTo>
                    <a:pt x="594138" y="260943"/>
                  </a:lnTo>
                  <a:lnTo>
                    <a:pt x="595282" y="260943"/>
                  </a:lnTo>
                  <a:lnTo>
                    <a:pt x="597604" y="257478"/>
                  </a:lnTo>
                  <a:lnTo>
                    <a:pt x="595854" y="253138"/>
                  </a:lnTo>
                  <a:lnTo>
                    <a:pt x="591513" y="249371"/>
                  </a:lnTo>
                  <a:lnTo>
                    <a:pt x="588046" y="245031"/>
                  </a:lnTo>
                  <a:lnTo>
                    <a:pt x="588619" y="240254"/>
                  </a:lnTo>
                  <a:lnTo>
                    <a:pt x="582224" y="236621"/>
                  </a:lnTo>
                  <a:lnTo>
                    <a:pt x="577883" y="236621"/>
                  </a:lnTo>
                  <a:lnTo>
                    <a:pt x="570882" y="238371"/>
                  </a:lnTo>
                  <a:lnTo>
                    <a:pt x="568325" y="238942"/>
                  </a:lnTo>
                  <a:lnTo>
                    <a:pt x="566003" y="242138"/>
                  </a:lnTo>
                  <a:lnTo>
                    <a:pt x="563681" y="244459"/>
                  </a:lnTo>
                  <a:lnTo>
                    <a:pt x="559777" y="245031"/>
                  </a:lnTo>
                  <a:lnTo>
                    <a:pt x="557892" y="242710"/>
                  </a:lnTo>
                  <a:lnTo>
                    <a:pt x="557892" y="240961"/>
                  </a:lnTo>
                  <a:lnTo>
                    <a:pt x="554998" y="241264"/>
                  </a:lnTo>
                  <a:lnTo>
                    <a:pt x="552103" y="242138"/>
                  </a:lnTo>
                  <a:lnTo>
                    <a:pt x="547459" y="245334"/>
                  </a:lnTo>
                  <a:lnTo>
                    <a:pt x="540796" y="247083"/>
                  </a:lnTo>
                  <a:lnTo>
                    <a:pt x="539045" y="247655"/>
                  </a:lnTo>
                  <a:lnTo>
                    <a:pt x="532685" y="248799"/>
                  </a:lnTo>
                  <a:lnTo>
                    <a:pt x="524843" y="250245"/>
                  </a:lnTo>
                  <a:lnTo>
                    <a:pt x="524843" y="246175"/>
                  </a:lnTo>
                  <a:lnTo>
                    <a:pt x="527435" y="243282"/>
                  </a:lnTo>
                  <a:cubicBezTo>
                    <a:pt x="527435" y="243282"/>
                    <a:pt x="529757" y="241835"/>
                    <a:pt x="530632" y="240692"/>
                  </a:cubicBezTo>
                  <a:cubicBezTo>
                    <a:pt x="531507" y="239548"/>
                    <a:pt x="534704" y="236621"/>
                    <a:pt x="534704" y="236621"/>
                  </a:cubicBezTo>
                  <a:lnTo>
                    <a:pt x="540796" y="231104"/>
                  </a:lnTo>
                  <a:lnTo>
                    <a:pt x="541940" y="228783"/>
                  </a:lnTo>
                  <a:lnTo>
                    <a:pt x="543690" y="226193"/>
                  </a:lnTo>
                  <a:cubicBezTo>
                    <a:pt x="543690" y="226193"/>
                    <a:pt x="544262" y="225049"/>
                    <a:pt x="545440" y="224746"/>
                  </a:cubicBezTo>
                  <a:cubicBezTo>
                    <a:pt x="546584" y="224444"/>
                    <a:pt x="550353" y="222997"/>
                    <a:pt x="550353" y="222997"/>
                  </a:cubicBezTo>
                  <a:lnTo>
                    <a:pt x="553248" y="221820"/>
                  </a:lnTo>
                  <a:cubicBezTo>
                    <a:pt x="553248" y="221820"/>
                    <a:pt x="554695" y="221517"/>
                    <a:pt x="554695" y="220373"/>
                  </a:cubicBezTo>
                  <a:cubicBezTo>
                    <a:pt x="554695" y="219230"/>
                    <a:pt x="554964" y="217480"/>
                    <a:pt x="554964" y="216303"/>
                  </a:cubicBezTo>
                  <a:cubicBezTo>
                    <a:pt x="554964" y="215159"/>
                    <a:pt x="555536" y="212838"/>
                    <a:pt x="556411" y="211963"/>
                  </a:cubicBezTo>
                  <a:cubicBezTo>
                    <a:pt x="557286" y="211089"/>
                    <a:pt x="558161" y="208499"/>
                    <a:pt x="559036" y="208499"/>
                  </a:cubicBezTo>
                  <a:cubicBezTo>
                    <a:pt x="559911" y="208499"/>
                    <a:pt x="559339" y="207052"/>
                    <a:pt x="561224" y="207052"/>
                  </a:cubicBezTo>
                  <a:cubicBezTo>
                    <a:pt x="563108" y="207052"/>
                    <a:pt x="565733" y="207052"/>
                    <a:pt x="565733" y="207052"/>
                  </a:cubicBezTo>
                  <a:cubicBezTo>
                    <a:pt x="565733" y="207052"/>
                    <a:pt x="567753" y="207927"/>
                    <a:pt x="568931" y="207052"/>
                  </a:cubicBezTo>
                  <a:cubicBezTo>
                    <a:pt x="570075" y="206177"/>
                    <a:pt x="572700" y="204731"/>
                    <a:pt x="573844" y="204428"/>
                  </a:cubicBezTo>
                  <a:cubicBezTo>
                    <a:pt x="574988" y="204125"/>
                    <a:pt x="574147" y="203553"/>
                    <a:pt x="576469" y="202982"/>
                  </a:cubicBezTo>
                  <a:cubicBezTo>
                    <a:pt x="578791" y="202410"/>
                    <a:pt x="579364" y="200963"/>
                    <a:pt x="580508" y="200661"/>
                  </a:cubicBezTo>
                  <a:cubicBezTo>
                    <a:pt x="581686" y="200358"/>
                    <a:pt x="584849" y="198642"/>
                    <a:pt x="585724" y="198339"/>
                  </a:cubicBezTo>
                  <a:cubicBezTo>
                    <a:pt x="586599" y="198037"/>
                    <a:pt x="587441" y="196018"/>
                    <a:pt x="587441" y="196018"/>
                  </a:cubicBezTo>
                  <a:cubicBezTo>
                    <a:pt x="587441" y="196018"/>
                    <a:pt x="588619" y="195144"/>
                    <a:pt x="588619" y="192822"/>
                  </a:cubicBezTo>
                  <a:cubicBezTo>
                    <a:pt x="588619" y="190501"/>
                    <a:pt x="588922" y="187036"/>
                    <a:pt x="588922" y="187036"/>
                  </a:cubicBezTo>
                  <a:lnTo>
                    <a:pt x="589224" y="181250"/>
                  </a:lnTo>
                  <a:lnTo>
                    <a:pt x="586902" y="178055"/>
                  </a:lnTo>
                  <a:lnTo>
                    <a:pt x="582561" y="172538"/>
                  </a:lnTo>
                  <a:cubicBezTo>
                    <a:pt x="582561" y="172538"/>
                    <a:pt x="580811" y="171663"/>
                    <a:pt x="579969" y="170519"/>
                  </a:cubicBezTo>
                  <a:cubicBezTo>
                    <a:pt x="579094" y="169376"/>
                    <a:pt x="577344" y="167324"/>
                    <a:pt x="577344" y="166180"/>
                  </a:cubicBezTo>
                  <a:cubicBezTo>
                    <a:pt x="577344" y="165036"/>
                    <a:pt x="575594" y="162109"/>
                    <a:pt x="575594" y="160966"/>
                  </a:cubicBezTo>
                  <a:cubicBezTo>
                    <a:pt x="575594" y="159822"/>
                    <a:pt x="575594" y="155751"/>
                    <a:pt x="575897" y="154877"/>
                  </a:cubicBezTo>
                  <a:cubicBezTo>
                    <a:pt x="576166" y="154002"/>
                    <a:pt x="577344" y="151681"/>
                    <a:pt x="576166" y="149966"/>
                  </a:cubicBezTo>
                  <a:cubicBezTo>
                    <a:pt x="575022" y="148216"/>
                    <a:pt x="574147" y="147375"/>
                    <a:pt x="573844" y="146501"/>
                  </a:cubicBezTo>
                  <a:cubicBezTo>
                    <a:pt x="573541" y="145626"/>
                    <a:pt x="574719" y="143910"/>
                    <a:pt x="575291" y="142733"/>
                  </a:cubicBezTo>
                  <a:cubicBezTo>
                    <a:pt x="575864" y="141589"/>
                    <a:pt x="574719" y="143305"/>
                    <a:pt x="575864" y="141589"/>
                  </a:cubicBezTo>
                  <a:cubicBezTo>
                    <a:pt x="577008" y="139840"/>
                    <a:pt x="577613" y="141018"/>
                    <a:pt x="577613" y="137822"/>
                  </a:cubicBezTo>
                  <a:cubicBezTo>
                    <a:pt x="577613" y="134626"/>
                    <a:pt x="576436" y="132305"/>
                    <a:pt x="575594" y="131464"/>
                  </a:cubicBezTo>
                  <a:cubicBezTo>
                    <a:pt x="574719" y="130589"/>
                    <a:pt x="573272" y="130589"/>
                    <a:pt x="574450" y="128268"/>
                  </a:cubicBezTo>
                  <a:cubicBezTo>
                    <a:pt x="575594" y="125947"/>
                    <a:pt x="577344" y="125947"/>
                    <a:pt x="577344" y="123626"/>
                  </a:cubicBezTo>
                  <a:cubicBezTo>
                    <a:pt x="577344" y="121305"/>
                    <a:pt x="579094" y="120430"/>
                    <a:pt x="579094" y="119286"/>
                  </a:cubicBezTo>
                  <a:cubicBezTo>
                    <a:pt x="579094" y="118142"/>
                    <a:pt x="578522" y="116090"/>
                    <a:pt x="577950" y="114947"/>
                  </a:cubicBezTo>
                  <a:cubicBezTo>
                    <a:pt x="577378" y="113769"/>
                    <a:pt x="577378" y="113769"/>
                    <a:pt x="577378" y="113769"/>
                  </a:cubicBezTo>
                  <a:cubicBezTo>
                    <a:pt x="577378" y="113769"/>
                    <a:pt x="573036" y="112895"/>
                    <a:pt x="572734" y="110002"/>
                  </a:cubicBezTo>
                  <a:cubicBezTo>
                    <a:pt x="572464" y="107109"/>
                    <a:pt x="571859" y="107983"/>
                    <a:pt x="571589" y="105359"/>
                  </a:cubicBezTo>
                  <a:cubicBezTo>
                    <a:pt x="571287" y="102736"/>
                    <a:pt x="570445" y="101592"/>
                    <a:pt x="570714" y="98699"/>
                  </a:cubicBezTo>
                  <a:cubicBezTo>
                    <a:pt x="571017" y="95806"/>
                    <a:pt x="572464" y="96378"/>
                    <a:pt x="572161" y="93485"/>
                  </a:cubicBezTo>
                  <a:cubicBezTo>
                    <a:pt x="571926" y="91197"/>
                    <a:pt x="571522" y="88775"/>
                    <a:pt x="571354" y="87833"/>
                  </a:cubicBezTo>
                  <a:lnTo>
                    <a:pt x="571354" y="87833"/>
                  </a:lnTo>
                  <a:lnTo>
                    <a:pt x="568594" y="87530"/>
                  </a:lnTo>
                  <a:lnTo>
                    <a:pt x="567517" y="88842"/>
                  </a:lnTo>
                  <a:lnTo>
                    <a:pt x="564690" y="88842"/>
                  </a:lnTo>
                  <a:lnTo>
                    <a:pt x="562738" y="90154"/>
                  </a:lnTo>
                  <a:cubicBezTo>
                    <a:pt x="562738" y="90154"/>
                    <a:pt x="561325" y="92206"/>
                    <a:pt x="560887" y="92980"/>
                  </a:cubicBezTo>
                  <a:cubicBezTo>
                    <a:pt x="560450" y="93754"/>
                    <a:pt x="559474" y="94931"/>
                    <a:pt x="559474" y="94931"/>
                  </a:cubicBezTo>
                  <a:lnTo>
                    <a:pt x="558969" y="97656"/>
                  </a:lnTo>
                  <a:cubicBezTo>
                    <a:pt x="558969" y="97656"/>
                    <a:pt x="559036" y="99506"/>
                    <a:pt x="558935" y="100044"/>
                  </a:cubicBezTo>
                  <a:cubicBezTo>
                    <a:pt x="558834" y="100583"/>
                    <a:pt x="559036" y="101121"/>
                    <a:pt x="558935" y="101794"/>
                  </a:cubicBezTo>
                  <a:cubicBezTo>
                    <a:pt x="558834" y="102433"/>
                    <a:pt x="558935" y="103543"/>
                    <a:pt x="558935" y="103543"/>
                  </a:cubicBezTo>
                  <a:cubicBezTo>
                    <a:pt x="558935" y="103543"/>
                    <a:pt x="558060" y="106032"/>
                    <a:pt x="558060" y="106369"/>
                  </a:cubicBezTo>
                  <a:cubicBezTo>
                    <a:pt x="558060" y="106705"/>
                    <a:pt x="557286" y="107681"/>
                    <a:pt x="557286" y="107681"/>
                  </a:cubicBezTo>
                  <a:cubicBezTo>
                    <a:pt x="557286" y="107681"/>
                    <a:pt x="556411" y="109093"/>
                    <a:pt x="556209" y="109430"/>
                  </a:cubicBezTo>
                  <a:cubicBezTo>
                    <a:pt x="556007" y="109766"/>
                    <a:pt x="555031" y="111919"/>
                    <a:pt x="555031" y="111919"/>
                  </a:cubicBezTo>
                  <a:cubicBezTo>
                    <a:pt x="555031" y="111919"/>
                    <a:pt x="555132" y="113433"/>
                    <a:pt x="554998" y="113870"/>
                  </a:cubicBezTo>
                  <a:cubicBezTo>
                    <a:pt x="554897" y="114308"/>
                    <a:pt x="555099" y="116494"/>
                    <a:pt x="554998" y="116898"/>
                  </a:cubicBezTo>
                  <a:cubicBezTo>
                    <a:pt x="554897" y="117335"/>
                    <a:pt x="554123" y="118412"/>
                    <a:pt x="553921" y="118748"/>
                  </a:cubicBezTo>
                  <a:cubicBezTo>
                    <a:pt x="553685" y="119084"/>
                    <a:pt x="552844" y="119084"/>
                    <a:pt x="552406" y="119084"/>
                  </a:cubicBezTo>
                  <a:cubicBezTo>
                    <a:pt x="551969" y="119084"/>
                    <a:pt x="550454" y="118983"/>
                    <a:pt x="550454" y="118983"/>
                  </a:cubicBezTo>
                  <a:lnTo>
                    <a:pt x="548166" y="117772"/>
                  </a:lnTo>
                  <a:lnTo>
                    <a:pt x="546651" y="117436"/>
                  </a:lnTo>
                  <a:lnTo>
                    <a:pt x="544901" y="120161"/>
                  </a:lnTo>
                  <a:lnTo>
                    <a:pt x="540762" y="120161"/>
                  </a:lnTo>
                  <a:lnTo>
                    <a:pt x="538036" y="119724"/>
                  </a:lnTo>
                  <a:lnTo>
                    <a:pt x="533930" y="116696"/>
                  </a:lnTo>
                  <a:lnTo>
                    <a:pt x="530766" y="112895"/>
                  </a:lnTo>
                  <a:lnTo>
                    <a:pt x="528141" y="111482"/>
                  </a:lnTo>
                  <a:cubicBezTo>
                    <a:pt x="528141" y="111482"/>
                    <a:pt x="527367" y="112020"/>
                    <a:pt x="527064" y="112121"/>
                  </a:cubicBezTo>
                  <a:cubicBezTo>
                    <a:pt x="526728" y="112222"/>
                    <a:pt x="526425" y="113332"/>
                    <a:pt x="525987" y="114308"/>
                  </a:cubicBezTo>
                  <a:cubicBezTo>
                    <a:pt x="525550" y="115283"/>
                    <a:pt x="524237" y="115720"/>
                    <a:pt x="522958" y="116360"/>
                  </a:cubicBezTo>
                  <a:cubicBezTo>
                    <a:pt x="521646" y="116999"/>
                    <a:pt x="521007" y="116158"/>
                    <a:pt x="521242" y="115821"/>
                  </a:cubicBezTo>
                  <a:cubicBezTo>
                    <a:pt x="521478" y="115485"/>
                    <a:pt x="519694" y="114072"/>
                    <a:pt x="519694" y="114072"/>
                  </a:cubicBezTo>
                  <a:lnTo>
                    <a:pt x="519694" y="110170"/>
                  </a:lnTo>
                  <a:cubicBezTo>
                    <a:pt x="519694" y="110170"/>
                    <a:pt x="520569" y="107344"/>
                    <a:pt x="520805" y="106907"/>
                  </a:cubicBezTo>
                  <a:cubicBezTo>
                    <a:pt x="521040" y="106470"/>
                    <a:pt x="521107" y="104418"/>
                    <a:pt x="521208" y="103307"/>
                  </a:cubicBezTo>
                  <a:cubicBezTo>
                    <a:pt x="521309" y="102231"/>
                    <a:pt x="521107" y="100482"/>
                    <a:pt x="521107" y="100482"/>
                  </a:cubicBezTo>
                  <a:cubicBezTo>
                    <a:pt x="521107" y="100482"/>
                    <a:pt x="521309" y="95907"/>
                    <a:pt x="521107" y="95267"/>
                  </a:cubicBezTo>
                  <a:cubicBezTo>
                    <a:pt x="520872" y="94628"/>
                    <a:pt x="521107" y="93216"/>
                    <a:pt x="521107" y="93216"/>
                  </a:cubicBezTo>
                  <a:lnTo>
                    <a:pt x="520434" y="91164"/>
                  </a:lnTo>
                  <a:lnTo>
                    <a:pt x="519122" y="88977"/>
                  </a:lnTo>
                  <a:lnTo>
                    <a:pt x="516497" y="86689"/>
                  </a:lnTo>
                  <a:lnTo>
                    <a:pt x="514208" y="87329"/>
                  </a:lnTo>
                  <a:cubicBezTo>
                    <a:pt x="514208" y="87329"/>
                    <a:pt x="512694" y="88102"/>
                    <a:pt x="512357" y="88102"/>
                  </a:cubicBezTo>
                  <a:cubicBezTo>
                    <a:pt x="512021" y="88102"/>
                    <a:pt x="510304" y="88977"/>
                    <a:pt x="510304" y="88977"/>
                  </a:cubicBezTo>
                  <a:lnTo>
                    <a:pt x="509968" y="89616"/>
                  </a:lnTo>
                  <a:cubicBezTo>
                    <a:pt x="509968" y="89616"/>
                    <a:pt x="509968" y="91668"/>
                    <a:pt x="510069" y="92005"/>
                  </a:cubicBezTo>
                  <a:cubicBezTo>
                    <a:pt x="510170" y="92341"/>
                    <a:pt x="510607" y="93417"/>
                    <a:pt x="510977" y="93855"/>
                  </a:cubicBezTo>
                  <a:cubicBezTo>
                    <a:pt x="511348" y="94292"/>
                    <a:pt x="510809" y="94729"/>
                    <a:pt x="510944" y="95066"/>
                  </a:cubicBezTo>
                  <a:cubicBezTo>
                    <a:pt x="511045" y="95402"/>
                    <a:pt x="510944" y="98430"/>
                    <a:pt x="510944" y="98430"/>
                  </a:cubicBezTo>
                  <a:lnTo>
                    <a:pt x="510944" y="100482"/>
                  </a:lnTo>
                  <a:cubicBezTo>
                    <a:pt x="510944" y="100482"/>
                    <a:pt x="510069" y="101895"/>
                    <a:pt x="509631" y="101895"/>
                  </a:cubicBezTo>
                  <a:cubicBezTo>
                    <a:pt x="509194" y="101895"/>
                    <a:pt x="504852" y="101457"/>
                    <a:pt x="504415" y="101356"/>
                  </a:cubicBezTo>
                  <a:cubicBezTo>
                    <a:pt x="503977" y="101255"/>
                    <a:pt x="502025" y="98295"/>
                    <a:pt x="502025" y="98295"/>
                  </a:cubicBezTo>
                  <a:lnTo>
                    <a:pt x="502362" y="92846"/>
                  </a:lnTo>
                  <a:lnTo>
                    <a:pt x="502025" y="89482"/>
                  </a:lnTo>
                  <a:lnTo>
                    <a:pt x="502799" y="85781"/>
                  </a:lnTo>
                  <a:lnTo>
                    <a:pt x="503641" y="81374"/>
                  </a:lnTo>
                  <a:lnTo>
                    <a:pt x="504583" y="79928"/>
                  </a:lnTo>
                  <a:cubicBezTo>
                    <a:pt x="504583" y="79928"/>
                    <a:pt x="505593" y="78111"/>
                    <a:pt x="505895" y="78044"/>
                  </a:cubicBezTo>
                  <a:cubicBezTo>
                    <a:pt x="506198" y="77977"/>
                    <a:pt x="507713" y="77169"/>
                    <a:pt x="507780" y="76968"/>
                  </a:cubicBezTo>
                  <a:cubicBezTo>
                    <a:pt x="507848" y="76766"/>
                    <a:pt x="509160" y="75084"/>
                    <a:pt x="509530" y="74781"/>
                  </a:cubicBezTo>
                  <a:cubicBezTo>
                    <a:pt x="509900" y="74478"/>
                    <a:pt x="510271" y="73469"/>
                    <a:pt x="510271" y="73469"/>
                  </a:cubicBezTo>
                  <a:lnTo>
                    <a:pt x="510977" y="68827"/>
                  </a:lnTo>
                  <a:lnTo>
                    <a:pt x="510977" y="65496"/>
                  </a:lnTo>
                  <a:lnTo>
                    <a:pt x="510775" y="63175"/>
                  </a:lnTo>
                  <a:cubicBezTo>
                    <a:pt x="510775" y="63175"/>
                    <a:pt x="507747" y="60585"/>
                    <a:pt x="507511" y="60417"/>
                  </a:cubicBezTo>
                  <a:cubicBezTo>
                    <a:pt x="507309" y="60282"/>
                    <a:pt x="505424" y="59475"/>
                    <a:pt x="504549" y="59408"/>
                  </a:cubicBezTo>
                  <a:cubicBezTo>
                    <a:pt x="503674" y="59340"/>
                    <a:pt x="501924" y="59038"/>
                    <a:pt x="501924" y="59038"/>
                  </a:cubicBezTo>
                  <a:cubicBezTo>
                    <a:pt x="501924" y="59038"/>
                    <a:pt x="500477" y="60551"/>
                    <a:pt x="500107" y="61056"/>
                  </a:cubicBezTo>
                  <a:cubicBezTo>
                    <a:pt x="499737" y="61560"/>
                    <a:pt x="499097" y="62570"/>
                    <a:pt x="498929" y="63579"/>
                  </a:cubicBezTo>
                  <a:cubicBezTo>
                    <a:pt x="498794" y="64588"/>
                    <a:pt x="498559" y="65093"/>
                    <a:pt x="498559" y="65530"/>
                  </a:cubicBezTo>
                  <a:cubicBezTo>
                    <a:pt x="498559" y="65967"/>
                    <a:pt x="498626" y="66977"/>
                    <a:pt x="498559" y="67212"/>
                  </a:cubicBezTo>
                  <a:cubicBezTo>
                    <a:pt x="498492" y="67414"/>
                    <a:pt x="497919" y="69163"/>
                    <a:pt x="497549" y="69903"/>
                  </a:cubicBezTo>
                  <a:cubicBezTo>
                    <a:pt x="497179" y="70643"/>
                    <a:pt x="496977" y="71484"/>
                    <a:pt x="496742" y="71652"/>
                  </a:cubicBezTo>
                  <a:cubicBezTo>
                    <a:pt x="496506" y="71787"/>
                    <a:pt x="495866" y="73974"/>
                    <a:pt x="495362" y="73974"/>
                  </a:cubicBezTo>
                  <a:cubicBezTo>
                    <a:pt x="494857" y="73974"/>
                    <a:pt x="491727" y="73604"/>
                    <a:pt x="491727" y="73604"/>
                  </a:cubicBezTo>
                  <a:lnTo>
                    <a:pt x="487655" y="70778"/>
                  </a:lnTo>
                  <a:lnTo>
                    <a:pt x="483583" y="66775"/>
                  </a:lnTo>
                  <a:lnTo>
                    <a:pt x="479881" y="63142"/>
                  </a:lnTo>
                  <a:lnTo>
                    <a:pt x="478736" y="59811"/>
                  </a:lnTo>
                  <a:lnTo>
                    <a:pt x="479376" y="57356"/>
                  </a:lnTo>
                  <a:lnTo>
                    <a:pt x="481563" y="55270"/>
                  </a:lnTo>
                  <a:lnTo>
                    <a:pt x="483583" y="53016"/>
                  </a:lnTo>
                  <a:lnTo>
                    <a:pt x="482640" y="49753"/>
                  </a:lnTo>
                  <a:lnTo>
                    <a:pt x="481261" y="47869"/>
                  </a:lnTo>
                  <a:lnTo>
                    <a:pt x="478635" y="43025"/>
                  </a:lnTo>
                  <a:cubicBezTo>
                    <a:pt x="478635" y="43025"/>
                    <a:pt x="477256" y="39123"/>
                    <a:pt x="477256" y="38820"/>
                  </a:cubicBezTo>
                  <a:cubicBezTo>
                    <a:pt x="477256" y="38517"/>
                    <a:pt x="477828" y="37811"/>
                    <a:pt x="478332" y="37643"/>
                  </a:cubicBezTo>
                  <a:cubicBezTo>
                    <a:pt x="478837" y="37508"/>
                    <a:pt x="479578" y="35759"/>
                    <a:pt x="479578" y="35759"/>
                  </a:cubicBezTo>
                  <a:cubicBezTo>
                    <a:pt x="479578" y="35759"/>
                    <a:pt x="479578" y="33505"/>
                    <a:pt x="479578" y="33303"/>
                  </a:cubicBezTo>
                  <a:cubicBezTo>
                    <a:pt x="479578" y="33101"/>
                    <a:pt x="479409" y="30478"/>
                    <a:pt x="479409" y="30175"/>
                  </a:cubicBezTo>
                  <a:cubicBezTo>
                    <a:pt x="479409" y="29872"/>
                    <a:pt x="477626" y="25768"/>
                    <a:pt x="477626" y="25533"/>
                  </a:cubicBezTo>
                  <a:cubicBezTo>
                    <a:pt x="477626" y="25331"/>
                    <a:pt x="477693" y="23649"/>
                    <a:pt x="477626" y="23279"/>
                  </a:cubicBezTo>
                  <a:cubicBezTo>
                    <a:pt x="477558" y="22909"/>
                    <a:pt x="477188" y="20756"/>
                    <a:pt x="477188" y="20453"/>
                  </a:cubicBezTo>
                  <a:cubicBezTo>
                    <a:pt x="477188" y="20150"/>
                    <a:pt x="475741" y="18132"/>
                    <a:pt x="475741" y="18132"/>
                  </a:cubicBezTo>
                  <a:cubicBezTo>
                    <a:pt x="475741" y="18132"/>
                    <a:pt x="474294" y="16820"/>
                    <a:pt x="473991" y="16820"/>
                  </a:cubicBezTo>
                  <a:cubicBezTo>
                    <a:pt x="473688" y="16820"/>
                    <a:pt x="472308" y="16753"/>
                    <a:pt x="472039" y="16753"/>
                  </a:cubicBezTo>
                  <a:cubicBezTo>
                    <a:pt x="471736" y="16753"/>
                    <a:pt x="470592" y="17762"/>
                    <a:pt x="469784" y="18132"/>
                  </a:cubicBezTo>
                  <a:cubicBezTo>
                    <a:pt x="468977" y="18502"/>
                    <a:pt x="467967" y="19376"/>
                    <a:pt x="467529" y="19444"/>
                  </a:cubicBezTo>
                  <a:cubicBezTo>
                    <a:pt x="467092" y="19511"/>
                    <a:pt x="465140" y="19242"/>
                    <a:pt x="464198" y="19242"/>
                  </a:cubicBezTo>
                  <a:cubicBezTo>
                    <a:pt x="463255" y="19242"/>
                    <a:pt x="462010" y="18939"/>
                    <a:pt x="461741" y="18872"/>
                  </a:cubicBezTo>
                  <a:cubicBezTo>
                    <a:pt x="461438" y="18805"/>
                    <a:pt x="458914" y="17728"/>
                    <a:pt x="458409" y="17627"/>
                  </a:cubicBezTo>
                  <a:cubicBezTo>
                    <a:pt x="457904" y="17560"/>
                    <a:pt x="455885" y="16618"/>
                    <a:pt x="455649" y="16618"/>
                  </a:cubicBezTo>
                  <a:cubicBezTo>
                    <a:pt x="455447" y="16618"/>
                    <a:pt x="452890" y="16685"/>
                    <a:pt x="452553" y="16753"/>
                  </a:cubicBezTo>
                  <a:cubicBezTo>
                    <a:pt x="452183" y="16820"/>
                    <a:pt x="450601" y="17997"/>
                    <a:pt x="450096" y="18334"/>
                  </a:cubicBezTo>
                  <a:cubicBezTo>
                    <a:pt x="449591" y="18704"/>
                    <a:pt x="448144" y="20352"/>
                    <a:pt x="448144" y="20352"/>
                  </a:cubicBezTo>
                  <a:lnTo>
                    <a:pt x="445822" y="21597"/>
                  </a:lnTo>
                  <a:lnTo>
                    <a:pt x="440740" y="21967"/>
                  </a:lnTo>
                  <a:cubicBezTo>
                    <a:pt x="440740" y="21967"/>
                    <a:pt x="439529" y="23581"/>
                    <a:pt x="438822" y="24019"/>
                  </a:cubicBezTo>
                  <a:cubicBezTo>
                    <a:pt x="438115" y="24456"/>
                    <a:pt x="437240" y="24725"/>
                    <a:pt x="437038" y="24826"/>
                  </a:cubicBezTo>
                  <a:cubicBezTo>
                    <a:pt x="436803" y="24927"/>
                    <a:pt x="436163" y="26037"/>
                    <a:pt x="435995" y="26609"/>
                  </a:cubicBezTo>
                  <a:cubicBezTo>
                    <a:pt x="435827" y="27215"/>
                    <a:pt x="434144" y="28123"/>
                    <a:pt x="433505" y="28392"/>
                  </a:cubicBezTo>
                  <a:cubicBezTo>
                    <a:pt x="432865" y="28661"/>
                    <a:pt x="432192" y="28493"/>
                    <a:pt x="432192" y="28493"/>
                  </a:cubicBezTo>
                  <a:lnTo>
                    <a:pt x="429365" y="27786"/>
                  </a:lnTo>
                  <a:lnTo>
                    <a:pt x="428221" y="27618"/>
                  </a:lnTo>
                  <a:lnTo>
                    <a:pt x="426706" y="25869"/>
                  </a:lnTo>
                  <a:lnTo>
                    <a:pt x="426000" y="24288"/>
                  </a:lnTo>
                  <a:lnTo>
                    <a:pt x="425360" y="22370"/>
                  </a:lnTo>
                  <a:lnTo>
                    <a:pt x="425024" y="20789"/>
                  </a:lnTo>
                  <a:lnTo>
                    <a:pt x="425663" y="18233"/>
                  </a:lnTo>
                  <a:lnTo>
                    <a:pt x="425663" y="17459"/>
                  </a:lnTo>
                  <a:cubicBezTo>
                    <a:pt x="425663" y="17459"/>
                    <a:pt x="425899" y="15945"/>
                    <a:pt x="425899" y="15777"/>
                  </a:cubicBezTo>
                  <a:cubicBezTo>
                    <a:pt x="425899" y="15609"/>
                    <a:pt x="426235" y="14162"/>
                    <a:pt x="426235" y="13927"/>
                  </a:cubicBezTo>
                  <a:cubicBezTo>
                    <a:pt x="426235" y="13691"/>
                    <a:pt x="425663" y="11269"/>
                    <a:pt x="425663" y="11269"/>
                  </a:cubicBezTo>
                  <a:lnTo>
                    <a:pt x="425663" y="8982"/>
                  </a:lnTo>
                  <a:lnTo>
                    <a:pt x="424990" y="6963"/>
                  </a:lnTo>
                  <a:lnTo>
                    <a:pt x="424317" y="4844"/>
                  </a:lnTo>
                  <a:cubicBezTo>
                    <a:pt x="424317" y="4844"/>
                    <a:pt x="423173" y="3869"/>
                    <a:pt x="422971" y="3768"/>
                  </a:cubicBezTo>
                  <a:cubicBezTo>
                    <a:pt x="422735" y="3667"/>
                    <a:pt x="420918" y="3061"/>
                    <a:pt x="420918" y="3061"/>
                  </a:cubicBezTo>
                  <a:cubicBezTo>
                    <a:pt x="420918" y="3061"/>
                    <a:pt x="418528" y="3128"/>
                    <a:pt x="418360" y="3162"/>
                  </a:cubicBezTo>
                  <a:cubicBezTo>
                    <a:pt x="418192" y="3229"/>
                    <a:pt x="417048" y="3667"/>
                    <a:pt x="417048" y="3667"/>
                  </a:cubicBezTo>
                  <a:lnTo>
                    <a:pt x="415264" y="5147"/>
                  </a:lnTo>
                  <a:lnTo>
                    <a:pt x="413110" y="6795"/>
                  </a:lnTo>
                  <a:cubicBezTo>
                    <a:pt x="413110" y="6795"/>
                    <a:pt x="409610" y="5921"/>
                    <a:pt x="407456" y="5214"/>
                  </a:cubicBezTo>
                  <a:cubicBezTo>
                    <a:pt x="405268" y="4508"/>
                    <a:pt x="405437" y="4205"/>
                    <a:pt x="405134" y="3768"/>
                  </a:cubicBezTo>
                  <a:cubicBezTo>
                    <a:pt x="404831" y="3330"/>
                    <a:pt x="404259" y="2893"/>
                    <a:pt x="403821" y="2758"/>
                  </a:cubicBezTo>
                  <a:cubicBezTo>
                    <a:pt x="403384" y="2624"/>
                    <a:pt x="400927" y="875"/>
                    <a:pt x="400927" y="875"/>
                  </a:cubicBezTo>
                  <a:lnTo>
                    <a:pt x="398739" y="0"/>
                  </a:lnTo>
                  <a:lnTo>
                    <a:pt x="396821" y="0"/>
                  </a:lnTo>
                  <a:lnTo>
                    <a:pt x="394364" y="1884"/>
                  </a:lnTo>
                  <a:lnTo>
                    <a:pt x="392782" y="4642"/>
                  </a:lnTo>
                  <a:lnTo>
                    <a:pt x="389148" y="7670"/>
                  </a:lnTo>
                  <a:lnTo>
                    <a:pt x="386691" y="8679"/>
                  </a:lnTo>
                  <a:lnTo>
                    <a:pt x="386119" y="11303"/>
                  </a:lnTo>
                  <a:cubicBezTo>
                    <a:pt x="386119" y="11303"/>
                    <a:pt x="385244" y="15643"/>
                    <a:pt x="385244" y="16080"/>
                  </a:cubicBezTo>
                  <a:cubicBezTo>
                    <a:pt x="385244" y="16517"/>
                    <a:pt x="385816" y="19982"/>
                    <a:pt x="385816" y="19982"/>
                  </a:cubicBezTo>
                  <a:lnTo>
                    <a:pt x="385816" y="21866"/>
                  </a:lnTo>
                  <a:lnTo>
                    <a:pt x="387196" y="24456"/>
                  </a:lnTo>
                  <a:lnTo>
                    <a:pt x="391033" y="25331"/>
                  </a:lnTo>
                  <a:lnTo>
                    <a:pt x="392782" y="28661"/>
                  </a:lnTo>
                  <a:lnTo>
                    <a:pt x="392782" y="32126"/>
                  </a:lnTo>
                  <a:lnTo>
                    <a:pt x="392782" y="34312"/>
                  </a:lnTo>
                  <a:lnTo>
                    <a:pt x="391706" y="36499"/>
                  </a:lnTo>
                  <a:cubicBezTo>
                    <a:pt x="391706" y="36499"/>
                    <a:pt x="390023" y="38383"/>
                    <a:pt x="389585" y="38517"/>
                  </a:cubicBezTo>
                  <a:cubicBezTo>
                    <a:pt x="389148" y="38652"/>
                    <a:pt x="387701" y="39829"/>
                    <a:pt x="387129" y="39829"/>
                  </a:cubicBezTo>
                  <a:cubicBezTo>
                    <a:pt x="386556" y="39829"/>
                    <a:pt x="384672" y="40704"/>
                    <a:pt x="384672" y="40704"/>
                  </a:cubicBezTo>
                  <a:cubicBezTo>
                    <a:pt x="384672" y="40704"/>
                    <a:pt x="382787" y="41713"/>
                    <a:pt x="382215" y="41713"/>
                  </a:cubicBezTo>
                  <a:cubicBezTo>
                    <a:pt x="381643" y="41713"/>
                    <a:pt x="380465" y="43160"/>
                    <a:pt x="380465" y="43160"/>
                  </a:cubicBezTo>
                  <a:cubicBezTo>
                    <a:pt x="380465" y="43160"/>
                    <a:pt x="379758" y="44472"/>
                    <a:pt x="379152" y="44741"/>
                  </a:cubicBezTo>
                  <a:cubicBezTo>
                    <a:pt x="378580" y="45044"/>
                    <a:pt x="377571" y="47197"/>
                    <a:pt x="377133" y="47634"/>
                  </a:cubicBezTo>
                  <a:cubicBezTo>
                    <a:pt x="376696" y="48071"/>
                    <a:pt x="376123" y="49518"/>
                    <a:pt x="375551" y="49652"/>
                  </a:cubicBezTo>
                  <a:cubicBezTo>
                    <a:pt x="374979" y="49787"/>
                    <a:pt x="373229" y="49787"/>
                    <a:pt x="373229" y="49787"/>
                  </a:cubicBezTo>
                  <a:lnTo>
                    <a:pt x="371917" y="49349"/>
                  </a:lnTo>
                  <a:cubicBezTo>
                    <a:pt x="371917" y="49349"/>
                    <a:pt x="371210" y="45716"/>
                    <a:pt x="370469" y="45279"/>
                  </a:cubicBezTo>
                  <a:cubicBezTo>
                    <a:pt x="369763" y="44842"/>
                    <a:pt x="370772" y="42521"/>
                    <a:pt x="370469" y="41949"/>
                  </a:cubicBezTo>
                  <a:cubicBezTo>
                    <a:pt x="370200" y="41377"/>
                    <a:pt x="367272" y="37172"/>
                    <a:pt x="367272" y="37172"/>
                  </a:cubicBezTo>
                  <a:lnTo>
                    <a:pt x="362359" y="36432"/>
                  </a:lnTo>
                  <a:lnTo>
                    <a:pt x="357580" y="36432"/>
                  </a:lnTo>
                  <a:lnTo>
                    <a:pt x="353810" y="37676"/>
                  </a:lnTo>
                  <a:cubicBezTo>
                    <a:pt x="353810" y="37676"/>
                    <a:pt x="350109" y="38854"/>
                    <a:pt x="349402" y="39056"/>
                  </a:cubicBezTo>
                  <a:cubicBezTo>
                    <a:pt x="348661" y="39258"/>
                    <a:pt x="348392" y="39493"/>
                    <a:pt x="348392" y="39493"/>
                  </a:cubicBezTo>
                  <a:cubicBezTo>
                    <a:pt x="348392" y="39493"/>
                    <a:pt x="347753" y="40805"/>
                    <a:pt x="347753" y="41074"/>
                  </a:cubicBezTo>
                  <a:cubicBezTo>
                    <a:pt x="347753" y="41343"/>
                    <a:pt x="347181" y="42655"/>
                    <a:pt x="347181" y="43597"/>
                  </a:cubicBezTo>
                  <a:cubicBezTo>
                    <a:pt x="347181" y="44539"/>
                    <a:pt x="346541" y="46557"/>
                    <a:pt x="346306" y="46793"/>
                  </a:cubicBezTo>
                  <a:cubicBezTo>
                    <a:pt x="346104" y="47028"/>
                    <a:pt x="344926" y="48407"/>
                    <a:pt x="344926" y="48407"/>
                  </a:cubicBezTo>
                  <a:lnTo>
                    <a:pt x="343277" y="47533"/>
                  </a:lnTo>
                  <a:lnTo>
                    <a:pt x="339642" y="45851"/>
                  </a:lnTo>
                  <a:cubicBezTo>
                    <a:pt x="339642" y="45851"/>
                    <a:pt x="337959" y="45414"/>
                    <a:pt x="337690" y="45414"/>
                  </a:cubicBezTo>
                  <a:cubicBezTo>
                    <a:pt x="337387" y="45414"/>
                    <a:pt x="335940" y="45986"/>
                    <a:pt x="335940" y="45986"/>
                  </a:cubicBezTo>
                  <a:cubicBezTo>
                    <a:pt x="335940" y="45986"/>
                    <a:pt x="334055" y="47230"/>
                    <a:pt x="333853" y="47230"/>
                  </a:cubicBezTo>
                  <a:cubicBezTo>
                    <a:pt x="333618" y="47230"/>
                    <a:pt x="331397" y="48609"/>
                    <a:pt x="330387" y="49417"/>
                  </a:cubicBezTo>
                  <a:cubicBezTo>
                    <a:pt x="329377" y="50224"/>
                    <a:pt x="327493" y="51940"/>
                    <a:pt x="327796" y="53117"/>
                  </a:cubicBezTo>
                  <a:cubicBezTo>
                    <a:pt x="328098" y="54261"/>
                    <a:pt x="328671" y="54261"/>
                    <a:pt x="329512" y="55068"/>
                  </a:cubicBezTo>
                  <a:cubicBezTo>
                    <a:pt x="330387" y="55876"/>
                    <a:pt x="330589" y="56380"/>
                    <a:pt x="333147" y="58903"/>
                  </a:cubicBezTo>
                  <a:cubicBezTo>
                    <a:pt x="335671" y="61426"/>
                    <a:pt x="333719" y="60047"/>
                    <a:pt x="333954" y="61729"/>
                  </a:cubicBezTo>
                  <a:cubicBezTo>
                    <a:pt x="334156" y="63377"/>
                    <a:pt x="333954" y="63814"/>
                    <a:pt x="333584" y="65059"/>
                  </a:cubicBezTo>
                  <a:cubicBezTo>
                    <a:pt x="333214" y="66270"/>
                    <a:pt x="332642" y="66136"/>
                    <a:pt x="332204" y="66741"/>
                  </a:cubicBezTo>
                  <a:cubicBezTo>
                    <a:pt x="331767" y="67313"/>
                    <a:pt x="330623" y="68995"/>
                    <a:pt x="330050" y="69264"/>
                  </a:cubicBezTo>
                  <a:cubicBezTo>
                    <a:pt x="329478" y="69567"/>
                    <a:pt x="327358" y="69264"/>
                    <a:pt x="326853" y="69062"/>
                  </a:cubicBezTo>
                  <a:cubicBezTo>
                    <a:pt x="326348" y="68827"/>
                    <a:pt x="324666" y="67683"/>
                    <a:pt x="324094" y="67178"/>
                  </a:cubicBezTo>
                  <a:cubicBezTo>
                    <a:pt x="323521" y="66674"/>
                    <a:pt x="322209" y="66236"/>
                    <a:pt x="322209" y="66236"/>
                  </a:cubicBezTo>
                  <a:cubicBezTo>
                    <a:pt x="322209" y="66236"/>
                    <a:pt x="321065" y="65530"/>
                    <a:pt x="320829" y="65597"/>
                  </a:cubicBezTo>
                  <a:cubicBezTo>
                    <a:pt x="320627" y="65665"/>
                    <a:pt x="319887" y="66539"/>
                    <a:pt x="319887" y="66539"/>
                  </a:cubicBezTo>
                  <a:cubicBezTo>
                    <a:pt x="319887" y="66539"/>
                    <a:pt x="320257" y="68558"/>
                    <a:pt x="320391" y="68793"/>
                  </a:cubicBezTo>
                  <a:cubicBezTo>
                    <a:pt x="320526" y="69029"/>
                    <a:pt x="320694" y="70744"/>
                    <a:pt x="320694" y="70744"/>
                  </a:cubicBezTo>
                  <a:lnTo>
                    <a:pt x="321805" y="72998"/>
                  </a:lnTo>
                  <a:cubicBezTo>
                    <a:pt x="321805" y="72998"/>
                    <a:pt x="321906" y="74579"/>
                    <a:pt x="321704" y="75387"/>
                  </a:cubicBezTo>
                  <a:cubicBezTo>
                    <a:pt x="321502" y="76194"/>
                    <a:pt x="321973" y="76026"/>
                    <a:pt x="321704" y="77203"/>
                  </a:cubicBezTo>
                  <a:cubicBezTo>
                    <a:pt x="321435" y="78347"/>
                    <a:pt x="321401" y="78279"/>
                    <a:pt x="321603" y="79154"/>
                  </a:cubicBezTo>
                  <a:cubicBezTo>
                    <a:pt x="321839" y="80029"/>
                    <a:pt x="321603" y="80533"/>
                    <a:pt x="321603" y="80971"/>
                  </a:cubicBezTo>
                  <a:cubicBezTo>
                    <a:pt x="321603" y="81408"/>
                    <a:pt x="320526" y="82854"/>
                    <a:pt x="320291" y="83729"/>
                  </a:cubicBezTo>
                  <a:cubicBezTo>
                    <a:pt x="320089" y="84604"/>
                    <a:pt x="319214" y="84671"/>
                    <a:pt x="318642" y="85478"/>
                  </a:cubicBezTo>
                  <a:cubicBezTo>
                    <a:pt x="318069" y="86286"/>
                    <a:pt x="316824" y="84839"/>
                    <a:pt x="316622" y="84604"/>
                  </a:cubicBezTo>
                  <a:cubicBezTo>
                    <a:pt x="316387" y="84368"/>
                    <a:pt x="316050" y="83292"/>
                    <a:pt x="316050" y="83292"/>
                  </a:cubicBezTo>
                  <a:lnTo>
                    <a:pt x="314603" y="79659"/>
                  </a:lnTo>
                  <a:lnTo>
                    <a:pt x="314031" y="79087"/>
                  </a:lnTo>
                  <a:cubicBezTo>
                    <a:pt x="314031" y="79087"/>
                    <a:pt x="311709" y="78717"/>
                    <a:pt x="310766" y="78649"/>
                  </a:cubicBezTo>
                  <a:cubicBezTo>
                    <a:pt x="309824" y="78582"/>
                    <a:pt x="308512" y="78448"/>
                    <a:pt x="307939" y="78448"/>
                  </a:cubicBezTo>
                  <a:cubicBezTo>
                    <a:pt x="307367" y="78448"/>
                    <a:pt x="306425" y="76698"/>
                    <a:pt x="306290" y="76127"/>
                  </a:cubicBezTo>
                  <a:cubicBezTo>
                    <a:pt x="306156" y="75555"/>
                    <a:pt x="306156" y="74445"/>
                    <a:pt x="306156" y="74445"/>
                  </a:cubicBezTo>
                  <a:lnTo>
                    <a:pt x="306526" y="73133"/>
                  </a:lnTo>
                  <a:lnTo>
                    <a:pt x="306829" y="71989"/>
                  </a:lnTo>
                  <a:lnTo>
                    <a:pt x="307535" y="70542"/>
                  </a:lnTo>
                  <a:lnTo>
                    <a:pt x="307973" y="69668"/>
                  </a:lnTo>
                  <a:cubicBezTo>
                    <a:pt x="307973" y="69668"/>
                    <a:pt x="308848" y="67986"/>
                    <a:pt x="309218" y="67717"/>
                  </a:cubicBezTo>
                  <a:cubicBezTo>
                    <a:pt x="309588" y="67414"/>
                    <a:pt x="310161" y="66707"/>
                    <a:pt x="310161" y="66707"/>
                  </a:cubicBezTo>
                  <a:lnTo>
                    <a:pt x="311036" y="65631"/>
                  </a:lnTo>
                  <a:lnTo>
                    <a:pt x="311473" y="64252"/>
                  </a:lnTo>
                  <a:lnTo>
                    <a:pt x="311911" y="63310"/>
                  </a:lnTo>
                  <a:lnTo>
                    <a:pt x="312415" y="62233"/>
                  </a:lnTo>
                  <a:lnTo>
                    <a:pt x="312920" y="59980"/>
                  </a:lnTo>
                  <a:lnTo>
                    <a:pt x="312920" y="58903"/>
                  </a:lnTo>
                  <a:lnTo>
                    <a:pt x="312718" y="56885"/>
                  </a:lnTo>
                  <a:lnTo>
                    <a:pt x="313391" y="54934"/>
                  </a:lnTo>
                  <a:lnTo>
                    <a:pt x="311439" y="54227"/>
                  </a:lnTo>
                  <a:lnTo>
                    <a:pt x="310632" y="54093"/>
                  </a:lnTo>
                  <a:lnTo>
                    <a:pt x="308949" y="53958"/>
                  </a:lnTo>
                  <a:lnTo>
                    <a:pt x="305886" y="51940"/>
                  </a:lnTo>
                  <a:lnTo>
                    <a:pt x="304742" y="49989"/>
                  </a:lnTo>
                  <a:lnTo>
                    <a:pt x="302285" y="49114"/>
                  </a:lnTo>
                  <a:lnTo>
                    <a:pt x="301141" y="47297"/>
                  </a:lnTo>
                  <a:lnTo>
                    <a:pt x="300232" y="46793"/>
                  </a:lnTo>
                  <a:cubicBezTo>
                    <a:pt x="300232" y="46793"/>
                    <a:pt x="298886" y="43463"/>
                    <a:pt x="298886" y="43160"/>
                  </a:cubicBezTo>
                  <a:cubicBezTo>
                    <a:pt x="298886" y="42857"/>
                    <a:pt x="297204" y="41579"/>
                    <a:pt x="297204" y="41579"/>
                  </a:cubicBezTo>
                  <a:lnTo>
                    <a:pt x="295958" y="40569"/>
                  </a:lnTo>
                  <a:cubicBezTo>
                    <a:pt x="295958" y="40569"/>
                    <a:pt x="295386" y="39695"/>
                    <a:pt x="294949" y="39325"/>
                  </a:cubicBezTo>
                  <a:cubicBezTo>
                    <a:pt x="294511" y="38955"/>
                    <a:pt x="292929" y="38316"/>
                    <a:pt x="292929" y="38316"/>
                  </a:cubicBezTo>
                  <a:cubicBezTo>
                    <a:pt x="292929" y="38316"/>
                    <a:pt x="292223" y="38316"/>
                    <a:pt x="291920" y="38316"/>
                  </a:cubicBezTo>
                  <a:cubicBezTo>
                    <a:pt x="291617" y="38316"/>
                    <a:pt x="291280" y="39459"/>
                    <a:pt x="290977" y="39829"/>
                  </a:cubicBezTo>
                  <a:cubicBezTo>
                    <a:pt x="290675" y="40199"/>
                    <a:pt x="290473" y="40704"/>
                    <a:pt x="290237" y="40973"/>
                  </a:cubicBezTo>
                  <a:cubicBezTo>
                    <a:pt x="290035" y="41276"/>
                    <a:pt x="289867" y="43059"/>
                    <a:pt x="289968" y="43933"/>
                  </a:cubicBezTo>
                  <a:cubicBezTo>
                    <a:pt x="290035" y="44808"/>
                    <a:pt x="289968" y="45615"/>
                    <a:pt x="289968" y="46187"/>
                  </a:cubicBezTo>
                  <a:cubicBezTo>
                    <a:pt x="289968" y="46759"/>
                    <a:pt x="290977" y="48004"/>
                    <a:pt x="291415" y="48811"/>
                  </a:cubicBezTo>
                  <a:cubicBezTo>
                    <a:pt x="291852" y="49618"/>
                    <a:pt x="291987" y="49686"/>
                    <a:pt x="292795" y="50830"/>
                  </a:cubicBezTo>
                  <a:cubicBezTo>
                    <a:pt x="293603" y="51973"/>
                    <a:pt x="294747" y="52276"/>
                    <a:pt x="295050" y="52646"/>
                  </a:cubicBezTo>
                  <a:cubicBezTo>
                    <a:pt x="295352" y="53016"/>
                    <a:pt x="295487" y="53353"/>
                    <a:pt x="296127" y="53891"/>
                  </a:cubicBezTo>
                  <a:cubicBezTo>
                    <a:pt x="296766" y="54395"/>
                    <a:pt x="297877" y="55035"/>
                    <a:pt x="298449" y="55909"/>
                  </a:cubicBezTo>
                  <a:cubicBezTo>
                    <a:pt x="299021" y="56784"/>
                    <a:pt x="299391" y="57658"/>
                    <a:pt x="299896" y="58735"/>
                  </a:cubicBezTo>
                  <a:cubicBezTo>
                    <a:pt x="300401" y="59811"/>
                    <a:pt x="300199" y="60114"/>
                    <a:pt x="300199" y="60417"/>
                  </a:cubicBezTo>
                  <a:cubicBezTo>
                    <a:pt x="300199" y="60719"/>
                    <a:pt x="299761" y="62233"/>
                    <a:pt x="299627" y="62805"/>
                  </a:cubicBezTo>
                  <a:cubicBezTo>
                    <a:pt x="299492" y="63377"/>
                    <a:pt x="297944" y="63747"/>
                    <a:pt x="297944" y="63747"/>
                  </a:cubicBezTo>
                  <a:lnTo>
                    <a:pt x="297439" y="64117"/>
                  </a:lnTo>
                  <a:lnTo>
                    <a:pt x="295117" y="65261"/>
                  </a:lnTo>
                  <a:cubicBezTo>
                    <a:pt x="295117" y="65261"/>
                    <a:pt x="293535" y="66136"/>
                    <a:pt x="293434" y="66405"/>
                  </a:cubicBezTo>
                  <a:cubicBezTo>
                    <a:pt x="293367" y="66707"/>
                    <a:pt x="292795" y="67212"/>
                    <a:pt x="292795" y="67481"/>
                  </a:cubicBezTo>
                  <a:cubicBezTo>
                    <a:pt x="292795" y="67784"/>
                    <a:pt x="292795" y="68356"/>
                    <a:pt x="293165" y="68995"/>
                  </a:cubicBezTo>
                  <a:cubicBezTo>
                    <a:pt x="293535" y="69634"/>
                    <a:pt x="293804" y="69432"/>
                    <a:pt x="293804" y="69432"/>
                  </a:cubicBezTo>
                  <a:cubicBezTo>
                    <a:pt x="293804" y="69432"/>
                    <a:pt x="294242" y="70172"/>
                    <a:pt x="294107" y="70576"/>
                  </a:cubicBezTo>
                  <a:cubicBezTo>
                    <a:pt x="293973" y="71013"/>
                    <a:pt x="294107" y="71652"/>
                    <a:pt x="294107" y="71652"/>
                  </a:cubicBezTo>
                  <a:lnTo>
                    <a:pt x="293165" y="72729"/>
                  </a:lnTo>
                  <a:cubicBezTo>
                    <a:pt x="293165" y="72729"/>
                    <a:pt x="292660" y="72931"/>
                    <a:pt x="292391" y="73032"/>
                  </a:cubicBezTo>
                  <a:cubicBezTo>
                    <a:pt x="292088" y="73099"/>
                    <a:pt x="291213" y="73469"/>
                    <a:pt x="291213" y="73469"/>
                  </a:cubicBezTo>
                  <a:lnTo>
                    <a:pt x="289396" y="71585"/>
                  </a:lnTo>
                  <a:cubicBezTo>
                    <a:pt x="289396" y="71585"/>
                    <a:pt x="288588" y="70946"/>
                    <a:pt x="288386" y="70946"/>
                  </a:cubicBezTo>
                  <a:cubicBezTo>
                    <a:pt x="288151" y="70946"/>
                    <a:pt x="287511" y="70374"/>
                    <a:pt x="287511" y="70374"/>
                  </a:cubicBezTo>
                  <a:lnTo>
                    <a:pt x="286939" y="69802"/>
                  </a:lnTo>
                  <a:lnTo>
                    <a:pt x="285694" y="69500"/>
                  </a:lnTo>
                  <a:cubicBezTo>
                    <a:pt x="285694" y="69500"/>
                    <a:pt x="284987" y="69567"/>
                    <a:pt x="284751" y="69634"/>
                  </a:cubicBezTo>
                  <a:cubicBezTo>
                    <a:pt x="284549" y="69701"/>
                    <a:pt x="283371" y="70879"/>
                    <a:pt x="283371" y="70879"/>
                  </a:cubicBezTo>
                  <a:cubicBezTo>
                    <a:pt x="283371" y="70879"/>
                    <a:pt x="283069" y="72258"/>
                    <a:pt x="283573" y="72695"/>
                  </a:cubicBezTo>
                  <a:cubicBezTo>
                    <a:pt x="284078" y="73133"/>
                    <a:pt x="285155" y="74276"/>
                    <a:pt x="285155" y="74276"/>
                  </a:cubicBezTo>
                  <a:lnTo>
                    <a:pt x="284213" y="77102"/>
                  </a:lnTo>
                  <a:cubicBezTo>
                    <a:pt x="284213" y="77102"/>
                    <a:pt x="283775" y="78145"/>
                    <a:pt x="282799" y="78582"/>
                  </a:cubicBezTo>
                  <a:cubicBezTo>
                    <a:pt x="281823" y="79019"/>
                    <a:pt x="281049" y="78347"/>
                    <a:pt x="281049" y="78347"/>
                  </a:cubicBezTo>
                  <a:lnTo>
                    <a:pt x="279198" y="77708"/>
                  </a:lnTo>
                  <a:lnTo>
                    <a:pt x="277583" y="76934"/>
                  </a:lnTo>
                  <a:lnTo>
                    <a:pt x="275732" y="75319"/>
                  </a:lnTo>
                  <a:lnTo>
                    <a:pt x="274756" y="73705"/>
                  </a:lnTo>
                  <a:lnTo>
                    <a:pt x="273982" y="72090"/>
                  </a:lnTo>
                  <a:lnTo>
                    <a:pt x="272804" y="70879"/>
                  </a:lnTo>
                  <a:lnTo>
                    <a:pt x="270717" y="71215"/>
                  </a:lnTo>
                  <a:lnTo>
                    <a:pt x="269641" y="68928"/>
                  </a:lnTo>
                  <a:lnTo>
                    <a:pt x="268866" y="67077"/>
                  </a:lnTo>
                  <a:lnTo>
                    <a:pt x="266813" y="62940"/>
                  </a:lnTo>
                  <a:lnTo>
                    <a:pt x="264188" y="61628"/>
                  </a:lnTo>
                  <a:lnTo>
                    <a:pt x="262775" y="61830"/>
                  </a:lnTo>
                  <a:lnTo>
                    <a:pt x="261260" y="62166"/>
                  </a:lnTo>
                  <a:lnTo>
                    <a:pt x="258534" y="61964"/>
                  </a:lnTo>
                  <a:lnTo>
                    <a:pt x="256044" y="59475"/>
                  </a:lnTo>
                  <a:lnTo>
                    <a:pt x="253991" y="56750"/>
                  </a:lnTo>
                  <a:lnTo>
                    <a:pt x="250525" y="53386"/>
                  </a:lnTo>
                  <a:lnTo>
                    <a:pt x="249212" y="50560"/>
                  </a:lnTo>
                  <a:lnTo>
                    <a:pt x="248438" y="47836"/>
                  </a:lnTo>
                  <a:lnTo>
                    <a:pt x="245948" y="46961"/>
                  </a:lnTo>
                  <a:lnTo>
                    <a:pt x="243895" y="46961"/>
                  </a:lnTo>
                  <a:lnTo>
                    <a:pt x="241606" y="50392"/>
                  </a:lnTo>
                  <a:lnTo>
                    <a:pt x="239553" y="52512"/>
                  </a:lnTo>
                  <a:lnTo>
                    <a:pt x="238140" y="54799"/>
                  </a:lnTo>
                  <a:lnTo>
                    <a:pt x="238140" y="55976"/>
                  </a:lnTo>
                  <a:cubicBezTo>
                    <a:pt x="238140" y="55976"/>
                    <a:pt x="238577" y="61628"/>
                    <a:pt x="238577" y="62065"/>
                  </a:cubicBezTo>
                  <a:cubicBezTo>
                    <a:pt x="238577" y="62502"/>
                    <a:pt x="238039" y="63041"/>
                    <a:pt x="236962" y="64891"/>
                  </a:cubicBezTo>
                  <a:cubicBezTo>
                    <a:pt x="235885" y="66741"/>
                    <a:pt x="235649" y="65227"/>
                    <a:pt x="235212" y="65227"/>
                  </a:cubicBezTo>
                  <a:cubicBezTo>
                    <a:pt x="234774" y="65227"/>
                    <a:pt x="232149" y="65227"/>
                    <a:pt x="231611" y="65126"/>
                  </a:cubicBezTo>
                  <a:cubicBezTo>
                    <a:pt x="231072" y="65025"/>
                    <a:pt x="229861" y="64588"/>
                    <a:pt x="229423" y="64252"/>
                  </a:cubicBezTo>
                  <a:cubicBezTo>
                    <a:pt x="228986" y="63915"/>
                    <a:pt x="226832" y="62637"/>
                    <a:pt x="226832" y="62637"/>
                  </a:cubicBezTo>
                  <a:cubicBezTo>
                    <a:pt x="226832" y="62637"/>
                    <a:pt x="224106" y="62637"/>
                    <a:pt x="223668" y="62637"/>
                  </a:cubicBezTo>
                  <a:cubicBezTo>
                    <a:pt x="223231" y="62637"/>
                    <a:pt x="221481" y="63613"/>
                    <a:pt x="220639" y="63613"/>
                  </a:cubicBezTo>
                  <a:cubicBezTo>
                    <a:pt x="219764" y="63613"/>
                    <a:pt x="219125" y="64487"/>
                    <a:pt x="219125" y="64487"/>
                  </a:cubicBezTo>
                  <a:lnTo>
                    <a:pt x="217610" y="65799"/>
                  </a:lnTo>
                  <a:lnTo>
                    <a:pt x="216735" y="66438"/>
                  </a:lnTo>
                  <a:lnTo>
                    <a:pt x="215658" y="67515"/>
                  </a:lnTo>
                  <a:cubicBezTo>
                    <a:pt x="215658" y="67515"/>
                    <a:pt x="213807" y="69903"/>
                    <a:pt x="212932" y="70441"/>
                  </a:cubicBezTo>
                  <a:cubicBezTo>
                    <a:pt x="212057" y="70980"/>
                    <a:pt x="212057" y="71316"/>
                    <a:pt x="211755" y="71417"/>
                  </a:cubicBezTo>
                  <a:cubicBezTo>
                    <a:pt x="211418" y="71518"/>
                    <a:pt x="210678" y="73604"/>
                    <a:pt x="210678" y="73604"/>
                  </a:cubicBezTo>
                  <a:cubicBezTo>
                    <a:pt x="210678" y="73604"/>
                    <a:pt x="209702" y="75353"/>
                    <a:pt x="209365" y="75454"/>
                  </a:cubicBezTo>
                  <a:cubicBezTo>
                    <a:pt x="209029" y="75555"/>
                    <a:pt x="208154" y="76968"/>
                    <a:pt x="207615" y="77405"/>
                  </a:cubicBezTo>
                  <a:cubicBezTo>
                    <a:pt x="207077" y="77842"/>
                    <a:pt x="207278" y="79692"/>
                    <a:pt x="207278" y="79692"/>
                  </a:cubicBezTo>
                  <a:cubicBezTo>
                    <a:pt x="207278" y="79692"/>
                    <a:pt x="208355" y="81105"/>
                    <a:pt x="208793" y="81442"/>
                  </a:cubicBezTo>
                  <a:cubicBezTo>
                    <a:pt x="209230" y="81778"/>
                    <a:pt x="212057" y="84368"/>
                    <a:pt x="212057" y="84368"/>
                  </a:cubicBezTo>
                  <a:lnTo>
                    <a:pt x="212057" y="86858"/>
                  </a:lnTo>
                  <a:lnTo>
                    <a:pt x="211048" y="92846"/>
                  </a:lnTo>
                  <a:cubicBezTo>
                    <a:pt x="211048" y="92846"/>
                    <a:pt x="211115" y="95873"/>
                    <a:pt x="211115" y="96176"/>
                  </a:cubicBezTo>
                  <a:cubicBezTo>
                    <a:pt x="211115" y="96478"/>
                    <a:pt x="210678" y="98934"/>
                    <a:pt x="210678" y="98934"/>
                  </a:cubicBezTo>
                  <a:lnTo>
                    <a:pt x="212495" y="100583"/>
                  </a:lnTo>
                  <a:lnTo>
                    <a:pt x="213235" y="102063"/>
                  </a:lnTo>
                  <a:cubicBezTo>
                    <a:pt x="213235" y="102063"/>
                    <a:pt x="215120" y="103812"/>
                    <a:pt x="215423" y="104249"/>
                  </a:cubicBezTo>
                  <a:cubicBezTo>
                    <a:pt x="215726" y="104687"/>
                    <a:pt x="217442" y="103543"/>
                    <a:pt x="217442" y="102937"/>
                  </a:cubicBezTo>
                  <a:cubicBezTo>
                    <a:pt x="217442" y="102365"/>
                    <a:pt x="220505" y="101491"/>
                    <a:pt x="222356" y="100852"/>
                  </a:cubicBezTo>
                  <a:cubicBezTo>
                    <a:pt x="224240" y="100213"/>
                    <a:pt x="225250" y="101054"/>
                    <a:pt x="226125" y="100919"/>
                  </a:cubicBezTo>
                  <a:cubicBezTo>
                    <a:pt x="227000" y="100784"/>
                    <a:pt x="226832" y="100919"/>
                    <a:pt x="226832" y="100919"/>
                  </a:cubicBezTo>
                  <a:cubicBezTo>
                    <a:pt x="227404" y="100919"/>
                    <a:pt x="227707" y="102298"/>
                    <a:pt x="227707" y="102298"/>
                  </a:cubicBezTo>
                  <a:lnTo>
                    <a:pt x="229019" y="104115"/>
                  </a:lnTo>
                  <a:cubicBezTo>
                    <a:pt x="229019" y="104115"/>
                    <a:pt x="231207" y="106873"/>
                    <a:pt x="231779" y="107008"/>
                  </a:cubicBezTo>
                  <a:cubicBezTo>
                    <a:pt x="232351" y="107142"/>
                    <a:pt x="232654" y="109632"/>
                    <a:pt x="232789" y="111078"/>
                  </a:cubicBezTo>
                  <a:cubicBezTo>
                    <a:pt x="232923" y="112525"/>
                    <a:pt x="232789" y="113096"/>
                    <a:pt x="233091" y="115855"/>
                  </a:cubicBezTo>
                  <a:cubicBezTo>
                    <a:pt x="233394" y="118613"/>
                    <a:pt x="234404" y="118445"/>
                    <a:pt x="234236" y="118883"/>
                  </a:cubicBezTo>
                  <a:cubicBezTo>
                    <a:pt x="234101" y="119320"/>
                    <a:pt x="233226" y="121069"/>
                    <a:pt x="233226" y="121069"/>
                  </a:cubicBezTo>
                  <a:cubicBezTo>
                    <a:pt x="233226" y="121069"/>
                    <a:pt x="232519" y="122213"/>
                    <a:pt x="232519" y="122650"/>
                  </a:cubicBezTo>
                  <a:cubicBezTo>
                    <a:pt x="232519" y="123088"/>
                    <a:pt x="232519" y="125240"/>
                    <a:pt x="232654" y="125678"/>
                  </a:cubicBezTo>
                  <a:cubicBezTo>
                    <a:pt x="232789" y="126115"/>
                    <a:pt x="233798" y="126990"/>
                    <a:pt x="233798" y="126990"/>
                  </a:cubicBezTo>
                  <a:lnTo>
                    <a:pt x="236996" y="126990"/>
                  </a:lnTo>
                  <a:lnTo>
                    <a:pt x="242952" y="126418"/>
                  </a:lnTo>
                  <a:lnTo>
                    <a:pt x="246419" y="125543"/>
                  </a:lnTo>
                  <a:lnTo>
                    <a:pt x="248741" y="124097"/>
                  </a:lnTo>
                  <a:lnTo>
                    <a:pt x="250760" y="122852"/>
                  </a:lnTo>
                  <a:lnTo>
                    <a:pt x="253587" y="121843"/>
                  </a:lnTo>
                  <a:lnTo>
                    <a:pt x="254900" y="120329"/>
                  </a:lnTo>
                  <a:lnTo>
                    <a:pt x="256414" y="120026"/>
                  </a:lnTo>
                  <a:lnTo>
                    <a:pt x="260554" y="120026"/>
                  </a:lnTo>
                  <a:lnTo>
                    <a:pt x="261799" y="120363"/>
                  </a:lnTo>
                  <a:lnTo>
                    <a:pt x="263414" y="121776"/>
                  </a:lnTo>
                  <a:lnTo>
                    <a:pt x="265568" y="121776"/>
                  </a:lnTo>
                  <a:cubicBezTo>
                    <a:pt x="265568" y="121776"/>
                    <a:pt x="267688" y="122381"/>
                    <a:pt x="268328" y="123222"/>
                  </a:cubicBezTo>
                  <a:cubicBezTo>
                    <a:pt x="268967" y="124029"/>
                    <a:pt x="269842" y="123861"/>
                    <a:pt x="270616" y="124265"/>
                  </a:cubicBezTo>
                  <a:cubicBezTo>
                    <a:pt x="271390" y="124702"/>
                    <a:pt x="271491" y="125509"/>
                    <a:pt x="271592" y="126182"/>
                  </a:cubicBezTo>
                  <a:cubicBezTo>
                    <a:pt x="271693" y="126821"/>
                    <a:pt x="271592" y="127259"/>
                    <a:pt x="271592" y="128302"/>
                  </a:cubicBezTo>
                  <a:cubicBezTo>
                    <a:pt x="271592" y="129344"/>
                    <a:pt x="271390" y="129782"/>
                    <a:pt x="271121" y="130253"/>
                  </a:cubicBezTo>
                  <a:cubicBezTo>
                    <a:pt x="270852" y="130724"/>
                    <a:pt x="270515" y="130858"/>
                    <a:pt x="270313" y="131127"/>
                  </a:cubicBezTo>
                  <a:cubicBezTo>
                    <a:pt x="270112" y="131396"/>
                    <a:pt x="269539" y="132305"/>
                    <a:pt x="269506" y="132540"/>
                  </a:cubicBezTo>
                  <a:cubicBezTo>
                    <a:pt x="269439" y="132776"/>
                    <a:pt x="269506" y="134559"/>
                    <a:pt x="269506" y="134559"/>
                  </a:cubicBezTo>
                  <a:lnTo>
                    <a:pt x="272333" y="136611"/>
                  </a:lnTo>
                  <a:lnTo>
                    <a:pt x="273847" y="137654"/>
                  </a:lnTo>
                  <a:cubicBezTo>
                    <a:pt x="273847" y="137654"/>
                    <a:pt x="274285" y="139403"/>
                    <a:pt x="274520" y="140042"/>
                  </a:cubicBezTo>
                  <a:cubicBezTo>
                    <a:pt x="274722" y="140681"/>
                    <a:pt x="276472" y="141791"/>
                    <a:pt x="276472" y="141791"/>
                  </a:cubicBezTo>
                  <a:lnTo>
                    <a:pt x="276472" y="144180"/>
                  </a:lnTo>
                  <a:lnTo>
                    <a:pt x="276169" y="147005"/>
                  </a:lnTo>
                  <a:cubicBezTo>
                    <a:pt x="276169" y="147005"/>
                    <a:pt x="276472" y="148755"/>
                    <a:pt x="276035" y="150268"/>
                  </a:cubicBezTo>
                  <a:cubicBezTo>
                    <a:pt x="275597" y="151782"/>
                    <a:pt x="276035" y="150268"/>
                    <a:pt x="275900" y="151580"/>
                  </a:cubicBezTo>
                  <a:cubicBezTo>
                    <a:pt x="275766" y="152892"/>
                    <a:pt x="274958" y="152892"/>
                    <a:pt x="275597" y="153531"/>
                  </a:cubicBezTo>
                  <a:cubicBezTo>
                    <a:pt x="276237" y="154171"/>
                    <a:pt x="275597" y="155920"/>
                    <a:pt x="275597" y="155920"/>
                  </a:cubicBezTo>
                  <a:cubicBezTo>
                    <a:pt x="275597" y="155920"/>
                    <a:pt x="274722" y="157232"/>
                    <a:pt x="274285" y="157433"/>
                  </a:cubicBezTo>
                  <a:cubicBezTo>
                    <a:pt x="273847" y="157635"/>
                    <a:pt x="273847" y="159385"/>
                    <a:pt x="272535" y="160697"/>
                  </a:cubicBezTo>
                  <a:cubicBezTo>
                    <a:pt x="271222" y="162009"/>
                    <a:pt x="271222" y="162446"/>
                    <a:pt x="270583" y="163186"/>
                  </a:cubicBezTo>
                  <a:cubicBezTo>
                    <a:pt x="269943" y="163926"/>
                    <a:pt x="267520" y="165036"/>
                    <a:pt x="266679" y="165036"/>
                  </a:cubicBezTo>
                  <a:cubicBezTo>
                    <a:pt x="265804" y="165036"/>
                    <a:pt x="263212" y="163186"/>
                    <a:pt x="263212" y="163186"/>
                  </a:cubicBezTo>
                  <a:lnTo>
                    <a:pt x="261025" y="158745"/>
                  </a:lnTo>
                  <a:lnTo>
                    <a:pt x="255573" y="157433"/>
                  </a:lnTo>
                  <a:lnTo>
                    <a:pt x="255573" y="158005"/>
                  </a:lnTo>
                  <a:cubicBezTo>
                    <a:pt x="255573" y="158005"/>
                    <a:pt x="254799" y="158712"/>
                    <a:pt x="253082" y="161336"/>
                  </a:cubicBezTo>
                  <a:cubicBezTo>
                    <a:pt x="251332" y="163960"/>
                    <a:pt x="251029" y="162648"/>
                    <a:pt x="250154" y="163455"/>
                  </a:cubicBezTo>
                  <a:cubicBezTo>
                    <a:pt x="249279" y="164262"/>
                    <a:pt x="238846" y="162210"/>
                    <a:pt x="238846" y="162210"/>
                  </a:cubicBezTo>
                  <a:lnTo>
                    <a:pt x="233832" y="161773"/>
                  </a:lnTo>
                  <a:lnTo>
                    <a:pt x="224476" y="161773"/>
                  </a:lnTo>
                  <a:lnTo>
                    <a:pt x="222524" y="164700"/>
                  </a:lnTo>
                  <a:cubicBezTo>
                    <a:pt x="222524" y="164700"/>
                    <a:pt x="220572" y="168299"/>
                    <a:pt x="219933" y="168737"/>
                  </a:cubicBezTo>
                  <a:cubicBezTo>
                    <a:pt x="219293" y="169174"/>
                    <a:pt x="211250" y="168737"/>
                    <a:pt x="211250" y="168737"/>
                  </a:cubicBezTo>
                  <a:lnTo>
                    <a:pt x="207110" y="168737"/>
                  </a:lnTo>
                  <a:lnTo>
                    <a:pt x="200514" y="165272"/>
                  </a:lnTo>
                  <a:lnTo>
                    <a:pt x="197620" y="163825"/>
                  </a:lnTo>
                  <a:lnTo>
                    <a:pt x="195870" y="159755"/>
                  </a:lnTo>
                  <a:lnTo>
                    <a:pt x="193547" y="158005"/>
                  </a:lnTo>
                  <a:lnTo>
                    <a:pt x="190350" y="160024"/>
                  </a:lnTo>
                  <a:lnTo>
                    <a:pt x="185437" y="160024"/>
                  </a:lnTo>
                  <a:lnTo>
                    <a:pt x="179917" y="165238"/>
                  </a:lnTo>
                  <a:lnTo>
                    <a:pt x="175744" y="165238"/>
                  </a:lnTo>
                  <a:cubicBezTo>
                    <a:pt x="175879" y="165473"/>
                    <a:pt x="176013" y="165776"/>
                    <a:pt x="176013" y="166113"/>
                  </a:cubicBezTo>
                  <a:cubicBezTo>
                    <a:pt x="176013" y="166684"/>
                    <a:pt x="175576" y="168703"/>
                    <a:pt x="175576" y="168703"/>
                  </a:cubicBezTo>
                  <a:lnTo>
                    <a:pt x="175374" y="171966"/>
                  </a:lnTo>
                  <a:lnTo>
                    <a:pt x="171773" y="175330"/>
                  </a:lnTo>
                  <a:lnTo>
                    <a:pt x="170023" y="177819"/>
                  </a:lnTo>
                  <a:lnTo>
                    <a:pt x="167869" y="180006"/>
                  </a:lnTo>
                  <a:lnTo>
                    <a:pt x="166893" y="183605"/>
                  </a:lnTo>
                  <a:lnTo>
                    <a:pt x="166893" y="185220"/>
                  </a:lnTo>
                  <a:lnTo>
                    <a:pt x="168643" y="188046"/>
                  </a:lnTo>
                  <a:lnTo>
                    <a:pt x="168643" y="190434"/>
                  </a:lnTo>
                  <a:cubicBezTo>
                    <a:pt x="168643" y="190434"/>
                    <a:pt x="167129" y="191611"/>
                    <a:pt x="166994" y="191948"/>
                  </a:cubicBezTo>
                  <a:cubicBezTo>
                    <a:pt x="166893" y="192284"/>
                    <a:pt x="165816" y="193798"/>
                    <a:pt x="165480" y="194134"/>
                  </a:cubicBezTo>
                  <a:cubicBezTo>
                    <a:pt x="165143" y="194471"/>
                    <a:pt x="163864" y="196523"/>
                    <a:pt x="163528" y="196523"/>
                  </a:cubicBezTo>
                  <a:cubicBezTo>
                    <a:pt x="163191" y="196523"/>
                    <a:pt x="161239" y="196523"/>
                    <a:pt x="161239" y="196523"/>
                  </a:cubicBezTo>
                  <a:cubicBezTo>
                    <a:pt x="161239" y="196523"/>
                    <a:pt x="159051" y="196523"/>
                    <a:pt x="157200" y="196523"/>
                  </a:cubicBezTo>
                  <a:cubicBezTo>
                    <a:pt x="155349" y="196523"/>
                    <a:pt x="152085" y="196523"/>
                    <a:pt x="152085" y="196523"/>
                  </a:cubicBezTo>
                  <a:cubicBezTo>
                    <a:pt x="152085" y="196523"/>
                    <a:pt x="149157" y="197162"/>
                    <a:pt x="147845" y="197162"/>
                  </a:cubicBezTo>
                  <a:cubicBezTo>
                    <a:pt x="146532" y="197162"/>
                    <a:pt x="143705" y="197263"/>
                    <a:pt x="143705" y="197263"/>
                  </a:cubicBezTo>
                  <a:lnTo>
                    <a:pt x="142090" y="197700"/>
                  </a:lnTo>
                  <a:cubicBezTo>
                    <a:pt x="142090" y="197700"/>
                    <a:pt x="138085" y="199214"/>
                    <a:pt x="137210" y="199752"/>
                  </a:cubicBezTo>
                  <a:cubicBezTo>
                    <a:pt x="136335" y="200291"/>
                    <a:pt x="133945" y="202040"/>
                    <a:pt x="133844" y="202477"/>
                  </a:cubicBezTo>
                  <a:cubicBezTo>
                    <a:pt x="133743" y="202914"/>
                    <a:pt x="132532" y="204966"/>
                    <a:pt x="131657" y="205404"/>
                  </a:cubicBezTo>
                  <a:cubicBezTo>
                    <a:pt x="130782" y="205841"/>
                    <a:pt x="128830" y="208566"/>
                    <a:pt x="128830" y="208566"/>
                  </a:cubicBezTo>
                  <a:lnTo>
                    <a:pt x="126541" y="209541"/>
                  </a:lnTo>
                  <a:cubicBezTo>
                    <a:pt x="126541" y="209541"/>
                    <a:pt x="122738" y="206480"/>
                    <a:pt x="122301" y="206480"/>
                  </a:cubicBezTo>
                  <a:cubicBezTo>
                    <a:pt x="121863" y="206480"/>
                    <a:pt x="118599" y="204731"/>
                    <a:pt x="118296" y="204731"/>
                  </a:cubicBezTo>
                  <a:cubicBezTo>
                    <a:pt x="117959" y="204731"/>
                    <a:pt x="113618" y="204529"/>
                    <a:pt x="112743" y="204731"/>
                  </a:cubicBezTo>
                  <a:cubicBezTo>
                    <a:pt x="111868" y="204966"/>
                    <a:pt x="105137" y="205067"/>
                    <a:pt x="105137" y="205067"/>
                  </a:cubicBezTo>
                  <a:lnTo>
                    <a:pt x="102108" y="205269"/>
                  </a:lnTo>
                  <a:lnTo>
                    <a:pt x="98742" y="206884"/>
                  </a:lnTo>
                  <a:lnTo>
                    <a:pt x="96891" y="207321"/>
                  </a:lnTo>
                  <a:cubicBezTo>
                    <a:pt x="96891" y="207321"/>
                    <a:pt x="95814" y="207758"/>
                    <a:pt x="94704" y="206547"/>
                  </a:cubicBezTo>
                  <a:cubicBezTo>
                    <a:pt x="93627" y="205370"/>
                    <a:pt x="92314" y="204697"/>
                    <a:pt x="92213" y="203923"/>
                  </a:cubicBezTo>
                  <a:cubicBezTo>
                    <a:pt x="92113" y="203150"/>
                    <a:pt x="91776" y="201636"/>
                    <a:pt x="92113" y="200761"/>
                  </a:cubicBezTo>
                  <a:cubicBezTo>
                    <a:pt x="92449" y="199887"/>
                    <a:pt x="92449" y="199012"/>
                    <a:pt x="92449" y="198575"/>
                  </a:cubicBezTo>
                  <a:cubicBezTo>
                    <a:pt x="92449" y="198138"/>
                    <a:pt x="92012" y="196725"/>
                    <a:pt x="92012" y="196725"/>
                  </a:cubicBezTo>
                  <a:lnTo>
                    <a:pt x="88747" y="193361"/>
                  </a:lnTo>
                  <a:cubicBezTo>
                    <a:pt x="88747" y="193361"/>
                    <a:pt x="87535" y="191847"/>
                    <a:pt x="86459" y="191611"/>
                  </a:cubicBezTo>
                  <a:cubicBezTo>
                    <a:pt x="85382" y="191410"/>
                    <a:pt x="82656" y="189660"/>
                    <a:pt x="82656" y="189660"/>
                  </a:cubicBezTo>
                  <a:lnTo>
                    <a:pt x="80266" y="190737"/>
                  </a:lnTo>
                  <a:cubicBezTo>
                    <a:pt x="80266" y="190737"/>
                    <a:pt x="78078" y="193024"/>
                    <a:pt x="77978" y="193361"/>
                  </a:cubicBezTo>
                  <a:cubicBezTo>
                    <a:pt x="77877" y="193697"/>
                    <a:pt x="77103" y="195749"/>
                    <a:pt x="77103" y="195749"/>
                  </a:cubicBezTo>
                  <a:cubicBezTo>
                    <a:pt x="77103" y="195749"/>
                    <a:pt x="75151" y="200526"/>
                    <a:pt x="74477" y="200963"/>
                  </a:cubicBezTo>
                  <a:cubicBezTo>
                    <a:pt x="73838" y="201400"/>
                    <a:pt x="71213" y="203015"/>
                    <a:pt x="71213" y="203015"/>
                  </a:cubicBezTo>
                  <a:lnTo>
                    <a:pt x="67949" y="206043"/>
                  </a:lnTo>
                  <a:lnTo>
                    <a:pt x="66299" y="208532"/>
                  </a:lnTo>
                  <a:lnTo>
                    <a:pt x="62934" y="210281"/>
                  </a:lnTo>
                  <a:lnTo>
                    <a:pt x="59905" y="210281"/>
                  </a:lnTo>
                  <a:cubicBezTo>
                    <a:pt x="59905" y="210281"/>
                    <a:pt x="57953" y="208330"/>
                    <a:pt x="57415" y="207893"/>
                  </a:cubicBezTo>
                  <a:cubicBezTo>
                    <a:pt x="56876" y="207456"/>
                    <a:pt x="55025" y="205841"/>
                    <a:pt x="54924" y="205404"/>
                  </a:cubicBezTo>
                  <a:cubicBezTo>
                    <a:pt x="54823" y="204966"/>
                    <a:pt x="52434" y="202578"/>
                    <a:pt x="51761" y="202040"/>
                  </a:cubicBezTo>
                  <a:cubicBezTo>
                    <a:pt x="51121" y="201501"/>
                    <a:pt x="49809" y="199651"/>
                    <a:pt x="49472" y="199214"/>
                  </a:cubicBezTo>
                  <a:cubicBezTo>
                    <a:pt x="49136" y="198777"/>
                    <a:pt x="47083" y="196287"/>
                    <a:pt x="47083" y="196287"/>
                  </a:cubicBezTo>
                  <a:lnTo>
                    <a:pt x="45030" y="194336"/>
                  </a:lnTo>
                  <a:lnTo>
                    <a:pt x="44828" y="193125"/>
                  </a:lnTo>
                  <a:lnTo>
                    <a:pt x="42977" y="191174"/>
                  </a:lnTo>
                  <a:cubicBezTo>
                    <a:pt x="42977" y="191174"/>
                    <a:pt x="41462" y="190838"/>
                    <a:pt x="41025" y="190838"/>
                  </a:cubicBezTo>
                  <a:cubicBezTo>
                    <a:pt x="40587" y="190838"/>
                    <a:pt x="39241" y="191040"/>
                    <a:pt x="39241" y="191040"/>
                  </a:cubicBezTo>
                  <a:lnTo>
                    <a:pt x="38232" y="190501"/>
                  </a:lnTo>
                  <a:lnTo>
                    <a:pt x="38232" y="188550"/>
                  </a:lnTo>
                  <a:cubicBezTo>
                    <a:pt x="38232" y="188550"/>
                    <a:pt x="37592" y="186801"/>
                    <a:pt x="37255" y="186700"/>
                  </a:cubicBezTo>
                  <a:cubicBezTo>
                    <a:pt x="36919" y="186599"/>
                    <a:pt x="35943" y="186498"/>
                    <a:pt x="35304" y="186599"/>
                  </a:cubicBezTo>
                  <a:cubicBezTo>
                    <a:pt x="34664" y="186700"/>
                    <a:pt x="34328" y="187810"/>
                    <a:pt x="34328" y="187810"/>
                  </a:cubicBezTo>
                  <a:cubicBezTo>
                    <a:pt x="34328" y="187810"/>
                    <a:pt x="33352" y="189223"/>
                    <a:pt x="33116" y="189862"/>
                  </a:cubicBezTo>
                  <a:cubicBezTo>
                    <a:pt x="32914" y="190501"/>
                    <a:pt x="32140" y="192789"/>
                    <a:pt x="32140" y="192789"/>
                  </a:cubicBezTo>
                  <a:lnTo>
                    <a:pt x="29952" y="196826"/>
                  </a:lnTo>
                  <a:cubicBezTo>
                    <a:pt x="29852" y="197364"/>
                    <a:pt x="28977" y="200089"/>
                    <a:pt x="28977" y="200089"/>
                  </a:cubicBezTo>
                  <a:lnTo>
                    <a:pt x="27126" y="202578"/>
                  </a:lnTo>
                  <a:lnTo>
                    <a:pt x="25174" y="204193"/>
                  </a:lnTo>
                  <a:cubicBezTo>
                    <a:pt x="25174" y="204193"/>
                    <a:pt x="24400" y="204966"/>
                    <a:pt x="23996" y="205168"/>
                  </a:cubicBezTo>
                  <a:cubicBezTo>
                    <a:pt x="23558" y="205370"/>
                    <a:pt x="22044" y="206682"/>
                    <a:pt x="22044" y="206682"/>
                  </a:cubicBezTo>
                  <a:lnTo>
                    <a:pt x="19318" y="209407"/>
                  </a:lnTo>
                  <a:lnTo>
                    <a:pt x="18241" y="210921"/>
                  </a:lnTo>
                  <a:cubicBezTo>
                    <a:pt x="18241" y="210921"/>
                    <a:pt x="17265" y="212434"/>
                    <a:pt x="17164" y="212872"/>
                  </a:cubicBezTo>
                  <a:cubicBezTo>
                    <a:pt x="17063" y="213309"/>
                    <a:pt x="12385" y="215495"/>
                    <a:pt x="12385" y="215495"/>
                  </a:cubicBezTo>
                  <a:lnTo>
                    <a:pt x="9457" y="219835"/>
                  </a:lnTo>
                  <a:lnTo>
                    <a:pt x="5216" y="220710"/>
                  </a:lnTo>
                  <a:lnTo>
                    <a:pt x="5216" y="226799"/>
                  </a:lnTo>
                  <a:lnTo>
                    <a:pt x="5654" y="228750"/>
                  </a:lnTo>
                  <a:lnTo>
                    <a:pt x="5418" y="229826"/>
                  </a:lnTo>
                  <a:lnTo>
                    <a:pt x="639" y="231138"/>
                  </a:lnTo>
                  <a:lnTo>
                    <a:pt x="0" y="232887"/>
                  </a:lnTo>
                  <a:lnTo>
                    <a:pt x="1077" y="236352"/>
                  </a:lnTo>
                  <a:lnTo>
                    <a:pt x="3904" y="236789"/>
                  </a:lnTo>
                  <a:lnTo>
                    <a:pt x="7067" y="235276"/>
                  </a:lnTo>
                  <a:cubicBezTo>
                    <a:pt x="7067" y="235276"/>
                    <a:pt x="7404" y="234636"/>
                    <a:pt x="7942" y="234401"/>
                  </a:cubicBezTo>
                  <a:cubicBezTo>
                    <a:pt x="8481" y="234166"/>
                    <a:pt x="9692" y="233762"/>
                    <a:pt x="9692" y="233762"/>
                  </a:cubicBezTo>
                  <a:lnTo>
                    <a:pt x="11106" y="233526"/>
                  </a:lnTo>
                  <a:lnTo>
                    <a:pt x="14370" y="235377"/>
                  </a:lnTo>
                  <a:lnTo>
                    <a:pt x="15582" y="238404"/>
                  </a:lnTo>
                  <a:cubicBezTo>
                    <a:pt x="15582" y="238404"/>
                    <a:pt x="16019" y="240456"/>
                    <a:pt x="16019" y="240793"/>
                  </a:cubicBezTo>
                  <a:cubicBezTo>
                    <a:pt x="16019" y="241129"/>
                    <a:pt x="15481" y="243517"/>
                    <a:pt x="15481" y="243517"/>
                  </a:cubicBezTo>
                  <a:lnTo>
                    <a:pt x="14572" y="245132"/>
                  </a:lnTo>
                  <a:lnTo>
                    <a:pt x="13967" y="247622"/>
                  </a:lnTo>
                  <a:lnTo>
                    <a:pt x="13967" y="249371"/>
                  </a:lnTo>
                  <a:lnTo>
                    <a:pt x="15043" y="250783"/>
                  </a:lnTo>
                  <a:lnTo>
                    <a:pt x="14842" y="253710"/>
                  </a:lnTo>
                  <a:lnTo>
                    <a:pt x="13765" y="255661"/>
                  </a:lnTo>
                  <a:lnTo>
                    <a:pt x="12452" y="256973"/>
                  </a:lnTo>
                  <a:cubicBezTo>
                    <a:pt x="12452" y="256973"/>
                    <a:pt x="12116" y="257848"/>
                    <a:pt x="11813" y="257949"/>
                  </a:cubicBezTo>
                  <a:cubicBezTo>
                    <a:pt x="11476" y="258050"/>
                    <a:pt x="10938" y="258588"/>
                    <a:pt x="10938" y="258588"/>
                  </a:cubicBezTo>
                  <a:lnTo>
                    <a:pt x="10265" y="261077"/>
                  </a:lnTo>
                  <a:lnTo>
                    <a:pt x="10063" y="263365"/>
                  </a:lnTo>
                  <a:lnTo>
                    <a:pt x="9625" y="267267"/>
                  </a:lnTo>
                  <a:cubicBezTo>
                    <a:pt x="9625" y="267267"/>
                    <a:pt x="9524" y="270093"/>
                    <a:pt x="9524" y="270866"/>
                  </a:cubicBezTo>
                  <a:cubicBezTo>
                    <a:pt x="9524" y="271640"/>
                    <a:pt x="8885" y="274769"/>
                    <a:pt x="8885" y="274769"/>
                  </a:cubicBezTo>
                  <a:lnTo>
                    <a:pt x="9087" y="277157"/>
                  </a:lnTo>
                  <a:lnTo>
                    <a:pt x="12250" y="279983"/>
                  </a:lnTo>
                  <a:lnTo>
                    <a:pt x="15515" y="286072"/>
                  </a:lnTo>
                  <a:lnTo>
                    <a:pt x="17904" y="288897"/>
                  </a:lnTo>
                  <a:lnTo>
                    <a:pt x="22246" y="291084"/>
                  </a:lnTo>
                  <a:lnTo>
                    <a:pt x="27462" y="291959"/>
                  </a:lnTo>
                  <a:lnTo>
                    <a:pt x="32241" y="291959"/>
                  </a:lnTo>
                  <a:lnTo>
                    <a:pt x="35707" y="291959"/>
                  </a:lnTo>
                  <a:lnTo>
                    <a:pt x="40924" y="291959"/>
                  </a:lnTo>
                  <a:cubicBezTo>
                    <a:pt x="40924" y="291959"/>
                    <a:pt x="42236" y="292194"/>
                    <a:pt x="42674" y="291319"/>
                  </a:cubicBezTo>
                  <a:cubicBezTo>
                    <a:pt x="43112" y="290445"/>
                    <a:pt x="43549" y="289133"/>
                    <a:pt x="43751" y="288494"/>
                  </a:cubicBezTo>
                  <a:cubicBezTo>
                    <a:pt x="43953" y="287854"/>
                    <a:pt x="44390" y="287417"/>
                    <a:pt x="45063" y="286307"/>
                  </a:cubicBezTo>
                  <a:cubicBezTo>
                    <a:pt x="45703" y="285231"/>
                    <a:pt x="46813" y="284793"/>
                    <a:pt x="46813" y="284793"/>
                  </a:cubicBezTo>
                  <a:lnTo>
                    <a:pt x="47251" y="283279"/>
                  </a:lnTo>
                  <a:lnTo>
                    <a:pt x="49203" y="283044"/>
                  </a:lnTo>
                  <a:cubicBezTo>
                    <a:pt x="49203" y="283044"/>
                    <a:pt x="50717" y="283279"/>
                    <a:pt x="51592" y="283279"/>
                  </a:cubicBezTo>
                  <a:cubicBezTo>
                    <a:pt x="52467" y="283279"/>
                    <a:pt x="56607" y="283279"/>
                    <a:pt x="56607" y="283279"/>
                  </a:cubicBezTo>
                  <a:cubicBezTo>
                    <a:pt x="56607" y="283279"/>
                    <a:pt x="58121" y="283044"/>
                    <a:pt x="58794" y="283279"/>
                  </a:cubicBezTo>
                  <a:cubicBezTo>
                    <a:pt x="59434" y="283481"/>
                    <a:pt x="63371" y="283481"/>
                    <a:pt x="63371" y="283481"/>
                  </a:cubicBezTo>
                  <a:lnTo>
                    <a:pt x="64886" y="282842"/>
                  </a:lnTo>
                  <a:lnTo>
                    <a:pt x="68352" y="281328"/>
                  </a:lnTo>
                  <a:cubicBezTo>
                    <a:pt x="68352" y="281328"/>
                    <a:pt x="70506" y="279579"/>
                    <a:pt x="70977" y="278940"/>
                  </a:cubicBezTo>
                  <a:cubicBezTo>
                    <a:pt x="71415" y="278301"/>
                    <a:pt x="71852" y="277628"/>
                    <a:pt x="72054" y="276989"/>
                  </a:cubicBezTo>
                  <a:cubicBezTo>
                    <a:pt x="72256" y="276350"/>
                    <a:pt x="73131" y="275038"/>
                    <a:pt x="73131" y="275038"/>
                  </a:cubicBezTo>
                  <a:lnTo>
                    <a:pt x="73131" y="273726"/>
                  </a:lnTo>
                  <a:lnTo>
                    <a:pt x="74444" y="272414"/>
                  </a:lnTo>
                  <a:lnTo>
                    <a:pt x="75958" y="271775"/>
                  </a:lnTo>
                  <a:lnTo>
                    <a:pt x="77910" y="270025"/>
                  </a:lnTo>
                  <a:cubicBezTo>
                    <a:pt x="77910" y="270025"/>
                    <a:pt x="78550" y="270227"/>
                    <a:pt x="79660" y="270227"/>
                  </a:cubicBezTo>
                  <a:cubicBezTo>
                    <a:pt x="80737" y="270227"/>
                    <a:pt x="83800" y="271304"/>
                    <a:pt x="83800" y="271304"/>
                  </a:cubicBezTo>
                  <a:cubicBezTo>
                    <a:pt x="83800" y="271304"/>
                    <a:pt x="85853" y="273053"/>
                    <a:pt x="86088" y="273692"/>
                  </a:cubicBezTo>
                  <a:cubicBezTo>
                    <a:pt x="86290" y="274331"/>
                    <a:pt x="87064" y="276955"/>
                    <a:pt x="87064" y="276955"/>
                  </a:cubicBezTo>
                  <a:lnTo>
                    <a:pt x="87064" y="280655"/>
                  </a:lnTo>
                  <a:lnTo>
                    <a:pt x="85314" y="281967"/>
                  </a:lnTo>
                  <a:lnTo>
                    <a:pt x="85314" y="284154"/>
                  </a:lnTo>
                  <a:cubicBezTo>
                    <a:pt x="85314" y="284154"/>
                    <a:pt x="87939" y="285231"/>
                    <a:pt x="89016" y="285903"/>
                  </a:cubicBezTo>
                  <a:cubicBezTo>
                    <a:pt x="90093" y="286542"/>
                    <a:pt x="92483" y="287215"/>
                    <a:pt x="92483" y="287215"/>
                  </a:cubicBezTo>
                  <a:lnTo>
                    <a:pt x="94435" y="289166"/>
                  </a:lnTo>
                  <a:lnTo>
                    <a:pt x="99214" y="293068"/>
                  </a:lnTo>
                  <a:lnTo>
                    <a:pt x="99214" y="299796"/>
                  </a:lnTo>
                  <a:lnTo>
                    <a:pt x="103791" y="303699"/>
                  </a:lnTo>
                  <a:cubicBezTo>
                    <a:pt x="103791" y="303699"/>
                    <a:pt x="104868" y="305650"/>
                    <a:pt x="104868" y="306289"/>
                  </a:cubicBezTo>
                  <a:cubicBezTo>
                    <a:pt x="104868" y="306928"/>
                    <a:pt x="105070" y="310427"/>
                    <a:pt x="103791" y="312142"/>
                  </a:cubicBezTo>
                  <a:cubicBezTo>
                    <a:pt x="102478" y="313891"/>
                    <a:pt x="102478" y="313891"/>
                    <a:pt x="102478" y="313891"/>
                  </a:cubicBezTo>
                  <a:cubicBezTo>
                    <a:pt x="102478" y="313891"/>
                    <a:pt x="102276" y="315405"/>
                    <a:pt x="101839" y="316280"/>
                  </a:cubicBezTo>
                  <a:cubicBezTo>
                    <a:pt x="101401" y="317155"/>
                    <a:pt x="97497" y="322571"/>
                    <a:pt x="97497" y="322571"/>
                  </a:cubicBezTo>
                  <a:cubicBezTo>
                    <a:pt x="97497" y="322571"/>
                    <a:pt x="96858" y="324454"/>
                    <a:pt x="96420" y="325127"/>
                  </a:cubicBezTo>
                  <a:cubicBezTo>
                    <a:pt x="95983" y="325834"/>
                    <a:pt x="91641" y="328659"/>
                    <a:pt x="91641" y="328659"/>
                  </a:cubicBezTo>
                  <a:cubicBezTo>
                    <a:pt x="91641" y="328659"/>
                    <a:pt x="91204" y="330173"/>
                    <a:pt x="90564" y="331048"/>
                  </a:cubicBezTo>
                  <a:cubicBezTo>
                    <a:pt x="89925" y="331922"/>
                    <a:pt x="87939" y="334748"/>
                    <a:pt x="87939" y="334748"/>
                  </a:cubicBezTo>
                  <a:lnTo>
                    <a:pt x="85987" y="339323"/>
                  </a:lnTo>
                  <a:cubicBezTo>
                    <a:pt x="85987" y="339323"/>
                    <a:pt x="85987" y="342788"/>
                    <a:pt x="85550" y="344537"/>
                  </a:cubicBezTo>
                  <a:cubicBezTo>
                    <a:pt x="85112" y="346286"/>
                    <a:pt x="83800" y="349987"/>
                    <a:pt x="83800" y="349987"/>
                  </a:cubicBezTo>
                  <a:lnTo>
                    <a:pt x="82285" y="352375"/>
                  </a:lnTo>
                  <a:lnTo>
                    <a:pt x="80771" y="354965"/>
                  </a:lnTo>
                  <a:lnTo>
                    <a:pt x="79694" y="356715"/>
                  </a:lnTo>
                  <a:lnTo>
                    <a:pt x="78180" y="358666"/>
                  </a:lnTo>
                  <a:lnTo>
                    <a:pt x="76429" y="362131"/>
                  </a:lnTo>
                  <a:lnTo>
                    <a:pt x="76665" y="366268"/>
                  </a:lnTo>
                  <a:lnTo>
                    <a:pt x="76665" y="372794"/>
                  </a:lnTo>
                  <a:lnTo>
                    <a:pt x="76026" y="377571"/>
                  </a:lnTo>
                  <a:lnTo>
                    <a:pt x="75386" y="382348"/>
                  </a:lnTo>
                  <a:lnTo>
                    <a:pt x="73199" y="383862"/>
                  </a:lnTo>
                  <a:lnTo>
                    <a:pt x="69497" y="383660"/>
                  </a:lnTo>
                  <a:lnTo>
                    <a:pt x="66434" y="385174"/>
                  </a:lnTo>
                  <a:lnTo>
                    <a:pt x="62732" y="387562"/>
                  </a:lnTo>
                  <a:cubicBezTo>
                    <a:pt x="62732" y="387562"/>
                    <a:pt x="62093" y="388437"/>
                    <a:pt x="62093" y="389312"/>
                  </a:cubicBezTo>
                  <a:cubicBezTo>
                    <a:pt x="62093" y="390186"/>
                    <a:pt x="62093" y="393651"/>
                    <a:pt x="62530" y="394324"/>
                  </a:cubicBezTo>
                  <a:cubicBezTo>
                    <a:pt x="62968" y="394963"/>
                    <a:pt x="66670" y="396712"/>
                    <a:pt x="66670" y="396712"/>
                  </a:cubicBezTo>
                  <a:cubicBezTo>
                    <a:pt x="66670" y="396712"/>
                    <a:pt x="70136" y="401052"/>
                    <a:pt x="70372" y="401926"/>
                  </a:cubicBezTo>
                  <a:cubicBezTo>
                    <a:pt x="70607" y="402801"/>
                    <a:pt x="73199" y="402566"/>
                    <a:pt x="73199" y="402566"/>
                  </a:cubicBezTo>
                  <a:lnTo>
                    <a:pt x="76463" y="403877"/>
                  </a:lnTo>
                  <a:lnTo>
                    <a:pt x="75824" y="409966"/>
                  </a:lnTo>
                  <a:cubicBezTo>
                    <a:pt x="75824" y="409966"/>
                    <a:pt x="73636" y="412792"/>
                    <a:pt x="73199" y="414743"/>
                  </a:cubicBezTo>
                  <a:cubicBezTo>
                    <a:pt x="72761" y="416694"/>
                    <a:pt x="77338" y="414104"/>
                    <a:pt x="78213" y="414104"/>
                  </a:cubicBezTo>
                  <a:cubicBezTo>
                    <a:pt x="79088" y="414104"/>
                    <a:pt x="80603" y="412792"/>
                    <a:pt x="81242" y="412590"/>
                  </a:cubicBezTo>
                  <a:cubicBezTo>
                    <a:pt x="81881" y="412355"/>
                    <a:pt x="83867" y="410404"/>
                    <a:pt x="83867" y="410404"/>
                  </a:cubicBezTo>
                  <a:lnTo>
                    <a:pt x="87132" y="409529"/>
                  </a:lnTo>
                  <a:lnTo>
                    <a:pt x="89757" y="411480"/>
                  </a:lnTo>
                  <a:cubicBezTo>
                    <a:pt x="89757" y="411480"/>
                    <a:pt x="90396" y="414945"/>
                    <a:pt x="89992" y="415820"/>
                  </a:cubicBezTo>
                  <a:cubicBezTo>
                    <a:pt x="89555" y="416694"/>
                    <a:pt x="87603" y="419116"/>
                    <a:pt x="87603" y="419116"/>
                  </a:cubicBezTo>
                  <a:lnTo>
                    <a:pt x="87165" y="423624"/>
                  </a:lnTo>
                  <a:lnTo>
                    <a:pt x="88680" y="425575"/>
                  </a:lnTo>
                  <a:cubicBezTo>
                    <a:pt x="88680" y="425575"/>
                    <a:pt x="90194" y="427089"/>
                    <a:pt x="91507" y="428603"/>
                  </a:cubicBezTo>
                  <a:cubicBezTo>
                    <a:pt x="92819" y="430117"/>
                    <a:pt x="95411" y="434456"/>
                    <a:pt x="95411" y="434456"/>
                  </a:cubicBezTo>
                  <a:lnTo>
                    <a:pt x="96050" y="436844"/>
                  </a:lnTo>
                  <a:cubicBezTo>
                    <a:pt x="96050" y="436844"/>
                    <a:pt x="98440" y="437820"/>
                    <a:pt x="100627" y="437181"/>
                  </a:cubicBezTo>
                  <a:cubicBezTo>
                    <a:pt x="102781" y="436542"/>
                    <a:pt x="105843" y="436205"/>
                    <a:pt x="106719" y="436205"/>
                  </a:cubicBezTo>
                  <a:cubicBezTo>
                    <a:pt x="107594" y="436205"/>
                    <a:pt x="112372" y="436205"/>
                    <a:pt x="112372" y="436205"/>
                  </a:cubicBezTo>
                  <a:lnTo>
                    <a:pt x="115401" y="438795"/>
                  </a:lnTo>
                  <a:lnTo>
                    <a:pt x="115200" y="441419"/>
                  </a:lnTo>
                  <a:cubicBezTo>
                    <a:pt x="115200" y="441419"/>
                    <a:pt x="115200" y="444884"/>
                    <a:pt x="114964" y="445557"/>
                  </a:cubicBezTo>
                  <a:cubicBezTo>
                    <a:pt x="114728" y="446196"/>
                    <a:pt x="114964" y="447306"/>
                    <a:pt x="113651" y="448383"/>
                  </a:cubicBezTo>
                  <a:cubicBezTo>
                    <a:pt x="112339" y="449459"/>
                    <a:pt x="110387" y="452520"/>
                    <a:pt x="110387" y="452520"/>
                  </a:cubicBezTo>
                  <a:cubicBezTo>
                    <a:pt x="110387" y="452520"/>
                    <a:pt x="108872" y="452958"/>
                    <a:pt x="107997" y="453597"/>
                  </a:cubicBezTo>
                  <a:cubicBezTo>
                    <a:pt x="107122" y="454236"/>
                    <a:pt x="104969" y="455548"/>
                    <a:pt x="104969" y="455548"/>
                  </a:cubicBezTo>
                  <a:lnTo>
                    <a:pt x="102142" y="457062"/>
                  </a:lnTo>
                  <a:cubicBezTo>
                    <a:pt x="102142" y="457062"/>
                    <a:pt x="100627" y="460762"/>
                    <a:pt x="98877" y="459888"/>
                  </a:cubicBezTo>
                  <a:cubicBezTo>
                    <a:pt x="97127" y="459013"/>
                    <a:pt x="93661" y="457701"/>
                    <a:pt x="92786" y="457701"/>
                  </a:cubicBezTo>
                  <a:cubicBezTo>
                    <a:pt x="91911" y="457701"/>
                    <a:pt x="90194" y="457903"/>
                    <a:pt x="90396" y="459013"/>
                  </a:cubicBezTo>
                  <a:cubicBezTo>
                    <a:pt x="90598" y="460089"/>
                    <a:pt x="93425" y="465102"/>
                    <a:pt x="93425" y="465102"/>
                  </a:cubicBezTo>
                  <a:lnTo>
                    <a:pt x="95175" y="468365"/>
                  </a:lnTo>
                  <a:lnTo>
                    <a:pt x="96488" y="470114"/>
                  </a:lnTo>
                  <a:lnTo>
                    <a:pt x="95848" y="476203"/>
                  </a:lnTo>
                  <a:lnTo>
                    <a:pt x="94973" y="478793"/>
                  </a:lnTo>
                  <a:cubicBezTo>
                    <a:pt x="94973" y="478793"/>
                    <a:pt x="92584" y="481417"/>
                    <a:pt x="90834" y="482493"/>
                  </a:cubicBezTo>
                  <a:cubicBezTo>
                    <a:pt x="89084" y="483570"/>
                    <a:pt x="86492" y="484882"/>
                    <a:pt x="85382" y="485756"/>
                  </a:cubicBezTo>
                  <a:cubicBezTo>
                    <a:pt x="84305" y="486631"/>
                    <a:pt x="83867" y="488145"/>
                    <a:pt x="83430" y="489019"/>
                  </a:cubicBezTo>
                  <a:cubicBezTo>
                    <a:pt x="82992" y="489894"/>
                    <a:pt x="81680" y="494032"/>
                    <a:pt x="81680" y="494032"/>
                  </a:cubicBezTo>
                  <a:lnTo>
                    <a:pt x="81175" y="498237"/>
                  </a:lnTo>
                  <a:lnTo>
                    <a:pt x="83430" y="500995"/>
                  </a:lnTo>
                  <a:lnTo>
                    <a:pt x="85617" y="502072"/>
                  </a:lnTo>
                  <a:lnTo>
                    <a:pt x="87569" y="504258"/>
                  </a:lnTo>
                  <a:lnTo>
                    <a:pt x="90968" y="508598"/>
                  </a:lnTo>
                  <a:lnTo>
                    <a:pt x="93593" y="510986"/>
                  </a:lnTo>
                  <a:cubicBezTo>
                    <a:pt x="93593" y="510986"/>
                    <a:pt x="96488" y="513879"/>
                    <a:pt x="96790" y="513879"/>
                  </a:cubicBezTo>
                  <a:cubicBezTo>
                    <a:pt x="97093" y="513879"/>
                    <a:pt x="96723" y="513946"/>
                    <a:pt x="98036" y="513946"/>
                  </a:cubicBezTo>
                  <a:cubicBezTo>
                    <a:pt x="99348" y="513946"/>
                    <a:pt x="100425" y="513576"/>
                    <a:pt x="100795" y="513307"/>
                  </a:cubicBezTo>
                  <a:cubicBezTo>
                    <a:pt x="101166" y="513004"/>
                    <a:pt x="103858" y="511491"/>
                    <a:pt x="104127" y="511222"/>
                  </a:cubicBezTo>
                  <a:cubicBezTo>
                    <a:pt x="104430" y="510919"/>
                    <a:pt x="107392" y="509775"/>
                    <a:pt x="107897" y="509775"/>
                  </a:cubicBezTo>
                  <a:cubicBezTo>
                    <a:pt x="108401" y="509775"/>
                    <a:pt x="109983" y="509607"/>
                    <a:pt x="110589" y="509439"/>
                  </a:cubicBezTo>
                  <a:cubicBezTo>
                    <a:pt x="111161" y="509304"/>
                    <a:pt x="112339" y="509270"/>
                    <a:pt x="113281" y="509270"/>
                  </a:cubicBezTo>
                  <a:cubicBezTo>
                    <a:pt x="114224" y="509270"/>
                    <a:pt x="115906" y="509270"/>
                    <a:pt x="115906" y="509270"/>
                  </a:cubicBezTo>
                  <a:lnTo>
                    <a:pt x="117051" y="508194"/>
                  </a:lnTo>
                  <a:cubicBezTo>
                    <a:pt x="117051" y="508194"/>
                    <a:pt x="117757" y="504931"/>
                    <a:pt x="117757" y="504561"/>
                  </a:cubicBezTo>
                  <a:cubicBezTo>
                    <a:pt x="117757" y="504191"/>
                    <a:pt x="118397" y="502610"/>
                    <a:pt x="118498" y="502374"/>
                  </a:cubicBezTo>
                  <a:cubicBezTo>
                    <a:pt x="118565" y="502139"/>
                    <a:pt x="119743" y="500356"/>
                    <a:pt x="119743" y="500356"/>
                  </a:cubicBezTo>
                  <a:cubicBezTo>
                    <a:pt x="119743" y="500356"/>
                    <a:pt x="120618" y="499280"/>
                    <a:pt x="120988" y="498977"/>
                  </a:cubicBezTo>
                  <a:cubicBezTo>
                    <a:pt x="121358" y="498674"/>
                    <a:pt x="123748" y="496723"/>
                    <a:pt x="123748" y="496723"/>
                  </a:cubicBezTo>
                  <a:lnTo>
                    <a:pt x="125060" y="495041"/>
                  </a:lnTo>
                  <a:lnTo>
                    <a:pt x="133171" y="487068"/>
                  </a:lnTo>
                  <a:lnTo>
                    <a:pt x="135931" y="483301"/>
                  </a:lnTo>
                  <a:lnTo>
                    <a:pt x="135628" y="482594"/>
                  </a:lnTo>
                  <a:lnTo>
                    <a:pt x="133474" y="480845"/>
                  </a:lnTo>
                  <a:lnTo>
                    <a:pt x="132296" y="478524"/>
                  </a:lnTo>
                  <a:cubicBezTo>
                    <a:pt x="132296" y="478524"/>
                    <a:pt x="133036" y="477952"/>
                    <a:pt x="134315" y="477515"/>
                  </a:cubicBezTo>
                  <a:cubicBezTo>
                    <a:pt x="135628" y="477077"/>
                    <a:pt x="140541" y="475496"/>
                    <a:pt x="140541" y="475496"/>
                  </a:cubicBezTo>
                  <a:cubicBezTo>
                    <a:pt x="140541" y="475496"/>
                    <a:pt x="142291" y="473747"/>
                    <a:pt x="143133" y="473478"/>
                  </a:cubicBezTo>
                  <a:cubicBezTo>
                    <a:pt x="144008" y="473175"/>
                    <a:pt x="145590" y="471897"/>
                    <a:pt x="146027" y="471594"/>
                  </a:cubicBezTo>
                  <a:cubicBezTo>
                    <a:pt x="146465" y="471291"/>
                    <a:pt x="150503" y="468129"/>
                    <a:pt x="150671" y="467692"/>
                  </a:cubicBezTo>
                  <a:cubicBezTo>
                    <a:pt x="150806" y="467255"/>
                    <a:pt x="151816" y="466548"/>
                    <a:pt x="151816" y="466548"/>
                  </a:cubicBezTo>
                  <a:lnTo>
                    <a:pt x="155013" y="468297"/>
                  </a:lnTo>
                  <a:lnTo>
                    <a:pt x="157470" y="470888"/>
                  </a:lnTo>
                  <a:lnTo>
                    <a:pt x="158042" y="474353"/>
                  </a:lnTo>
                  <a:lnTo>
                    <a:pt x="157907" y="477380"/>
                  </a:lnTo>
                  <a:lnTo>
                    <a:pt x="158042" y="480139"/>
                  </a:lnTo>
                  <a:cubicBezTo>
                    <a:pt x="158042" y="480139"/>
                    <a:pt x="160936" y="481148"/>
                    <a:pt x="161811" y="481148"/>
                  </a:cubicBezTo>
                  <a:cubicBezTo>
                    <a:pt x="162686" y="481148"/>
                    <a:pt x="165715" y="481148"/>
                    <a:pt x="167028" y="481013"/>
                  </a:cubicBezTo>
                  <a:cubicBezTo>
                    <a:pt x="168340" y="480879"/>
                    <a:pt x="171369" y="479701"/>
                    <a:pt x="171807" y="479264"/>
                  </a:cubicBezTo>
                  <a:cubicBezTo>
                    <a:pt x="172244" y="478827"/>
                    <a:pt x="172984" y="478389"/>
                    <a:pt x="173994" y="478120"/>
                  </a:cubicBezTo>
                  <a:cubicBezTo>
                    <a:pt x="175004" y="477818"/>
                    <a:pt x="178470" y="477818"/>
                    <a:pt x="178470" y="477818"/>
                  </a:cubicBezTo>
                  <a:lnTo>
                    <a:pt x="180052" y="479264"/>
                  </a:lnTo>
                  <a:lnTo>
                    <a:pt x="178739" y="481888"/>
                  </a:lnTo>
                  <a:lnTo>
                    <a:pt x="177999" y="483032"/>
                  </a:lnTo>
                  <a:cubicBezTo>
                    <a:pt x="177999" y="483032"/>
                    <a:pt x="178134" y="486059"/>
                    <a:pt x="178436" y="486665"/>
                  </a:cubicBezTo>
                  <a:cubicBezTo>
                    <a:pt x="178739" y="487237"/>
                    <a:pt x="179446" y="488851"/>
                    <a:pt x="180018" y="489423"/>
                  </a:cubicBezTo>
                  <a:cubicBezTo>
                    <a:pt x="180590" y="489995"/>
                    <a:pt x="183047" y="493056"/>
                    <a:pt x="183047" y="493056"/>
                  </a:cubicBezTo>
                  <a:cubicBezTo>
                    <a:pt x="183047" y="493056"/>
                    <a:pt x="184057" y="494503"/>
                    <a:pt x="185067" y="495377"/>
                  </a:cubicBezTo>
                  <a:cubicBezTo>
                    <a:pt x="186076" y="496252"/>
                    <a:pt x="187961" y="497564"/>
                    <a:pt x="189139" y="498136"/>
                  </a:cubicBezTo>
                  <a:cubicBezTo>
                    <a:pt x="190283" y="498708"/>
                    <a:pt x="193480" y="499145"/>
                    <a:pt x="194927" y="499145"/>
                  </a:cubicBezTo>
                  <a:cubicBezTo>
                    <a:pt x="196374" y="499145"/>
                    <a:pt x="199134" y="499414"/>
                    <a:pt x="199134" y="499414"/>
                  </a:cubicBezTo>
                  <a:cubicBezTo>
                    <a:pt x="199134" y="499414"/>
                    <a:pt x="200144" y="499549"/>
                    <a:pt x="201019" y="500289"/>
                  </a:cubicBezTo>
                  <a:cubicBezTo>
                    <a:pt x="201894" y="501029"/>
                    <a:pt x="207110" y="504359"/>
                    <a:pt x="207110" y="504359"/>
                  </a:cubicBezTo>
                  <a:cubicBezTo>
                    <a:pt x="207110" y="504359"/>
                    <a:pt x="207817" y="504796"/>
                    <a:pt x="208423" y="505234"/>
                  </a:cubicBezTo>
                  <a:cubicBezTo>
                    <a:pt x="208995" y="505671"/>
                    <a:pt x="210307" y="507824"/>
                    <a:pt x="210307" y="507824"/>
                  </a:cubicBezTo>
                  <a:cubicBezTo>
                    <a:pt x="210307" y="507824"/>
                    <a:pt x="210745" y="509270"/>
                    <a:pt x="211452" y="509270"/>
                  </a:cubicBezTo>
                  <a:cubicBezTo>
                    <a:pt x="212158" y="509270"/>
                    <a:pt x="216096" y="509573"/>
                    <a:pt x="216533" y="509573"/>
                  </a:cubicBezTo>
                  <a:cubicBezTo>
                    <a:pt x="216971" y="509573"/>
                    <a:pt x="220740" y="508867"/>
                    <a:pt x="221312" y="508699"/>
                  </a:cubicBezTo>
                  <a:cubicBezTo>
                    <a:pt x="221885" y="508564"/>
                    <a:pt x="224207" y="508127"/>
                    <a:pt x="224207" y="508127"/>
                  </a:cubicBezTo>
                  <a:cubicBezTo>
                    <a:pt x="224207" y="508127"/>
                    <a:pt x="225654" y="507992"/>
                    <a:pt x="226226" y="508261"/>
                  </a:cubicBezTo>
                  <a:cubicBezTo>
                    <a:pt x="226798" y="508531"/>
                    <a:pt x="228414" y="512904"/>
                    <a:pt x="228414" y="512904"/>
                  </a:cubicBezTo>
                  <a:cubicBezTo>
                    <a:pt x="228414" y="512904"/>
                    <a:pt x="229120" y="515662"/>
                    <a:pt x="229861" y="516368"/>
                  </a:cubicBezTo>
                  <a:cubicBezTo>
                    <a:pt x="230601" y="517109"/>
                    <a:pt x="232755" y="517950"/>
                    <a:pt x="233630" y="518252"/>
                  </a:cubicBezTo>
                  <a:cubicBezTo>
                    <a:pt x="234505" y="518555"/>
                    <a:pt x="236962" y="519127"/>
                    <a:pt x="238140" y="519127"/>
                  </a:cubicBezTo>
                  <a:cubicBezTo>
                    <a:pt x="239284" y="519127"/>
                    <a:pt x="242919" y="518252"/>
                    <a:pt x="243356" y="517680"/>
                  </a:cubicBezTo>
                  <a:cubicBezTo>
                    <a:pt x="243794" y="517109"/>
                    <a:pt x="248573" y="510145"/>
                    <a:pt x="248573" y="510145"/>
                  </a:cubicBezTo>
                  <a:lnTo>
                    <a:pt x="250895" y="507387"/>
                  </a:lnTo>
                  <a:lnTo>
                    <a:pt x="254361" y="499986"/>
                  </a:lnTo>
                  <a:cubicBezTo>
                    <a:pt x="254361" y="499986"/>
                    <a:pt x="258433" y="498102"/>
                    <a:pt x="258433" y="497530"/>
                  </a:cubicBezTo>
                  <a:cubicBezTo>
                    <a:pt x="258433" y="496958"/>
                    <a:pt x="258299" y="493897"/>
                    <a:pt x="257121" y="492013"/>
                  </a:cubicBezTo>
                  <a:cubicBezTo>
                    <a:pt x="255977" y="490130"/>
                    <a:pt x="254664" y="489255"/>
                    <a:pt x="253217" y="487808"/>
                  </a:cubicBezTo>
                  <a:cubicBezTo>
                    <a:pt x="251770" y="486362"/>
                    <a:pt x="251904" y="487506"/>
                    <a:pt x="251770" y="486362"/>
                  </a:cubicBezTo>
                  <a:cubicBezTo>
                    <a:pt x="251635" y="485218"/>
                    <a:pt x="252039" y="483603"/>
                    <a:pt x="253217" y="482594"/>
                  </a:cubicBezTo>
                  <a:cubicBezTo>
                    <a:pt x="254395" y="481585"/>
                    <a:pt x="254967" y="481417"/>
                    <a:pt x="255539" y="481148"/>
                  </a:cubicBezTo>
                  <a:cubicBezTo>
                    <a:pt x="256111" y="480845"/>
                    <a:pt x="259443" y="480576"/>
                    <a:pt x="260318" y="480576"/>
                  </a:cubicBezTo>
                  <a:cubicBezTo>
                    <a:pt x="261193" y="480576"/>
                    <a:pt x="271761" y="480273"/>
                    <a:pt x="271761" y="480273"/>
                  </a:cubicBezTo>
                  <a:lnTo>
                    <a:pt x="275227" y="477818"/>
                  </a:lnTo>
                  <a:lnTo>
                    <a:pt x="277549" y="475362"/>
                  </a:lnTo>
                  <a:cubicBezTo>
                    <a:pt x="277549" y="475362"/>
                    <a:pt x="278862" y="474790"/>
                    <a:pt x="279871" y="473915"/>
                  </a:cubicBezTo>
                  <a:cubicBezTo>
                    <a:pt x="280881" y="473041"/>
                    <a:pt x="285088" y="471022"/>
                    <a:pt x="285963" y="470450"/>
                  </a:cubicBezTo>
                  <a:cubicBezTo>
                    <a:pt x="286838" y="469878"/>
                    <a:pt x="290607" y="468701"/>
                    <a:pt x="290607" y="468701"/>
                  </a:cubicBezTo>
                  <a:cubicBezTo>
                    <a:pt x="290607" y="468701"/>
                    <a:pt x="291752" y="467961"/>
                    <a:pt x="293199" y="467692"/>
                  </a:cubicBezTo>
                  <a:cubicBezTo>
                    <a:pt x="294646" y="467389"/>
                    <a:pt x="295386" y="466548"/>
                    <a:pt x="296530" y="465808"/>
                  </a:cubicBezTo>
                  <a:cubicBezTo>
                    <a:pt x="297675" y="465068"/>
                    <a:pt x="301040" y="462612"/>
                    <a:pt x="302184" y="462041"/>
                  </a:cubicBezTo>
                  <a:cubicBezTo>
                    <a:pt x="303329" y="461468"/>
                    <a:pt x="304507" y="460291"/>
                    <a:pt x="304507" y="460291"/>
                  </a:cubicBezTo>
                  <a:cubicBezTo>
                    <a:pt x="304507" y="460291"/>
                    <a:pt x="308276" y="460426"/>
                    <a:pt x="308713" y="460291"/>
                  </a:cubicBezTo>
                  <a:cubicBezTo>
                    <a:pt x="309151" y="460157"/>
                    <a:pt x="316252" y="459282"/>
                    <a:pt x="316824" y="459147"/>
                  </a:cubicBezTo>
                  <a:cubicBezTo>
                    <a:pt x="317396" y="459013"/>
                    <a:pt x="325372" y="458407"/>
                    <a:pt x="325372" y="458407"/>
                  </a:cubicBezTo>
                  <a:lnTo>
                    <a:pt x="327829" y="456389"/>
                  </a:lnTo>
                  <a:cubicBezTo>
                    <a:pt x="327829" y="456389"/>
                    <a:pt x="327829" y="456961"/>
                    <a:pt x="329276" y="455649"/>
                  </a:cubicBezTo>
                  <a:cubicBezTo>
                    <a:pt x="330723" y="454337"/>
                    <a:pt x="333483" y="451444"/>
                    <a:pt x="334493" y="450569"/>
                  </a:cubicBezTo>
                  <a:cubicBezTo>
                    <a:pt x="335503" y="449695"/>
                    <a:pt x="336680" y="448383"/>
                    <a:pt x="336815" y="447542"/>
                  </a:cubicBezTo>
                  <a:cubicBezTo>
                    <a:pt x="336950" y="446667"/>
                    <a:pt x="337252" y="444649"/>
                    <a:pt x="337252" y="443202"/>
                  </a:cubicBezTo>
                  <a:cubicBezTo>
                    <a:pt x="337252" y="441756"/>
                    <a:pt x="337959" y="440747"/>
                    <a:pt x="337118" y="438728"/>
                  </a:cubicBezTo>
                  <a:cubicBezTo>
                    <a:pt x="336243" y="436710"/>
                    <a:pt x="336815" y="437719"/>
                    <a:pt x="335805" y="435970"/>
                  </a:cubicBezTo>
                  <a:cubicBezTo>
                    <a:pt x="334796" y="434220"/>
                    <a:pt x="334055" y="433514"/>
                    <a:pt x="334055" y="431630"/>
                  </a:cubicBezTo>
                  <a:cubicBezTo>
                    <a:pt x="334055" y="429746"/>
                    <a:pt x="333752" y="427728"/>
                    <a:pt x="334762" y="427291"/>
                  </a:cubicBezTo>
                  <a:cubicBezTo>
                    <a:pt x="335772" y="426853"/>
                    <a:pt x="339272" y="423826"/>
                    <a:pt x="339272" y="423826"/>
                  </a:cubicBezTo>
                  <a:lnTo>
                    <a:pt x="341897" y="420495"/>
                  </a:lnTo>
                  <a:lnTo>
                    <a:pt x="346810" y="417165"/>
                  </a:lnTo>
                  <a:cubicBezTo>
                    <a:pt x="346810" y="417165"/>
                    <a:pt x="353339" y="414575"/>
                    <a:pt x="353777" y="414407"/>
                  </a:cubicBezTo>
                  <a:cubicBezTo>
                    <a:pt x="354214" y="414272"/>
                    <a:pt x="359734" y="414541"/>
                    <a:pt x="360306" y="414407"/>
                  </a:cubicBezTo>
                  <a:cubicBezTo>
                    <a:pt x="360878" y="414272"/>
                    <a:pt x="362931" y="415147"/>
                    <a:pt x="362931" y="415147"/>
                  </a:cubicBezTo>
                  <a:cubicBezTo>
                    <a:pt x="362931" y="415147"/>
                    <a:pt x="365691" y="418477"/>
                    <a:pt x="366397" y="418914"/>
                  </a:cubicBezTo>
                  <a:cubicBezTo>
                    <a:pt x="367104" y="419352"/>
                    <a:pt x="370604" y="422985"/>
                    <a:pt x="371311" y="424263"/>
                  </a:cubicBezTo>
                  <a:cubicBezTo>
                    <a:pt x="372018" y="425575"/>
                    <a:pt x="373498" y="429477"/>
                    <a:pt x="373768" y="430184"/>
                  </a:cubicBezTo>
                  <a:cubicBezTo>
                    <a:pt x="374037" y="430924"/>
                    <a:pt x="374340" y="436138"/>
                    <a:pt x="374912" y="436272"/>
                  </a:cubicBezTo>
                  <a:cubicBezTo>
                    <a:pt x="375484" y="436407"/>
                    <a:pt x="381878" y="441924"/>
                    <a:pt x="381878" y="441924"/>
                  </a:cubicBezTo>
                  <a:lnTo>
                    <a:pt x="381744" y="447878"/>
                  </a:lnTo>
                  <a:lnTo>
                    <a:pt x="384638" y="452790"/>
                  </a:lnTo>
                  <a:cubicBezTo>
                    <a:pt x="384638" y="452790"/>
                    <a:pt x="387667" y="453664"/>
                    <a:pt x="388273" y="453664"/>
                  </a:cubicBezTo>
                  <a:cubicBezTo>
                    <a:pt x="388845" y="453664"/>
                    <a:pt x="391907" y="453227"/>
                    <a:pt x="391907" y="453227"/>
                  </a:cubicBezTo>
                  <a:cubicBezTo>
                    <a:pt x="391907" y="453227"/>
                    <a:pt x="393052" y="453361"/>
                    <a:pt x="394802" y="452790"/>
                  </a:cubicBezTo>
                  <a:cubicBezTo>
                    <a:pt x="396552" y="452218"/>
                    <a:pt x="397696" y="451343"/>
                    <a:pt x="398706" y="450771"/>
                  </a:cubicBezTo>
                  <a:cubicBezTo>
                    <a:pt x="399715" y="450199"/>
                    <a:pt x="401297" y="448013"/>
                    <a:pt x="401297" y="448013"/>
                  </a:cubicBezTo>
                  <a:lnTo>
                    <a:pt x="402744" y="447138"/>
                  </a:lnTo>
                  <a:cubicBezTo>
                    <a:pt x="402744" y="447138"/>
                    <a:pt x="408095" y="448887"/>
                    <a:pt x="408398" y="449459"/>
                  </a:cubicBezTo>
                  <a:cubicBezTo>
                    <a:pt x="408701" y="450031"/>
                    <a:pt x="409273" y="453361"/>
                    <a:pt x="409273" y="453361"/>
                  </a:cubicBezTo>
                  <a:lnTo>
                    <a:pt x="410855" y="456995"/>
                  </a:lnTo>
                  <a:cubicBezTo>
                    <a:pt x="410855" y="456995"/>
                    <a:pt x="412740" y="460459"/>
                    <a:pt x="413446" y="460897"/>
                  </a:cubicBezTo>
                  <a:cubicBezTo>
                    <a:pt x="414187" y="461334"/>
                    <a:pt x="415903" y="461771"/>
                    <a:pt x="416778" y="462209"/>
                  </a:cubicBezTo>
                  <a:cubicBezTo>
                    <a:pt x="417653" y="462646"/>
                    <a:pt x="420985" y="463655"/>
                    <a:pt x="421423" y="463790"/>
                  </a:cubicBezTo>
                  <a:cubicBezTo>
                    <a:pt x="421860" y="463924"/>
                    <a:pt x="424182" y="464362"/>
                    <a:pt x="424620" y="464362"/>
                  </a:cubicBezTo>
                  <a:cubicBezTo>
                    <a:pt x="425057" y="464362"/>
                    <a:pt x="426639" y="463924"/>
                    <a:pt x="428086" y="463655"/>
                  </a:cubicBezTo>
                  <a:cubicBezTo>
                    <a:pt x="429533" y="463352"/>
                    <a:pt x="432125" y="462511"/>
                    <a:pt x="434750" y="462343"/>
                  </a:cubicBezTo>
                  <a:cubicBezTo>
                    <a:pt x="437375" y="462209"/>
                    <a:pt x="437375" y="461906"/>
                    <a:pt x="440538" y="461603"/>
                  </a:cubicBezTo>
                  <a:cubicBezTo>
                    <a:pt x="443736" y="461300"/>
                    <a:pt x="445755" y="459854"/>
                    <a:pt x="446192" y="459719"/>
                  </a:cubicBezTo>
                  <a:cubicBezTo>
                    <a:pt x="446630" y="459585"/>
                    <a:pt x="447774" y="457264"/>
                    <a:pt x="449524" y="456524"/>
                  </a:cubicBezTo>
                  <a:cubicBezTo>
                    <a:pt x="451274" y="455817"/>
                    <a:pt x="452991" y="453631"/>
                    <a:pt x="453428" y="453059"/>
                  </a:cubicBezTo>
                  <a:cubicBezTo>
                    <a:pt x="453866" y="452487"/>
                    <a:pt x="454303" y="450468"/>
                    <a:pt x="454303" y="449426"/>
                  </a:cubicBezTo>
                  <a:cubicBezTo>
                    <a:pt x="454303" y="448416"/>
                    <a:pt x="453294" y="444918"/>
                    <a:pt x="453294" y="444918"/>
                  </a:cubicBezTo>
                  <a:cubicBezTo>
                    <a:pt x="453294" y="444918"/>
                    <a:pt x="453159" y="442025"/>
                    <a:pt x="453159" y="441150"/>
                  </a:cubicBezTo>
                  <a:cubicBezTo>
                    <a:pt x="453159" y="440276"/>
                    <a:pt x="454337" y="436071"/>
                    <a:pt x="454337" y="436071"/>
                  </a:cubicBezTo>
                  <a:lnTo>
                    <a:pt x="455649" y="433884"/>
                  </a:lnTo>
                  <a:lnTo>
                    <a:pt x="458846" y="429107"/>
                  </a:lnTo>
                  <a:lnTo>
                    <a:pt x="464063" y="424600"/>
                  </a:lnTo>
                  <a:lnTo>
                    <a:pt x="471467" y="421404"/>
                  </a:lnTo>
                  <a:lnTo>
                    <a:pt x="476381" y="424162"/>
                  </a:lnTo>
                  <a:lnTo>
                    <a:pt x="481866" y="428064"/>
                  </a:lnTo>
                  <a:lnTo>
                    <a:pt x="487520" y="431967"/>
                  </a:lnTo>
                  <a:cubicBezTo>
                    <a:pt x="487520" y="431967"/>
                    <a:pt x="489539" y="434557"/>
                    <a:pt x="490280" y="434725"/>
                  </a:cubicBezTo>
                  <a:cubicBezTo>
                    <a:pt x="490987" y="434860"/>
                    <a:pt x="493914" y="436609"/>
                    <a:pt x="493914" y="436609"/>
                  </a:cubicBezTo>
                  <a:lnTo>
                    <a:pt x="494924" y="439805"/>
                  </a:lnTo>
                  <a:lnTo>
                    <a:pt x="497381" y="443572"/>
                  </a:lnTo>
                  <a:lnTo>
                    <a:pt x="498694" y="444144"/>
                  </a:lnTo>
                  <a:lnTo>
                    <a:pt x="501453" y="443572"/>
                  </a:lnTo>
                  <a:lnTo>
                    <a:pt x="502328" y="440948"/>
                  </a:lnTo>
                  <a:lnTo>
                    <a:pt x="502900" y="437181"/>
                  </a:lnTo>
                  <a:lnTo>
                    <a:pt x="502766" y="434860"/>
                  </a:lnTo>
                  <a:lnTo>
                    <a:pt x="502766" y="431799"/>
                  </a:lnTo>
                  <a:cubicBezTo>
                    <a:pt x="502766" y="431799"/>
                    <a:pt x="502631" y="428165"/>
                    <a:pt x="503069" y="427594"/>
                  </a:cubicBezTo>
                  <a:cubicBezTo>
                    <a:pt x="503506" y="427022"/>
                    <a:pt x="504381" y="426012"/>
                    <a:pt x="504819" y="425407"/>
                  </a:cubicBezTo>
                  <a:cubicBezTo>
                    <a:pt x="505256" y="424835"/>
                    <a:pt x="507006" y="423389"/>
                    <a:pt x="507006" y="423389"/>
                  </a:cubicBezTo>
                  <a:lnTo>
                    <a:pt x="509766" y="421067"/>
                  </a:lnTo>
                  <a:cubicBezTo>
                    <a:pt x="509766" y="421067"/>
                    <a:pt x="509766" y="417737"/>
                    <a:pt x="509900" y="417165"/>
                  </a:cubicBezTo>
                  <a:cubicBezTo>
                    <a:pt x="510035" y="416593"/>
                    <a:pt x="514679" y="411514"/>
                    <a:pt x="515252" y="411245"/>
                  </a:cubicBezTo>
                  <a:cubicBezTo>
                    <a:pt x="515824" y="410942"/>
                    <a:pt x="516564" y="410505"/>
                    <a:pt x="516564" y="410505"/>
                  </a:cubicBezTo>
                  <a:lnTo>
                    <a:pt x="518449" y="409630"/>
                  </a:lnTo>
                  <a:lnTo>
                    <a:pt x="521343" y="410942"/>
                  </a:lnTo>
                  <a:lnTo>
                    <a:pt x="522656" y="413398"/>
                  </a:lnTo>
                  <a:cubicBezTo>
                    <a:pt x="522656" y="413398"/>
                    <a:pt x="522353" y="416593"/>
                    <a:pt x="522521" y="417468"/>
                  </a:cubicBezTo>
                  <a:cubicBezTo>
                    <a:pt x="522656" y="418343"/>
                    <a:pt x="527165" y="421942"/>
                    <a:pt x="527165" y="421942"/>
                  </a:cubicBezTo>
                  <a:cubicBezTo>
                    <a:pt x="527165" y="421942"/>
                    <a:pt x="530800" y="422379"/>
                    <a:pt x="531641" y="422077"/>
                  </a:cubicBezTo>
                  <a:cubicBezTo>
                    <a:pt x="532516" y="421774"/>
                    <a:pt x="536286" y="422648"/>
                    <a:pt x="536993" y="421639"/>
                  </a:cubicBezTo>
                  <a:cubicBezTo>
                    <a:pt x="537699" y="420630"/>
                    <a:pt x="540896" y="417434"/>
                    <a:pt x="540896" y="417434"/>
                  </a:cubicBezTo>
                  <a:cubicBezTo>
                    <a:pt x="540896" y="417434"/>
                    <a:pt x="541603" y="417131"/>
                    <a:pt x="542041" y="416863"/>
                  </a:cubicBezTo>
                  <a:cubicBezTo>
                    <a:pt x="542478" y="416560"/>
                    <a:pt x="543353" y="415281"/>
                    <a:pt x="543791" y="413835"/>
                  </a:cubicBezTo>
                  <a:cubicBezTo>
                    <a:pt x="544228" y="412388"/>
                    <a:pt x="544935" y="409630"/>
                    <a:pt x="544935" y="409630"/>
                  </a:cubicBezTo>
                  <a:lnTo>
                    <a:pt x="544800" y="406602"/>
                  </a:lnTo>
                  <a:cubicBezTo>
                    <a:pt x="544800" y="406602"/>
                    <a:pt x="544531" y="404281"/>
                    <a:pt x="543925" y="404012"/>
                  </a:cubicBezTo>
                  <a:cubicBezTo>
                    <a:pt x="543353" y="403709"/>
                    <a:pt x="540593" y="403003"/>
                    <a:pt x="539719" y="403003"/>
                  </a:cubicBezTo>
                  <a:cubicBezTo>
                    <a:pt x="538843" y="403003"/>
                    <a:pt x="536084" y="403877"/>
                    <a:pt x="536084" y="403877"/>
                  </a:cubicBezTo>
                  <a:lnTo>
                    <a:pt x="534132" y="404180"/>
                  </a:lnTo>
                  <a:lnTo>
                    <a:pt x="532314" y="403608"/>
                  </a:lnTo>
                  <a:lnTo>
                    <a:pt x="532314" y="402296"/>
                  </a:lnTo>
                  <a:cubicBezTo>
                    <a:pt x="532314" y="402296"/>
                    <a:pt x="532617" y="400715"/>
                    <a:pt x="533055" y="400547"/>
                  </a:cubicBezTo>
                  <a:cubicBezTo>
                    <a:pt x="533492" y="400413"/>
                    <a:pt x="534065" y="399672"/>
                    <a:pt x="534502" y="399235"/>
                  </a:cubicBezTo>
                  <a:cubicBezTo>
                    <a:pt x="534939" y="398798"/>
                    <a:pt x="535646" y="398361"/>
                    <a:pt x="535949" y="397923"/>
                  </a:cubicBezTo>
                  <a:cubicBezTo>
                    <a:pt x="536252" y="397486"/>
                    <a:pt x="536959" y="397049"/>
                    <a:pt x="537531" y="396914"/>
                  </a:cubicBezTo>
                  <a:cubicBezTo>
                    <a:pt x="538103" y="396780"/>
                    <a:pt x="539113" y="395905"/>
                    <a:pt x="539685" y="395602"/>
                  </a:cubicBezTo>
                  <a:cubicBezTo>
                    <a:pt x="540257" y="395299"/>
                    <a:pt x="544026" y="393281"/>
                    <a:pt x="544026" y="393281"/>
                  </a:cubicBezTo>
                  <a:cubicBezTo>
                    <a:pt x="544026" y="393281"/>
                    <a:pt x="544598" y="392978"/>
                    <a:pt x="545473" y="392406"/>
                  </a:cubicBezTo>
                  <a:cubicBezTo>
                    <a:pt x="546348" y="391835"/>
                    <a:pt x="547358" y="390960"/>
                    <a:pt x="548233" y="390657"/>
                  </a:cubicBezTo>
                  <a:cubicBezTo>
                    <a:pt x="549108" y="390354"/>
                    <a:pt x="549243" y="390085"/>
                    <a:pt x="549848" y="389782"/>
                  </a:cubicBezTo>
                  <a:cubicBezTo>
                    <a:pt x="550421" y="389480"/>
                    <a:pt x="551430" y="389211"/>
                    <a:pt x="551868" y="389211"/>
                  </a:cubicBezTo>
                  <a:cubicBezTo>
                    <a:pt x="552305" y="389211"/>
                    <a:pt x="554055" y="389211"/>
                    <a:pt x="554055" y="389211"/>
                  </a:cubicBezTo>
                  <a:lnTo>
                    <a:pt x="555200" y="390085"/>
                  </a:lnTo>
                  <a:lnTo>
                    <a:pt x="555906" y="391532"/>
                  </a:lnTo>
                  <a:lnTo>
                    <a:pt x="558094" y="394290"/>
                  </a:lnTo>
                  <a:lnTo>
                    <a:pt x="559978" y="396174"/>
                  </a:lnTo>
                  <a:cubicBezTo>
                    <a:pt x="559978" y="396174"/>
                    <a:pt x="561291" y="397049"/>
                    <a:pt x="561863" y="397183"/>
                  </a:cubicBezTo>
                  <a:cubicBezTo>
                    <a:pt x="562435" y="397318"/>
                    <a:pt x="563007" y="397923"/>
                    <a:pt x="564185" y="397923"/>
                  </a:cubicBezTo>
                  <a:cubicBezTo>
                    <a:pt x="565363" y="397923"/>
                    <a:pt x="566642" y="398058"/>
                    <a:pt x="567786" y="398361"/>
                  </a:cubicBezTo>
                  <a:cubicBezTo>
                    <a:pt x="568964" y="398663"/>
                    <a:pt x="570546" y="398933"/>
                    <a:pt x="571421" y="398933"/>
                  </a:cubicBezTo>
                  <a:cubicBezTo>
                    <a:pt x="572296" y="398933"/>
                    <a:pt x="574450" y="398495"/>
                    <a:pt x="574450" y="398495"/>
                  </a:cubicBezTo>
                  <a:lnTo>
                    <a:pt x="575762" y="395737"/>
                  </a:lnTo>
                  <a:lnTo>
                    <a:pt x="576772" y="395299"/>
                  </a:lnTo>
                  <a:lnTo>
                    <a:pt x="576638" y="393146"/>
                  </a:lnTo>
                  <a:cubicBezTo>
                    <a:pt x="576638" y="393146"/>
                    <a:pt x="577210" y="392272"/>
                    <a:pt x="576503" y="392137"/>
                  </a:cubicBezTo>
                  <a:cubicBezTo>
                    <a:pt x="575762" y="392003"/>
                    <a:pt x="574753" y="390119"/>
                    <a:pt x="574753" y="390119"/>
                  </a:cubicBezTo>
                  <a:cubicBezTo>
                    <a:pt x="574753" y="390119"/>
                    <a:pt x="574450" y="390253"/>
                    <a:pt x="574450" y="389244"/>
                  </a:cubicBezTo>
                  <a:cubicBezTo>
                    <a:pt x="574450" y="388235"/>
                    <a:pt x="575325" y="387360"/>
                    <a:pt x="575762" y="387360"/>
                  </a:cubicBezTo>
                  <a:cubicBezTo>
                    <a:pt x="576200" y="387360"/>
                    <a:pt x="577950" y="386486"/>
                    <a:pt x="578085" y="386048"/>
                  </a:cubicBezTo>
                  <a:cubicBezTo>
                    <a:pt x="578219" y="385611"/>
                    <a:pt x="578522" y="385039"/>
                    <a:pt x="578657" y="384165"/>
                  </a:cubicBezTo>
                  <a:cubicBezTo>
                    <a:pt x="578791" y="383290"/>
                    <a:pt x="579532" y="381574"/>
                    <a:pt x="579801" y="380969"/>
                  </a:cubicBezTo>
                  <a:cubicBezTo>
                    <a:pt x="580070" y="380397"/>
                    <a:pt x="580676" y="378951"/>
                    <a:pt x="581989" y="377504"/>
                  </a:cubicBezTo>
                  <a:cubicBezTo>
                    <a:pt x="583301" y="376058"/>
                    <a:pt x="584311" y="374880"/>
                    <a:pt x="584883" y="374308"/>
                  </a:cubicBezTo>
                  <a:cubicBezTo>
                    <a:pt x="585455" y="373736"/>
                    <a:pt x="587071" y="372727"/>
                    <a:pt x="587071" y="371550"/>
                  </a:cubicBezTo>
                  <a:cubicBezTo>
                    <a:pt x="587071" y="370406"/>
                    <a:pt x="587373" y="364317"/>
                    <a:pt x="587373" y="364317"/>
                  </a:cubicBezTo>
                  <a:lnTo>
                    <a:pt x="589696" y="363174"/>
                  </a:lnTo>
                  <a:cubicBezTo>
                    <a:pt x="589696" y="363174"/>
                    <a:pt x="591715" y="363611"/>
                    <a:pt x="592287" y="363174"/>
                  </a:cubicBezTo>
                  <a:cubicBezTo>
                    <a:pt x="592422" y="363073"/>
                    <a:pt x="592758" y="363039"/>
                    <a:pt x="593162" y="363005"/>
                  </a:cubicBezTo>
                  <a:lnTo>
                    <a:pt x="592758" y="357320"/>
                  </a:lnTo>
                  <a:lnTo>
                    <a:pt x="592758" y="3573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29" name="Freeform 895">
              <a:extLst>
                <a:ext uri="{FF2B5EF4-FFF2-40B4-BE49-F238E27FC236}">
                  <a16:creationId xmlns:a16="http://schemas.microsoft.com/office/drawing/2014/main" id="{65B3FF55-9BEF-1F33-5875-B103FC0C0C38}"/>
                </a:ext>
              </a:extLst>
            </p:cNvPr>
            <p:cNvSpPr/>
            <p:nvPr/>
          </p:nvSpPr>
          <p:spPr>
            <a:xfrm>
              <a:off x="7510745" y="2987813"/>
              <a:ext cx="246129" cy="241815"/>
            </a:xfrm>
            <a:custGeom>
              <a:avLst/>
              <a:gdLst>
                <a:gd name="connsiteX0" fmla="*/ 338195 w 472543"/>
                <a:gd name="connsiteY0" fmla="*/ 458407 h 464260"/>
                <a:gd name="connsiteX1" fmla="*/ 339272 w 472543"/>
                <a:gd name="connsiteY1" fmla="*/ 456221 h 464260"/>
                <a:gd name="connsiteX2" fmla="*/ 340349 w 472543"/>
                <a:gd name="connsiteY2" fmla="*/ 455582 h 464260"/>
                <a:gd name="connsiteX3" fmla="*/ 342974 w 472543"/>
                <a:gd name="connsiteY3" fmla="*/ 456994 h 464260"/>
                <a:gd name="connsiteX4" fmla="*/ 346137 w 472543"/>
                <a:gd name="connsiteY4" fmla="*/ 460796 h 464260"/>
                <a:gd name="connsiteX5" fmla="*/ 350277 w 472543"/>
                <a:gd name="connsiteY5" fmla="*/ 463823 h 464260"/>
                <a:gd name="connsiteX6" fmla="*/ 353003 w 472543"/>
                <a:gd name="connsiteY6" fmla="*/ 464260 h 464260"/>
                <a:gd name="connsiteX7" fmla="*/ 357142 w 472543"/>
                <a:gd name="connsiteY7" fmla="*/ 464260 h 464260"/>
                <a:gd name="connsiteX8" fmla="*/ 358892 w 472543"/>
                <a:gd name="connsiteY8" fmla="*/ 461536 h 464260"/>
                <a:gd name="connsiteX9" fmla="*/ 360407 w 472543"/>
                <a:gd name="connsiteY9" fmla="*/ 461872 h 464260"/>
                <a:gd name="connsiteX10" fmla="*/ 362695 w 472543"/>
                <a:gd name="connsiteY10" fmla="*/ 463083 h 464260"/>
                <a:gd name="connsiteX11" fmla="*/ 364647 w 472543"/>
                <a:gd name="connsiteY11" fmla="*/ 463184 h 464260"/>
                <a:gd name="connsiteX12" fmla="*/ 366162 w 472543"/>
                <a:gd name="connsiteY12" fmla="*/ 462848 h 464260"/>
                <a:gd name="connsiteX13" fmla="*/ 367239 w 472543"/>
                <a:gd name="connsiteY13" fmla="*/ 460997 h 464260"/>
                <a:gd name="connsiteX14" fmla="*/ 367239 w 472543"/>
                <a:gd name="connsiteY14" fmla="*/ 457970 h 464260"/>
                <a:gd name="connsiteX15" fmla="*/ 367272 w 472543"/>
                <a:gd name="connsiteY15" fmla="*/ 456019 h 464260"/>
                <a:gd name="connsiteX16" fmla="*/ 368450 w 472543"/>
                <a:gd name="connsiteY16" fmla="*/ 453529 h 464260"/>
                <a:gd name="connsiteX17" fmla="*/ 369527 w 472543"/>
                <a:gd name="connsiteY17" fmla="*/ 451780 h 464260"/>
                <a:gd name="connsiteX18" fmla="*/ 370301 w 472543"/>
                <a:gd name="connsiteY18" fmla="*/ 450468 h 464260"/>
                <a:gd name="connsiteX19" fmla="*/ 371176 w 472543"/>
                <a:gd name="connsiteY19" fmla="*/ 447642 h 464260"/>
                <a:gd name="connsiteX20" fmla="*/ 371176 w 472543"/>
                <a:gd name="connsiteY20" fmla="*/ 445893 h 464260"/>
                <a:gd name="connsiteX21" fmla="*/ 371176 w 472543"/>
                <a:gd name="connsiteY21" fmla="*/ 444144 h 464260"/>
                <a:gd name="connsiteX22" fmla="*/ 371210 w 472543"/>
                <a:gd name="connsiteY22" fmla="*/ 441756 h 464260"/>
                <a:gd name="connsiteX23" fmla="*/ 371715 w 472543"/>
                <a:gd name="connsiteY23" fmla="*/ 439031 h 464260"/>
                <a:gd name="connsiteX24" fmla="*/ 373128 w 472543"/>
                <a:gd name="connsiteY24" fmla="*/ 437080 h 464260"/>
                <a:gd name="connsiteX25" fmla="*/ 374979 w 472543"/>
                <a:gd name="connsiteY25" fmla="*/ 434254 h 464260"/>
                <a:gd name="connsiteX26" fmla="*/ 376931 w 472543"/>
                <a:gd name="connsiteY26" fmla="*/ 432942 h 464260"/>
                <a:gd name="connsiteX27" fmla="*/ 379758 w 472543"/>
                <a:gd name="connsiteY27" fmla="*/ 432942 h 464260"/>
                <a:gd name="connsiteX28" fmla="*/ 380835 w 472543"/>
                <a:gd name="connsiteY28" fmla="*/ 431630 h 464260"/>
                <a:gd name="connsiteX29" fmla="*/ 383595 w 472543"/>
                <a:gd name="connsiteY29" fmla="*/ 431933 h 464260"/>
                <a:gd name="connsiteX30" fmla="*/ 383662 w 472543"/>
                <a:gd name="connsiteY30" fmla="*/ 432336 h 464260"/>
                <a:gd name="connsiteX31" fmla="*/ 383527 w 472543"/>
                <a:gd name="connsiteY31" fmla="*/ 431495 h 464260"/>
                <a:gd name="connsiteX32" fmla="*/ 384100 w 472543"/>
                <a:gd name="connsiteY32" fmla="*/ 427728 h 464260"/>
                <a:gd name="connsiteX33" fmla="*/ 385244 w 472543"/>
                <a:gd name="connsiteY33" fmla="*/ 425407 h 464260"/>
                <a:gd name="connsiteX34" fmla="*/ 385681 w 472543"/>
                <a:gd name="connsiteY34" fmla="*/ 421942 h 464260"/>
                <a:gd name="connsiteX35" fmla="*/ 385816 w 472543"/>
                <a:gd name="connsiteY35" fmla="*/ 418477 h 464260"/>
                <a:gd name="connsiteX36" fmla="*/ 385816 w 472543"/>
                <a:gd name="connsiteY36" fmla="*/ 416459 h 464260"/>
                <a:gd name="connsiteX37" fmla="*/ 383191 w 472543"/>
                <a:gd name="connsiteY37" fmla="*/ 416459 h 464260"/>
                <a:gd name="connsiteX38" fmla="*/ 379422 w 472543"/>
                <a:gd name="connsiteY38" fmla="*/ 415012 h 464260"/>
                <a:gd name="connsiteX39" fmla="*/ 377100 w 472543"/>
                <a:gd name="connsiteY39" fmla="*/ 412119 h 464260"/>
                <a:gd name="connsiteX40" fmla="*/ 377100 w 472543"/>
                <a:gd name="connsiteY40" fmla="*/ 409495 h 464260"/>
                <a:gd name="connsiteX41" fmla="*/ 380566 w 472543"/>
                <a:gd name="connsiteY41" fmla="*/ 408049 h 464260"/>
                <a:gd name="connsiteX42" fmla="*/ 382888 w 472543"/>
                <a:gd name="connsiteY42" fmla="*/ 405728 h 464260"/>
                <a:gd name="connsiteX43" fmla="*/ 385513 w 472543"/>
                <a:gd name="connsiteY43" fmla="*/ 403709 h 464260"/>
                <a:gd name="connsiteX44" fmla="*/ 386085 w 472543"/>
                <a:gd name="connsiteY44" fmla="*/ 400816 h 464260"/>
                <a:gd name="connsiteX45" fmla="*/ 386388 w 472543"/>
                <a:gd name="connsiteY45" fmla="*/ 396477 h 464260"/>
                <a:gd name="connsiteX46" fmla="*/ 384369 w 472543"/>
                <a:gd name="connsiteY46" fmla="*/ 395333 h 464260"/>
                <a:gd name="connsiteX47" fmla="*/ 381172 w 472543"/>
                <a:gd name="connsiteY47" fmla="*/ 392440 h 464260"/>
                <a:gd name="connsiteX48" fmla="*/ 380600 w 472543"/>
                <a:gd name="connsiteY48" fmla="*/ 389244 h 464260"/>
                <a:gd name="connsiteX49" fmla="*/ 380600 w 472543"/>
                <a:gd name="connsiteY49" fmla="*/ 385174 h 464260"/>
                <a:gd name="connsiteX50" fmla="*/ 381172 w 472543"/>
                <a:gd name="connsiteY50" fmla="*/ 382584 h 464260"/>
                <a:gd name="connsiteX51" fmla="*/ 383763 w 472543"/>
                <a:gd name="connsiteY51" fmla="*/ 377941 h 464260"/>
                <a:gd name="connsiteX52" fmla="*/ 387532 w 472543"/>
                <a:gd name="connsiteY52" fmla="*/ 372424 h 464260"/>
                <a:gd name="connsiteX53" fmla="*/ 386960 w 472543"/>
                <a:gd name="connsiteY53" fmla="*/ 365764 h 464260"/>
                <a:gd name="connsiteX54" fmla="*/ 383460 w 472543"/>
                <a:gd name="connsiteY54" fmla="*/ 361693 h 464260"/>
                <a:gd name="connsiteX55" fmla="*/ 382114 w 472543"/>
                <a:gd name="connsiteY55" fmla="*/ 356984 h 464260"/>
                <a:gd name="connsiteX56" fmla="*/ 380768 w 472543"/>
                <a:gd name="connsiteY56" fmla="*/ 356647 h 464260"/>
                <a:gd name="connsiteX57" fmla="*/ 374643 w 472543"/>
                <a:gd name="connsiteY57" fmla="*/ 353956 h 464260"/>
                <a:gd name="connsiteX58" fmla="*/ 368248 w 472543"/>
                <a:gd name="connsiteY58" fmla="*/ 351097 h 464260"/>
                <a:gd name="connsiteX59" fmla="*/ 366633 w 472543"/>
                <a:gd name="connsiteY59" fmla="*/ 346488 h 464260"/>
                <a:gd name="connsiteX60" fmla="*/ 366633 w 472543"/>
                <a:gd name="connsiteY60" fmla="*/ 341711 h 464260"/>
                <a:gd name="connsiteX61" fmla="*/ 370335 w 472543"/>
                <a:gd name="connsiteY61" fmla="*/ 340197 h 464260"/>
                <a:gd name="connsiteX62" fmla="*/ 368383 w 472543"/>
                <a:gd name="connsiteY62" fmla="*/ 333907 h 464260"/>
                <a:gd name="connsiteX63" fmla="*/ 366633 w 472543"/>
                <a:gd name="connsiteY63" fmla="*/ 329567 h 464260"/>
                <a:gd name="connsiteX64" fmla="*/ 361181 w 472543"/>
                <a:gd name="connsiteY64" fmla="*/ 328491 h 464260"/>
                <a:gd name="connsiteX65" fmla="*/ 353777 w 472543"/>
                <a:gd name="connsiteY65" fmla="*/ 333705 h 464260"/>
                <a:gd name="connsiteX66" fmla="*/ 349200 w 472543"/>
                <a:gd name="connsiteY66" fmla="*/ 331115 h 464260"/>
                <a:gd name="connsiteX67" fmla="*/ 347786 w 472543"/>
                <a:gd name="connsiteY67" fmla="*/ 326338 h 464260"/>
                <a:gd name="connsiteX68" fmla="*/ 349200 w 472543"/>
                <a:gd name="connsiteY68" fmla="*/ 324589 h 464260"/>
                <a:gd name="connsiteX69" fmla="*/ 349200 w 472543"/>
                <a:gd name="connsiteY69" fmla="*/ 322839 h 464260"/>
                <a:gd name="connsiteX70" fmla="*/ 343983 w 472543"/>
                <a:gd name="connsiteY70" fmla="*/ 318500 h 464260"/>
                <a:gd name="connsiteX71" fmla="*/ 343983 w 472543"/>
                <a:gd name="connsiteY71" fmla="*/ 315674 h 464260"/>
                <a:gd name="connsiteX72" fmla="*/ 345296 w 472543"/>
                <a:gd name="connsiteY72" fmla="*/ 310023 h 464260"/>
                <a:gd name="connsiteX73" fmla="*/ 345935 w 472543"/>
                <a:gd name="connsiteY73" fmla="*/ 305885 h 464260"/>
                <a:gd name="connsiteX74" fmla="*/ 343983 w 472543"/>
                <a:gd name="connsiteY74" fmla="*/ 302185 h 464260"/>
                <a:gd name="connsiteX75" fmla="*/ 337017 w 472543"/>
                <a:gd name="connsiteY75" fmla="*/ 296533 h 464260"/>
                <a:gd name="connsiteX76" fmla="*/ 328536 w 472543"/>
                <a:gd name="connsiteY76" fmla="*/ 291521 h 464260"/>
                <a:gd name="connsiteX77" fmla="*/ 323084 w 472543"/>
                <a:gd name="connsiteY77" fmla="*/ 289133 h 464260"/>
                <a:gd name="connsiteX78" fmla="*/ 323084 w 472543"/>
                <a:gd name="connsiteY78" fmla="*/ 282606 h 464260"/>
                <a:gd name="connsiteX79" fmla="*/ 321771 w 472543"/>
                <a:gd name="connsiteY79" fmla="*/ 277830 h 464260"/>
                <a:gd name="connsiteX80" fmla="*/ 318608 w 472543"/>
                <a:gd name="connsiteY80" fmla="*/ 275677 h 464260"/>
                <a:gd name="connsiteX81" fmla="*/ 314367 w 472543"/>
                <a:gd name="connsiteY81" fmla="*/ 277426 h 464260"/>
                <a:gd name="connsiteX82" fmla="*/ 314367 w 472543"/>
                <a:gd name="connsiteY82" fmla="*/ 282640 h 464260"/>
                <a:gd name="connsiteX83" fmla="*/ 312180 w 472543"/>
                <a:gd name="connsiteY83" fmla="*/ 284154 h 464260"/>
                <a:gd name="connsiteX84" fmla="*/ 309992 w 472543"/>
                <a:gd name="connsiteY84" fmla="*/ 285903 h 464260"/>
                <a:gd name="connsiteX85" fmla="*/ 303261 w 472543"/>
                <a:gd name="connsiteY85" fmla="*/ 286980 h 464260"/>
                <a:gd name="connsiteX86" fmla="*/ 299795 w 472543"/>
                <a:gd name="connsiteY86" fmla="*/ 283077 h 464260"/>
                <a:gd name="connsiteX87" fmla="*/ 296530 w 472543"/>
                <a:gd name="connsiteY87" fmla="*/ 277426 h 464260"/>
                <a:gd name="connsiteX88" fmla="*/ 296530 w 472543"/>
                <a:gd name="connsiteY88" fmla="*/ 272212 h 464260"/>
                <a:gd name="connsiteX89" fmla="*/ 298920 w 472543"/>
                <a:gd name="connsiteY89" fmla="*/ 269823 h 464260"/>
                <a:gd name="connsiteX90" fmla="*/ 303497 w 472543"/>
                <a:gd name="connsiteY90" fmla="*/ 267637 h 464260"/>
                <a:gd name="connsiteX91" fmla="*/ 309151 w 472543"/>
                <a:gd name="connsiteY91" fmla="*/ 271102 h 464260"/>
                <a:gd name="connsiteX92" fmla="*/ 312617 w 472543"/>
                <a:gd name="connsiteY92" fmla="*/ 270900 h 464260"/>
                <a:gd name="connsiteX93" fmla="*/ 312180 w 472543"/>
                <a:gd name="connsiteY93" fmla="*/ 263297 h 464260"/>
                <a:gd name="connsiteX94" fmla="*/ 312382 w 472543"/>
                <a:gd name="connsiteY94" fmla="*/ 260034 h 464260"/>
                <a:gd name="connsiteX95" fmla="*/ 315646 w 472543"/>
                <a:gd name="connsiteY95" fmla="*/ 257410 h 464260"/>
                <a:gd name="connsiteX96" fmla="*/ 309555 w 472543"/>
                <a:gd name="connsiteY96" fmla="*/ 254585 h 464260"/>
                <a:gd name="connsiteX97" fmla="*/ 304776 w 472543"/>
                <a:gd name="connsiteY97" fmla="*/ 252398 h 464260"/>
                <a:gd name="connsiteX98" fmla="*/ 305853 w 472543"/>
                <a:gd name="connsiteY98" fmla="*/ 249370 h 464260"/>
                <a:gd name="connsiteX99" fmla="*/ 311069 w 472543"/>
                <a:gd name="connsiteY99" fmla="*/ 246545 h 464260"/>
                <a:gd name="connsiteX100" fmla="*/ 313459 w 472543"/>
                <a:gd name="connsiteY100" fmla="*/ 245468 h 464260"/>
                <a:gd name="connsiteX101" fmla="*/ 313896 w 472543"/>
                <a:gd name="connsiteY101" fmla="*/ 240052 h 464260"/>
                <a:gd name="connsiteX102" fmla="*/ 312146 w 472543"/>
                <a:gd name="connsiteY102" fmla="*/ 233964 h 464260"/>
                <a:gd name="connsiteX103" fmla="*/ 311271 w 472543"/>
                <a:gd name="connsiteY103" fmla="*/ 226798 h 464260"/>
                <a:gd name="connsiteX104" fmla="*/ 308444 w 472543"/>
                <a:gd name="connsiteY104" fmla="*/ 223098 h 464260"/>
                <a:gd name="connsiteX105" fmla="*/ 302555 w 472543"/>
                <a:gd name="connsiteY105" fmla="*/ 219633 h 464260"/>
                <a:gd name="connsiteX106" fmla="*/ 300165 w 472543"/>
                <a:gd name="connsiteY106" fmla="*/ 212232 h 464260"/>
                <a:gd name="connsiteX107" fmla="*/ 298853 w 472543"/>
                <a:gd name="connsiteY107" fmla="*/ 206581 h 464260"/>
                <a:gd name="connsiteX108" fmla="*/ 299963 w 472543"/>
                <a:gd name="connsiteY108" fmla="*/ 201804 h 464260"/>
                <a:gd name="connsiteX109" fmla="*/ 301478 w 472543"/>
                <a:gd name="connsiteY109" fmla="*/ 200055 h 464260"/>
                <a:gd name="connsiteX110" fmla="*/ 304742 w 472543"/>
                <a:gd name="connsiteY110" fmla="*/ 200055 h 464260"/>
                <a:gd name="connsiteX111" fmla="*/ 308209 w 472543"/>
                <a:gd name="connsiteY111" fmla="*/ 200055 h 464260"/>
                <a:gd name="connsiteX112" fmla="*/ 309959 w 472543"/>
                <a:gd name="connsiteY112" fmla="*/ 200055 h 464260"/>
                <a:gd name="connsiteX113" fmla="*/ 313661 w 472543"/>
                <a:gd name="connsiteY113" fmla="*/ 200055 h 464260"/>
                <a:gd name="connsiteX114" fmla="*/ 321065 w 472543"/>
                <a:gd name="connsiteY114" fmla="*/ 199752 h 464260"/>
                <a:gd name="connsiteX115" fmla="*/ 320863 w 472543"/>
                <a:gd name="connsiteY115" fmla="*/ 195244 h 464260"/>
                <a:gd name="connsiteX116" fmla="*/ 321300 w 472543"/>
                <a:gd name="connsiteY116" fmla="*/ 191779 h 464260"/>
                <a:gd name="connsiteX117" fmla="*/ 321300 w 472543"/>
                <a:gd name="connsiteY117" fmla="*/ 188752 h 464260"/>
                <a:gd name="connsiteX118" fmla="*/ 323892 w 472543"/>
                <a:gd name="connsiteY118" fmla="*/ 184412 h 464260"/>
                <a:gd name="connsiteX119" fmla="*/ 325642 w 472543"/>
                <a:gd name="connsiteY119" fmla="*/ 184412 h 464260"/>
                <a:gd name="connsiteX120" fmla="*/ 331060 w 472543"/>
                <a:gd name="connsiteY120" fmla="*/ 189189 h 464260"/>
                <a:gd name="connsiteX121" fmla="*/ 336950 w 472543"/>
                <a:gd name="connsiteY121" fmla="*/ 195715 h 464260"/>
                <a:gd name="connsiteX122" fmla="*/ 339777 w 472543"/>
                <a:gd name="connsiteY122" fmla="*/ 199853 h 464260"/>
                <a:gd name="connsiteX123" fmla="*/ 342839 w 472543"/>
                <a:gd name="connsiteY123" fmla="*/ 199214 h 464260"/>
                <a:gd name="connsiteX124" fmla="*/ 344556 w 472543"/>
                <a:gd name="connsiteY124" fmla="*/ 196590 h 464260"/>
                <a:gd name="connsiteX125" fmla="*/ 345632 w 472543"/>
                <a:gd name="connsiteY125" fmla="*/ 195076 h 464260"/>
                <a:gd name="connsiteX126" fmla="*/ 346070 w 472543"/>
                <a:gd name="connsiteY126" fmla="*/ 193125 h 464260"/>
                <a:gd name="connsiteX127" fmla="*/ 347147 w 472543"/>
                <a:gd name="connsiteY127" fmla="*/ 190938 h 464260"/>
                <a:gd name="connsiteX128" fmla="*/ 349974 w 472543"/>
                <a:gd name="connsiteY128" fmla="*/ 189627 h 464260"/>
                <a:gd name="connsiteX129" fmla="*/ 353238 w 472543"/>
                <a:gd name="connsiteY129" fmla="*/ 187675 h 464260"/>
                <a:gd name="connsiteX130" fmla="*/ 354753 w 472543"/>
                <a:gd name="connsiteY130" fmla="*/ 185724 h 464260"/>
                <a:gd name="connsiteX131" fmla="*/ 355830 w 472543"/>
                <a:gd name="connsiteY131" fmla="*/ 184412 h 464260"/>
                <a:gd name="connsiteX132" fmla="*/ 360407 w 472543"/>
                <a:gd name="connsiteY132" fmla="*/ 184412 h 464260"/>
                <a:gd name="connsiteX133" fmla="*/ 364546 w 472543"/>
                <a:gd name="connsiteY133" fmla="*/ 185724 h 464260"/>
                <a:gd name="connsiteX134" fmla="*/ 368686 w 472543"/>
                <a:gd name="connsiteY134" fmla="*/ 187036 h 464260"/>
                <a:gd name="connsiteX135" fmla="*/ 371277 w 472543"/>
                <a:gd name="connsiteY135" fmla="*/ 190064 h 464260"/>
                <a:gd name="connsiteX136" fmla="*/ 374340 w 472543"/>
                <a:gd name="connsiteY136" fmla="*/ 195715 h 464260"/>
                <a:gd name="connsiteX137" fmla="*/ 377806 w 472543"/>
                <a:gd name="connsiteY137" fmla="*/ 195480 h 464260"/>
                <a:gd name="connsiteX138" fmla="*/ 380903 w 472543"/>
                <a:gd name="connsiteY138" fmla="*/ 193731 h 464260"/>
                <a:gd name="connsiteX139" fmla="*/ 384201 w 472543"/>
                <a:gd name="connsiteY139" fmla="*/ 190030 h 464260"/>
                <a:gd name="connsiteX140" fmla="*/ 385614 w 472543"/>
                <a:gd name="connsiteY140" fmla="*/ 187406 h 464260"/>
                <a:gd name="connsiteX141" fmla="*/ 385614 w 472543"/>
                <a:gd name="connsiteY141" fmla="*/ 185220 h 464260"/>
                <a:gd name="connsiteX142" fmla="*/ 388778 w 472543"/>
                <a:gd name="connsiteY142" fmla="*/ 186094 h 464260"/>
                <a:gd name="connsiteX143" fmla="*/ 392581 w 472543"/>
                <a:gd name="connsiteY143" fmla="*/ 188718 h 464260"/>
                <a:gd name="connsiteX144" fmla="*/ 392581 w 472543"/>
                <a:gd name="connsiteY144" fmla="*/ 192183 h 464260"/>
                <a:gd name="connsiteX145" fmla="*/ 392581 w 472543"/>
                <a:gd name="connsiteY145" fmla="*/ 195648 h 464260"/>
                <a:gd name="connsiteX146" fmla="*/ 392581 w 472543"/>
                <a:gd name="connsiteY146" fmla="*/ 200862 h 464260"/>
                <a:gd name="connsiteX147" fmla="*/ 392581 w 472543"/>
                <a:gd name="connsiteY147" fmla="*/ 207826 h 464260"/>
                <a:gd name="connsiteX148" fmla="*/ 393658 w 472543"/>
                <a:gd name="connsiteY148" fmla="*/ 210416 h 464260"/>
                <a:gd name="connsiteX149" fmla="*/ 397797 w 472543"/>
                <a:gd name="connsiteY149" fmla="*/ 206951 h 464260"/>
                <a:gd name="connsiteX150" fmla="*/ 399547 w 472543"/>
                <a:gd name="connsiteY150" fmla="*/ 201098 h 464260"/>
                <a:gd name="connsiteX151" fmla="*/ 399547 w 472543"/>
                <a:gd name="connsiteY151" fmla="*/ 195682 h 464260"/>
                <a:gd name="connsiteX152" fmla="*/ 399547 w 472543"/>
                <a:gd name="connsiteY152" fmla="*/ 190468 h 464260"/>
                <a:gd name="connsiteX153" fmla="*/ 402812 w 472543"/>
                <a:gd name="connsiteY153" fmla="*/ 187204 h 464260"/>
                <a:gd name="connsiteX154" fmla="*/ 406716 w 472543"/>
                <a:gd name="connsiteY154" fmla="*/ 184379 h 464260"/>
                <a:gd name="connsiteX155" fmla="*/ 409745 w 472543"/>
                <a:gd name="connsiteY155" fmla="*/ 181755 h 464260"/>
                <a:gd name="connsiteX156" fmla="*/ 414759 w 472543"/>
                <a:gd name="connsiteY156" fmla="*/ 180006 h 464260"/>
                <a:gd name="connsiteX157" fmla="*/ 416072 w 472543"/>
                <a:gd name="connsiteY157" fmla="*/ 178256 h 464260"/>
                <a:gd name="connsiteX158" fmla="*/ 418023 w 472543"/>
                <a:gd name="connsiteY158" fmla="*/ 174791 h 464260"/>
                <a:gd name="connsiteX159" fmla="*/ 419100 w 472543"/>
                <a:gd name="connsiteY159" fmla="*/ 172605 h 464260"/>
                <a:gd name="connsiteX160" fmla="*/ 421726 w 472543"/>
                <a:gd name="connsiteY160" fmla="*/ 168265 h 464260"/>
                <a:gd name="connsiteX161" fmla="*/ 424552 w 472543"/>
                <a:gd name="connsiteY161" fmla="*/ 164128 h 464260"/>
                <a:gd name="connsiteX162" fmla="*/ 427581 w 472543"/>
                <a:gd name="connsiteY162" fmla="*/ 161504 h 464260"/>
                <a:gd name="connsiteX163" fmla="*/ 431485 w 472543"/>
                <a:gd name="connsiteY163" fmla="*/ 158342 h 464260"/>
                <a:gd name="connsiteX164" fmla="*/ 438889 w 472543"/>
                <a:gd name="connsiteY164" fmla="*/ 156491 h 464260"/>
                <a:gd name="connsiteX165" fmla="*/ 445620 w 472543"/>
                <a:gd name="connsiteY165" fmla="*/ 156491 h 464260"/>
                <a:gd name="connsiteX166" fmla="*/ 450837 w 472543"/>
                <a:gd name="connsiteY166" fmla="*/ 156491 h 464260"/>
                <a:gd name="connsiteX167" fmla="*/ 454741 w 472543"/>
                <a:gd name="connsiteY167" fmla="*/ 154742 h 464260"/>
                <a:gd name="connsiteX168" fmla="*/ 456928 w 472543"/>
                <a:gd name="connsiteY168" fmla="*/ 154742 h 464260"/>
                <a:gd name="connsiteX169" fmla="*/ 456928 w 472543"/>
                <a:gd name="connsiteY169" fmla="*/ 157332 h 464260"/>
                <a:gd name="connsiteX170" fmla="*/ 458645 w 472543"/>
                <a:gd name="connsiteY170" fmla="*/ 161470 h 464260"/>
                <a:gd name="connsiteX171" fmla="*/ 458645 w 472543"/>
                <a:gd name="connsiteY171" fmla="*/ 164296 h 464260"/>
                <a:gd name="connsiteX172" fmla="*/ 462111 w 472543"/>
                <a:gd name="connsiteY172" fmla="*/ 165171 h 464260"/>
                <a:gd name="connsiteX173" fmla="*/ 465914 w 472543"/>
                <a:gd name="connsiteY173" fmla="*/ 164094 h 464260"/>
                <a:gd name="connsiteX174" fmla="*/ 469078 w 472543"/>
                <a:gd name="connsiteY174" fmla="*/ 160192 h 464260"/>
                <a:gd name="connsiteX175" fmla="*/ 469078 w 472543"/>
                <a:gd name="connsiteY175" fmla="*/ 157366 h 464260"/>
                <a:gd name="connsiteX176" fmla="*/ 471703 w 472543"/>
                <a:gd name="connsiteY176" fmla="*/ 151715 h 464260"/>
                <a:gd name="connsiteX177" fmla="*/ 471703 w 472543"/>
                <a:gd name="connsiteY177" fmla="*/ 146938 h 464260"/>
                <a:gd name="connsiteX178" fmla="*/ 470390 w 472543"/>
                <a:gd name="connsiteY178" fmla="*/ 140647 h 464260"/>
                <a:gd name="connsiteX179" fmla="*/ 468640 w 472543"/>
                <a:gd name="connsiteY179" fmla="*/ 133919 h 464260"/>
                <a:gd name="connsiteX180" fmla="*/ 467765 w 472543"/>
                <a:gd name="connsiteY180" fmla="*/ 131094 h 464260"/>
                <a:gd name="connsiteX181" fmla="*/ 469010 w 472543"/>
                <a:gd name="connsiteY181" fmla="*/ 128470 h 464260"/>
                <a:gd name="connsiteX182" fmla="*/ 472544 w 472543"/>
                <a:gd name="connsiteY182" fmla="*/ 126720 h 464260"/>
                <a:gd name="connsiteX183" fmla="*/ 472544 w 472543"/>
                <a:gd name="connsiteY183" fmla="*/ 124332 h 464260"/>
                <a:gd name="connsiteX184" fmla="*/ 472544 w 472543"/>
                <a:gd name="connsiteY184" fmla="*/ 122583 h 464260"/>
                <a:gd name="connsiteX185" fmla="*/ 470356 w 472543"/>
                <a:gd name="connsiteY185" fmla="*/ 117369 h 464260"/>
                <a:gd name="connsiteX186" fmla="*/ 469044 w 472543"/>
                <a:gd name="connsiteY186" fmla="*/ 113668 h 464260"/>
                <a:gd name="connsiteX187" fmla="*/ 469044 w 472543"/>
                <a:gd name="connsiteY187" fmla="*/ 110405 h 464260"/>
                <a:gd name="connsiteX188" fmla="*/ 470121 w 472543"/>
                <a:gd name="connsiteY188" fmla="*/ 104754 h 464260"/>
                <a:gd name="connsiteX189" fmla="*/ 466419 w 472543"/>
                <a:gd name="connsiteY189" fmla="*/ 99741 h 464260"/>
                <a:gd name="connsiteX190" fmla="*/ 464231 w 472543"/>
                <a:gd name="connsiteY190" fmla="*/ 97555 h 464260"/>
                <a:gd name="connsiteX191" fmla="*/ 461842 w 472543"/>
                <a:gd name="connsiteY191" fmla="*/ 95806 h 464260"/>
                <a:gd name="connsiteX192" fmla="*/ 455548 w 472543"/>
                <a:gd name="connsiteY192" fmla="*/ 92980 h 464260"/>
                <a:gd name="connsiteX193" fmla="*/ 450971 w 472543"/>
                <a:gd name="connsiteY193" fmla="*/ 90390 h 464260"/>
                <a:gd name="connsiteX194" fmla="*/ 445553 w 472543"/>
                <a:gd name="connsiteY194" fmla="*/ 85075 h 464260"/>
                <a:gd name="connsiteX195" fmla="*/ 444240 w 472543"/>
                <a:gd name="connsiteY195" fmla="*/ 81711 h 464260"/>
                <a:gd name="connsiteX196" fmla="*/ 442053 w 472543"/>
                <a:gd name="connsiteY196" fmla="*/ 81711 h 464260"/>
                <a:gd name="connsiteX197" fmla="*/ 431620 w 472543"/>
                <a:gd name="connsiteY197" fmla="*/ 81711 h 464260"/>
                <a:gd name="connsiteX198" fmla="*/ 426841 w 472543"/>
                <a:gd name="connsiteY198" fmla="*/ 80634 h 464260"/>
                <a:gd name="connsiteX199" fmla="*/ 428793 w 472543"/>
                <a:gd name="connsiteY199" fmla="*/ 74983 h 464260"/>
                <a:gd name="connsiteX200" fmla="*/ 431620 w 472543"/>
                <a:gd name="connsiteY200" fmla="*/ 69970 h 464260"/>
                <a:gd name="connsiteX201" fmla="*/ 429029 w 472543"/>
                <a:gd name="connsiteY201" fmla="*/ 66068 h 464260"/>
                <a:gd name="connsiteX202" fmla="*/ 424889 w 472543"/>
                <a:gd name="connsiteY202" fmla="*/ 64319 h 464260"/>
                <a:gd name="connsiteX203" fmla="*/ 421490 w 472543"/>
                <a:gd name="connsiteY203" fmla="*/ 61291 h 464260"/>
                <a:gd name="connsiteX204" fmla="*/ 415971 w 472543"/>
                <a:gd name="connsiteY204" fmla="*/ 60854 h 464260"/>
                <a:gd name="connsiteX205" fmla="*/ 412504 w 472543"/>
                <a:gd name="connsiteY205" fmla="*/ 60854 h 464260"/>
                <a:gd name="connsiteX206" fmla="*/ 406413 w 472543"/>
                <a:gd name="connsiteY206" fmla="*/ 60854 h 464260"/>
                <a:gd name="connsiteX207" fmla="*/ 399884 w 472543"/>
                <a:gd name="connsiteY207" fmla="*/ 61493 h 464260"/>
                <a:gd name="connsiteX208" fmla="*/ 396821 w 472543"/>
                <a:gd name="connsiteY208" fmla="*/ 62570 h 464260"/>
                <a:gd name="connsiteX209" fmla="*/ 389720 w 472543"/>
                <a:gd name="connsiteY209" fmla="*/ 62570 h 464260"/>
                <a:gd name="connsiteX210" fmla="*/ 386085 w 472543"/>
                <a:gd name="connsiteY210" fmla="*/ 58365 h 464260"/>
                <a:gd name="connsiteX211" fmla="*/ 384201 w 472543"/>
                <a:gd name="connsiteY211" fmla="*/ 54732 h 464260"/>
                <a:gd name="connsiteX212" fmla="*/ 379253 w 472543"/>
                <a:gd name="connsiteY212" fmla="*/ 50527 h 464260"/>
                <a:gd name="connsiteX213" fmla="*/ 377369 w 472543"/>
                <a:gd name="connsiteY213" fmla="*/ 47062 h 464260"/>
                <a:gd name="connsiteX214" fmla="*/ 376494 w 472543"/>
                <a:gd name="connsiteY214" fmla="*/ 44303 h 464260"/>
                <a:gd name="connsiteX215" fmla="*/ 373027 w 472543"/>
                <a:gd name="connsiteY215" fmla="*/ 41545 h 464260"/>
                <a:gd name="connsiteX216" fmla="*/ 371715 w 472543"/>
                <a:gd name="connsiteY216" fmla="*/ 40233 h 464260"/>
                <a:gd name="connsiteX217" fmla="*/ 368686 w 472543"/>
                <a:gd name="connsiteY217" fmla="*/ 36768 h 464260"/>
                <a:gd name="connsiteX218" fmla="*/ 366667 w 472543"/>
                <a:gd name="connsiteY218" fmla="*/ 35624 h 464260"/>
                <a:gd name="connsiteX219" fmla="*/ 364647 w 472543"/>
                <a:gd name="connsiteY219" fmla="*/ 33303 h 464260"/>
                <a:gd name="connsiteX220" fmla="*/ 363772 w 472543"/>
                <a:gd name="connsiteY220" fmla="*/ 31554 h 464260"/>
                <a:gd name="connsiteX221" fmla="*/ 361181 w 472543"/>
                <a:gd name="connsiteY221" fmla="*/ 30982 h 464260"/>
                <a:gd name="connsiteX222" fmla="*/ 357714 w 472543"/>
                <a:gd name="connsiteY222" fmla="*/ 30847 h 464260"/>
                <a:gd name="connsiteX223" fmla="*/ 354820 w 472543"/>
                <a:gd name="connsiteY223" fmla="*/ 30713 h 464260"/>
                <a:gd name="connsiteX224" fmla="*/ 351354 w 472543"/>
                <a:gd name="connsiteY224" fmla="*/ 28964 h 464260"/>
                <a:gd name="connsiteX225" fmla="*/ 349469 w 472543"/>
                <a:gd name="connsiteY225" fmla="*/ 26945 h 464260"/>
                <a:gd name="connsiteX226" fmla="*/ 346137 w 472543"/>
                <a:gd name="connsiteY226" fmla="*/ 24624 h 464260"/>
                <a:gd name="connsiteX227" fmla="*/ 339777 w 472543"/>
                <a:gd name="connsiteY227" fmla="*/ 20722 h 464260"/>
                <a:gd name="connsiteX228" fmla="*/ 336748 w 472543"/>
                <a:gd name="connsiteY228" fmla="*/ 18535 h 464260"/>
                <a:gd name="connsiteX229" fmla="*/ 333719 w 472543"/>
                <a:gd name="connsiteY229" fmla="*/ 15070 h 464260"/>
                <a:gd name="connsiteX230" fmla="*/ 327055 w 472543"/>
                <a:gd name="connsiteY230" fmla="*/ 11740 h 464260"/>
                <a:gd name="connsiteX231" fmla="*/ 321536 w 472543"/>
                <a:gd name="connsiteY231" fmla="*/ 8713 h 464260"/>
                <a:gd name="connsiteX232" fmla="*/ 318069 w 472543"/>
                <a:gd name="connsiteY232" fmla="*/ 5954 h 464260"/>
                <a:gd name="connsiteX233" fmla="*/ 316117 w 472543"/>
                <a:gd name="connsiteY233" fmla="*/ 2758 h 464260"/>
                <a:gd name="connsiteX234" fmla="*/ 313425 w 472543"/>
                <a:gd name="connsiteY234" fmla="*/ 0 h 464260"/>
                <a:gd name="connsiteX235" fmla="*/ 311675 w 472543"/>
                <a:gd name="connsiteY235" fmla="*/ 0 h 464260"/>
                <a:gd name="connsiteX236" fmla="*/ 306459 w 472543"/>
                <a:gd name="connsiteY236" fmla="*/ 0 h 464260"/>
                <a:gd name="connsiteX237" fmla="*/ 304709 w 472543"/>
                <a:gd name="connsiteY237" fmla="*/ 1682 h 464260"/>
                <a:gd name="connsiteX238" fmla="*/ 302386 w 472543"/>
                <a:gd name="connsiteY238" fmla="*/ 4070 h 464260"/>
                <a:gd name="connsiteX239" fmla="*/ 301949 w 472543"/>
                <a:gd name="connsiteY239" fmla="*/ 5954 h 464260"/>
                <a:gd name="connsiteX240" fmla="*/ 301646 w 472543"/>
                <a:gd name="connsiteY240" fmla="*/ 7703 h 464260"/>
                <a:gd name="connsiteX241" fmla="*/ 301074 w 472543"/>
                <a:gd name="connsiteY241" fmla="*/ 9722 h 464260"/>
                <a:gd name="connsiteX242" fmla="*/ 302386 w 472543"/>
                <a:gd name="connsiteY242" fmla="*/ 11303 h 464260"/>
                <a:gd name="connsiteX243" fmla="*/ 304136 w 472543"/>
                <a:gd name="connsiteY243" fmla="*/ 12312 h 464260"/>
                <a:gd name="connsiteX244" fmla="*/ 306459 w 472543"/>
                <a:gd name="connsiteY244" fmla="*/ 14768 h 464260"/>
                <a:gd name="connsiteX245" fmla="*/ 307603 w 472543"/>
                <a:gd name="connsiteY245" fmla="*/ 14768 h 464260"/>
                <a:gd name="connsiteX246" fmla="*/ 307300 w 472543"/>
                <a:gd name="connsiteY246" fmla="*/ 18233 h 464260"/>
                <a:gd name="connsiteX247" fmla="*/ 307300 w 472543"/>
                <a:gd name="connsiteY247" fmla="*/ 19107 h 464260"/>
                <a:gd name="connsiteX248" fmla="*/ 306425 w 472543"/>
                <a:gd name="connsiteY248" fmla="*/ 20856 h 464260"/>
                <a:gd name="connsiteX249" fmla="*/ 304675 w 472543"/>
                <a:gd name="connsiteY249" fmla="*/ 20856 h 464260"/>
                <a:gd name="connsiteX250" fmla="*/ 303093 w 472543"/>
                <a:gd name="connsiteY250" fmla="*/ 20856 h 464260"/>
                <a:gd name="connsiteX251" fmla="*/ 301646 w 472543"/>
                <a:gd name="connsiteY251" fmla="*/ 21428 h 464260"/>
                <a:gd name="connsiteX252" fmla="*/ 301343 w 472543"/>
                <a:gd name="connsiteY252" fmla="*/ 24187 h 464260"/>
                <a:gd name="connsiteX253" fmla="*/ 300636 w 472543"/>
                <a:gd name="connsiteY253" fmla="*/ 29973 h 464260"/>
                <a:gd name="connsiteX254" fmla="*/ 299055 w 472543"/>
                <a:gd name="connsiteY254" fmla="*/ 30847 h 464260"/>
                <a:gd name="connsiteX255" fmla="*/ 296429 w 472543"/>
                <a:gd name="connsiteY255" fmla="*/ 27214 h 464260"/>
                <a:gd name="connsiteX256" fmla="*/ 291516 w 472543"/>
                <a:gd name="connsiteY256" fmla="*/ 27214 h 464260"/>
                <a:gd name="connsiteX257" fmla="*/ 291651 w 472543"/>
                <a:gd name="connsiteY257" fmla="*/ 28661 h 464260"/>
                <a:gd name="connsiteX258" fmla="*/ 291651 w 472543"/>
                <a:gd name="connsiteY258" fmla="*/ 34581 h 464260"/>
                <a:gd name="connsiteX259" fmla="*/ 291718 w 472543"/>
                <a:gd name="connsiteY259" fmla="*/ 38484 h 464260"/>
                <a:gd name="connsiteX260" fmla="*/ 293098 w 472543"/>
                <a:gd name="connsiteY260" fmla="*/ 39930 h 464260"/>
                <a:gd name="connsiteX261" fmla="*/ 296429 w 472543"/>
                <a:gd name="connsiteY261" fmla="*/ 42386 h 464260"/>
                <a:gd name="connsiteX262" fmla="*/ 297304 w 472543"/>
                <a:gd name="connsiteY262" fmla="*/ 45582 h 464260"/>
                <a:gd name="connsiteX263" fmla="*/ 300939 w 472543"/>
                <a:gd name="connsiteY263" fmla="*/ 47465 h 464260"/>
                <a:gd name="connsiteX264" fmla="*/ 303968 w 472543"/>
                <a:gd name="connsiteY264" fmla="*/ 48912 h 464260"/>
                <a:gd name="connsiteX265" fmla="*/ 310329 w 472543"/>
                <a:gd name="connsiteY265" fmla="*/ 52108 h 464260"/>
                <a:gd name="connsiteX266" fmla="*/ 314401 w 472543"/>
                <a:gd name="connsiteY266" fmla="*/ 55169 h 464260"/>
                <a:gd name="connsiteX267" fmla="*/ 315983 w 472543"/>
                <a:gd name="connsiteY267" fmla="*/ 59811 h 464260"/>
                <a:gd name="connsiteX268" fmla="*/ 315983 w 472543"/>
                <a:gd name="connsiteY268" fmla="*/ 63579 h 464260"/>
                <a:gd name="connsiteX269" fmla="*/ 315983 w 472543"/>
                <a:gd name="connsiteY269" fmla="*/ 65765 h 464260"/>
                <a:gd name="connsiteX270" fmla="*/ 314401 w 472543"/>
                <a:gd name="connsiteY270" fmla="*/ 68221 h 464260"/>
                <a:gd name="connsiteX271" fmla="*/ 312213 w 472543"/>
                <a:gd name="connsiteY271" fmla="*/ 69668 h 464260"/>
                <a:gd name="connsiteX272" fmla="*/ 307872 w 472543"/>
                <a:gd name="connsiteY272" fmla="*/ 71417 h 464260"/>
                <a:gd name="connsiteX273" fmla="*/ 306290 w 472543"/>
                <a:gd name="connsiteY273" fmla="*/ 71417 h 464260"/>
                <a:gd name="connsiteX274" fmla="*/ 302824 w 472543"/>
                <a:gd name="connsiteY274" fmla="*/ 72426 h 464260"/>
                <a:gd name="connsiteX275" fmla="*/ 302117 w 472543"/>
                <a:gd name="connsiteY275" fmla="*/ 73873 h 464260"/>
                <a:gd name="connsiteX276" fmla="*/ 302117 w 472543"/>
                <a:gd name="connsiteY276" fmla="*/ 74882 h 464260"/>
                <a:gd name="connsiteX277" fmla="*/ 301175 w 472543"/>
                <a:gd name="connsiteY277" fmla="*/ 78077 h 464260"/>
                <a:gd name="connsiteX278" fmla="*/ 298213 w 472543"/>
                <a:gd name="connsiteY278" fmla="*/ 81273 h 464260"/>
                <a:gd name="connsiteX279" fmla="*/ 295756 w 472543"/>
                <a:gd name="connsiteY279" fmla="*/ 83729 h 464260"/>
                <a:gd name="connsiteX280" fmla="*/ 291718 w 472543"/>
                <a:gd name="connsiteY280" fmla="*/ 84435 h 464260"/>
                <a:gd name="connsiteX281" fmla="*/ 288958 w 472543"/>
                <a:gd name="connsiteY281" fmla="*/ 84435 h 464260"/>
                <a:gd name="connsiteX282" fmla="*/ 286636 w 472543"/>
                <a:gd name="connsiteY282" fmla="*/ 84435 h 464260"/>
                <a:gd name="connsiteX283" fmla="*/ 284583 w 472543"/>
                <a:gd name="connsiteY283" fmla="*/ 86622 h 464260"/>
                <a:gd name="connsiteX284" fmla="*/ 284448 w 472543"/>
                <a:gd name="connsiteY284" fmla="*/ 88371 h 464260"/>
                <a:gd name="connsiteX285" fmla="*/ 284448 w 472543"/>
                <a:gd name="connsiteY285" fmla="*/ 91130 h 464260"/>
                <a:gd name="connsiteX286" fmla="*/ 284448 w 472543"/>
                <a:gd name="connsiteY286" fmla="*/ 94023 h 464260"/>
                <a:gd name="connsiteX287" fmla="*/ 283304 w 472543"/>
                <a:gd name="connsiteY287" fmla="*/ 97353 h 464260"/>
                <a:gd name="connsiteX288" fmla="*/ 281722 w 472543"/>
                <a:gd name="connsiteY288" fmla="*/ 100683 h 464260"/>
                <a:gd name="connsiteX289" fmla="*/ 280713 w 472543"/>
                <a:gd name="connsiteY289" fmla="*/ 104148 h 464260"/>
                <a:gd name="connsiteX290" fmla="*/ 278256 w 472543"/>
                <a:gd name="connsiteY290" fmla="*/ 107916 h 464260"/>
                <a:gd name="connsiteX291" fmla="*/ 274352 w 472543"/>
                <a:gd name="connsiteY291" fmla="*/ 110102 h 464260"/>
                <a:gd name="connsiteX292" fmla="*/ 269136 w 472543"/>
                <a:gd name="connsiteY292" fmla="*/ 112121 h 464260"/>
                <a:gd name="connsiteX293" fmla="*/ 268126 w 472543"/>
                <a:gd name="connsiteY293" fmla="*/ 115317 h 464260"/>
                <a:gd name="connsiteX294" fmla="*/ 269270 w 472543"/>
                <a:gd name="connsiteY294" fmla="*/ 117200 h 464260"/>
                <a:gd name="connsiteX295" fmla="*/ 272467 w 472543"/>
                <a:gd name="connsiteY295" fmla="*/ 120834 h 464260"/>
                <a:gd name="connsiteX296" fmla="*/ 269439 w 472543"/>
                <a:gd name="connsiteY296" fmla="*/ 124298 h 464260"/>
                <a:gd name="connsiteX297" fmla="*/ 266107 w 472543"/>
                <a:gd name="connsiteY297" fmla="*/ 125879 h 464260"/>
                <a:gd name="connsiteX298" fmla="*/ 264962 w 472543"/>
                <a:gd name="connsiteY298" fmla="*/ 127898 h 464260"/>
                <a:gd name="connsiteX299" fmla="*/ 265535 w 472543"/>
                <a:gd name="connsiteY299" fmla="*/ 130219 h 464260"/>
                <a:gd name="connsiteX300" fmla="*/ 267991 w 472543"/>
                <a:gd name="connsiteY300" fmla="*/ 131968 h 464260"/>
                <a:gd name="connsiteX301" fmla="*/ 265669 w 472543"/>
                <a:gd name="connsiteY301" fmla="*/ 135736 h 464260"/>
                <a:gd name="connsiteX302" fmla="*/ 262640 w 472543"/>
                <a:gd name="connsiteY302" fmla="*/ 138763 h 464260"/>
                <a:gd name="connsiteX303" fmla="*/ 260318 w 472543"/>
                <a:gd name="connsiteY303" fmla="*/ 139638 h 464260"/>
                <a:gd name="connsiteX304" fmla="*/ 257727 w 472543"/>
                <a:gd name="connsiteY304" fmla="*/ 142396 h 464260"/>
                <a:gd name="connsiteX305" fmla="*/ 256583 w 472543"/>
                <a:gd name="connsiteY305" fmla="*/ 145592 h 464260"/>
                <a:gd name="connsiteX306" fmla="*/ 257458 w 472543"/>
                <a:gd name="connsiteY306" fmla="*/ 148923 h 464260"/>
                <a:gd name="connsiteX307" fmla="*/ 260352 w 472543"/>
                <a:gd name="connsiteY307" fmla="*/ 152690 h 464260"/>
                <a:gd name="connsiteX308" fmla="*/ 256448 w 472543"/>
                <a:gd name="connsiteY308" fmla="*/ 157198 h 464260"/>
                <a:gd name="connsiteX309" fmla="*/ 255438 w 472543"/>
                <a:gd name="connsiteY309" fmla="*/ 158644 h 464260"/>
                <a:gd name="connsiteX310" fmla="*/ 253419 w 472543"/>
                <a:gd name="connsiteY310" fmla="*/ 160225 h 464260"/>
                <a:gd name="connsiteX311" fmla="*/ 251837 w 472543"/>
                <a:gd name="connsiteY311" fmla="*/ 160663 h 464260"/>
                <a:gd name="connsiteX312" fmla="*/ 249818 w 472543"/>
                <a:gd name="connsiteY312" fmla="*/ 162412 h 464260"/>
                <a:gd name="connsiteX313" fmla="*/ 247496 w 472543"/>
                <a:gd name="connsiteY313" fmla="*/ 163421 h 464260"/>
                <a:gd name="connsiteX314" fmla="*/ 244904 w 472543"/>
                <a:gd name="connsiteY314" fmla="*/ 163421 h 464260"/>
                <a:gd name="connsiteX315" fmla="*/ 243154 w 472543"/>
                <a:gd name="connsiteY315" fmla="*/ 162412 h 464260"/>
                <a:gd name="connsiteX316" fmla="*/ 240529 w 472543"/>
                <a:gd name="connsiteY316" fmla="*/ 159082 h 464260"/>
                <a:gd name="connsiteX317" fmla="*/ 239822 w 472543"/>
                <a:gd name="connsiteY317" fmla="*/ 156054 h 464260"/>
                <a:gd name="connsiteX318" fmla="*/ 238678 w 472543"/>
                <a:gd name="connsiteY318" fmla="*/ 155617 h 464260"/>
                <a:gd name="connsiteX319" fmla="*/ 236794 w 472543"/>
                <a:gd name="connsiteY319" fmla="*/ 156189 h 464260"/>
                <a:gd name="connsiteX320" fmla="*/ 234034 w 472543"/>
                <a:gd name="connsiteY320" fmla="*/ 158813 h 464260"/>
                <a:gd name="connsiteX321" fmla="*/ 231274 w 472543"/>
                <a:gd name="connsiteY321" fmla="*/ 158947 h 464260"/>
                <a:gd name="connsiteX322" fmla="*/ 228077 w 472543"/>
                <a:gd name="connsiteY322" fmla="*/ 157803 h 464260"/>
                <a:gd name="connsiteX323" fmla="*/ 226630 w 472543"/>
                <a:gd name="connsiteY323" fmla="*/ 156660 h 464260"/>
                <a:gd name="connsiteX324" fmla="*/ 224745 w 472543"/>
                <a:gd name="connsiteY324" fmla="*/ 154776 h 464260"/>
                <a:gd name="connsiteX325" fmla="*/ 221413 w 472543"/>
                <a:gd name="connsiteY325" fmla="*/ 154776 h 464260"/>
                <a:gd name="connsiteX326" fmla="*/ 219663 w 472543"/>
                <a:gd name="connsiteY326" fmla="*/ 154776 h 464260"/>
                <a:gd name="connsiteX327" fmla="*/ 216466 w 472543"/>
                <a:gd name="connsiteY327" fmla="*/ 154776 h 464260"/>
                <a:gd name="connsiteX328" fmla="*/ 215322 w 472543"/>
                <a:gd name="connsiteY328" fmla="*/ 157030 h 464260"/>
                <a:gd name="connsiteX329" fmla="*/ 214178 w 472543"/>
                <a:gd name="connsiteY329" fmla="*/ 158981 h 464260"/>
                <a:gd name="connsiteX330" fmla="*/ 215322 w 472543"/>
                <a:gd name="connsiteY330" fmla="*/ 160865 h 464260"/>
                <a:gd name="connsiteX331" fmla="*/ 215322 w 472543"/>
                <a:gd name="connsiteY331" fmla="*/ 163623 h 464260"/>
                <a:gd name="connsiteX332" fmla="*/ 213370 w 472543"/>
                <a:gd name="connsiteY332" fmla="*/ 165070 h 464260"/>
                <a:gd name="connsiteX333" fmla="*/ 211115 w 472543"/>
                <a:gd name="connsiteY333" fmla="*/ 166651 h 464260"/>
                <a:gd name="connsiteX334" fmla="*/ 209096 w 472543"/>
                <a:gd name="connsiteY334" fmla="*/ 169846 h 464260"/>
                <a:gd name="connsiteX335" fmla="*/ 207952 w 472543"/>
                <a:gd name="connsiteY335" fmla="*/ 172874 h 464260"/>
                <a:gd name="connsiteX336" fmla="*/ 210711 w 472543"/>
                <a:gd name="connsiteY336" fmla="*/ 175195 h 464260"/>
                <a:gd name="connsiteX337" fmla="*/ 213606 w 472543"/>
                <a:gd name="connsiteY337" fmla="*/ 178828 h 464260"/>
                <a:gd name="connsiteX338" fmla="*/ 213606 w 472543"/>
                <a:gd name="connsiteY338" fmla="*/ 181721 h 464260"/>
                <a:gd name="connsiteX339" fmla="*/ 213606 w 472543"/>
                <a:gd name="connsiteY339" fmla="*/ 182865 h 464260"/>
                <a:gd name="connsiteX340" fmla="*/ 211855 w 472543"/>
                <a:gd name="connsiteY340" fmla="*/ 185186 h 464260"/>
                <a:gd name="connsiteX341" fmla="*/ 211855 w 472543"/>
                <a:gd name="connsiteY341" fmla="*/ 186061 h 464260"/>
                <a:gd name="connsiteX342" fmla="*/ 208961 w 472543"/>
                <a:gd name="connsiteY342" fmla="*/ 186061 h 464260"/>
                <a:gd name="connsiteX343" fmla="*/ 207514 w 472543"/>
                <a:gd name="connsiteY343" fmla="*/ 187642 h 464260"/>
                <a:gd name="connsiteX344" fmla="*/ 206201 w 472543"/>
                <a:gd name="connsiteY344" fmla="*/ 190972 h 464260"/>
                <a:gd name="connsiteX345" fmla="*/ 204620 w 472543"/>
                <a:gd name="connsiteY345" fmla="*/ 192856 h 464260"/>
                <a:gd name="connsiteX346" fmla="*/ 203038 w 472543"/>
                <a:gd name="connsiteY346" fmla="*/ 194302 h 464260"/>
                <a:gd name="connsiteX347" fmla="*/ 201019 w 472543"/>
                <a:gd name="connsiteY347" fmla="*/ 198440 h 464260"/>
                <a:gd name="connsiteX348" fmla="*/ 200009 w 472543"/>
                <a:gd name="connsiteY348" fmla="*/ 201266 h 464260"/>
                <a:gd name="connsiteX349" fmla="*/ 198562 w 472543"/>
                <a:gd name="connsiteY349" fmla="*/ 205605 h 464260"/>
                <a:gd name="connsiteX350" fmla="*/ 196980 w 472543"/>
                <a:gd name="connsiteY350" fmla="*/ 208936 h 464260"/>
                <a:gd name="connsiteX351" fmla="*/ 193514 w 472543"/>
                <a:gd name="connsiteY351" fmla="*/ 210954 h 464260"/>
                <a:gd name="connsiteX352" fmla="*/ 190451 w 472543"/>
                <a:gd name="connsiteY352" fmla="*/ 216471 h 464260"/>
                <a:gd name="connsiteX353" fmla="*/ 188701 w 472543"/>
                <a:gd name="connsiteY353" fmla="*/ 222694 h 464260"/>
                <a:gd name="connsiteX354" fmla="*/ 185235 w 472543"/>
                <a:gd name="connsiteY354" fmla="*/ 227034 h 464260"/>
                <a:gd name="connsiteX355" fmla="*/ 183350 w 472543"/>
                <a:gd name="connsiteY355" fmla="*/ 228918 h 464260"/>
                <a:gd name="connsiteX356" fmla="*/ 181465 w 472543"/>
                <a:gd name="connsiteY356" fmla="*/ 231239 h 464260"/>
                <a:gd name="connsiteX357" fmla="*/ 180590 w 472543"/>
                <a:gd name="connsiteY357" fmla="*/ 233829 h 464260"/>
                <a:gd name="connsiteX358" fmla="*/ 180590 w 472543"/>
                <a:gd name="connsiteY358" fmla="*/ 235578 h 464260"/>
                <a:gd name="connsiteX359" fmla="*/ 178638 w 472543"/>
                <a:gd name="connsiteY359" fmla="*/ 239043 h 464260"/>
                <a:gd name="connsiteX360" fmla="*/ 175374 w 472543"/>
                <a:gd name="connsiteY360" fmla="*/ 241802 h 464260"/>
                <a:gd name="connsiteX361" fmla="*/ 170595 w 472543"/>
                <a:gd name="connsiteY361" fmla="*/ 244257 h 464260"/>
                <a:gd name="connsiteX362" fmla="*/ 167263 w 472543"/>
                <a:gd name="connsiteY362" fmla="*/ 245401 h 464260"/>
                <a:gd name="connsiteX363" fmla="*/ 165076 w 472543"/>
                <a:gd name="connsiteY363" fmla="*/ 246410 h 464260"/>
                <a:gd name="connsiteX364" fmla="*/ 162316 w 472543"/>
                <a:gd name="connsiteY364" fmla="*/ 248597 h 464260"/>
                <a:gd name="connsiteX365" fmla="*/ 157234 w 472543"/>
                <a:gd name="connsiteY365" fmla="*/ 248597 h 464260"/>
                <a:gd name="connsiteX366" fmla="*/ 151883 w 472543"/>
                <a:gd name="connsiteY366" fmla="*/ 248597 h 464260"/>
                <a:gd name="connsiteX367" fmla="*/ 148114 w 472543"/>
                <a:gd name="connsiteY367" fmla="*/ 248597 h 464260"/>
                <a:gd name="connsiteX368" fmla="*/ 143200 w 472543"/>
                <a:gd name="connsiteY368" fmla="*/ 248092 h 464260"/>
                <a:gd name="connsiteX369" fmla="*/ 140743 w 472543"/>
                <a:gd name="connsiteY369" fmla="*/ 247588 h 464260"/>
                <a:gd name="connsiteX370" fmla="*/ 135830 w 472543"/>
                <a:gd name="connsiteY370" fmla="*/ 244392 h 464260"/>
                <a:gd name="connsiteX371" fmla="*/ 134955 w 472543"/>
                <a:gd name="connsiteY371" fmla="*/ 241196 h 464260"/>
                <a:gd name="connsiteX372" fmla="*/ 131926 w 472543"/>
                <a:gd name="connsiteY372" fmla="*/ 239010 h 464260"/>
                <a:gd name="connsiteX373" fmla="*/ 131926 w 472543"/>
                <a:gd name="connsiteY373" fmla="*/ 236117 h 464260"/>
                <a:gd name="connsiteX374" fmla="*/ 131421 w 472543"/>
                <a:gd name="connsiteY374" fmla="*/ 231474 h 464260"/>
                <a:gd name="connsiteX375" fmla="*/ 131791 w 472543"/>
                <a:gd name="connsiteY375" fmla="*/ 225688 h 464260"/>
                <a:gd name="connsiteX376" fmla="*/ 131084 w 472543"/>
                <a:gd name="connsiteY376" fmla="*/ 221921 h 464260"/>
                <a:gd name="connsiteX377" fmla="*/ 124555 w 472543"/>
                <a:gd name="connsiteY377" fmla="*/ 217850 h 464260"/>
                <a:gd name="connsiteX378" fmla="*/ 122099 w 472543"/>
                <a:gd name="connsiteY378" fmla="*/ 216538 h 464260"/>
                <a:gd name="connsiteX379" fmla="*/ 120652 w 472543"/>
                <a:gd name="connsiteY379" fmla="*/ 217245 h 464260"/>
                <a:gd name="connsiteX380" fmla="*/ 116310 w 472543"/>
                <a:gd name="connsiteY380" fmla="*/ 217245 h 464260"/>
                <a:gd name="connsiteX381" fmla="*/ 113281 w 472543"/>
                <a:gd name="connsiteY381" fmla="*/ 218052 h 464260"/>
                <a:gd name="connsiteX382" fmla="*/ 112272 w 472543"/>
                <a:gd name="connsiteY382" fmla="*/ 219297 h 464260"/>
                <a:gd name="connsiteX383" fmla="*/ 111094 w 472543"/>
                <a:gd name="connsiteY383" fmla="*/ 221046 h 464260"/>
                <a:gd name="connsiteX384" fmla="*/ 109344 w 472543"/>
                <a:gd name="connsiteY384" fmla="*/ 223636 h 464260"/>
                <a:gd name="connsiteX385" fmla="*/ 108469 w 472543"/>
                <a:gd name="connsiteY385" fmla="*/ 224208 h 464260"/>
                <a:gd name="connsiteX386" fmla="*/ 105271 w 472543"/>
                <a:gd name="connsiteY386" fmla="*/ 224208 h 464260"/>
                <a:gd name="connsiteX387" fmla="*/ 103521 w 472543"/>
                <a:gd name="connsiteY387" fmla="*/ 224141 h 464260"/>
                <a:gd name="connsiteX388" fmla="*/ 102209 w 472543"/>
                <a:gd name="connsiteY388" fmla="*/ 224645 h 464260"/>
                <a:gd name="connsiteX389" fmla="*/ 100762 w 472543"/>
                <a:gd name="connsiteY389" fmla="*/ 226664 h 464260"/>
                <a:gd name="connsiteX390" fmla="*/ 98002 w 472543"/>
                <a:gd name="connsiteY390" fmla="*/ 228245 h 464260"/>
                <a:gd name="connsiteX391" fmla="*/ 95444 w 472543"/>
                <a:gd name="connsiteY391" fmla="*/ 228379 h 464260"/>
                <a:gd name="connsiteX392" fmla="*/ 91069 w 472543"/>
                <a:gd name="connsiteY392" fmla="*/ 228245 h 464260"/>
                <a:gd name="connsiteX393" fmla="*/ 87603 w 472543"/>
                <a:gd name="connsiteY393" fmla="*/ 224915 h 464260"/>
                <a:gd name="connsiteX394" fmla="*/ 85651 w 472543"/>
                <a:gd name="connsiteY394" fmla="*/ 221147 h 464260"/>
                <a:gd name="connsiteX395" fmla="*/ 81747 w 472543"/>
                <a:gd name="connsiteY395" fmla="*/ 217884 h 464260"/>
                <a:gd name="connsiteX396" fmla="*/ 78920 w 472543"/>
                <a:gd name="connsiteY396" fmla="*/ 215495 h 464260"/>
                <a:gd name="connsiteX397" fmla="*/ 75218 w 472543"/>
                <a:gd name="connsiteY397" fmla="*/ 215495 h 464260"/>
                <a:gd name="connsiteX398" fmla="*/ 73030 w 472543"/>
                <a:gd name="connsiteY398" fmla="*/ 212670 h 464260"/>
                <a:gd name="connsiteX399" fmla="*/ 70843 w 472543"/>
                <a:gd name="connsiteY399" fmla="*/ 209407 h 464260"/>
                <a:gd name="connsiteX400" fmla="*/ 67376 w 472543"/>
                <a:gd name="connsiteY400" fmla="*/ 207657 h 464260"/>
                <a:gd name="connsiteX401" fmla="*/ 64987 w 472543"/>
                <a:gd name="connsiteY401" fmla="*/ 206581 h 464260"/>
                <a:gd name="connsiteX402" fmla="*/ 61285 w 472543"/>
                <a:gd name="connsiteY402" fmla="*/ 204394 h 464260"/>
                <a:gd name="connsiteX403" fmla="*/ 57381 w 472543"/>
                <a:gd name="connsiteY403" fmla="*/ 203755 h 464260"/>
                <a:gd name="connsiteX404" fmla="*/ 54116 w 472543"/>
                <a:gd name="connsiteY404" fmla="*/ 200728 h 464260"/>
                <a:gd name="connsiteX405" fmla="*/ 50852 w 472543"/>
                <a:gd name="connsiteY405" fmla="*/ 198339 h 464260"/>
                <a:gd name="connsiteX406" fmla="*/ 47823 w 472543"/>
                <a:gd name="connsiteY406" fmla="*/ 200526 h 464260"/>
                <a:gd name="connsiteX407" fmla="*/ 44996 w 472543"/>
                <a:gd name="connsiteY407" fmla="*/ 204865 h 464260"/>
                <a:gd name="connsiteX408" fmla="*/ 41294 w 472543"/>
                <a:gd name="connsiteY408" fmla="*/ 210079 h 464260"/>
                <a:gd name="connsiteX409" fmla="*/ 38030 w 472543"/>
                <a:gd name="connsiteY409" fmla="*/ 216168 h 464260"/>
                <a:gd name="connsiteX410" fmla="*/ 35842 w 472543"/>
                <a:gd name="connsiteY410" fmla="*/ 216168 h 464260"/>
                <a:gd name="connsiteX411" fmla="*/ 32140 w 472543"/>
                <a:gd name="connsiteY411" fmla="*/ 216168 h 464260"/>
                <a:gd name="connsiteX412" fmla="*/ 29313 w 472543"/>
                <a:gd name="connsiteY412" fmla="*/ 217245 h 464260"/>
                <a:gd name="connsiteX413" fmla="*/ 31938 w 472543"/>
                <a:gd name="connsiteY413" fmla="*/ 221382 h 464260"/>
                <a:gd name="connsiteX414" fmla="*/ 31063 w 472543"/>
                <a:gd name="connsiteY414" fmla="*/ 224645 h 464260"/>
                <a:gd name="connsiteX415" fmla="*/ 26722 w 472543"/>
                <a:gd name="connsiteY415" fmla="*/ 222459 h 464260"/>
                <a:gd name="connsiteX416" fmla="*/ 21943 w 472543"/>
                <a:gd name="connsiteY416" fmla="*/ 222459 h 464260"/>
                <a:gd name="connsiteX417" fmla="*/ 21303 w 472543"/>
                <a:gd name="connsiteY417" fmla="*/ 225621 h 464260"/>
                <a:gd name="connsiteX418" fmla="*/ 21539 w 472543"/>
                <a:gd name="connsiteY418" fmla="*/ 230061 h 464260"/>
                <a:gd name="connsiteX419" fmla="*/ 23928 w 472543"/>
                <a:gd name="connsiteY419" fmla="*/ 234199 h 464260"/>
                <a:gd name="connsiteX420" fmla="*/ 29347 w 472543"/>
                <a:gd name="connsiteY420" fmla="*/ 237462 h 464260"/>
                <a:gd name="connsiteX421" fmla="*/ 35674 w 472543"/>
                <a:gd name="connsiteY421" fmla="*/ 239851 h 464260"/>
                <a:gd name="connsiteX422" fmla="*/ 38299 w 472543"/>
                <a:gd name="connsiteY422" fmla="*/ 244863 h 464260"/>
                <a:gd name="connsiteX423" fmla="*/ 39376 w 472543"/>
                <a:gd name="connsiteY423" fmla="*/ 248328 h 464260"/>
                <a:gd name="connsiteX424" fmla="*/ 38501 w 472543"/>
                <a:gd name="connsiteY424" fmla="*/ 251591 h 464260"/>
                <a:gd name="connsiteX425" fmla="*/ 38063 w 472543"/>
                <a:gd name="connsiteY425" fmla="*/ 254618 h 464260"/>
                <a:gd name="connsiteX426" fmla="*/ 37188 w 472543"/>
                <a:gd name="connsiteY426" fmla="*/ 258521 h 464260"/>
                <a:gd name="connsiteX427" fmla="*/ 35876 w 472543"/>
                <a:gd name="connsiteY427" fmla="*/ 262860 h 464260"/>
                <a:gd name="connsiteX428" fmla="*/ 34563 w 472543"/>
                <a:gd name="connsiteY428" fmla="*/ 265888 h 464260"/>
                <a:gd name="connsiteX429" fmla="*/ 31534 w 472543"/>
                <a:gd name="connsiteY429" fmla="*/ 267637 h 464260"/>
                <a:gd name="connsiteX430" fmla="*/ 28472 w 472543"/>
                <a:gd name="connsiteY430" fmla="*/ 267637 h 464260"/>
                <a:gd name="connsiteX431" fmla="*/ 26082 w 472543"/>
                <a:gd name="connsiteY431" fmla="*/ 267637 h 464260"/>
                <a:gd name="connsiteX432" fmla="*/ 25207 w 472543"/>
                <a:gd name="connsiteY432" fmla="*/ 272111 h 464260"/>
                <a:gd name="connsiteX433" fmla="*/ 23255 w 472543"/>
                <a:gd name="connsiteY433" fmla="*/ 278738 h 464260"/>
                <a:gd name="connsiteX434" fmla="*/ 20428 w 472543"/>
                <a:gd name="connsiteY434" fmla="*/ 281564 h 464260"/>
                <a:gd name="connsiteX435" fmla="*/ 14976 w 472543"/>
                <a:gd name="connsiteY435" fmla="*/ 283313 h 464260"/>
                <a:gd name="connsiteX436" fmla="*/ 9120 w 472543"/>
                <a:gd name="connsiteY436" fmla="*/ 286778 h 464260"/>
                <a:gd name="connsiteX437" fmla="*/ 4139 w 472543"/>
                <a:gd name="connsiteY437" fmla="*/ 292328 h 464260"/>
                <a:gd name="connsiteX438" fmla="*/ 0 w 472543"/>
                <a:gd name="connsiteY438" fmla="*/ 294616 h 464260"/>
                <a:gd name="connsiteX439" fmla="*/ 1312 w 472543"/>
                <a:gd name="connsiteY439" fmla="*/ 299830 h 464260"/>
                <a:gd name="connsiteX440" fmla="*/ 0 w 472543"/>
                <a:gd name="connsiteY440" fmla="*/ 306558 h 464260"/>
                <a:gd name="connsiteX441" fmla="*/ 1077 w 472543"/>
                <a:gd name="connsiteY441" fmla="*/ 309585 h 464260"/>
                <a:gd name="connsiteX442" fmla="*/ 5216 w 472543"/>
                <a:gd name="connsiteY442" fmla="*/ 314800 h 464260"/>
                <a:gd name="connsiteX443" fmla="*/ 6731 w 472543"/>
                <a:gd name="connsiteY443" fmla="*/ 316313 h 464260"/>
                <a:gd name="connsiteX444" fmla="*/ 6293 w 472543"/>
                <a:gd name="connsiteY444" fmla="*/ 318702 h 464260"/>
                <a:gd name="connsiteX445" fmla="*/ 5216 w 472543"/>
                <a:gd name="connsiteY445" fmla="*/ 322839 h 464260"/>
                <a:gd name="connsiteX446" fmla="*/ 7606 w 472543"/>
                <a:gd name="connsiteY446" fmla="*/ 326304 h 464260"/>
                <a:gd name="connsiteX447" fmla="*/ 11072 w 472543"/>
                <a:gd name="connsiteY447" fmla="*/ 329130 h 464260"/>
                <a:gd name="connsiteX448" fmla="*/ 18039 w 472543"/>
                <a:gd name="connsiteY448" fmla="*/ 330207 h 464260"/>
                <a:gd name="connsiteX449" fmla="*/ 21303 w 472543"/>
                <a:gd name="connsiteY449" fmla="*/ 330207 h 464260"/>
                <a:gd name="connsiteX450" fmla="*/ 26520 w 472543"/>
                <a:gd name="connsiteY450" fmla="*/ 327583 h 464260"/>
                <a:gd name="connsiteX451" fmla="*/ 29784 w 472543"/>
                <a:gd name="connsiteY451" fmla="*/ 325833 h 464260"/>
                <a:gd name="connsiteX452" fmla="*/ 35001 w 472543"/>
                <a:gd name="connsiteY452" fmla="*/ 324757 h 464260"/>
                <a:gd name="connsiteX453" fmla="*/ 37188 w 472543"/>
                <a:gd name="connsiteY453" fmla="*/ 329769 h 464260"/>
                <a:gd name="connsiteX454" fmla="*/ 34799 w 472543"/>
                <a:gd name="connsiteY454" fmla="*/ 332595 h 464260"/>
                <a:gd name="connsiteX455" fmla="*/ 34361 w 472543"/>
                <a:gd name="connsiteY455" fmla="*/ 335219 h 464260"/>
                <a:gd name="connsiteX456" fmla="*/ 33924 w 472543"/>
                <a:gd name="connsiteY456" fmla="*/ 338482 h 464260"/>
                <a:gd name="connsiteX457" fmla="*/ 31972 w 472543"/>
                <a:gd name="connsiteY457" fmla="*/ 341106 h 464260"/>
                <a:gd name="connsiteX458" fmla="*/ 30895 w 472543"/>
                <a:gd name="connsiteY458" fmla="*/ 344133 h 464260"/>
                <a:gd name="connsiteX459" fmla="*/ 29818 w 472543"/>
                <a:gd name="connsiteY459" fmla="*/ 346757 h 464260"/>
                <a:gd name="connsiteX460" fmla="*/ 31770 w 472543"/>
                <a:gd name="connsiteY460" fmla="*/ 350458 h 464260"/>
                <a:gd name="connsiteX461" fmla="*/ 34597 w 472543"/>
                <a:gd name="connsiteY461" fmla="*/ 355436 h 464260"/>
                <a:gd name="connsiteX462" fmla="*/ 34597 w 472543"/>
                <a:gd name="connsiteY462" fmla="*/ 360650 h 464260"/>
                <a:gd name="connsiteX463" fmla="*/ 34597 w 472543"/>
                <a:gd name="connsiteY463" fmla="*/ 366167 h 464260"/>
                <a:gd name="connsiteX464" fmla="*/ 39073 w 472543"/>
                <a:gd name="connsiteY464" fmla="*/ 372122 h 464260"/>
                <a:gd name="connsiteX465" fmla="*/ 44155 w 472543"/>
                <a:gd name="connsiteY465" fmla="*/ 372559 h 464260"/>
                <a:gd name="connsiteX466" fmla="*/ 50953 w 472543"/>
                <a:gd name="connsiteY466" fmla="*/ 369969 h 464260"/>
                <a:gd name="connsiteX467" fmla="*/ 58929 w 472543"/>
                <a:gd name="connsiteY467" fmla="*/ 368657 h 464260"/>
                <a:gd name="connsiteX468" fmla="*/ 62261 w 472543"/>
                <a:gd name="connsiteY468" fmla="*/ 370406 h 464260"/>
                <a:gd name="connsiteX469" fmla="*/ 66737 w 472543"/>
                <a:gd name="connsiteY469" fmla="*/ 375620 h 464260"/>
                <a:gd name="connsiteX470" fmla="*/ 72526 w 472543"/>
                <a:gd name="connsiteY470" fmla="*/ 377638 h 464260"/>
                <a:gd name="connsiteX471" fmla="*/ 78482 w 472543"/>
                <a:gd name="connsiteY471" fmla="*/ 376629 h 464260"/>
                <a:gd name="connsiteX472" fmla="*/ 82521 w 472543"/>
                <a:gd name="connsiteY472" fmla="*/ 380834 h 464260"/>
                <a:gd name="connsiteX473" fmla="*/ 84978 w 472543"/>
                <a:gd name="connsiteY473" fmla="*/ 383290 h 464260"/>
                <a:gd name="connsiteX474" fmla="*/ 84978 w 472543"/>
                <a:gd name="connsiteY474" fmla="*/ 387192 h 464260"/>
                <a:gd name="connsiteX475" fmla="*/ 86055 w 472543"/>
                <a:gd name="connsiteY475" fmla="*/ 392541 h 464260"/>
                <a:gd name="connsiteX476" fmla="*/ 88882 w 472543"/>
                <a:gd name="connsiteY476" fmla="*/ 394862 h 464260"/>
                <a:gd name="connsiteX477" fmla="*/ 89757 w 472543"/>
                <a:gd name="connsiteY477" fmla="*/ 399067 h 464260"/>
                <a:gd name="connsiteX478" fmla="*/ 91944 w 472543"/>
                <a:gd name="connsiteY478" fmla="*/ 404146 h 464260"/>
                <a:gd name="connsiteX479" fmla="*/ 91944 w 472543"/>
                <a:gd name="connsiteY479" fmla="*/ 405391 h 464260"/>
                <a:gd name="connsiteX480" fmla="*/ 92550 w 472543"/>
                <a:gd name="connsiteY480" fmla="*/ 408722 h 464260"/>
                <a:gd name="connsiteX481" fmla="*/ 93694 w 472543"/>
                <a:gd name="connsiteY481" fmla="*/ 411110 h 464260"/>
                <a:gd name="connsiteX482" fmla="*/ 93694 w 472543"/>
                <a:gd name="connsiteY482" fmla="*/ 416324 h 464260"/>
                <a:gd name="connsiteX483" fmla="*/ 95848 w 472543"/>
                <a:gd name="connsiteY483" fmla="*/ 421942 h 464260"/>
                <a:gd name="connsiteX484" fmla="*/ 96286 w 472543"/>
                <a:gd name="connsiteY484" fmla="*/ 421269 h 464260"/>
                <a:gd name="connsiteX485" fmla="*/ 97228 w 472543"/>
                <a:gd name="connsiteY485" fmla="*/ 418443 h 464260"/>
                <a:gd name="connsiteX486" fmla="*/ 95646 w 472543"/>
                <a:gd name="connsiteY486" fmla="*/ 416829 h 464260"/>
                <a:gd name="connsiteX487" fmla="*/ 95444 w 472543"/>
                <a:gd name="connsiteY487" fmla="*/ 415012 h 464260"/>
                <a:gd name="connsiteX488" fmla="*/ 96824 w 472543"/>
                <a:gd name="connsiteY488" fmla="*/ 413768 h 464260"/>
                <a:gd name="connsiteX489" fmla="*/ 97767 w 472543"/>
                <a:gd name="connsiteY489" fmla="*/ 413633 h 464260"/>
                <a:gd name="connsiteX490" fmla="*/ 99012 w 472543"/>
                <a:gd name="connsiteY490" fmla="*/ 413936 h 464260"/>
                <a:gd name="connsiteX491" fmla="*/ 99584 w 472543"/>
                <a:gd name="connsiteY491" fmla="*/ 414507 h 464260"/>
                <a:gd name="connsiteX492" fmla="*/ 100459 w 472543"/>
                <a:gd name="connsiteY492" fmla="*/ 415079 h 464260"/>
                <a:gd name="connsiteX493" fmla="*/ 101468 w 472543"/>
                <a:gd name="connsiteY493" fmla="*/ 415718 h 464260"/>
                <a:gd name="connsiteX494" fmla="*/ 103286 w 472543"/>
                <a:gd name="connsiteY494" fmla="*/ 417602 h 464260"/>
                <a:gd name="connsiteX495" fmla="*/ 104464 w 472543"/>
                <a:gd name="connsiteY495" fmla="*/ 417165 h 464260"/>
                <a:gd name="connsiteX496" fmla="*/ 105238 w 472543"/>
                <a:gd name="connsiteY496" fmla="*/ 416862 h 464260"/>
                <a:gd name="connsiteX497" fmla="*/ 106180 w 472543"/>
                <a:gd name="connsiteY497" fmla="*/ 415786 h 464260"/>
                <a:gd name="connsiteX498" fmla="*/ 106180 w 472543"/>
                <a:gd name="connsiteY498" fmla="*/ 414709 h 464260"/>
                <a:gd name="connsiteX499" fmla="*/ 105877 w 472543"/>
                <a:gd name="connsiteY499" fmla="*/ 413566 h 464260"/>
                <a:gd name="connsiteX500" fmla="*/ 105238 w 472543"/>
                <a:gd name="connsiteY500" fmla="*/ 413128 h 464260"/>
                <a:gd name="connsiteX501" fmla="*/ 104868 w 472543"/>
                <a:gd name="connsiteY501" fmla="*/ 411615 h 464260"/>
                <a:gd name="connsiteX502" fmla="*/ 105507 w 472543"/>
                <a:gd name="connsiteY502" fmla="*/ 410538 h 464260"/>
                <a:gd name="connsiteX503" fmla="*/ 107190 w 472543"/>
                <a:gd name="connsiteY503" fmla="*/ 409394 h 464260"/>
                <a:gd name="connsiteX504" fmla="*/ 109512 w 472543"/>
                <a:gd name="connsiteY504" fmla="*/ 408251 h 464260"/>
                <a:gd name="connsiteX505" fmla="*/ 110017 w 472543"/>
                <a:gd name="connsiteY505" fmla="*/ 407881 h 464260"/>
                <a:gd name="connsiteX506" fmla="*/ 111700 w 472543"/>
                <a:gd name="connsiteY506" fmla="*/ 406939 h 464260"/>
                <a:gd name="connsiteX507" fmla="*/ 112272 w 472543"/>
                <a:gd name="connsiteY507" fmla="*/ 404550 h 464260"/>
                <a:gd name="connsiteX508" fmla="*/ 111969 w 472543"/>
                <a:gd name="connsiteY508" fmla="*/ 402868 h 464260"/>
                <a:gd name="connsiteX509" fmla="*/ 110522 w 472543"/>
                <a:gd name="connsiteY509" fmla="*/ 400042 h 464260"/>
                <a:gd name="connsiteX510" fmla="*/ 108199 w 472543"/>
                <a:gd name="connsiteY510" fmla="*/ 398024 h 464260"/>
                <a:gd name="connsiteX511" fmla="*/ 107122 w 472543"/>
                <a:gd name="connsiteY511" fmla="*/ 396779 h 464260"/>
                <a:gd name="connsiteX512" fmla="*/ 104868 w 472543"/>
                <a:gd name="connsiteY512" fmla="*/ 394963 h 464260"/>
                <a:gd name="connsiteX513" fmla="*/ 103488 w 472543"/>
                <a:gd name="connsiteY513" fmla="*/ 392945 h 464260"/>
                <a:gd name="connsiteX514" fmla="*/ 102041 w 472543"/>
                <a:gd name="connsiteY514" fmla="*/ 390321 h 464260"/>
                <a:gd name="connsiteX515" fmla="*/ 102041 w 472543"/>
                <a:gd name="connsiteY515" fmla="*/ 388067 h 464260"/>
                <a:gd name="connsiteX516" fmla="*/ 102310 w 472543"/>
                <a:gd name="connsiteY516" fmla="*/ 385106 h 464260"/>
                <a:gd name="connsiteX517" fmla="*/ 103050 w 472543"/>
                <a:gd name="connsiteY517" fmla="*/ 383963 h 464260"/>
                <a:gd name="connsiteX518" fmla="*/ 103993 w 472543"/>
                <a:gd name="connsiteY518" fmla="*/ 382449 h 464260"/>
                <a:gd name="connsiteX519" fmla="*/ 105002 w 472543"/>
                <a:gd name="connsiteY519" fmla="*/ 382449 h 464260"/>
                <a:gd name="connsiteX520" fmla="*/ 107022 w 472543"/>
                <a:gd name="connsiteY520" fmla="*/ 383458 h 464260"/>
                <a:gd name="connsiteX521" fmla="*/ 108031 w 472543"/>
                <a:gd name="connsiteY521" fmla="*/ 384703 h 464260"/>
                <a:gd name="connsiteX522" fmla="*/ 109276 w 472543"/>
                <a:gd name="connsiteY522" fmla="*/ 385712 h 464260"/>
                <a:gd name="connsiteX523" fmla="*/ 110959 w 472543"/>
                <a:gd name="connsiteY523" fmla="*/ 387293 h 464260"/>
                <a:gd name="connsiteX524" fmla="*/ 112305 w 472543"/>
                <a:gd name="connsiteY524" fmla="*/ 390926 h 464260"/>
                <a:gd name="connsiteX525" fmla="*/ 113214 w 472543"/>
                <a:gd name="connsiteY525" fmla="*/ 391431 h 464260"/>
                <a:gd name="connsiteX526" fmla="*/ 114358 w 472543"/>
                <a:gd name="connsiteY526" fmla="*/ 393247 h 464260"/>
                <a:gd name="connsiteX527" fmla="*/ 116815 w 472543"/>
                <a:gd name="connsiteY527" fmla="*/ 394122 h 464260"/>
                <a:gd name="connsiteX528" fmla="*/ 117959 w 472543"/>
                <a:gd name="connsiteY528" fmla="*/ 396073 h 464260"/>
                <a:gd name="connsiteX529" fmla="*/ 121022 w 472543"/>
                <a:gd name="connsiteY529" fmla="*/ 398091 h 464260"/>
                <a:gd name="connsiteX530" fmla="*/ 122704 w 472543"/>
                <a:gd name="connsiteY530" fmla="*/ 398226 h 464260"/>
                <a:gd name="connsiteX531" fmla="*/ 123512 w 472543"/>
                <a:gd name="connsiteY531" fmla="*/ 398361 h 464260"/>
                <a:gd name="connsiteX532" fmla="*/ 125464 w 472543"/>
                <a:gd name="connsiteY532" fmla="*/ 399100 h 464260"/>
                <a:gd name="connsiteX533" fmla="*/ 124791 w 472543"/>
                <a:gd name="connsiteY533" fmla="*/ 401052 h 464260"/>
                <a:gd name="connsiteX534" fmla="*/ 124993 w 472543"/>
                <a:gd name="connsiteY534" fmla="*/ 403070 h 464260"/>
                <a:gd name="connsiteX535" fmla="*/ 124993 w 472543"/>
                <a:gd name="connsiteY535" fmla="*/ 404146 h 464260"/>
                <a:gd name="connsiteX536" fmla="*/ 124488 w 472543"/>
                <a:gd name="connsiteY536" fmla="*/ 406400 h 464260"/>
                <a:gd name="connsiteX537" fmla="*/ 123983 w 472543"/>
                <a:gd name="connsiteY537" fmla="*/ 407477 h 464260"/>
                <a:gd name="connsiteX538" fmla="*/ 123546 w 472543"/>
                <a:gd name="connsiteY538" fmla="*/ 408419 h 464260"/>
                <a:gd name="connsiteX539" fmla="*/ 123108 w 472543"/>
                <a:gd name="connsiteY539" fmla="*/ 409798 h 464260"/>
                <a:gd name="connsiteX540" fmla="*/ 122233 w 472543"/>
                <a:gd name="connsiteY540" fmla="*/ 410874 h 464260"/>
                <a:gd name="connsiteX541" fmla="*/ 121291 w 472543"/>
                <a:gd name="connsiteY541" fmla="*/ 411884 h 464260"/>
                <a:gd name="connsiteX542" fmla="*/ 120046 w 472543"/>
                <a:gd name="connsiteY542" fmla="*/ 413835 h 464260"/>
                <a:gd name="connsiteX543" fmla="*/ 119608 w 472543"/>
                <a:gd name="connsiteY543" fmla="*/ 414709 h 464260"/>
                <a:gd name="connsiteX544" fmla="*/ 118901 w 472543"/>
                <a:gd name="connsiteY544" fmla="*/ 416156 h 464260"/>
                <a:gd name="connsiteX545" fmla="*/ 118599 w 472543"/>
                <a:gd name="connsiteY545" fmla="*/ 417300 h 464260"/>
                <a:gd name="connsiteX546" fmla="*/ 118229 w 472543"/>
                <a:gd name="connsiteY546" fmla="*/ 418612 h 464260"/>
                <a:gd name="connsiteX547" fmla="*/ 118363 w 472543"/>
                <a:gd name="connsiteY547" fmla="*/ 420294 h 464260"/>
                <a:gd name="connsiteX548" fmla="*/ 120012 w 472543"/>
                <a:gd name="connsiteY548" fmla="*/ 422615 h 464260"/>
                <a:gd name="connsiteX549" fmla="*/ 122839 w 472543"/>
                <a:gd name="connsiteY549" fmla="*/ 422817 h 464260"/>
                <a:gd name="connsiteX550" fmla="*/ 126104 w 472543"/>
                <a:gd name="connsiteY550" fmla="*/ 423254 h 464260"/>
                <a:gd name="connsiteX551" fmla="*/ 126676 w 472543"/>
                <a:gd name="connsiteY551" fmla="*/ 423826 h 464260"/>
                <a:gd name="connsiteX552" fmla="*/ 128123 w 472543"/>
                <a:gd name="connsiteY552" fmla="*/ 427459 h 464260"/>
                <a:gd name="connsiteX553" fmla="*/ 128695 w 472543"/>
                <a:gd name="connsiteY553" fmla="*/ 428771 h 464260"/>
                <a:gd name="connsiteX554" fmla="*/ 130714 w 472543"/>
                <a:gd name="connsiteY554" fmla="*/ 429645 h 464260"/>
                <a:gd name="connsiteX555" fmla="*/ 132363 w 472543"/>
                <a:gd name="connsiteY555" fmla="*/ 427896 h 464260"/>
                <a:gd name="connsiteX556" fmla="*/ 133676 w 472543"/>
                <a:gd name="connsiteY556" fmla="*/ 425138 h 464260"/>
                <a:gd name="connsiteX557" fmla="*/ 133676 w 472543"/>
                <a:gd name="connsiteY557" fmla="*/ 423321 h 464260"/>
                <a:gd name="connsiteX558" fmla="*/ 133777 w 472543"/>
                <a:gd name="connsiteY558" fmla="*/ 421370 h 464260"/>
                <a:gd name="connsiteX559" fmla="*/ 133777 w 472543"/>
                <a:gd name="connsiteY559" fmla="*/ 419553 h 464260"/>
                <a:gd name="connsiteX560" fmla="*/ 133878 w 472543"/>
                <a:gd name="connsiteY560" fmla="*/ 417165 h 464260"/>
                <a:gd name="connsiteX561" fmla="*/ 132767 w 472543"/>
                <a:gd name="connsiteY561" fmla="*/ 414911 h 464260"/>
                <a:gd name="connsiteX562" fmla="*/ 132464 w 472543"/>
                <a:gd name="connsiteY562" fmla="*/ 412960 h 464260"/>
                <a:gd name="connsiteX563" fmla="*/ 131959 w 472543"/>
                <a:gd name="connsiteY563" fmla="*/ 410706 h 464260"/>
                <a:gd name="connsiteX564" fmla="*/ 132902 w 472543"/>
                <a:gd name="connsiteY564" fmla="*/ 409764 h 464260"/>
                <a:gd name="connsiteX565" fmla="*/ 134282 w 472543"/>
                <a:gd name="connsiteY565" fmla="*/ 410404 h 464260"/>
                <a:gd name="connsiteX566" fmla="*/ 136166 w 472543"/>
                <a:gd name="connsiteY566" fmla="*/ 411345 h 464260"/>
                <a:gd name="connsiteX567" fmla="*/ 138926 w 472543"/>
                <a:gd name="connsiteY567" fmla="*/ 413229 h 464260"/>
                <a:gd name="connsiteX568" fmla="*/ 142123 w 472543"/>
                <a:gd name="connsiteY568" fmla="*/ 413431 h 464260"/>
                <a:gd name="connsiteX569" fmla="*/ 144277 w 472543"/>
                <a:gd name="connsiteY569" fmla="*/ 410908 h 464260"/>
                <a:gd name="connsiteX570" fmla="*/ 145657 w 472543"/>
                <a:gd name="connsiteY570" fmla="*/ 409226 h 464260"/>
                <a:gd name="connsiteX571" fmla="*/ 146027 w 472543"/>
                <a:gd name="connsiteY571" fmla="*/ 405896 h 464260"/>
                <a:gd name="connsiteX572" fmla="*/ 145219 w 472543"/>
                <a:gd name="connsiteY572" fmla="*/ 403070 h 464260"/>
                <a:gd name="connsiteX573" fmla="*/ 141585 w 472543"/>
                <a:gd name="connsiteY573" fmla="*/ 399235 h 464260"/>
                <a:gd name="connsiteX574" fmla="*/ 139868 w 472543"/>
                <a:gd name="connsiteY574" fmla="*/ 397284 h 464260"/>
                <a:gd name="connsiteX575" fmla="*/ 142460 w 472543"/>
                <a:gd name="connsiteY575" fmla="*/ 393584 h 464260"/>
                <a:gd name="connsiteX576" fmla="*/ 145926 w 472543"/>
                <a:gd name="connsiteY576" fmla="*/ 391397 h 464260"/>
                <a:gd name="connsiteX577" fmla="*/ 148013 w 472543"/>
                <a:gd name="connsiteY577" fmla="*/ 390152 h 464260"/>
                <a:gd name="connsiteX578" fmla="*/ 149763 w 472543"/>
                <a:gd name="connsiteY578" fmla="*/ 389581 h 464260"/>
                <a:gd name="connsiteX579" fmla="*/ 151715 w 472543"/>
                <a:gd name="connsiteY579" fmla="*/ 390018 h 464260"/>
                <a:gd name="connsiteX580" fmla="*/ 155349 w 472543"/>
                <a:gd name="connsiteY580" fmla="*/ 391700 h 464260"/>
                <a:gd name="connsiteX581" fmla="*/ 156999 w 472543"/>
                <a:gd name="connsiteY581" fmla="*/ 392574 h 464260"/>
                <a:gd name="connsiteX582" fmla="*/ 158378 w 472543"/>
                <a:gd name="connsiteY582" fmla="*/ 390960 h 464260"/>
                <a:gd name="connsiteX583" fmla="*/ 159253 w 472543"/>
                <a:gd name="connsiteY583" fmla="*/ 387764 h 464260"/>
                <a:gd name="connsiteX584" fmla="*/ 159826 w 472543"/>
                <a:gd name="connsiteY584" fmla="*/ 385241 h 464260"/>
                <a:gd name="connsiteX585" fmla="*/ 160465 w 472543"/>
                <a:gd name="connsiteY585" fmla="*/ 383660 h 464260"/>
                <a:gd name="connsiteX586" fmla="*/ 161475 w 472543"/>
                <a:gd name="connsiteY586" fmla="*/ 383223 h 464260"/>
                <a:gd name="connsiteX587" fmla="*/ 165883 w 472543"/>
                <a:gd name="connsiteY587" fmla="*/ 381843 h 464260"/>
                <a:gd name="connsiteX588" fmla="*/ 169653 w 472543"/>
                <a:gd name="connsiteY588" fmla="*/ 380599 h 464260"/>
                <a:gd name="connsiteX589" fmla="*/ 174432 w 472543"/>
                <a:gd name="connsiteY589" fmla="*/ 380599 h 464260"/>
                <a:gd name="connsiteX590" fmla="*/ 179345 w 472543"/>
                <a:gd name="connsiteY590" fmla="*/ 381339 h 464260"/>
                <a:gd name="connsiteX591" fmla="*/ 182542 w 472543"/>
                <a:gd name="connsiteY591" fmla="*/ 386116 h 464260"/>
                <a:gd name="connsiteX592" fmla="*/ 182542 w 472543"/>
                <a:gd name="connsiteY592" fmla="*/ 389446 h 464260"/>
                <a:gd name="connsiteX593" fmla="*/ 183990 w 472543"/>
                <a:gd name="connsiteY593" fmla="*/ 393516 h 464260"/>
                <a:gd name="connsiteX594" fmla="*/ 185302 w 472543"/>
                <a:gd name="connsiteY594" fmla="*/ 393954 h 464260"/>
                <a:gd name="connsiteX595" fmla="*/ 187624 w 472543"/>
                <a:gd name="connsiteY595" fmla="*/ 393819 h 464260"/>
                <a:gd name="connsiteX596" fmla="*/ 189206 w 472543"/>
                <a:gd name="connsiteY596" fmla="*/ 391801 h 464260"/>
                <a:gd name="connsiteX597" fmla="*/ 191225 w 472543"/>
                <a:gd name="connsiteY597" fmla="*/ 388908 h 464260"/>
                <a:gd name="connsiteX598" fmla="*/ 192538 w 472543"/>
                <a:gd name="connsiteY598" fmla="*/ 387327 h 464260"/>
                <a:gd name="connsiteX599" fmla="*/ 194288 w 472543"/>
                <a:gd name="connsiteY599" fmla="*/ 385880 h 464260"/>
                <a:gd name="connsiteX600" fmla="*/ 196745 w 472543"/>
                <a:gd name="connsiteY600" fmla="*/ 384871 h 464260"/>
                <a:gd name="connsiteX601" fmla="*/ 199201 w 472543"/>
                <a:gd name="connsiteY601" fmla="*/ 383996 h 464260"/>
                <a:gd name="connsiteX602" fmla="*/ 201658 w 472543"/>
                <a:gd name="connsiteY602" fmla="*/ 382684 h 464260"/>
                <a:gd name="connsiteX603" fmla="*/ 203745 w 472543"/>
                <a:gd name="connsiteY603" fmla="*/ 380666 h 464260"/>
                <a:gd name="connsiteX604" fmla="*/ 204822 w 472543"/>
                <a:gd name="connsiteY604" fmla="*/ 378479 h 464260"/>
                <a:gd name="connsiteX605" fmla="*/ 204822 w 472543"/>
                <a:gd name="connsiteY605" fmla="*/ 376293 h 464260"/>
                <a:gd name="connsiteX606" fmla="*/ 204822 w 472543"/>
                <a:gd name="connsiteY606" fmla="*/ 372828 h 464260"/>
                <a:gd name="connsiteX607" fmla="*/ 203072 w 472543"/>
                <a:gd name="connsiteY607" fmla="*/ 369498 h 464260"/>
                <a:gd name="connsiteX608" fmla="*/ 199235 w 472543"/>
                <a:gd name="connsiteY608" fmla="*/ 368623 h 464260"/>
                <a:gd name="connsiteX609" fmla="*/ 197855 w 472543"/>
                <a:gd name="connsiteY609" fmla="*/ 366033 h 464260"/>
                <a:gd name="connsiteX610" fmla="*/ 197855 w 472543"/>
                <a:gd name="connsiteY610" fmla="*/ 364149 h 464260"/>
                <a:gd name="connsiteX611" fmla="*/ 197283 w 472543"/>
                <a:gd name="connsiteY611" fmla="*/ 360247 h 464260"/>
                <a:gd name="connsiteX612" fmla="*/ 198158 w 472543"/>
                <a:gd name="connsiteY612" fmla="*/ 355470 h 464260"/>
                <a:gd name="connsiteX613" fmla="*/ 198730 w 472543"/>
                <a:gd name="connsiteY613" fmla="*/ 352846 h 464260"/>
                <a:gd name="connsiteX614" fmla="*/ 201187 w 472543"/>
                <a:gd name="connsiteY614" fmla="*/ 351837 h 464260"/>
                <a:gd name="connsiteX615" fmla="*/ 204822 w 472543"/>
                <a:gd name="connsiteY615" fmla="*/ 348809 h 464260"/>
                <a:gd name="connsiteX616" fmla="*/ 206403 w 472543"/>
                <a:gd name="connsiteY616" fmla="*/ 346051 h 464260"/>
                <a:gd name="connsiteX617" fmla="*/ 208860 w 472543"/>
                <a:gd name="connsiteY617" fmla="*/ 344167 h 464260"/>
                <a:gd name="connsiteX618" fmla="*/ 210880 w 472543"/>
                <a:gd name="connsiteY618" fmla="*/ 344167 h 464260"/>
                <a:gd name="connsiteX619" fmla="*/ 213067 w 472543"/>
                <a:gd name="connsiteY619" fmla="*/ 345042 h 464260"/>
                <a:gd name="connsiteX620" fmla="*/ 215961 w 472543"/>
                <a:gd name="connsiteY620" fmla="*/ 346925 h 464260"/>
                <a:gd name="connsiteX621" fmla="*/ 217274 w 472543"/>
                <a:gd name="connsiteY621" fmla="*/ 347935 h 464260"/>
                <a:gd name="connsiteX622" fmla="*/ 219596 w 472543"/>
                <a:gd name="connsiteY622" fmla="*/ 349381 h 464260"/>
                <a:gd name="connsiteX623" fmla="*/ 225250 w 472543"/>
                <a:gd name="connsiteY623" fmla="*/ 350962 h 464260"/>
                <a:gd name="connsiteX624" fmla="*/ 227404 w 472543"/>
                <a:gd name="connsiteY624" fmla="*/ 349314 h 464260"/>
                <a:gd name="connsiteX625" fmla="*/ 229188 w 472543"/>
                <a:gd name="connsiteY625" fmla="*/ 347834 h 464260"/>
                <a:gd name="connsiteX626" fmla="*/ 230500 w 472543"/>
                <a:gd name="connsiteY626" fmla="*/ 347329 h 464260"/>
                <a:gd name="connsiteX627" fmla="*/ 233058 w 472543"/>
                <a:gd name="connsiteY627" fmla="*/ 347228 h 464260"/>
                <a:gd name="connsiteX628" fmla="*/ 235111 w 472543"/>
                <a:gd name="connsiteY628" fmla="*/ 347935 h 464260"/>
                <a:gd name="connsiteX629" fmla="*/ 236457 w 472543"/>
                <a:gd name="connsiteY629" fmla="*/ 349011 h 464260"/>
                <a:gd name="connsiteX630" fmla="*/ 237130 w 472543"/>
                <a:gd name="connsiteY630" fmla="*/ 351130 h 464260"/>
                <a:gd name="connsiteX631" fmla="*/ 237803 w 472543"/>
                <a:gd name="connsiteY631" fmla="*/ 353149 h 464260"/>
                <a:gd name="connsiteX632" fmla="*/ 237803 w 472543"/>
                <a:gd name="connsiteY632" fmla="*/ 355436 h 464260"/>
                <a:gd name="connsiteX633" fmla="*/ 238409 w 472543"/>
                <a:gd name="connsiteY633" fmla="*/ 358094 h 464260"/>
                <a:gd name="connsiteX634" fmla="*/ 238072 w 472543"/>
                <a:gd name="connsiteY634" fmla="*/ 359944 h 464260"/>
                <a:gd name="connsiteX635" fmla="*/ 237837 w 472543"/>
                <a:gd name="connsiteY635" fmla="*/ 361626 h 464260"/>
                <a:gd name="connsiteX636" fmla="*/ 237837 w 472543"/>
                <a:gd name="connsiteY636" fmla="*/ 362400 h 464260"/>
                <a:gd name="connsiteX637" fmla="*/ 237197 w 472543"/>
                <a:gd name="connsiteY637" fmla="*/ 364956 h 464260"/>
                <a:gd name="connsiteX638" fmla="*/ 237534 w 472543"/>
                <a:gd name="connsiteY638" fmla="*/ 366537 h 464260"/>
                <a:gd name="connsiteX639" fmla="*/ 238173 w 472543"/>
                <a:gd name="connsiteY639" fmla="*/ 368455 h 464260"/>
                <a:gd name="connsiteX640" fmla="*/ 238880 w 472543"/>
                <a:gd name="connsiteY640" fmla="*/ 370036 h 464260"/>
                <a:gd name="connsiteX641" fmla="*/ 240395 w 472543"/>
                <a:gd name="connsiteY641" fmla="*/ 371785 h 464260"/>
                <a:gd name="connsiteX642" fmla="*/ 241539 w 472543"/>
                <a:gd name="connsiteY642" fmla="*/ 371953 h 464260"/>
                <a:gd name="connsiteX643" fmla="*/ 244366 w 472543"/>
                <a:gd name="connsiteY643" fmla="*/ 372660 h 464260"/>
                <a:gd name="connsiteX644" fmla="*/ 245678 w 472543"/>
                <a:gd name="connsiteY644" fmla="*/ 372559 h 464260"/>
                <a:gd name="connsiteX645" fmla="*/ 248169 w 472543"/>
                <a:gd name="connsiteY645" fmla="*/ 370776 h 464260"/>
                <a:gd name="connsiteX646" fmla="*/ 249212 w 472543"/>
                <a:gd name="connsiteY646" fmla="*/ 368993 h 464260"/>
                <a:gd name="connsiteX647" fmla="*/ 250996 w 472543"/>
                <a:gd name="connsiteY647" fmla="*/ 368186 h 464260"/>
                <a:gd name="connsiteX648" fmla="*/ 252914 w 472543"/>
                <a:gd name="connsiteY648" fmla="*/ 366134 h 464260"/>
                <a:gd name="connsiteX649" fmla="*/ 257996 w 472543"/>
                <a:gd name="connsiteY649" fmla="*/ 365764 h 464260"/>
                <a:gd name="connsiteX650" fmla="*/ 260318 w 472543"/>
                <a:gd name="connsiteY650" fmla="*/ 364519 h 464260"/>
                <a:gd name="connsiteX651" fmla="*/ 262270 w 472543"/>
                <a:gd name="connsiteY651" fmla="*/ 362501 h 464260"/>
                <a:gd name="connsiteX652" fmla="*/ 264727 w 472543"/>
                <a:gd name="connsiteY652" fmla="*/ 360920 h 464260"/>
                <a:gd name="connsiteX653" fmla="*/ 267857 w 472543"/>
                <a:gd name="connsiteY653" fmla="*/ 360785 h 464260"/>
                <a:gd name="connsiteX654" fmla="*/ 270616 w 472543"/>
                <a:gd name="connsiteY654" fmla="*/ 361794 h 464260"/>
                <a:gd name="connsiteX655" fmla="*/ 273948 w 472543"/>
                <a:gd name="connsiteY655" fmla="*/ 363039 h 464260"/>
                <a:gd name="connsiteX656" fmla="*/ 276405 w 472543"/>
                <a:gd name="connsiteY656" fmla="*/ 363409 h 464260"/>
                <a:gd name="connsiteX657" fmla="*/ 279737 w 472543"/>
                <a:gd name="connsiteY657" fmla="*/ 363611 h 464260"/>
                <a:gd name="connsiteX658" fmla="*/ 281992 w 472543"/>
                <a:gd name="connsiteY658" fmla="*/ 362299 h 464260"/>
                <a:gd name="connsiteX659" fmla="*/ 284246 w 472543"/>
                <a:gd name="connsiteY659" fmla="*/ 360920 h 464260"/>
                <a:gd name="connsiteX660" fmla="*/ 286198 w 472543"/>
                <a:gd name="connsiteY660" fmla="*/ 360987 h 464260"/>
                <a:gd name="connsiteX661" fmla="*/ 287949 w 472543"/>
                <a:gd name="connsiteY661" fmla="*/ 362299 h 464260"/>
                <a:gd name="connsiteX662" fmla="*/ 289396 w 472543"/>
                <a:gd name="connsiteY662" fmla="*/ 364620 h 464260"/>
                <a:gd name="connsiteX663" fmla="*/ 289833 w 472543"/>
                <a:gd name="connsiteY663" fmla="*/ 367446 h 464260"/>
                <a:gd name="connsiteX664" fmla="*/ 289833 w 472543"/>
                <a:gd name="connsiteY664" fmla="*/ 369699 h 464260"/>
                <a:gd name="connsiteX665" fmla="*/ 291617 w 472543"/>
                <a:gd name="connsiteY665" fmla="*/ 374342 h 464260"/>
                <a:gd name="connsiteX666" fmla="*/ 291785 w 472543"/>
                <a:gd name="connsiteY666" fmla="*/ 377470 h 464260"/>
                <a:gd name="connsiteX667" fmla="*/ 291785 w 472543"/>
                <a:gd name="connsiteY667" fmla="*/ 379926 h 464260"/>
                <a:gd name="connsiteX668" fmla="*/ 290540 w 472543"/>
                <a:gd name="connsiteY668" fmla="*/ 381810 h 464260"/>
                <a:gd name="connsiteX669" fmla="*/ 289429 w 472543"/>
                <a:gd name="connsiteY669" fmla="*/ 382953 h 464260"/>
                <a:gd name="connsiteX670" fmla="*/ 290809 w 472543"/>
                <a:gd name="connsiteY670" fmla="*/ 387158 h 464260"/>
                <a:gd name="connsiteX671" fmla="*/ 293434 w 472543"/>
                <a:gd name="connsiteY671" fmla="*/ 392003 h 464260"/>
                <a:gd name="connsiteX672" fmla="*/ 294814 w 472543"/>
                <a:gd name="connsiteY672" fmla="*/ 393886 h 464260"/>
                <a:gd name="connsiteX673" fmla="*/ 295756 w 472543"/>
                <a:gd name="connsiteY673" fmla="*/ 397150 h 464260"/>
                <a:gd name="connsiteX674" fmla="*/ 293737 w 472543"/>
                <a:gd name="connsiteY674" fmla="*/ 399403 h 464260"/>
                <a:gd name="connsiteX675" fmla="*/ 291550 w 472543"/>
                <a:gd name="connsiteY675" fmla="*/ 401489 h 464260"/>
                <a:gd name="connsiteX676" fmla="*/ 290877 w 472543"/>
                <a:gd name="connsiteY676" fmla="*/ 403945 h 464260"/>
                <a:gd name="connsiteX677" fmla="*/ 292021 w 472543"/>
                <a:gd name="connsiteY677" fmla="*/ 407275 h 464260"/>
                <a:gd name="connsiteX678" fmla="*/ 295723 w 472543"/>
                <a:gd name="connsiteY678" fmla="*/ 410908 h 464260"/>
                <a:gd name="connsiteX679" fmla="*/ 299795 w 472543"/>
                <a:gd name="connsiteY679" fmla="*/ 414911 h 464260"/>
                <a:gd name="connsiteX680" fmla="*/ 303867 w 472543"/>
                <a:gd name="connsiteY680" fmla="*/ 417737 h 464260"/>
                <a:gd name="connsiteX681" fmla="*/ 307502 w 472543"/>
                <a:gd name="connsiteY681" fmla="*/ 418107 h 464260"/>
                <a:gd name="connsiteX682" fmla="*/ 308882 w 472543"/>
                <a:gd name="connsiteY682" fmla="*/ 415786 h 464260"/>
                <a:gd name="connsiteX683" fmla="*/ 309689 w 472543"/>
                <a:gd name="connsiteY683" fmla="*/ 414036 h 464260"/>
                <a:gd name="connsiteX684" fmla="*/ 310699 w 472543"/>
                <a:gd name="connsiteY684" fmla="*/ 411345 h 464260"/>
                <a:gd name="connsiteX685" fmla="*/ 310699 w 472543"/>
                <a:gd name="connsiteY685" fmla="*/ 409663 h 464260"/>
                <a:gd name="connsiteX686" fmla="*/ 311069 w 472543"/>
                <a:gd name="connsiteY686" fmla="*/ 407712 h 464260"/>
                <a:gd name="connsiteX687" fmla="*/ 312213 w 472543"/>
                <a:gd name="connsiteY687" fmla="*/ 405189 h 464260"/>
                <a:gd name="connsiteX688" fmla="*/ 314031 w 472543"/>
                <a:gd name="connsiteY688" fmla="*/ 403171 h 464260"/>
                <a:gd name="connsiteX689" fmla="*/ 316622 w 472543"/>
                <a:gd name="connsiteY689" fmla="*/ 403541 h 464260"/>
                <a:gd name="connsiteX690" fmla="*/ 319584 w 472543"/>
                <a:gd name="connsiteY690" fmla="*/ 404550 h 464260"/>
                <a:gd name="connsiteX691" fmla="*/ 322848 w 472543"/>
                <a:gd name="connsiteY691" fmla="*/ 407309 h 464260"/>
                <a:gd name="connsiteX692" fmla="*/ 323050 w 472543"/>
                <a:gd name="connsiteY692" fmla="*/ 409630 h 464260"/>
                <a:gd name="connsiteX693" fmla="*/ 323050 w 472543"/>
                <a:gd name="connsiteY693" fmla="*/ 412960 h 464260"/>
                <a:gd name="connsiteX694" fmla="*/ 322343 w 472543"/>
                <a:gd name="connsiteY694" fmla="*/ 417602 h 464260"/>
                <a:gd name="connsiteX695" fmla="*/ 321603 w 472543"/>
                <a:gd name="connsiteY695" fmla="*/ 418914 h 464260"/>
                <a:gd name="connsiteX696" fmla="*/ 319853 w 472543"/>
                <a:gd name="connsiteY696" fmla="*/ 421101 h 464260"/>
                <a:gd name="connsiteX697" fmla="*/ 317968 w 472543"/>
                <a:gd name="connsiteY697" fmla="*/ 422177 h 464260"/>
                <a:gd name="connsiteX698" fmla="*/ 316656 w 472543"/>
                <a:gd name="connsiteY698" fmla="*/ 424061 h 464260"/>
                <a:gd name="connsiteX699" fmla="*/ 315714 w 472543"/>
                <a:gd name="connsiteY699" fmla="*/ 425508 h 464260"/>
                <a:gd name="connsiteX700" fmla="*/ 314872 w 472543"/>
                <a:gd name="connsiteY700" fmla="*/ 429914 h 464260"/>
                <a:gd name="connsiteX701" fmla="*/ 314098 w 472543"/>
                <a:gd name="connsiteY701" fmla="*/ 433615 h 464260"/>
                <a:gd name="connsiteX702" fmla="*/ 314435 w 472543"/>
                <a:gd name="connsiteY702" fmla="*/ 436979 h 464260"/>
                <a:gd name="connsiteX703" fmla="*/ 314098 w 472543"/>
                <a:gd name="connsiteY703" fmla="*/ 442428 h 464260"/>
                <a:gd name="connsiteX704" fmla="*/ 316488 w 472543"/>
                <a:gd name="connsiteY704" fmla="*/ 445490 h 464260"/>
                <a:gd name="connsiteX705" fmla="*/ 321704 w 472543"/>
                <a:gd name="connsiteY705" fmla="*/ 446028 h 464260"/>
                <a:gd name="connsiteX706" fmla="*/ 323017 w 472543"/>
                <a:gd name="connsiteY706" fmla="*/ 444615 h 464260"/>
                <a:gd name="connsiteX707" fmla="*/ 323017 w 472543"/>
                <a:gd name="connsiteY707" fmla="*/ 442563 h 464260"/>
                <a:gd name="connsiteX708" fmla="*/ 323017 w 472543"/>
                <a:gd name="connsiteY708" fmla="*/ 439199 h 464260"/>
                <a:gd name="connsiteX709" fmla="*/ 323050 w 472543"/>
                <a:gd name="connsiteY709" fmla="*/ 437988 h 464260"/>
                <a:gd name="connsiteX710" fmla="*/ 322142 w 472543"/>
                <a:gd name="connsiteY710" fmla="*/ 436138 h 464260"/>
                <a:gd name="connsiteX711" fmla="*/ 322041 w 472543"/>
                <a:gd name="connsiteY711" fmla="*/ 433749 h 464260"/>
                <a:gd name="connsiteX712" fmla="*/ 322377 w 472543"/>
                <a:gd name="connsiteY712" fmla="*/ 433110 h 464260"/>
                <a:gd name="connsiteX713" fmla="*/ 324430 w 472543"/>
                <a:gd name="connsiteY713" fmla="*/ 432236 h 464260"/>
                <a:gd name="connsiteX714" fmla="*/ 326281 w 472543"/>
                <a:gd name="connsiteY714" fmla="*/ 431462 h 464260"/>
                <a:gd name="connsiteX715" fmla="*/ 328570 w 472543"/>
                <a:gd name="connsiteY715" fmla="*/ 430823 h 464260"/>
                <a:gd name="connsiteX716" fmla="*/ 331195 w 472543"/>
                <a:gd name="connsiteY716" fmla="*/ 433110 h 464260"/>
                <a:gd name="connsiteX717" fmla="*/ 332507 w 472543"/>
                <a:gd name="connsiteY717" fmla="*/ 435297 h 464260"/>
                <a:gd name="connsiteX718" fmla="*/ 333147 w 472543"/>
                <a:gd name="connsiteY718" fmla="*/ 437349 h 464260"/>
                <a:gd name="connsiteX719" fmla="*/ 333147 w 472543"/>
                <a:gd name="connsiteY719" fmla="*/ 439401 h 464260"/>
                <a:gd name="connsiteX720" fmla="*/ 333147 w 472543"/>
                <a:gd name="connsiteY720" fmla="*/ 444615 h 464260"/>
                <a:gd name="connsiteX721" fmla="*/ 333248 w 472543"/>
                <a:gd name="connsiteY721" fmla="*/ 447441 h 464260"/>
                <a:gd name="connsiteX722" fmla="*/ 332844 w 472543"/>
                <a:gd name="connsiteY722" fmla="*/ 451040 h 464260"/>
                <a:gd name="connsiteX723" fmla="*/ 331733 w 472543"/>
                <a:gd name="connsiteY723" fmla="*/ 454303 h 464260"/>
                <a:gd name="connsiteX724" fmla="*/ 331733 w 472543"/>
                <a:gd name="connsiteY724" fmla="*/ 458205 h 464260"/>
                <a:gd name="connsiteX725" fmla="*/ 333281 w 472543"/>
                <a:gd name="connsiteY725" fmla="*/ 459955 h 464260"/>
                <a:gd name="connsiteX726" fmla="*/ 334998 w 472543"/>
                <a:gd name="connsiteY726" fmla="*/ 460493 h 464260"/>
                <a:gd name="connsiteX727" fmla="*/ 338195 w 472543"/>
                <a:gd name="connsiteY727" fmla="*/ 458407 h 464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</a:cxnLst>
              <a:rect l="l" t="t" r="r" b="b"/>
              <a:pathLst>
                <a:path w="472543" h="464260">
                  <a:moveTo>
                    <a:pt x="338195" y="458407"/>
                  </a:moveTo>
                  <a:cubicBezTo>
                    <a:pt x="338632" y="457432"/>
                    <a:pt x="338969" y="456355"/>
                    <a:pt x="339272" y="456221"/>
                  </a:cubicBezTo>
                  <a:cubicBezTo>
                    <a:pt x="339608" y="456120"/>
                    <a:pt x="340349" y="455582"/>
                    <a:pt x="340349" y="455582"/>
                  </a:cubicBezTo>
                  <a:lnTo>
                    <a:pt x="342974" y="456994"/>
                  </a:lnTo>
                  <a:lnTo>
                    <a:pt x="346137" y="460796"/>
                  </a:lnTo>
                  <a:lnTo>
                    <a:pt x="350277" y="463823"/>
                  </a:lnTo>
                  <a:lnTo>
                    <a:pt x="353003" y="464260"/>
                  </a:lnTo>
                  <a:lnTo>
                    <a:pt x="357142" y="464260"/>
                  </a:lnTo>
                  <a:lnTo>
                    <a:pt x="358892" y="461536"/>
                  </a:lnTo>
                  <a:lnTo>
                    <a:pt x="360407" y="461872"/>
                  </a:lnTo>
                  <a:lnTo>
                    <a:pt x="362695" y="463083"/>
                  </a:lnTo>
                  <a:cubicBezTo>
                    <a:pt x="362695" y="463083"/>
                    <a:pt x="364210" y="463184"/>
                    <a:pt x="364647" y="463184"/>
                  </a:cubicBezTo>
                  <a:cubicBezTo>
                    <a:pt x="365085" y="463184"/>
                    <a:pt x="365960" y="463184"/>
                    <a:pt x="366162" y="462848"/>
                  </a:cubicBezTo>
                  <a:cubicBezTo>
                    <a:pt x="366364" y="462511"/>
                    <a:pt x="367138" y="461435"/>
                    <a:pt x="367239" y="460997"/>
                  </a:cubicBezTo>
                  <a:cubicBezTo>
                    <a:pt x="367340" y="460560"/>
                    <a:pt x="367138" y="458407"/>
                    <a:pt x="367239" y="457970"/>
                  </a:cubicBezTo>
                  <a:cubicBezTo>
                    <a:pt x="367340" y="457533"/>
                    <a:pt x="367272" y="456019"/>
                    <a:pt x="367272" y="456019"/>
                  </a:cubicBezTo>
                  <a:cubicBezTo>
                    <a:pt x="367272" y="456019"/>
                    <a:pt x="368215" y="453866"/>
                    <a:pt x="368450" y="453529"/>
                  </a:cubicBezTo>
                  <a:cubicBezTo>
                    <a:pt x="368652" y="453193"/>
                    <a:pt x="369527" y="451780"/>
                    <a:pt x="369527" y="451780"/>
                  </a:cubicBezTo>
                  <a:cubicBezTo>
                    <a:pt x="369527" y="451780"/>
                    <a:pt x="370301" y="450805"/>
                    <a:pt x="370301" y="450468"/>
                  </a:cubicBezTo>
                  <a:cubicBezTo>
                    <a:pt x="370301" y="450132"/>
                    <a:pt x="371176" y="447642"/>
                    <a:pt x="371176" y="447642"/>
                  </a:cubicBezTo>
                  <a:cubicBezTo>
                    <a:pt x="371176" y="447642"/>
                    <a:pt x="371075" y="446566"/>
                    <a:pt x="371176" y="445893"/>
                  </a:cubicBezTo>
                  <a:cubicBezTo>
                    <a:pt x="371277" y="445254"/>
                    <a:pt x="371075" y="444682"/>
                    <a:pt x="371176" y="444144"/>
                  </a:cubicBezTo>
                  <a:cubicBezTo>
                    <a:pt x="371277" y="443606"/>
                    <a:pt x="371210" y="441756"/>
                    <a:pt x="371210" y="441756"/>
                  </a:cubicBezTo>
                  <a:lnTo>
                    <a:pt x="371715" y="439031"/>
                  </a:lnTo>
                  <a:cubicBezTo>
                    <a:pt x="371715" y="439031"/>
                    <a:pt x="372691" y="437820"/>
                    <a:pt x="373128" y="437080"/>
                  </a:cubicBezTo>
                  <a:cubicBezTo>
                    <a:pt x="373566" y="436306"/>
                    <a:pt x="374979" y="434254"/>
                    <a:pt x="374979" y="434254"/>
                  </a:cubicBezTo>
                  <a:lnTo>
                    <a:pt x="376931" y="432942"/>
                  </a:lnTo>
                  <a:lnTo>
                    <a:pt x="379758" y="432942"/>
                  </a:lnTo>
                  <a:lnTo>
                    <a:pt x="380835" y="431630"/>
                  </a:lnTo>
                  <a:lnTo>
                    <a:pt x="383595" y="431933"/>
                  </a:lnTo>
                  <a:cubicBezTo>
                    <a:pt x="383629" y="432067"/>
                    <a:pt x="383629" y="432202"/>
                    <a:pt x="383662" y="432336"/>
                  </a:cubicBezTo>
                  <a:cubicBezTo>
                    <a:pt x="383561" y="431832"/>
                    <a:pt x="383527" y="431495"/>
                    <a:pt x="383527" y="431495"/>
                  </a:cubicBezTo>
                  <a:lnTo>
                    <a:pt x="384100" y="427728"/>
                  </a:lnTo>
                  <a:cubicBezTo>
                    <a:pt x="384100" y="427728"/>
                    <a:pt x="384975" y="426584"/>
                    <a:pt x="385244" y="425407"/>
                  </a:cubicBezTo>
                  <a:cubicBezTo>
                    <a:pt x="385547" y="424229"/>
                    <a:pt x="385412" y="423086"/>
                    <a:pt x="385681" y="421942"/>
                  </a:cubicBezTo>
                  <a:cubicBezTo>
                    <a:pt x="385951" y="420798"/>
                    <a:pt x="385816" y="418477"/>
                    <a:pt x="385816" y="418477"/>
                  </a:cubicBezTo>
                  <a:lnTo>
                    <a:pt x="385816" y="416459"/>
                  </a:lnTo>
                  <a:cubicBezTo>
                    <a:pt x="385816" y="416459"/>
                    <a:pt x="384672" y="416761"/>
                    <a:pt x="383191" y="416459"/>
                  </a:cubicBezTo>
                  <a:cubicBezTo>
                    <a:pt x="381710" y="416156"/>
                    <a:pt x="379422" y="415012"/>
                    <a:pt x="379422" y="415012"/>
                  </a:cubicBezTo>
                  <a:cubicBezTo>
                    <a:pt x="379422" y="415012"/>
                    <a:pt x="377100" y="412994"/>
                    <a:pt x="377100" y="412119"/>
                  </a:cubicBezTo>
                  <a:cubicBezTo>
                    <a:pt x="377100" y="411245"/>
                    <a:pt x="377100" y="409495"/>
                    <a:pt x="377100" y="409495"/>
                  </a:cubicBezTo>
                  <a:cubicBezTo>
                    <a:pt x="377100" y="409495"/>
                    <a:pt x="379994" y="409192"/>
                    <a:pt x="380566" y="408049"/>
                  </a:cubicBezTo>
                  <a:cubicBezTo>
                    <a:pt x="381138" y="406871"/>
                    <a:pt x="382013" y="406602"/>
                    <a:pt x="382888" y="405728"/>
                  </a:cubicBezTo>
                  <a:cubicBezTo>
                    <a:pt x="383763" y="404853"/>
                    <a:pt x="385513" y="403709"/>
                    <a:pt x="385513" y="403709"/>
                  </a:cubicBezTo>
                  <a:lnTo>
                    <a:pt x="386085" y="400816"/>
                  </a:lnTo>
                  <a:lnTo>
                    <a:pt x="386388" y="396477"/>
                  </a:lnTo>
                  <a:lnTo>
                    <a:pt x="384369" y="395333"/>
                  </a:lnTo>
                  <a:lnTo>
                    <a:pt x="381172" y="392440"/>
                  </a:lnTo>
                  <a:lnTo>
                    <a:pt x="380600" y="389244"/>
                  </a:lnTo>
                  <a:lnTo>
                    <a:pt x="380600" y="385174"/>
                  </a:lnTo>
                  <a:lnTo>
                    <a:pt x="381172" y="382584"/>
                  </a:lnTo>
                  <a:cubicBezTo>
                    <a:pt x="381172" y="382584"/>
                    <a:pt x="382619" y="379960"/>
                    <a:pt x="383763" y="377941"/>
                  </a:cubicBezTo>
                  <a:cubicBezTo>
                    <a:pt x="384907" y="375923"/>
                    <a:pt x="387532" y="372424"/>
                    <a:pt x="387532" y="372424"/>
                  </a:cubicBezTo>
                  <a:lnTo>
                    <a:pt x="386960" y="365764"/>
                  </a:lnTo>
                  <a:lnTo>
                    <a:pt x="383460" y="361693"/>
                  </a:lnTo>
                  <a:lnTo>
                    <a:pt x="382114" y="356984"/>
                  </a:lnTo>
                  <a:lnTo>
                    <a:pt x="380768" y="356647"/>
                  </a:lnTo>
                  <a:lnTo>
                    <a:pt x="374643" y="353956"/>
                  </a:lnTo>
                  <a:lnTo>
                    <a:pt x="368248" y="351097"/>
                  </a:lnTo>
                  <a:cubicBezTo>
                    <a:pt x="368248" y="351097"/>
                    <a:pt x="366633" y="347363"/>
                    <a:pt x="366633" y="346488"/>
                  </a:cubicBezTo>
                  <a:cubicBezTo>
                    <a:pt x="366633" y="345614"/>
                    <a:pt x="366633" y="341711"/>
                    <a:pt x="366633" y="341711"/>
                  </a:cubicBezTo>
                  <a:cubicBezTo>
                    <a:pt x="366633" y="341711"/>
                    <a:pt x="370099" y="340837"/>
                    <a:pt x="370335" y="340197"/>
                  </a:cubicBezTo>
                  <a:cubicBezTo>
                    <a:pt x="370537" y="339558"/>
                    <a:pt x="368383" y="333907"/>
                    <a:pt x="368383" y="333907"/>
                  </a:cubicBezTo>
                  <a:cubicBezTo>
                    <a:pt x="368383" y="333907"/>
                    <a:pt x="367945" y="330879"/>
                    <a:pt x="366633" y="329567"/>
                  </a:cubicBezTo>
                  <a:cubicBezTo>
                    <a:pt x="365320" y="328255"/>
                    <a:pt x="361181" y="328491"/>
                    <a:pt x="361181" y="328491"/>
                  </a:cubicBezTo>
                  <a:lnTo>
                    <a:pt x="353777" y="333705"/>
                  </a:lnTo>
                  <a:lnTo>
                    <a:pt x="349200" y="331115"/>
                  </a:lnTo>
                  <a:cubicBezTo>
                    <a:pt x="349200" y="331115"/>
                    <a:pt x="347349" y="326977"/>
                    <a:pt x="347786" y="326338"/>
                  </a:cubicBezTo>
                  <a:cubicBezTo>
                    <a:pt x="348224" y="325699"/>
                    <a:pt x="349200" y="324589"/>
                    <a:pt x="349200" y="324589"/>
                  </a:cubicBezTo>
                  <a:lnTo>
                    <a:pt x="349200" y="322839"/>
                  </a:lnTo>
                  <a:lnTo>
                    <a:pt x="343983" y="318500"/>
                  </a:lnTo>
                  <a:lnTo>
                    <a:pt x="343983" y="315674"/>
                  </a:lnTo>
                  <a:lnTo>
                    <a:pt x="345296" y="310023"/>
                  </a:lnTo>
                  <a:lnTo>
                    <a:pt x="345935" y="305885"/>
                  </a:lnTo>
                  <a:lnTo>
                    <a:pt x="343983" y="302185"/>
                  </a:lnTo>
                  <a:lnTo>
                    <a:pt x="337017" y="296533"/>
                  </a:lnTo>
                  <a:cubicBezTo>
                    <a:pt x="337017" y="296533"/>
                    <a:pt x="329411" y="291756"/>
                    <a:pt x="328536" y="291521"/>
                  </a:cubicBezTo>
                  <a:cubicBezTo>
                    <a:pt x="327661" y="291319"/>
                    <a:pt x="323084" y="289133"/>
                    <a:pt x="323084" y="289133"/>
                  </a:cubicBezTo>
                  <a:lnTo>
                    <a:pt x="323084" y="282606"/>
                  </a:lnTo>
                  <a:lnTo>
                    <a:pt x="321771" y="277830"/>
                  </a:lnTo>
                  <a:lnTo>
                    <a:pt x="318608" y="275677"/>
                  </a:lnTo>
                  <a:lnTo>
                    <a:pt x="314367" y="277426"/>
                  </a:lnTo>
                  <a:lnTo>
                    <a:pt x="314367" y="282640"/>
                  </a:lnTo>
                  <a:cubicBezTo>
                    <a:pt x="314367" y="282640"/>
                    <a:pt x="312415" y="283515"/>
                    <a:pt x="312180" y="284154"/>
                  </a:cubicBezTo>
                  <a:cubicBezTo>
                    <a:pt x="311978" y="284793"/>
                    <a:pt x="310430" y="285230"/>
                    <a:pt x="309992" y="285903"/>
                  </a:cubicBezTo>
                  <a:cubicBezTo>
                    <a:pt x="309555" y="286542"/>
                    <a:pt x="303261" y="286980"/>
                    <a:pt x="303261" y="286980"/>
                  </a:cubicBezTo>
                  <a:lnTo>
                    <a:pt x="299795" y="283077"/>
                  </a:lnTo>
                  <a:lnTo>
                    <a:pt x="296530" y="277426"/>
                  </a:lnTo>
                  <a:cubicBezTo>
                    <a:pt x="296530" y="277426"/>
                    <a:pt x="296732" y="271976"/>
                    <a:pt x="296530" y="272212"/>
                  </a:cubicBezTo>
                  <a:cubicBezTo>
                    <a:pt x="296295" y="272414"/>
                    <a:pt x="298920" y="269823"/>
                    <a:pt x="298920" y="269823"/>
                  </a:cubicBezTo>
                  <a:cubicBezTo>
                    <a:pt x="298920" y="269823"/>
                    <a:pt x="301983" y="267637"/>
                    <a:pt x="303497" y="267637"/>
                  </a:cubicBezTo>
                  <a:cubicBezTo>
                    <a:pt x="305011" y="267637"/>
                    <a:pt x="309151" y="271102"/>
                    <a:pt x="309151" y="271102"/>
                  </a:cubicBezTo>
                  <a:lnTo>
                    <a:pt x="312617" y="270900"/>
                  </a:lnTo>
                  <a:lnTo>
                    <a:pt x="312180" y="263297"/>
                  </a:lnTo>
                  <a:cubicBezTo>
                    <a:pt x="312180" y="263297"/>
                    <a:pt x="311978" y="260707"/>
                    <a:pt x="312382" y="260034"/>
                  </a:cubicBezTo>
                  <a:cubicBezTo>
                    <a:pt x="312819" y="259395"/>
                    <a:pt x="315646" y="257410"/>
                    <a:pt x="315646" y="257410"/>
                  </a:cubicBezTo>
                  <a:cubicBezTo>
                    <a:pt x="315646" y="257410"/>
                    <a:pt x="311305" y="254147"/>
                    <a:pt x="309555" y="254585"/>
                  </a:cubicBezTo>
                  <a:cubicBezTo>
                    <a:pt x="307805" y="255022"/>
                    <a:pt x="304776" y="252398"/>
                    <a:pt x="304776" y="252398"/>
                  </a:cubicBezTo>
                  <a:cubicBezTo>
                    <a:pt x="304776" y="252398"/>
                    <a:pt x="305213" y="249774"/>
                    <a:pt x="305853" y="249370"/>
                  </a:cubicBezTo>
                  <a:cubicBezTo>
                    <a:pt x="306492" y="248933"/>
                    <a:pt x="311069" y="246545"/>
                    <a:pt x="311069" y="246545"/>
                  </a:cubicBezTo>
                  <a:lnTo>
                    <a:pt x="313459" y="245468"/>
                  </a:lnTo>
                  <a:cubicBezTo>
                    <a:pt x="313459" y="245468"/>
                    <a:pt x="314536" y="240893"/>
                    <a:pt x="313896" y="240052"/>
                  </a:cubicBezTo>
                  <a:cubicBezTo>
                    <a:pt x="313257" y="239178"/>
                    <a:pt x="312146" y="233964"/>
                    <a:pt x="312146" y="233964"/>
                  </a:cubicBezTo>
                  <a:lnTo>
                    <a:pt x="311271" y="226798"/>
                  </a:lnTo>
                  <a:lnTo>
                    <a:pt x="308444" y="223098"/>
                  </a:lnTo>
                  <a:lnTo>
                    <a:pt x="302555" y="219633"/>
                  </a:lnTo>
                  <a:lnTo>
                    <a:pt x="300165" y="212232"/>
                  </a:lnTo>
                  <a:lnTo>
                    <a:pt x="298853" y="206581"/>
                  </a:lnTo>
                  <a:lnTo>
                    <a:pt x="299963" y="201804"/>
                  </a:lnTo>
                  <a:lnTo>
                    <a:pt x="301478" y="200055"/>
                  </a:lnTo>
                  <a:lnTo>
                    <a:pt x="304742" y="200055"/>
                  </a:lnTo>
                  <a:lnTo>
                    <a:pt x="308209" y="200055"/>
                  </a:lnTo>
                  <a:lnTo>
                    <a:pt x="309959" y="200055"/>
                  </a:lnTo>
                  <a:cubicBezTo>
                    <a:pt x="309959" y="200055"/>
                    <a:pt x="312786" y="199416"/>
                    <a:pt x="313661" y="200055"/>
                  </a:cubicBezTo>
                  <a:cubicBezTo>
                    <a:pt x="314536" y="200694"/>
                    <a:pt x="321065" y="201199"/>
                    <a:pt x="321065" y="199752"/>
                  </a:cubicBezTo>
                  <a:cubicBezTo>
                    <a:pt x="321065" y="198305"/>
                    <a:pt x="320863" y="195244"/>
                    <a:pt x="320863" y="195244"/>
                  </a:cubicBezTo>
                  <a:lnTo>
                    <a:pt x="321300" y="191779"/>
                  </a:lnTo>
                  <a:lnTo>
                    <a:pt x="321300" y="188752"/>
                  </a:lnTo>
                  <a:lnTo>
                    <a:pt x="323892" y="184412"/>
                  </a:lnTo>
                  <a:lnTo>
                    <a:pt x="325642" y="184412"/>
                  </a:lnTo>
                  <a:lnTo>
                    <a:pt x="331060" y="189189"/>
                  </a:lnTo>
                  <a:lnTo>
                    <a:pt x="336950" y="195715"/>
                  </a:lnTo>
                  <a:lnTo>
                    <a:pt x="339777" y="199853"/>
                  </a:lnTo>
                  <a:cubicBezTo>
                    <a:pt x="339777" y="199853"/>
                    <a:pt x="342402" y="199853"/>
                    <a:pt x="342839" y="199214"/>
                  </a:cubicBezTo>
                  <a:cubicBezTo>
                    <a:pt x="343277" y="198575"/>
                    <a:pt x="344556" y="196590"/>
                    <a:pt x="344556" y="196590"/>
                  </a:cubicBezTo>
                  <a:lnTo>
                    <a:pt x="345632" y="195076"/>
                  </a:lnTo>
                  <a:lnTo>
                    <a:pt x="346070" y="193125"/>
                  </a:lnTo>
                  <a:cubicBezTo>
                    <a:pt x="346070" y="193125"/>
                    <a:pt x="346507" y="190938"/>
                    <a:pt x="347147" y="190938"/>
                  </a:cubicBezTo>
                  <a:cubicBezTo>
                    <a:pt x="347786" y="190938"/>
                    <a:pt x="349974" y="189627"/>
                    <a:pt x="349974" y="189627"/>
                  </a:cubicBezTo>
                  <a:lnTo>
                    <a:pt x="353238" y="187675"/>
                  </a:lnTo>
                  <a:lnTo>
                    <a:pt x="354753" y="185724"/>
                  </a:lnTo>
                  <a:lnTo>
                    <a:pt x="355830" y="184412"/>
                  </a:lnTo>
                  <a:lnTo>
                    <a:pt x="360407" y="184412"/>
                  </a:lnTo>
                  <a:lnTo>
                    <a:pt x="364546" y="185724"/>
                  </a:lnTo>
                  <a:lnTo>
                    <a:pt x="368686" y="187036"/>
                  </a:lnTo>
                  <a:lnTo>
                    <a:pt x="371277" y="190064"/>
                  </a:lnTo>
                  <a:lnTo>
                    <a:pt x="374340" y="195715"/>
                  </a:lnTo>
                  <a:lnTo>
                    <a:pt x="377806" y="195480"/>
                  </a:lnTo>
                  <a:cubicBezTo>
                    <a:pt x="377806" y="195480"/>
                    <a:pt x="380128" y="194403"/>
                    <a:pt x="380903" y="193731"/>
                  </a:cubicBezTo>
                  <a:cubicBezTo>
                    <a:pt x="381710" y="193091"/>
                    <a:pt x="384201" y="190030"/>
                    <a:pt x="384201" y="190030"/>
                  </a:cubicBezTo>
                  <a:lnTo>
                    <a:pt x="385614" y="187406"/>
                  </a:lnTo>
                  <a:lnTo>
                    <a:pt x="385614" y="185220"/>
                  </a:lnTo>
                  <a:lnTo>
                    <a:pt x="388778" y="186094"/>
                  </a:lnTo>
                  <a:lnTo>
                    <a:pt x="392581" y="188718"/>
                  </a:lnTo>
                  <a:lnTo>
                    <a:pt x="392581" y="192183"/>
                  </a:lnTo>
                  <a:lnTo>
                    <a:pt x="392581" y="195648"/>
                  </a:lnTo>
                  <a:lnTo>
                    <a:pt x="392581" y="200862"/>
                  </a:lnTo>
                  <a:lnTo>
                    <a:pt x="392581" y="207826"/>
                  </a:lnTo>
                  <a:cubicBezTo>
                    <a:pt x="392581" y="207826"/>
                    <a:pt x="392782" y="210416"/>
                    <a:pt x="393658" y="210416"/>
                  </a:cubicBezTo>
                  <a:cubicBezTo>
                    <a:pt x="394533" y="210416"/>
                    <a:pt x="397797" y="206951"/>
                    <a:pt x="397797" y="206951"/>
                  </a:cubicBezTo>
                  <a:lnTo>
                    <a:pt x="399547" y="201098"/>
                  </a:lnTo>
                  <a:lnTo>
                    <a:pt x="399547" y="195682"/>
                  </a:lnTo>
                  <a:lnTo>
                    <a:pt x="399547" y="190468"/>
                  </a:lnTo>
                  <a:cubicBezTo>
                    <a:pt x="399547" y="190468"/>
                    <a:pt x="401937" y="187642"/>
                    <a:pt x="402812" y="187204"/>
                  </a:cubicBezTo>
                  <a:cubicBezTo>
                    <a:pt x="403687" y="186767"/>
                    <a:pt x="406716" y="184379"/>
                    <a:pt x="406716" y="184379"/>
                  </a:cubicBezTo>
                  <a:lnTo>
                    <a:pt x="409745" y="181755"/>
                  </a:lnTo>
                  <a:lnTo>
                    <a:pt x="414759" y="180006"/>
                  </a:lnTo>
                  <a:lnTo>
                    <a:pt x="416072" y="178256"/>
                  </a:lnTo>
                  <a:lnTo>
                    <a:pt x="418023" y="174791"/>
                  </a:lnTo>
                  <a:cubicBezTo>
                    <a:pt x="418023" y="174791"/>
                    <a:pt x="418898" y="173278"/>
                    <a:pt x="419100" y="172605"/>
                  </a:cubicBezTo>
                  <a:cubicBezTo>
                    <a:pt x="419336" y="171966"/>
                    <a:pt x="421726" y="168265"/>
                    <a:pt x="421726" y="168265"/>
                  </a:cubicBezTo>
                  <a:lnTo>
                    <a:pt x="424552" y="164128"/>
                  </a:lnTo>
                  <a:lnTo>
                    <a:pt x="427581" y="161504"/>
                  </a:lnTo>
                  <a:cubicBezTo>
                    <a:pt x="427581" y="161504"/>
                    <a:pt x="430644" y="158779"/>
                    <a:pt x="431485" y="158342"/>
                  </a:cubicBezTo>
                  <a:cubicBezTo>
                    <a:pt x="432360" y="157904"/>
                    <a:pt x="438889" y="156491"/>
                    <a:pt x="438889" y="156491"/>
                  </a:cubicBezTo>
                  <a:lnTo>
                    <a:pt x="445620" y="156491"/>
                  </a:lnTo>
                  <a:lnTo>
                    <a:pt x="450837" y="156491"/>
                  </a:lnTo>
                  <a:lnTo>
                    <a:pt x="454741" y="154742"/>
                  </a:lnTo>
                  <a:lnTo>
                    <a:pt x="456928" y="154742"/>
                  </a:lnTo>
                  <a:lnTo>
                    <a:pt x="456928" y="157332"/>
                  </a:lnTo>
                  <a:lnTo>
                    <a:pt x="458645" y="161470"/>
                  </a:lnTo>
                  <a:lnTo>
                    <a:pt x="458645" y="164296"/>
                  </a:lnTo>
                  <a:lnTo>
                    <a:pt x="462111" y="165171"/>
                  </a:lnTo>
                  <a:lnTo>
                    <a:pt x="465914" y="164094"/>
                  </a:lnTo>
                  <a:lnTo>
                    <a:pt x="469078" y="160192"/>
                  </a:lnTo>
                  <a:lnTo>
                    <a:pt x="469078" y="157366"/>
                  </a:lnTo>
                  <a:lnTo>
                    <a:pt x="471703" y="151715"/>
                  </a:lnTo>
                  <a:cubicBezTo>
                    <a:pt x="471703" y="151715"/>
                    <a:pt x="471938" y="148014"/>
                    <a:pt x="471703" y="146938"/>
                  </a:cubicBezTo>
                  <a:cubicBezTo>
                    <a:pt x="471467" y="145861"/>
                    <a:pt x="471703" y="141286"/>
                    <a:pt x="470390" y="140647"/>
                  </a:cubicBezTo>
                  <a:cubicBezTo>
                    <a:pt x="469078" y="140008"/>
                    <a:pt x="468640" y="133919"/>
                    <a:pt x="468640" y="133919"/>
                  </a:cubicBezTo>
                  <a:lnTo>
                    <a:pt x="467765" y="131094"/>
                  </a:lnTo>
                  <a:lnTo>
                    <a:pt x="469010" y="128470"/>
                  </a:lnTo>
                  <a:lnTo>
                    <a:pt x="472544" y="126720"/>
                  </a:lnTo>
                  <a:lnTo>
                    <a:pt x="472544" y="124332"/>
                  </a:lnTo>
                  <a:lnTo>
                    <a:pt x="472544" y="122583"/>
                  </a:lnTo>
                  <a:lnTo>
                    <a:pt x="470356" y="117369"/>
                  </a:lnTo>
                  <a:lnTo>
                    <a:pt x="469044" y="113668"/>
                  </a:lnTo>
                  <a:lnTo>
                    <a:pt x="469044" y="110405"/>
                  </a:lnTo>
                  <a:cubicBezTo>
                    <a:pt x="469044" y="110405"/>
                    <a:pt x="470558" y="105393"/>
                    <a:pt x="470121" y="104754"/>
                  </a:cubicBezTo>
                  <a:cubicBezTo>
                    <a:pt x="469683" y="104115"/>
                    <a:pt x="466419" y="99741"/>
                    <a:pt x="466419" y="99741"/>
                  </a:cubicBezTo>
                  <a:lnTo>
                    <a:pt x="464231" y="97555"/>
                  </a:lnTo>
                  <a:lnTo>
                    <a:pt x="461842" y="95806"/>
                  </a:lnTo>
                  <a:cubicBezTo>
                    <a:pt x="461842" y="95806"/>
                    <a:pt x="456827" y="93215"/>
                    <a:pt x="455548" y="92980"/>
                  </a:cubicBezTo>
                  <a:cubicBezTo>
                    <a:pt x="454236" y="92778"/>
                    <a:pt x="450971" y="90390"/>
                    <a:pt x="450971" y="90390"/>
                  </a:cubicBezTo>
                  <a:lnTo>
                    <a:pt x="445553" y="85075"/>
                  </a:lnTo>
                  <a:lnTo>
                    <a:pt x="444240" y="81711"/>
                  </a:lnTo>
                  <a:lnTo>
                    <a:pt x="442053" y="81711"/>
                  </a:lnTo>
                  <a:lnTo>
                    <a:pt x="431620" y="81711"/>
                  </a:lnTo>
                  <a:lnTo>
                    <a:pt x="426841" y="80634"/>
                  </a:lnTo>
                  <a:cubicBezTo>
                    <a:pt x="426841" y="80634"/>
                    <a:pt x="428153" y="76496"/>
                    <a:pt x="428793" y="74983"/>
                  </a:cubicBezTo>
                  <a:cubicBezTo>
                    <a:pt x="429466" y="73469"/>
                    <a:pt x="431620" y="69970"/>
                    <a:pt x="431620" y="69970"/>
                  </a:cubicBezTo>
                  <a:cubicBezTo>
                    <a:pt x="431620" y="69970"/>
                    <a:pt x="429870" y="66068"/>
                    <a:pt x="429029" y="66068"/>
                  </a:cubicBezTo>
                  <a:cubicBezTo>
                    <a:pt x="428153" y="66068"/>
                    <a:pt x="424889" y="64319"/>
                    <a:pt x="424889" y="64319"/>
                  </a:cubicBezTo>
                  <a:lnTo>
                    <a:pt x="421490" y="61291"/>
                  </a:lnTo>
                  <a:lnTo>
                    <a:pt x="415971" y="60854"/>
                  </a:lnTo>
                  <a:lnTo>
                    <a:pt x="412504" y="60854"/>
                  </a:lnTo>
                  <a:lnTo>
                    <a:pt x="406413" y="60854"/>
                  </a:lnTo>
                  <a:lnTo>
                    <a:pt x="399884" y="61493"/>
                  </a:lnTo>
                  <a:lnTo>
                    <a:pt x="396821" y="62570"/>
                  </a:lnTo>
                  <a:lnTo>
                    <a:pt x="389720" y="62570"/>
                  </a:lnTo>
                  <a:lnTo>
                    <a:pt x="386085" y="58365"/>
                  </a:lnTo>
                  <a:lnTo>
                    <a:pt x="384201" y="54732"/>
                  </a:lnTo>
                  <a:cubicBezTo>
                    <a:pt x="384201" y="54732"/>
                    <a:pt x="380297" y="51973"/>
                    <a:pt x="379253" y="50527"/>
                  </a:cubicBezTo>
                  <a:cubicBezTo>
                    <a:pt x="378244" y="49080"/>
                    <a:pt x="377369" y="47062"/>
                    <a:pt x="377369" y="47062"/>
                  </a:cubicBezTo>
                  <a:lnTo>
                    <a:pt x="376494" y="44303"/>
                  </a:lnTo>
                  <a:lnTo>
                    <a:pt x="373027" y="41545"/>
                  </a:lnTo>
                  <a:lnTo>
                    <a:pt x="371715" y="40233"/>
                  </a:lnTo>
                  <a:cubicBezTo>
                    <a:pt x="371715" y="40233"/>
                    <a:pt x="369393" y="37643"/>
                    <a:pt x="368686" y="36768"/>
                  </a:cubicBezTo>
                  <a:cubicBezTo>
                    <a:pt x="367979" y="35893"/>
                    <a:pt x="367239" y="35759"/>
                    <a:pt x="366667" y="35624"/>
                  </a:cubicBezTo>
                  <a:cubicBezTo>
                    <a:pt x="366094" y="35490"/>
                    <a:pt x="364647" y="33303"/>
                    <a:pt x="364647" y="33303"/>
                  </a:cubicBezTo>
                  <a:lnTo>
                    <a:pt x="363772" y="31554"/>
                  </a:lnTo>
                  <a:cubicBezTo>
                    <a:pt x="363772" y="31554"/>
                    <a:pt x="361753" y="30982"/>
                    <a:pt x="361181" y="30982"/>
                  </a:cubicBezTo>
                  <a:cubicBezTo>
                    <a:pt x="360609" y="30982"/>
                    <a:pt x="359296" y="30847"/>
                    <a:pt x="357714" y="30847"/>
                  </a:cubicBezTo>
                  <a:cubicBezTo>
                    <a:pt x="356099" y="30847"/>
                    <a:pt x="354820" y="30713"/>
                    <a:pt x="354820" y="30713"/>
                  </a:cubicBezTo>
                  <a:lnTo>
                    <a:pt x="351354" y="28964"/>
                  </a:lnTo>
                  <a:lnTo>
                    <a:pt x="349469" y="26945"/>
                  </a:lnTo>
                  <a:lnTo>
                    <a:pt x="346137" y="24624"/>
                  </a:lnTo>
                  <a:lnTo>
                    <a:pt x="339777" y="20722"/>
                  </a:lnTo>
                  <a:lnTo>
                    <a:pt x="336748" y="18535"/>
                  </a:lnTo>
                  <a:lnTo>
                    <a:pt x="333719" y="15070"/>
                  </a:lnTo>
                  <a:lnTo>
                    <a:pt x="327055" y="11740"/>
                  </a:lnTo>
                  <a:cubicBezTo>
                    <a:pt x="327055" y="11740"/>
                    <a:pt x="321973" y="8982"/>
                    <a:pt x="321536" y="8713"/>
                  </a:cubicBezTo>
                  <a:cubicBezTo>
                    <a:pt x="321098" y="8410"/>
                    <a:pt x="318069" y="5954"/>
                    <a:pt x="318069" y="5954"/>
                  </a:cubicBezTo>
                  <a:cubicBezTo>
                    <a:pt x="318069" y="5954"/>
                    <a:pt x="315916" y="3196"/>
                    <a:pt x="316117" y="2758"/>
                  </a:cubicBezTo>
                  <a:cubicBezTo>
                    <a:pt x="316319" y="2321"/>
                    <a:pt x="313425" y="0"/>
                    <a:pt x="313425" y="0"/>
                  </a:cubicBezTo>
                  <a:lnTo>
                    <a:pt x="311675" y="0"/>
                  </a:lnTo>
                  <a:lnTo>
                    <a:pt x="306459" y="0"/>
                  </a:lnTo>
                  <a:lnTo>
                    <a:pt x="304709" y="1682"/>
                  </a:lnTo>
                  <a:lnTo>
                    <a:pt x="302386" y="4070"/>
                  </a:lnTo>
                  <a:lnTo>
                    <a:pt x="301949" y="5954"/>
                  </a:lnTo>
                  <a:lnTo>
                    <a:pt x="301646" y="7703"/>
                  </a:lnTo>
                  <a:cubicBezTo>
                    <a:pt x="301646" y="7703"/>
                    <a:pt x="301074" y="9284"/>
                    <a:pt x="301074" y="9722"/>
                  </a:cubicBezTo>
                  <a:cubicBezTo>
                    <a:pt x="301074" y="10159"/>
                    <a:pt x="302386" y="11303"/>
                    <a:pt x="302386" y="11303"/>
                  </a:cubicBezTo>
                  <a:lnTo>
                    <a:pt x="304136" y="12312"/>
                  </a:lnTo>
                  <a:cubicBezTo>
                    <a:pt x="304136" y="12312"/>
                    <a:pt x="306021" y="14330"/>
                    <a:pt x="306459" y="14768"/>
                  </a:cubicBezTo>
                  <a:cubicBezTo>
                    <a:pt x="306896" y="15205"/>
                    <a:pt x="307603" y="14768"/>
                    <a:pt x="307603" y="14768"/>
                  </a:cubicBezTo>
                  <a:lnTo>
                    <a:pt x="307300" y="18233"/>
                  </a:lnTo>
                  <a:lnTo>
                    <a:pt x="307300" y="19107"/>
                  </a:lnTo>
                  <a:lnTo>
                    <a:pt x="306425" y="20856"/>
                  </a:lnTo>
                  <a:lnTo>
                    <a:pt x="304675" y="20856"/>
                  </a:lnTo>
                  <a:lnTo>
                    <a:pt x="303093" y="20856"/>
                  </a:lnTo>
                  <a:cubicBezTo>
                    <a:pt x="303093" y="20856"/>
                    <a:pt x="301781" y="20991"/>
                    <a:pt x="301646" y="21428"/>
                  </a:cubicBezTo>
                  <a:cubicBezTo>
                    <a:pt x="301511" y="21866"/>
                    <a:pt x="301343" y="23615"/>
                    <a:pt x="301343" y="24187"/>
                  </a:cubicBezTo>
                  <a:cubicBezTo>
                    <a:pt x="301343" y="24759"/>
                    <a:pt x="300636" y="29973"/>
                    <a:pt x="300636" y="29973"/>
                  </a:cubicBezTo>
                  <a:lnTo>
                    <a:pt x="299055" y="30847"/>
                  </a:lnTo>
                  <a:cubicBezTo>
                    <a:pt x="299055" y="30847"/>
                    <a:pt x="297304" y="27383"/>
                    <a:pt x="296429" y="27214"/>
                  </a:cubicBezTo>
                  <a:cubicBezTo>
                    <a:pt x="295554" y="27080"/>
                    <a:pt x="291516" y="27214"/>
                    <a:pt x="291516" y="27214"/>
                  </a:cubicBezTo>
                  <a:lnTo>
                    <a:pt x="291651" y="28661"/>
                  </a:lnTo>
                  <a:lnTo>
                    <a:pt x="291651" y="34581"/>
                  </a:lnTo>
                  <a:cubicBezTo>
                    <a:pt x="291651" y="34581"/>
                    <a:pt x="291583" y="37912"/>
                    <a:pt x="291718" y="38484"/>
                  </a:cubicBezTo>
                  <a:cubicBezTo>
                    <a:pt x="291852" y="39056"/>
                    <a:pt x="293098" y="39930"/>
                    <a:pt x="293098" y="39930"/>
                  </a:cubicBezTo>
                  <a:cubicBezTo>
                    <a:pt x="293098" y="39930"/>
                    <a:pt x="295420" y="42251"/>
                    <a:pt x="296429" y="42386"/>
                  </a:cubicBezTo>
                  <a:cubicBezTo>
                    <a:pt x="297439" y="42520"/>
                    <a:pt x="297304" y="45582"/>
                    <a:pt x="297304" y="45582"/>
                  </a:cubicBezTo>
                  <a:lnTo>
                    <a:pt x="300939" y="47465"/>
                  </a:lnTo>
                  <a:lnTo>
                    <a:pt x="303968" y="48912"/>
                  </a:lnTo>
                  <a:lnTo>
                    <a:pt x="310329" y="52108"/>
                  </a:lnTo>
                  <a:lnTo>
                    <a:pt x="314401" y="55169"/>
                  </a:lnTo>
                  <a:lnTo>
                    <a:pt x="315983" y="59811"/>
                  </a:lnTo>
                  <a:cubicBezTo>
                    <a:pt x="315983" y="59811"/>
                    <a:pt x="316117" y="63007"/>
                    <a:pt x="315983" y="63579"/>
                  </a:cubicBezTo>
                  <a:cubicBezTo>
                    <a:pt x="315848" y="64151"/>
                    <a:pt x="315983" y="65765"/>
                    <a:pt x="315983" y="65765"/>
                  </a:cubicBezTo>
                  <a:cubicBezTo>
                    <a:pt x="315983" y="65765"/>
                    <a:pt x="314839" y="68221"/>
                    <a:pt x="314401" y="68221"/>
                  </a:cubicBezTo>
                  <a:cubicBezTo>
                    <a:pt x="313964" y="68221"/>
                    <a:pt x="312651" y="69668"/>
                    <a:pt x="312213" y="69668"/>
                  </a:cubicBezTo>
                  <a:cubicBezTo>
                    <a:pt x="311776" y="69668"/>
                    <a:pt x="308444" y="71249"/>
                    <a:pt x="307872" y="71417"/>
                  </a:cubicBezTo>
                  <a:cubicBezTo>
                    <a:pt x="307300" y="71551"/>
                    <a:pt x="306862" y="71417"/>
                    <a:pt x="306290" y="71417"/>
                  </a:cubicBezTo>
                  <a:cubicBezTo>
                    <a:pt x="305718" y="71417"/>
                    <a:pt x="302824" y="72426"/>
                    <a:pt x="302824" y="72426"/>
                  </a:cubicBezTo>
                  <a:lnTo>
                    <a:pt x="302117" y="73873"/>
                  </a:lnTo>
                  <a:lnTo>
                    <a:pt x="302117" y="74882"/>
                  </a:lnTo>
                  <a:cubicBezTo>
                    <a:pt x="302117" y="74882"/>
                    <a:pt x="301175" y="77506"/>
                    <a:pt x="301175" y="78077"/>
                  </a:cubicBezTo>
                  <a:cubicBezTo>
                    <a:pt x="301175" y="78649"/>
                    <a:pt x="299795" y="80533"/>
                    <a:pt x="298213" y="81273"/>
                  </a:cubicBezTo>
                  <a:cubicBezTo>
                    <a:pt x="296631" y="82013"/>
                    <a:pt x="295756" y="83729"/>
                    <a:pt x="295756" y="83729"/>
                  </a:cubicBezTo>
                  <a:cubicBezTo>
                    <a:pt x="295756" y="83729"/>
                    <a:pt x="292997" y="84301"/>
                    <a:pt x="291718" y="84435"/>
                  </a:cubicBezTo>
                  <a:cubicBezTo>
                    <a:pt x="290405" y="84570"/>
                    <a:pt x="289530" y="84301"/>
                    <a:pt x="288958" y="84435"/>
                  </a:cubicBezTo>
                  <a:cubicBezTo>
                    <a:pt x="288386" y="84570"/>
                    <a:pt x="286636" y="84435"/>
                    <a:pt x="286636" y="84435"/>
                  </a:cubicBezTo>
                  <a:cubicBezTo>
                    <a:pt x="286636" y="84435"/>
                    <a:pt x="285323" y="86185"/>
                    <a:pt x="284583" y="86622"/>
                  </a:cubicBezTo>
                  <a:cubicBezTo>
                    <a:pt x="283843" y="87059"/>
                    <a:pt x="284448" y="88371"/>
                    <a:pt x="284448" y="88371"/>
                  </a:cubicBezTo>
                  <a:cubicBezTo>
                    <a:pt x="284448" y="88371"/>
                    <a:pt x="284751" y="90692"/>
                    <a:pt x="284448" y="91130"/>
                  </a:cubicBezTo>
                  <a:cubicBezTo>
                    <a:pt x="284146" y="91567"/>
                    <a:pt x="284448" y="94023"/>
                    <a:pt x="284448" y="94023"/>
                  </a:cubicBezTo>
                  <a:cubicBezTo>
                    <a:pt x="284448" y="94023"/>
                    <a:pt x="283304" y="96781"/>
                    <a:pt x="283304" y="97353"/>
                  </a:cubicBezTo>
                  <a:cubicBezTo>
                    <a:pt x="283304" y="97925"/>
                    <a:pt x="281722" y="100683"/>
                    <a:pt x="281722" y="100683"/>
                  </a:cubicBezTo>
                  <a:lnTo>
                    <a:pt x="280713" y="104148"/>
                  </a:lnTo>
                  <a:lnTo>
                    <a:pt x="278256" y="107916"/>
                  </a:lnTo>
                  <a:lnTo>
                    <a:pt x="274352" y="110102"/>
                  </a:lnTo>
                  <a:cubicBezTo>
                    <a:pt x="274352" y="110102"/>
                    <a:pt x="269573" y="111986"/>
                    <a:pt x="269136" y="112121"/>
                  </a:cubicBezTo>
                  <a:cubicBezTo>
                    <a:pt x="268698" y="112255"/>
                    <a:pt x="268126" y="115317"/>
                    <a:pt x="268126" y="115317"/>
                  </a:cubicBezTo>
                  <a:lnTo>
                    <a:pt x="269270" y="117200"/>
                  </a:lnTo>
                  <a:lnTo>
                    <a:pt x="272467" y="120834"/>
                  </a:lnTo>
                  <a:lnTo>
                    <a:pt x="269439" y="124298"/>
                  </a:lnTo>
                  <a:lnTo>
                    <a:pt x="266107" y="125879"/>
                  </a:lnTo>
                  <a:lnTo>
                    <a:pt x="264962" y="127898"/>
                  </a:lnTo>
                  <a:lnTo>
                    <a:pt x="265535" y="130219"/>
                  </a:lnTo>
                  <a:lnTo>
                    <a:pt x="267991" y="131968"/>
                  </a:lnTo>
                  <a:cubicBezTo>
                    <a:pt x="267991" y="131968"/>
                    <a:pt x="266241" y="134424"/>
                    <a:pt x="265669" y="135736"/>
                  </a:cubicBezTo>
                  <a:cubicBezTo>
                    <a:pt x="265097" y="137048"/>
                    <a:pt x="262640" y="138763"/>
                    <a:pt x="262640" y="138763"/>
                  </a:cubicBezTo>
                  <a:lnTo>
                    <a:pt x="260318" y="139638"/>
                  </a:lnTo>
                  <a:cubicBezTo>
                    <a:pt x="260318" y="139638"/>
                    <a:pt x="258568" y="141656"/>
                    <a:pt x="257727" y="142396"/>
                  </a:cubicBezTo>
                  <a:cubicBezTo>
                    <a:pt x="256852" y="143137"/>
                    <a:pt x="256717" y="144718"/>
                    <a:pt x="256583" y="145592"/>
                  </a:cubicBezTo>
                  <a:cubicBezTo>
                    <a:pt x="256448" y="146467"/>
                    <a:pt x="257458" y="148923"/>
                    <a:pt x="257458" y="148923"/>
                  </a:cubicBezTo>
                  <a:lnTo>
                    <a:pt x="260352" y="152690"/>
                  </a:lnTo>
                  <a:lnTo>
                    <a:pt x="256448" y="157198"/>
                  </a:lnTo>
                  <a:cubicBezTo>
                    <a:pt x="256448" y="157198"/>
                    <a:pt x="255876" y="158342"/>
                    <a:pt x="255438" y="158644"/>
                  </a:cubicBezTo>
                  <a:cubicBezTo>
                    <a:pt x="255001" y="158947"/>
                    <a:pt x="253856" y="159956"/>
                    <a:pt x="253419" y="160225"/>
                  </a:cubicBezTo>
                  <a:cubicBezTo>
                    <a:pt x="252981" y="160528"/>
                    <a:pt x="251837" y="160663"/>
                    <a:pt x="251837" y="160663"/>
                  </a:cubicBezTo>
                  <a:lnTo>
                    <a:pt x="249818" y="162412"/>
                  </a:lnTo>
                  <a:lnTo>
                    <a:pt x="247496" y="163421"/>
                  </a:lnTo>
                  <a:lnTo>
                    <a:pt x="244904" y="163421"/>
                  </a:lnTo>
                  <a:lnTo>
                    <a:pt x="243154" y="162412"/>
                  </a:lnTo>
                  <a:cubicBezTo>
                    <a:pt x="243154" y="162412"/>
                    <a:pt x="240967" y="159519"/>
                    <a:pt x="240529" y="159082"/>
                  </a:cubicBezTo>
                  <a:cubicBezTo>
                    <a:pt x="240092" y="158644"/>
                    <a:pt x="239822" y="156054"/>
                    <a:pt x="239822" y="156054"/>
                  </a:cubicBezTo>
                  <a:lnTo>
                    <a:pt x="238678" y="155617"/>
                  </a:lnTo>
                  <a:cubicBezTo>
                    <a:pt x="238678" y="155617"/>
                    <a:pt x="237366" y="156189"/>
                    <a:pt x="236794" y="156189"/>
                  </a:cubicBezTo>
                  <a:cubicBezTo>
                    <a:pt x="236222" y="156189"/>
                    <a:pt x="234774" y="158073"/>
                    <a:pt x="234034" y="158813"/>
                  </a:cubicBezTo>
                  <a:cubicBezTo>
                    <a:pt x="233293" y="159519"/>
                    <a:pt x="232015" y="158947"/>
                    <a:pt x="231274" y="158947"/>
                  </a:cubicBezTo>
                  <a:cubicBezTo>
                    <a:pt x="230534" y="158947"/>
                    <a:pt x="228952" y="158375"/>
                    <a:pt x="228077" y="157803"/>
                  </a:cubicBezTo>
                  <a:cubicBezTo>
                    <a:pt x="227202" y="157232"/>
                    <a:pt x="226630" y="156660"/>
                    <a:pt x="226630" y="156660"/>
                  </a:cubicBezTo>
                  <a:cubicBezTo>
                    <a:pt x="226630" y="156660"/>
                    <a:pt x="225620" y="155348"/>
                    <a:pt x="224745" y="154776"/>
                  </a:cubicBezTo>
                  <a:cubicBezTo>
                    <a:pt x="223870" y="154204"/>
                    <a:pt x="221413" y="154776"/>
                    <a:pt x="221413" y="154776"/>
                  </a:cubicBezTo>
                  <a:lnTo>
                    <a:pt x="219663" y="154776"/>
                  </a:lnTo>
                  <a:lnTo>
                    <a:pt x="216466" y="154776"/>
                  </a:lnTo>
                  <a:cubicBezTo>
                    <a:pt x="216466" y="154776"/>
                    <a:pt x="215591" y="156895"/>
                    <a:pt x="215322" y="157030"/>
                  </a:cubicBezTo>
                  <a:cubicBezTo>
                    <a:pt x="215019" y="157164"/>
                    <a:pt x="214581" y="158846"/>
                    <a:pt x="214178" y="158981"/>
                  </a:cubicBezTo>
                  <a:cubicBezTo>
                    <a:pt x="213740" y="159115"/>
                    <a:pt x="215322" y="160865"/>
                    <a:pt x="215322" y="160865"/>
                  </a:cubicBezTo>
                  <a:lnTo>
                    <a:pt x="215322" y="163623"/>
                  </a:lnTo>
                  <a:lnTo>
                    <a:pt x="213370" y="165070"/>
                  </a:lnTo>
                  <a:lnTo>
                    <a:pt x="211115" y="166651"/>
                  </a:lnTo>
                  <a:lnTo>
                    <a:pt x="209096" y="169846"/>
                  </a:lnTo>
                  <a:lnTo>
                    <a:pt x="207952" y="172874"/>
                  </a:lnTo>
                  <a:lnTo>
                    <a:pt x="210711" y="175195"/>
                  </a:lnTo>
                  <a:cubicBezTo>
                    <a:pt x="210711" y="175195"/>
                    <a:pt x="213740" y="178391"/>
                    <a:pt x="213606" y="178828"/>
                  </a:cubicBezTo>
                  <a:cubicBezTo>
                    <a:pt x="213471" y="179266"/>
                    <a:pt x="213606" y="181721"/>
                    <a:pt x="213606" y="181721"/>
                  </a:cubicBezTo>
                  <a:lnTo>
                    <a:pt x="213606" y="182865"/>
                  </a:lnTo>
                  <a:lnTo>
                    <a:pt x="211855" y="185186"/>
                  </a:lnTo>
                  <a:lnTo>
                    <a:pt x="211855" y="186061"/>
                  </a:lnTo>
                  <a:cubicBezTo>
                    <a:pt x="211855" y="186061"/>
                    <a:pt x="210543" y="186061"/>
                    <a:pt x="208961" y="186061"/>
                  </a:cubicBezTo>
                  <a:cubicBezTo>
                    <a:pt x="207380" y="186061"/>
                    <a:pt x="207514" y="187642"/>
                    <a:pt x="207514" y="187642"/>
                  </a:cubicBezTo>
                  <a:lnTo>
                    <a:pt x="206201" y="190972"/>
                  </a:lnTo>
                  <a:cubicBezTo>
                    <a:pt x="206201" y="190972"/>
                    <a:pt x="204754" y="192419"/>
                    <a:pt x="204620" y="192856"/>
                  </a:cubicBezTo>
                  <a:cubicBezTo>
                    <a:pt x="204485" y="193293"/>
                    <a:pt x="203038" y="194302"/>
                    <a:pt x="203038" y="194302"/>
                  </a:cubicBezTo>
                  <a:cubicBezTo>
                    <a:pt x="203038" y="194302"/>
                    <a:pt x="201456" y="197935"/>
                    <a:pt x="201019" y="198440"/>
                  </a:cubicBezTo>
                  <a:cubicBezTo>
                    <a:pt x="200581" y="198945"/>
                    <a:pt x="200009" y="201266"/>
                    <a:pt x="200009" y="201266"/>
                  </a:cubicBezTo>
                  <a:lnTo>
                    <a:pt x="198562" y="205605"/>
                  </a:lnTo>
                  <a:lnTo>
                    <a:pt x="196980" y="208936"/>
                  </a:lnTo>
                  <a:cubicBezTo>
                    <a:pt x="196980" y="208936"/>
                    <a:pt x="194220" y="210954"/>
                    <a:pt x="193514" y="210954"/>
                  </a:cubicBezTo>
                  <a:cubicBezTo>
                    <a:pt x="192773" y="210954"/>
                    <a:pt x="190451" y="216471"/>
                    <a:pt x="190451" y="216471"/>
                  </a:cubicBezTo>
                  <a:lnTo>
                    <a:pt x="188701" y="222694"/>
                  </a:lnTo>
                  <a:lnTo>
                    <a:pt x="185235" y="227034"/>
                  </a:lnTo>
                  <a:lnTo>
                    <a:pt x="183350" y="228918"/>
                  </a:lnTo>
                  <a:lnTo>
                    <a:pt x="181465" y="231239"/>
                  </a:lnTo>
                  <a:lnTo>
                    <a:pt x="180590" y="233829"/>
                  </a:lnTo>
                  <a:lnTo>
                    <a:pt x="180590" y="235578"/>
                  </a:lnTo>
                  <a:cubicBezTo>
                    <a:pt x="180590" y="235578"/>
                    <a:pt x="179076" y="239043"/>
                    <a:pt x="178638" y="239043"/>
                  </a:cubicBezTo>
                  <a:cubicBezTo>
                    <a:pt x="178201" y="239043"/>
                    <a:pt x="175980" y="241633"/>
                    <a:pt x="175374" y="241802"/>
                  </a:cubicBezTo>
                  <a:cubicBezTo>
                    <a:pt x="174802" y="241936"/>
                    <a:pt x="171167" y="244257"/>
                    <a:pt x="170595" y="244257"/>
                  </a:cubicBezTo>
                  <a:cubicBezTo>
                    <a:pt x="170023" y="244257"/>
                    <a:pt x="167263" y="245401"/>
                    <a:pt x="167263" y="245401"/>
                  </a:cubicBezTo>
                  <a:lnTo>
                    <a:pt x="165076" y="246410"/>
                  </a:lnTo>
                  <a:lnTo>
                    <a:pt x="162316" y="248597"/>
                  </a:lnTo>
                  <a:cubicBezTo>
                    <a:pt x="162316" y="248597"/>
                    <a:pt x="158681" y="248597"/>
                    <a:pt x="157234" y="248597"/>
                  </a:cubicBezTo>
                  <a:cubicBezTo>
                    <a:pt x="155787" y="248597"/>
                    <a:pt x="151883" y="248597"/>
                    <a:pt x="151883" y="248597"/>
                  </a:cubicBezTo>
                  <a:cubicBezTo>
                    <a:pt x="151883" y="248597"/>
                    <a:pt x="148686" y="248597"/>
                    <a:pt x="148114" y="248597"/>
                  </a:cubicBezTo>
                  <a:cubicBezTo>
                    <a:pt x="147542" y="248597"/>
                    <a:pt x="144647" y="248395"/>
                    <a:pt x="143200" y="248092"/>
                  </a:cubicBezTo>
                  <a:cubicBezTo>
                    <a:pt x="141753" y="247789"/>
                    <a:pt x="141585" y="247857"/>
                    <a:pt x="140743" y="247588"/>
                  </a:cubicBezTo>
                  <a:cubicBezTo>
                    <a:pt x="139868" y="247285"/>
                    <a:pt x="135830" y="244392"/>
                    <a:pt x="135830" y="244392"/>
                  </a:cubicBezTo>
                  <a:lnTo>
                    <a:pt x="134955" y="241196"/>
                  </a:lnTo>
                  <a:lnTo>
                    <a:pt x="131926" y="239010"/>
                  </a:lnTo>
                  <a:lnTo>
                    <a:pt x="131926" y="236117"/>
                  </a:lnTo>
                  <a:cubicBezTo>
                    <a:pt x="131926" y="236117"/>
                    <a:pt x="131724" y="232080"/>
                    <a:pt x="131421" y="231474"/>
                  </a:cubicBezTo>
                  <a:cubicBezTo>
                    <a:pt x="131118" y="230902"/>
                    <a:pt x="131791" y="225688"/>
                    <a:pt x="131791" y="225688"/>
                  </a:cubicBezTo>
                  <a:lnTo>
                    <a:pt x="131084" y="221921"/>
                  </a:lnTo>
                  <a:cubicBezTo>
                    <a:pt x="131084" y="221921"/>
                    <a:pt x="126003" y="218725"/>
                    <a:pt x="124555" y="217850"/>
                  </a:cubicBezTo>
                  <a:cubicBezTo>
                    <a:pt x="123108" y="216976"/>
                    <a:pt x="122099" y="216538"/>
                    <a:pt x="122099" y="216538"/>
                  </a:cubicBezTo>
                  <a:lnTo>
                    <a:pt x="120652" y="217245"/>
                  </a:lnTo>
                  <a:lnTo>
                    <a:pt x="116310" y="217245"/>
                  </a:lnTo>
                  <a:lnTo>
                    <a:pt x="113281" y="218052"/>
                  </a:lnTo>
                  <a:lnTo>
                    <a:pt x="112272" y="219297"/>
                  </a:lnTo>
                  <a:cubicBezTo>
                    <a:pt x="112272" y="219297"/>
                    <a:pt x="111565" y="220609"/>
                    <a:pt x="111094" y="221046"/>
                  </a:cubicBezTo>
                  <a:cubicBezTo>
                    <a:pt x="110656" y="221483"/>
                    <a:pt x="109344" y="223636"/>
                    <a:pt x="109344" y="223636"/>
                  </a:cubicBezTo>
                  <a:lnTo>
                    <a:pt x="108469" y="224208"/>
                  </a:lnTo>
                  <a:cubicBezTo>
                    <a:pt x="108469" y="224208"/>
                    <a:pt x="105709" y="224208"/>
                    <a:pt x="105271" y="224208"/>
                  </a:cubicBezTo>
                  <a:cubicBezTo>
                    <a:pt x="104834" y="224208"/>
                    <a:pt x="103521" y="224141"/>
                    <a:pt x="103521" y="224141"/>
                  </a:cubicBezTo>
                  <a:lnTo>
                    <a:pt x="102209" y="224645"/>
                  </a:lnTo>
                  <a:lnTo>
                    <a:pt x="100762" y="226664"/>
                  </a:lnTo>
                  <a:cubicBezTo>
                    <a:pt x="100762" y="226664"/>
                    <a:pt x="98440" y="228110"/>
                    <a:pt x="98002" y="228245"/>
                  </a:cubicBezTo>
                  <a:cubicBezTo>
                    <a:pt x="97565" y="228379"/>
                    <a:pt x="95545" y="228379"/>
                    <a:pt x="95444" y="228379"/>
                  </a:cubicBezTo>
                  <a:cubicBezTo>
                    <a:pt x="95343" y="228379"/>
                    <a:pt x="91069" y="228245"/>
                    <a:pt x="91069" y="228245"/>
                  </a:cubicBezTo>
                  <a:lnTo>
                    <a:pt x="87603" y="224915"/>
                  </a:lnTo>
                  <a:lnTo>
                    <a:pt x="85651" y="221147"/>
                  </a:lnTo>
                  <a:lnTo>
                    <a:pt x="81747" y="217884"/>
                  </a:lnTo>
                  <a:lnTo>
                    <a:pt x="78920" y="215495"/>
                  </a:lnTo>
                  <a:lnTo>
                    <a:pt x="75218" y="215495"/>
                  </a:lnTo>
                  <a:lnTo>
                    <a:pt x="73030" y="212670"/>
                  </a:lnTo>
                  <a:lnTo>
                    <a:pt x="70843" y="209407"/>
                  </a:lnTo>
                  <a:lnTo>
                    <a:pt x="67376" y="207657"/>
                  </a:lnTo>
                  <a:lnTo>
                    <a:pt x="64987" y="206581"/>
                  </a:lnTo>
                  <a:cubicBezTo>
                    <a:pt x="64987" y="206581"/>
                    <a:pt x="61958" y="204630"/>
                    <a:pt x="61285" y="204394"/>
                  </a:cubicBezTo>
                  <a:cubicBezTo>
                    <a:pt x="60645" y="204192"/>
                    <a:pt x="57381" y="203755"/>
                    <a:pt x="57381" y="203755"/>
                  </a:cubicBezTo>
                  <a:cubicBezTo>
                    <a:pt x="57381" y="203755"/>
                    <a:pt x="54756" y="200929"/>
                    <a:pt x="54116" y="200728"/>
                  </a:cubicBezTo>
                  <a:cubicBezTo>
                    <a:pt x="53477" y="200492"/>
                    <a:pt x="50852" y="198339"/>
                    <a:pt x="50852" y="198339"/>
                  </a:cubicBezTo>
                  <a:cubicBezTo>
                    <a:pt x="50852" y="198339"/>
                    <a:pt x="48462" y="200526"/>
                    <a:pt x="47823" y="200526"/>
                  </a:cubicBezTo>
                  <a:cubicBezTo>
                    <a:pt x="47184" y="200526"/>
                    <a:pt x="45636" y="203991"/>
                    <a:pt x="44996" y="204865"/>
                  </a:cubicBezTo>
                  <a:cubicBezTo>
                    <a:pt x="44357" y="205740"/>
                    <a:pt x="41294" y="210079"/>
                    <a:pt x="41294" y="210079"/>
                  </a:cubicBezTo>
                  <a:lnTo>
                    <a:pt x="38030" y="216168"/>
                  </a:lnTo>
                  <a:cubicBezTo>
                    <a:pt x="38030" y="216168"/>
                    <a:pt x="36717" y="215731"/>
                    <a:pt x="35842" y="216168"/>
                  </a:cubicBezTo>
                  <a:cubicBezTo>
                    <a:pt x="34967" y="216605"/>
                    <a:pt x="32140" y="216168"/>
                    <a:pt x="32140" y="216168"/>
                  </a:cubicBezTo>
                  <a:lnTo>
                    <a:pt x="29313" y="217245"/>
                  </a:lnTo>
                  <a:lnTo>
                    <a:pt x="31938" y="221382"/>
                  </a:lnTo>
                  <a:lnTo>
                    <a:pt x="31063" y="224645"/>
                  </a:lnTo>
                  <a:lnTo>
                    <a:pt x="26722" y="222459"/>
                  </a:lnTo>
                  <a:lnTo>
                    <a:pt x="21943" y="222459"/>
                  </a:lnTo>
                  <a:lnTo>
                    <a:pt x="21303" y="225621"/>
                  </a:lnTo>
                  <a:lnTo>
                    <a:pt x="21539" y="230061"/>
                  </a:lnTo>
                  <a:cubicBezTo>
                    <a:pt x="21539" y="230061"/>
                    <a:pt x="23289" y="233964"/>
                    <a:pt x="23928" y="234199"/>
                  </a:cubicBezTo>
                  <a:cubicBezTo>
                    <a:pt x="24568" y="234401"/>
                    <a:pt x="26755" y="237025"/>
                    <a:pt x="29347" y="237462"/>
                  </a:cubicBezTo>
                  <a:cubicBezTo>
                    <a:pt x="31972" y="237899"/>
                    <a:pt x="33924" y="238774"/>
                    <a:pt x="35674" y="239851"/>
                  </a:cubicBezTo>
                  <a:cubicBezTo>
                    <a:pt x="37424" y="240927"/>
                    <a:pt x="37626" y="244627"/>
                    <a:pt x="38299" y="244863"/>
                  </a:cubicBezTo>
                  <a:cubicBezTo>
                    <a:pt x="38938" y="245065"/>
                    <a:pt x="38938" y="247453"/>
                    <a:pt x="39376" y="248328"/>
                  </a:cubicBezTo>
                  <a:cubicBezTo>
                    <a:pt x="39813" y="249202"/>
                    <a:pt x="38501" y="250716"/>
                    <a:pt x="38501" y="251591"/>
                  </a:cubicBezTo>
                  <a:cubicBezTo>
                    <a:pt x="38501" y="252465"/>
                    <a:pt x="38063" y="254618"/>
                    <a:pt x="38063" y="254618"/>
                  </a:cubicBezTo>
                  <a:cubicBezTo>
                    <a:pt x="38063" y="254618"/>
                    <a:pt x="37188" y="257646"/>
                    <a:pt x="37188" y="258521"/>
                  </a:cubicBezTo>
                  <a:cubicBezTo>
                    <a:pt x="37188" y="259395"/>
                    <a:pt x="36313" y="262221"/>
                    <a:pt x="35876" y="262860"/>
                  </a:cubicBezTo>
                  <a:cubicBezTo>
                    <a:pt x="35438" y="263499"/>
                    <a:pt x="35236" y="265248"/>
                    <a:pt x="34563" y="265888"/>
                  </a:cubicBezTo>
                  <a:cubicBezTo>
                    <a:pt x="33924" y="266527"/>
                    <a:pt x="33049" y="267401"/>
                    <a:pt x="31534" y="267637"/>
                  </a:cubicBezTo>
                  <a:cubicBezTo>
                    <a:pt x="30020" y="267872"/>
                    <a:pt x="28472" y="267637"/>
                    <a:pt x="28472" y="267637"/>
                  </a:cubicBezTo>
                  <a:lnTo>
                    <a:pt x="26082" y="267637"/>
                  </a:lnTo>
                  <a:cubicBezTo>
                    <a:pt x="26082" y="267637"/>
                    <a:pt x="25207" y="271236"/>
                    <a:pt x="25207" y="272111"/>
                  </a:cubicBezTo>
                  <a:cubicBezTo>
                    <a:pt x="25207" y="272986"/>
                    <a:pt x="23255" y="277863"/>
                    <a:pt x="23255" y="278738"/>
                  </a:cubicBezTo>
                  <a:cubicBezTo>
                    <a:pt x="23255" y="279613"/>
                    <a:pt x="21068" y="281328"/>
                    <a:pt x="20428" y="281564"/>
                  </a:cubicBezTo>
                  <a:cubicBezTo>
                    <a:pt x="19789" y="281799"/>
                    <a:pt x="15414" y="282640"/>
                    <a:pt x="14976" y="283313"/>
                  </a:cubicBezTo>
                  <a:cubicBezTo>
                    <a:pt x="14539" y="283952"/>
                    <a:pt x="9120" y="286778"/>
                    <a:pt x="9120" y="286778"/>
                  </a:cubicBezTo>
                  <a:cubicBezTo>
                    <a:pt x="9120" y="286778"/>
                    <a:pt x="4779" y="292429"/>
                    <a:pt x="4139" y="292328"/>
                  </a:cubicBezTo>
                  <a:cubicBezTo>
                    <a:pt x="3500" y="292227"/>
                    <a:pt x="0" y="294616"/>
                    <a:pt x="0" y="294616"/>
                  </a:cubicBezTo>
                  <a:cubicBezTo>
                    <a:pt x="0" y="294616"/>
                    <a:pt x="1952" y="299628"/>
                    <a:pt x="1312" y="299830"/>
                  </a:cubicBezTo>
                  <a:cubicBezTo>
                    <a:pt x="673" y="300065"/>
                    <a:pt x="0" y="305919"/>
                    <a:pt x="0" y="306558"/>
                  </a:cubicBezTo>
                  <a:cubicBezTo>
                    <a:pt x="0" y="307197"/>
                    <a:pt x="1077" y="309585"/>
                    <a:pt x="1077" y="309585"/>
                  </a:cubicBezTo>
                  <a:lnTo>
                    <a:pt x="5216" y="314800"/>
                  </a:lnTo>
                  <a:lnTo>
                    <a:pt x="6731" y="316313"/>
                  </a:lnTo>
                  <a:lnTo>
                    <a:pt x="6293" y="318702"/>
                  </a:lnTo>
                  <a:lnTo>
                    <a:pt x="5216" y="322839"/>
                  </a:lnTo>
                  <a:lnTo>
                    <a:pt x="7606" y="326304"/>
                  </a:lnTo>
                  <a:lnTo>
                    <a:pt x="11072" y="329130"/>
                  </a:lnTo>
                  <a:lnTo>
                    <a:pt x="18039" y="330207"/>
                  </a:lnTo>
                  <a:lnTo>
                    <a:pt x="21303" y="330207"/>
                  </a:lnTo>
                  <a:cubicBezTo>
                    <a:pt x="21303" y="330207"/>
                    <a:pt x="25880" y="328255"/>
                    <a:pt x="26520" y="327583"/>
                  </a:cubicBezTo>
                  <a:cubicBezTo>
                    <a:pt x="27159" y="326944"/>
                    <a:pt x="29784" y="325833"/>
                    <a:pt x="29784" y="325833"/>
                  </a:cubicBezTo>
                  <a:lnTo>
                    <a:pt x="35001" y="324757"/>
                  </a:lnTo>
                  <a:lnTo>
                    <a:pt x="37188" y="329769"/>
                  </a:lnTo>
                  <a:lnTo>
                    <a:pt x="34799" y="332595"/>
                  </a:lnTo>
                  <a:lnTo>
                    <a:pt x="34361" y="335219"/>
                  </a:lnTo>
                  <a:lnTo>
                    <a:pt x="33924" y="338482"/>
                  </a:lnTo>
                  <a:cubicBezTo>
                    <a:pt x="33924" y="338482"/>
                    <a:pt x="31972" y="340231"/>
                    <a:pt x="31972" y="341106"/>
                  </a:cubicBezTo>
                  <a:cubicBezTo>
                    <a:pt x="31972" y="341980"/>
                    <a:pt x="31097" y="343057"/>
                    <a:pt x="30895" y="344133"/>
                  </a:cubicBezTo>
                  <a:cubicBezTo>
                    <a:pt x="30693" y="345210"/>
                    <a:pt x="29818" y="345883"/>
                    <a:pt x="29818" y="346757"/>
                  </a:cubicBezTo>
                  <a:cubicBezTo>
                    <a:pt x="29818" y="347632"/>
                    <a:pt x="30895" y="349785"/>
                    <a:pt x="31770" y="350458"/>
                  </a:cubicBezTo>
                  <a:cubicBezTo>
                    <a:pt x="32645" y="351097"/>
                    <a:pt x="34597" y="355436"/>
                    <a:pt x="34597" y="355436"/>
                  </a:cubicBezTo>
                  <a:lnTo>
                    <a:pt x="34597" y="360650"/>
                  </a:lnTo>
                  <a:lnTo>
                    <a:pt x="34597" y="366167"/>
                  </a:lnTo>
                  <a:cubicBezTo>
                    <a:pt x="34597" y="366167"/>
                    <a:pt x="38669" y="371953"/>
                    <a:pt x="39073" y="372122"/>
                  </a:cubicBezTo>
                  <a:cubicBezTo>
                    <a:pt x="39510" y="372256"/>
                    <a:pt x="43717" y="372693"/>
                    <a:pt x="44155" y="372559"/>
                  </a:cubicBezTo>
                  <a:cubicBezTo>
                    <a:pt x="44592" y="372424"/>
                    <a:pt x="50953" y="369969"/>
                    <a:pt x="50953" y="369969"/>
                  </a:cubicBezTo>
                  <a:lnTo>
                    <a:pt x="58929" y="368657"/>
                  </a:lnTo>
                  <a:lnTo>
                    <a:pt x="62261" y="370406"/>
                  </a:lnTo>
                  <a:cubicBezTo>
                    <a:pt x="62261" y="370406"/>
                    <a:pt x="65896" y="374308"/>
                    <a:pt x="66737" y="375620"/>
                  </a:cubicBezTo>
                  <a:cubicBezTo>
                    <a:pt x="67612" y="376932"/>
                    <a:pt x="71381" y="377638"/>
                    <a:pt x="72526" y="377638"/>
                  </a:cubicBezTo>
                  <a:cubicBezTo>
                    <a:pt x="73670" y="377638"/>
                    <a:pt x="78482" y="376629"/>
                    <a:pt x="78482" y="376629"/>
                  </a:cubicBezTo>
                  <a:cubicBezTo>
                    <a:pt x="78482" y="376629"/>
                    <a:pt x="81949" y="380834"/>
                    <a:pt x="82521" y="380834"/>
                  </a:cubicBezTo>
                  <a:cubicBezTo>
                    <a:pt x="83093" y="380834"/>
                    <a:pt x="84978" y="383290"/>
                    <a:pt x="84978" y="383290"/>
                  </a:cubicBezTo>
                  <a:lnTo>
                    <a:pt x="84978" y="387192"/>
                  </a:lnTo>
                  <a:lnTo>
                    <a:pt x="86055" y="392541"/>
                  </a:lnTo>
                  <a:lnTo>
                    <a:pt x="88882" y="394862"/>
                  </a:lnTo>
                  <a:cubicBezTo>
                    <a:pt x="88882" y="394862"/>
                    <a:pt x="89757" y="398630"/>
                    <a:pt x="89757" y="399067"/>
                  </a:cubicBezTo>
                  <a:cubicBezTo>
                    <a:pt x="89757" y="399504"/>
                    <a:pt x="91944" y="404146"/>
                    <a:pt x="91944" y="404146"/>
                  </a:cubicBezTo>
                  <a:lnTo>
                    <a:pt x="91944" y="405391"/>
                  </a:lnTo>
                  <a:lnTo>
                    <a:pt x="92550" y="408722"/>
                  </a:lnTo>
                  <a:lnTo>
                    <a:pt x="93694" y="411110"/>
                  </a:lnTo>
                  <a:lnTo>
                    <a:pt x="93694" y="416324"/>
                  </a:lnTo>
                  <a:lnTo>
                    <a:pt x="95848" y="421942"/>
                  </a:lnTo>
                  <a:cubicBezTo>
                    <a:pt x="96151" y="421572"/>
                    <a:pt x="96286" y="421269"/>
                    <a:pt x="96286" y="421269"/>
                  </a:cubicBezTo>
                  <a:lnTo>
                    <a:pt x="97228" y="418443"/>
                  </a:lnTo>
                  <a:cubicBezTo>
                    <a:pt x="97228" y="418443"/>
                    <a:pt x="96151" y="417300"/>
                    <a:pt x="95646" y="416829"/>
                  </a:cubicBezTo>
                  <a:cubicBezTo>
                    <a:pt x="95141" y="416391"/>
                    <a:pt x="95444" y="415012"/>
                    <a:pt x="95444" y="415012"/>
                  </a:cubicBezTo>
                  <a:cubicBezTo>
                    <a:pt x="95444" y="415012"/>
                    <a:pt x="96588" y="413868"/>
                    <a:pt x="96824" y="413768"/>
                  </a:cubicBezTo>
                  <a:cubicBezTo>
                    <a:pt x="97060" y="413700"/>
                    <a:pt x="97767" y="413633"/>
                    <a:pt x="97767" y="413633"/>
                  </a:cubicBezTo>
                  <a:lnTo>
                    <a:pt x="99012" y="413936"/>
                  </a:lnTo>
                  <a:lnTo>
                    <a:pt x="99584" y="414507"/>
                  </a:lnTo>
                  <a:cubicBezTo>
                    <a:pt x="99584" y="414507"/>
                    <a:pt x="100223" y="415079"/>
                    <a:pt x="100459" y="415079"/>
                  </a:cubicBezTo>
                  <a:cubicBezTo>
                    <a:pt x="100661" y="415079"/>
                    <a:pt x="101468" y="415718"/>
                    <a:pt x="101468" y="415718"/>
                  </a:cubicBezTo>
                  <a:lnTo>
                    <a:pt x="103286" y="417602"/>
                  </a:lnTo>
                  <a:cubicBezTo>
                    <a:pt x="103286" y="417602"/>
                    <a:pt x="104161" y="417232"/>
                    <a:pt x="104464" y="417165"/>
                  </a:cubicBezTo>
                  <a:cubicBezTo>
                    <a:pt x="104733" y="417098"/>
                    <a:pt x="105238" y="416862"/>
                    <a:pt x="105238" y="416862"/>
                  </a:cubicBezTo>
                  <a:lnTo>
                    <a:pt x="106180" y="415786"/>
                  </a:lnTo>
                  <a:cubicBezTo>
                    <a:pt x="106180" y="415786"/>
                    <a:pt x="106045" y="415147"/>
                    <a:pt x="106180" y="414709"/>
                  </a:cubicBezTo>
                  <a:cubicBezTo>
                    <a:pt x="106315" y="414272"/>
                    <a:pt x="105877" y="413566"/>
                    <a:pt x="105877" y="413566"/>
                  </a:cubicBezTo>
                  <a:cubicBezTo>
                    <a:pt x="105877" y="413566"/>
                    <a:pt x="105608" y="413768"/>
                    <a:pt x="105238" y="413128"/>
                  </a:cubicBezTo>
                  <a:cubicBezTo>
                    <a:pt x="104868" y="412489"/>
                    <a:pt x="104868" y="411884"/>
                    <a:pt x="104868" y="411615"/>
                  </a:cubicBezTo>
                  <a:cubicBezTo>
                    <a:pt x="104868" y="411345"/>
                    <a:pt x="105440" y="410807"/>
                    <a:pt x="105507" y="410538"/>
                  </a:cubicBezTo>
                  <a:cubicBezTo>
                    <a:pt x="105574" y="410235"/>
                    <a:pt x="107190" y="409394"/>
                    <a:pt x="107190" y="409394"/>
                  </a:cubicBezTo>
                  <a:lnTo>
                    <a:pt x="109512" y="408251"/>
                  </a:lnTo>
                  <a:lnTo>
                    <a:pt x="110017" y="407881"/>
                  </a:lnTo>
                  <a:cubicBezTo>
                    <a:pt x="110017" y="407881"/>
                    <a:pt x="111531" y="407510"/>
                    <a:pt x="111700" y="406939"/>
                  </a:cubicBezTo>
                  <a:cubicBezTo>
                    <a:pt x="111834" y="406367"/>
                    <a:pt x="112272" y="404853"/>
                    <a:pt x="112272" y="404550"/>
                  </a:cubicBezTo>
                  <a:cubicBezTo>
                    <a:pt x="112272" y="404247"/>
                    <a:pt x="112507" y="403978"/>
                    <a:pt x="111969" y="402868"/>
                  </a:cubicBezTo>
                  <a:cubicBezTo>
                    <a:pt x="111464" y="401792"/>
                    <a:pt x="111094" y="400917"/>
                    <a:pt x="110522" y="400042"/>
                  </a:cubicBezTo>
                  <a:cubicBezTo>
                    <a:pt x="109949" y="399168"/>
                    <a:pt x="108839" y="398529"/>
                    <a:pt x="108199" y="398024"/>
                  </a:cubicBezTo>
                  <a:cubicBezTo>
                    <a:pt x="107560" y="397520"/>
                    <a:pt x="107392" y="397150"/>
                    <a:pt x="107122" y="396779"/>
                  </a:cubicBezTo>
                  <a:cubicBezTo>
                    <a:pt x="106820" y="396409"/>
                    <a:pt x="105675" y="396140"/>
                    <a:pt x="104868" y="394963"/>
                  </a:cubicBezTo>
                  <a:cubicBezTo>
                    <a:pt x="104060" y="393819"/>
                    <a:pt x="103925" y="393718"/>
                    <a:pt x="103488" y="392945"/>
                  </a:cubicBezTo>
                  <a:cubicBezTo>
                    <a:pt x="103050" y="392137"/>
                    <a:pt x="102041" y="390926"/>
                    <a:pt x="102041" y="390321"/>
                  </a:cubicBezTo>
                  <a:cubicBezTo>
                    <a:pt x="102041" y="389749"/>
                    <a:pt x="102108" y="388941"/>
                    <a:pt x="102041" y="388067"/>
                  </a:cubicBezTo>
                  <a:cubicBezTo>
                    <a:pt x="101973" y="387192"/>
                    <a:pt x="102108" y="385376"/>
                    <a:pt x="102310" y="385106"/>
                  </a:cubicBezTo>
                  <a:cubicBezTo>
                    <a:pt x="102545" y="384804"/>
                    <a:pt x="102747" y="384299"/>
                    <a:pt x="103050" y="383963"/>
                  </a:cubicBezTo>
                  <a:cubicBezTo>
                    <a:pt x="103353" y="383593"/>
                    <a:pt x="103690" y="382449"/>
                    <a:pt x="103993" y="382449"/>
                  </a:cubicBezTo>
                  <a:cubicBezTo>
                    <a:pt x="104296" y="382449"/>
                    <a:pt x="105002" y="382449"/>
                    <a:pt x="105002" y="382449"/>
                  </a:cubicBezTo>
                  <a:cubicBezTo>
                    <a:pt x="105002" y="382449"/>
                    <a:pt x="106584" y="383088"/>
                    <a:pt x="107022" y="383458"/>
                  </a:cubicBezTo>
                  <a:cubicBezTo>
                    <a:pt x="107459" y="383828"/>
                    <a:pt x="108031" y="384703"/>
                    <a:pt x="108031" y="384703"/>
                  </a:cubicBezTo>
                  <a:lnTo>
                    <a:pt x="109276" y="385712"/>
                  </a:lnTo>
                  <a:cubicBezTo>
                    <a:pt x="109276" y="385712"/>
                    <a:pt x="110959" y="387024"/>
                    <a:pt x="110959" y="387293"/>
                  </a:cubicBezTo>
                  <a:cubicBezTo>
                    <a:pt x="110959" y="387562"/>
                    <a:pt x="112305" y="390926"/>
                    <a:pt x="112305" y="390926"/>
                  </a:cubicBezTo>
                  <a:lnTo>
                    <a:pt x="113214" y="391431"/>
                  </a:lnTo>
                  <a:lnTo>
                    <a:pt x="114358" y="393247"/>
                  </a:lnTo>
                  <a:lnTo>
                    <a:pt x="116815" y="394122"/>
                  </a:lnTo>
                  <a:lnTo>
                    <a:pt x="117959" y="396073"/>
                  </a:lnTo>
                  <a:lnTo>
                    <a:pt x="121022" y="398091"/>
                  </a:lnTo>
                  <a:lnTo>
                    <a:pt x="122704" y="398226"/>
                  </a:lnTo>
                  <a:lnTo>
                    <a:pt x="123512" y="398361"/>
                  </a:lnTo>
                  <a:lnTo>
                    <a:pt x="125464" y="399100"/>
                  </a:lnTo>
                  <a:lnTo>
                    <a:pt x="124791" y="401052"/>
                  </a:lnTo>
                  <a:lnTo>
                    <a:pt x="124993" y="403070"/>
                  </a:lnTo>
                  <a:lnTo>
                    <a:pt x="124993" y="404146"/>
                  </a:lnTo>
                  <a:lnTo>
                    <a:pt x="124488" y="406400"/>
                  </a:lnTo>
                  <a:lnTo>
                    <a:pt x="123983" y="407477"/>
                  </a:lnTo>
                  <a:lnTo>
                    <a:pt x="123546" y="408419"/>
                  </a:lnTo>
                  <a:lnTo>
                    <a:pt x="123108" y="409798"/>
                  </a:lnTo>
                  <a:lnTo>
                    <a:pt x="122233" y="410874"/>
                  </a:lnTo>
                  <a:cubicBezTo>
                    <a:pt x="122233" y="410874"/>
                    <a:pt x="121661" y="411581"/>
                    <a:pt x="121291" y="411884"/>
                  </a:cubicBezTo>
                  <a:cubicBezTo>
                    <a:pt x="120921" y="412186"/>
                    <a:pt x="120046" y="413835"/>
                    <a:pt x="120046" y="413835"/>
                  </a:cubicBezTo>
                  <a:lnTo>
                    <a:pt x="119608" y="414709"/>
                  </a:lnTo>
                  <a:lnTo>
                    <a:pt x="118901" y="416156"/>
                  </a:lnTo>
                  <a:lnTo>
                    <a:pt x="118599" y="417300"/>
                  </a:lnTo>
                  <a:lnTo>
                    <a:pt x="118229" y="418612"/>
                  </a:lnTo>
                  <a:cubicBezTo>
                    <a:pt x="118229" y="418612"/>
                    <a:pt x="118229" y="419688"/>
                    <a:pt x="118363" y="420294"/>
                  </a:cubicBezTo>
                  <a:cubicBezTo>
                    <a:pt x="118498" y="420865"/>
                    <a:pt x="119440" y="422615"/>
                    <a:pt x="120012" y="422615"/>
                  </a:cubicBezTo>
                  <a:cubicBezTo>
                    <a:pt x="120584" y="422615"/>
                    <a:pt x="121897" y="422749"/>
                    <a:pt x="122839" y="422817"/>
                  </a:cubicBezTo>
                  <a:cubicBezTo>
                    <a:pt x="123781" y="422884"/>
                    <a:pt x="126104" y="423254"/>
                    <a:pt x="126104" y="423254"/>
                  </a:cubicBezTo>
                  <a:lnTo>
                    <a:pt x="126676" y="423826"/>
                  </a:lnTo>
                  <a:lnTo>
                    <a:pt x="128123" y="427459"/>
                  </a:lnTo>
                  <a:cubicBezTo>
                    <a:pt x="128123" y="427459"/>
                    <a:pt x="128493" y="428535"/>
                    <a:pt x="128695" y="428771"/>
                  </a:cubicBezTo>
                  <a:cubicBezTo>
                    <a:pt x="128897" y="428972"/>
                    <a:pt x="130142" y="430453"/>
                    <a:pt x="130714" y="429645"/>
                  </a:cubicBezTo>
                  <a:cubicBezTo>
                    <a:pt x="131286" y="428838"/>
                    <a:pt x="132161" y="428771"/>
                    <a:pt x="132363" y="427896"/>
                  </a:cubicBezTo>
                  <a:cubicBezTo>
                    <a:pt x="132599" y="427022"/>
                    <a:pt x="133676" y="425575"/>
                    <a:pt x="133676" y="425138"/>
                  </a:cubicBezTo>
                  <a:cubicBezTo>
                    <a:pt x="133676" y="424700"/>
                    <a:pt x="133912" y="424196"/>
                    <a:pt x="133676" y="423321"/>
                  </a:cubicBezTo>
                  <a:cubicBezTo>
                    <a:pt x="133474" y="422446"/>
                    <a:pt x="133508" y="422514"/>
                    <a:pt x="133777" y="421370"/>
                  </a:cubicBezTo>
                  <a:cubicBezTo>
                    <a:pt x="134046" y="420226"/>
                    <a:pt x="133575" y="420361"/>
                    <a:pt x="133777" y="419553"/>
                  </a:cubicBezTo>
                  <a:cubicBezTo>
                    <a:pt x="133979" y="418746"/>
                    <a:pt x="133878" y="417165"/>
                    <a:pt x="133878" y="417165"/>
                  </a:cubicBezTo>
                  <a:lnTo>
                    <a:pt x="132767" y="414911"/>
                  </a:lnTo>
                  <a:cubicBezTo>
                    <a:pt x="132767" y="414911"/>
                    <a:pt x="132633" y="413162"/>
                    <a:pt x="132464" y="412960"/>
                  </a:cubicBezTo>
                  <a:cubicBezTo>
                    <a:pt x="132330" y="412758"/>
                    <a:pt x="131959" y="410706"/>
                    <a:pt x="131959" y="410706"/>
                  </a:cubicBezTo>
                  <a:cubicBezTo>
                    <a:pt x="131959" y="410706"/>
                    <a:pt x="132700" y="409832"/>
                    <a:pt x="132902" y="409764"/>
                  </a:cubicBezTo>
                  <a:cubicBezTo>
                    <a:pt x="133138" y="409697"/>
                    <a:pt x="134282" y="410404"/>
                    <a:pt x="134282" y="410404"/>
                  </a:cubicBezTo>
                  <a:cubicBezTo>
                    <a:pt x="134282" y="410404"/>
                    <a:pt x="135594" y="410841"/>
                    <a:pt x="136166" y="411345"/>
                  </a:cubicBezTo>
                  <a:cubicBezTo>
                    <a:pt x="136739" y="411850"/>
                    <a:pt x="138421" y="412994"/>
                    <a:pt x="138926" y="413229"/>
                  </a:cubicBezTo>
                  <a:cubicBezTo>
                    <a:pt x="139431" y="413431"/>
                    <a:pt x="141551" y="413734"/>
                    <a:pt x="142123" y="413431"/>
                  </a:cubicBezTo>
                  <a:cubicBezTo>
                    <a:pt x="142695" y="413128"/>
                    <a:pt x="143873" y="411480"/>
                    <a:pt x="144277" y="410908"/>
                  </a:cubicBezTo>
                  <a:cubicBezTo>
                    <a:pt x="144715" y="410336"/>
                    <a:pt x="145287" y="410471"/>
                    <a:pt x="145657" y="409226"/>
                  </a:cubicBezTo>
                  <a:cubicBezTo>
                    <a:pt x="146027" y="407981"/>
                    <a:pt x="146229" y="407578"/>
                    <a:pt x="146027" y="405896"/>
                  </a:cubicBezTo>
                  <a:cubicBezTo>
                    <a:pt x="145825" y="404214"/>
                    <a:pt x="147743" y="405593"/>
                    <a:pt x="145219" y="403070"/>
                  </a:cubicBezTo>
                  <a:cubicBezTo>
                    <a:pt x="142695" y="400547"/>
                    <a:pt x="142460" y="400042"/>
                    <a:pt x="141585" y="399235"/>
                  </a:cubicBezTo>
                  <a:cubicBezTo>
                    <a:pt x="140710" y="398428"/>
                    <a:pt x="140138" y="398428"/>
                    <a:pt x="139868" y="397284"/>
                  </a:cubicBezTo>
                  <a:cubicBezTo>
                    <a:pt x="139565" y="396140"/>
                    <a:pt x="141450" y="394391"/>
                    <a:pt x="142460" y="393584"/>
                  </a:cubicBezTo>
                  <a:cubicBezTo>
                    <a:pt x="143470" y="392776"/>
                    <a:pt x="145724" y="391397"/>
                    <a:pt x="145926" y="391397"/>
                  </a:cubicBezTo>
                  <a:cubicBezTo>
                    <a:pt x="146128" y="391397"/>
                    <a:pt x="148013" y="390152"/>
                    <a:pt x="148013" y="390152"/>
                  </a:cubicBezTo>
                  <a:cubicBezTo>
                    <a:pt x="148013" y="390152"/>
                    <a:pt x="149460" y="389581"/>
                    <a:pt x="149763" y="389581"/>
                  </a:cubicBezTo>
                  <a:cubicBezTo>
                    <a:pt x="150066" y="389581"/>
                    <a:pt x="151715" y="390018"/>
                    <a:pt x="151715" y="390018"/>
                  </a:cubicBezTo>
                  <a:lnTo>
                    <a:pt x="155349" y="391700"/>
                  </a:lnTo>
                  <a:lnTo>
                    <a:pt x="156999" y="392574"/>
                  </a:lnTo>
                  <a:cubicBezTo>
                    <a:pt x="156999" y="392574"/>
                    <a:pt x="158177" y="391195"/>
                    <a:pt x="158378" y="390960"/>
                  </a:cubicBezTo>
                  <a:cubicBezTo>
                    <a:pt x="158580" y="390758"/>
                    <a:pt x="159253" y="388706"/>
                    <a:pt x="159253" y="387764"/>
                  </a:cubicBezTo>
                  <a:cubicBezTo>
                    <a:pt x="159253" y="386822"/>
                    <a:pt x="159826" y="385510"/>
                    <a:pt x="159826" y="385241"/>
                  </a:cubicBezTo>
                  <a:cubicBezTo>
                    <a:pt x="159826" y="384972"/>
                    <a:pt x="160465" y="383660"/>
                    <a:pt x="160465" y="383660"/>
                  </a:cubicBezTo>
                  <a:cubicBezTo>
                    <a:pt x="160465" y="383660"/>
                    <a:pt x="160768" y="383458"/>
                    <a:pt x="161475" y="383223"/>
                  </a:cubicBezTo>
                  <a:cubicBezTo>
                    <a:pt x="162181" y="382987"/>
                    <a:pt x="165883" y="381843"/>
                    <a:pt x="165883" y="381843"/>
                  </a:cubicBezTo>
                  <a:lnTo>
                    <a:pt x="169653" y="380599"/>
                  </a:lnTo>
                  <a:lnTo>
                    <a:pt x="174432" y="380599"/>
                  </a:lnTo>
                  <a:lnTo>
                    <a:pt x="179345" y="381339"/>
                  </a:lnTo>
                  <a:cubicBezTo>
                    <a:pt x="179345" y="381339"/>
                    <a:pt x="182239" y="385544"/>
                    <a:pt x="182542" y="386116"/>
                  </a:cubicBezTo>
                  <a:cubicBezTo>
                    <a:pt x="182845" y="386687"/>
                    <a:pt x="181802" y="389009"/>
                    <a:pt x="182542" y="389446"/>
                  </a:cubicBezTo>
                  <a:cubicBezTo>
                    <a:pt x="183249" y="389883"/>
                    <a:pt x="183990" y="393516"/>
                    <a:pt x="183990" y="393516"/>
                  </a:cubicBezTo>
                  <a:lnTo>
                    <a:pt x="185302" y="393954"/>
                  </a:lnTo>
                  <a:cubicBezTo>
                    <a:pt x="185302" y="393954"/>
                    <a:pt x="187052" y="393954"/>
                    <a:pt x="187624" y="393819"/>
                  </a:cubicBezTo>
                  <a:cubicBezTo>
                    <a:pt x="188196" y="393685"/>
                    <a:pt x="188768" y="392238"/>
                    <a:pt x="189206" y="391801"/>
                  </a:cubicBezTo>
                  <a:cubicBezTo>
                    <a:pt x="189643" y="391363"/>
                    <a:pt x="190653" y="389210"/>
                    <a:pt x="191225" y="388908"/>
                  </a:cubicBezTo>
                  <a:cubicBezTo>
                    <a:pt x="191797" y="388605"/>
                    <a:pt x="192538" y="387327"/>
                    <a:pt x="192538" y="387327"/>
                  </a:cubicBezTo>
                  <a:cubicBezTo>
                    <a:pt x="192538" y="387327"/>
                    <a:pt x="193682" y="385880"/>
                    <a:pt x="194288" y="385880"/>
                  </a:cubicBezTo>
                  <a:cubicBezTo>
                    <a:pt x="194860" y="385880"/>
                    <a:pt x="196745" y="384871"/>
                    <a:pt x="196745" y="384871"/>
                  </a:cubicBezTo>
                  <a:cubicBezTo>
                    <a:pt x="196745" y="384871"/>
                    <a:pt x="198629" y="383996"/>
                    <a:pt x="199201" y="383996"/>
                  </a:cubicBezTo>
                  <a:cubicBezTo>
                    <a:pt x="199774" y="383996"/>
                    <a:pt x="201221" y="382853"/>
                    <a:pt x="201658" y="382684"/>
                  </a:cubicBezTo>
                  <a:cubicBezTo>
                    <a:pt x="202096" y="382550"/>
                    <a:pt x="203745" y="380666"/>
                    <a:pt x="203745" y="380666"/>
                  </a:cubicBezTo>
                  <a:lnTo>
                    <a:pt x="204822" y="378479"/>
                  </a:lnTo>
                  <a:lnTo>
                    <a:pt x="204822" y="376293"/>
                  </a:lnTo>
                  <a:lnTo>
                    <a:pt x="204822" y="372828"/>
                  </a:lnTo>
                  <a:lnTo>
                    <a:pt x="203072" y="369498"/>
                  </a:lnTo>
                  <a:lnTo>
                    <a:pt x="199235" y="368623"/>
                  </a:lnTo>
                  <a:lnTo>
                    <a:pt x="197855" y="366033"/>
                  </a:lnTo>
                  <a:lnTo>
                    <a:pt x="197855" y="364149"/>
                  </a:lnTo>
                  <a:cubicBezTo>
                    <a:pt x="197855" y="364149"/>
                    <a:pt x="197283" y="360684"/>
                    <a:pt x="197283" y="360247"/>
                  </a:cubicBezTo>
                  <a:cubicBezTo>
                    <a:pt x="197283" y="359809"/>
                    <a:pt x="198158" y="355470"/>
                    <a:pt x="198158" y="355470"/>
                  </a:cubicBezTo>
                  <a:lnTo>
                    <a:pt x="198730" y="352846"/>
                  </a:lnTo>
                  <a:lnTo>
                    <a:pt x="201187" y="351837"/>
                  </a:lnTo>
                  <a:lnTo>
                    <a:pt x="204822" y="348809"/>
                  </a:lnTo>
                  <a:lnTo>
                    <a:pt x="206403" y="346051"/>
                  </a:lnTo>
                  <a:lnTo>
                    <a:pt x="208860" y="344167"/>
                  </a:lnTo>
                  <a:lnTo>
                    <a:pt x="210880" y="344167"/>
                  </a:lnTo>
                  <a:lnTo>
                    <a:pt x="213067" y="345042"/>
                  </a:lnTo>
                  <a:cubicBezTo>
                    <a:pt x="213067" y="345042"/>
                    <a:pt x="215524" y="346791"/>
                    <a:pt x="215961" y="346925"/>
                  </a:cubicBezTo>
                  <a:cubicBezTo>
                    <a:pt x="216399" y="347060"/>
                    <a:pt x="216971" y="347497"/>
                    <a:pt x="217274" y="347935"/>
                  </a:cubicBezTo>
                  <a:cubicBezTo>
                    <a:pt x="217577" y="348372"/>
                    <a:pt x="217409" y="348675"/>
                    <a:pt x="219596" y="349381"/>
                  </a:cubicBezTo>
                  <a:cubicBezTo>
                    <a:pt x="221784" y="350121"/>
                    <a:pt x="225250" y="350962"/>
                    <a:pt x="225250" y="350962"/>
                  </a:cubicBezTo>
                  <a:lnTo>
                    <a:pt x="227404" y="349314"/>
                  </a:lnTo>
                  <a:lnTo>
                    <a:pt x="229188" y="347834"/>
                  </a:lnTo>
                  <a:cubicBezTo>
                    <a:pt x="229188" y="347834"/>
                    <a:pt x="230332" y="347396"/>
                    <a:pt x="230500" y="347329"/>
                  </a:cubicBezTo>
                  <a:cubicBezTo>
                    <a:pt x="230668" y="347262"/>
                    <a:pt x="233058" y="347228"/>
                    <a:pt x="233058" y="347228"/>
                  </a:cubicBezTo>
                  <a:cubicBezTo>
                    <a:pt x="233058" y="347228"/>
                    <a:pt x="234909" y="347834"/>
                    <a:pt x="235111" y="347935"/>
                  </a:cubicBezTo>
                  <a:cubicBezTo>
                    <a:pt x="235313" y="348036"/>
                    <a:pt x="236457" y="349011"/>
                    <a:pt x="236457" y="349011"/>
                  </a:cubicBezTo>
                  <a:lnTo>
                    <a:pt x="237130" y="351130"/>
                  </a:lnTo>
                  <a:lnTo>
                    <a:pt x="237803" y="353149"/>
                  </a:lnTo>
                  <a:lnTo>
                    <a:pt x="237803" y="355436"/>
                  </a:lnTo>
                  <a:cubicBezTo>
                    <a:pt x="237803" y="355436"/>
                    <a:pt x="238409" y="357892"/>
                    <a:pt x="238409" y="358094"/>
                  </a:cubicBezTo>
                  <a:cubicBezTo>
                    <a:pt x="238409" y="358296"/>
                    <a:pt x="238072" y="359776"/>
                    <a:pt x="238072" y="359944"/>
                  </a:cubicBezTo>
                  <a:cubicBezTo>
                    <a:pt x="238072" y="360112"/>
                    <a:pt x="237837" y="361626"/>
                    <a:pt x="237837" y="361626"/>
                  </a:cubicBezTo>
                  <a:lnTo>
                    <a:pt x="237837" y="362400"/>
                  </a:lnTo>
                  <a:lnTo>
                    <a:pt x="237197" y="364956"/>
                  </a:lnTo>
                  <a:lnTo>
                    <a:pt x="237534" y="366537"/>
                  </a:lnTo>
                  <a:lnTo>
                    <a:pt x="238173" y="368455"/>
                  </a:lnTo>
                  <a:lnTo>
                    <a:pt x="238880" y="370036"/>
                  </a:lnTo>
                  <a:lnTo>
                    <a:pt x="240395" y="371785"/>
                  </a:lnTo>
                  <a:lnTo>
                    <a:pt x="241539" y="371953"/>
                  </a:lnTo>
                  <a:lnTo>
                    <a:pt x="244366" y="372660"/>
                  </a:lnTo>
                  <a:cubicBezTo>
                    <a:pt x="244366" y="372660"/>
                    <a:pt x="245005" y="372828"/>
                    <a:pt x="245678" y="372559"/>
                  </a:cubicBezTo>
                  <a:cubicBezTo>
                    <a:pt x="246318" y="372290"/>
                    <a:pt x="248034" y="371348"/>
                    <a:pt x="248169" y="370776"/>
                  </a:cubicBezTo>
                  <a:cubicBezTo>
                    <a:pt x="248337" y="370170"/>
                    <a:pt x="248977" y="369094"/>
                    <a:pt x="249212" y="368993"/>
                  </a:cubicBezTo>
                  <a:cubicBezTo>
                    <a:pt x="249414" y="368892"/>
                    <a:pt x="250289" y="368623"/>
                    <a:pt x="250996" y="368186"/>
                  </a:cubicBezTo>
                  <a:cubicBezTo>
                    <a:pt x="251703" y="367748"/>
                    <a:pt x="252914" y="366134"/>
                    <a:pt x="252914" y="366134"/>
                  </a:cubicBezTo>
                  <a:lnTo>
                    <a:pt x="257996" y="365764"/>
                  </a:lnTo>
                  <a:lnTo>
                    <a:pt x="260318" y="364519"/>
                  </a:lnTo>
                  <a:cubicBezTo>
                    <a:pt x="260318" y="364519"/>
                    <a:pt x="261765" y="362837"/>
                    <a:pt x="262270" y="362501"/>
                  </a:cubicBezTo>
                  <a:cubicBezTo>
                    <a:pt x="262775" y="362131"/>
                    <a:pt x="264357" y="360987"/>
                    <a:pt x="264727" y="360920"/>
                  </a:cubicBezTo>
                  <a:cubicBezTo>
                    <a:pt x="265097" y="360852"/>
                    <a:pt x="267621" y="360785"/>
                    <a:pt x="267857" y="360785"/>
                  </a:cubicBezTo>
                  <a:cubicBezTo>
                    <a:pt x="268059" y="360785"/>
                    <a:pt x="270112" y="361727"/>
                    <a:pt x="270616" y="361794"/>
                  </a:cubicBezTo>
                  <a:cubicBezTo>
                    <a:pt x="271121" y="361861"/>
                    <a:pt x="273679" y="362938"/>
                    <a:pt x="273948" y="363039"/>
                  </a:cubicBezTo>
                  <a:cubicBezTo>
                    <a:pt x="274251" y="363106"/>
                    <a:pt x="275463" y="363409"/>
                    <a:pt x="276405" y="363409"/>
                  </a:cubicBezTo>
                  <a:cubicBezTo>
                    <a:pt x="277347" y="363409"/>
                    <a:pt x="279299" y="363712"/>
                    <a:pt x="279737" y="363611"/>
                  </a:cubicBezTo>
                  <a:cubicBezTo>
                    <a:pt x="280174" y="363543"/>
                    <a:pt x="281184" y="362669"/>
                    <a:pt x="281992" y="362299"/>
                  </a:cubicBezTo>
                  <a:cubicBezTo>
                    <a:pt x="282799" y="361929"/>
                    <a:pt x="283944" y="360920"/>
                    <a:pt x="284246" y="360920"/>
                  </a:cubicBezTo>
                  <a:cubicBezTo>
                    <a:pt x="284516" y="360920"/>
                    <a:pt x="285896" y="360987"/>
                    <a:pt x="286198" y="360987"/>
                  </a:cubicBezTo>
                  <a:cubicBezTo>
                    <a:pt x="286468" y="360987"/>
                    <a:pt x="287949" y="362299"/>
                    <a:pt x="287949" y="362299"/>
                  </a:cubicBezTo>
                  <a:cubicBezTo>
                    <a:pt x="287949" y="362299"/>
                    <a:pt x="289396" y="364317"/>
                    <a:pt x="289396" y="364620"/>
                  </a:cubicBezTo>
                  <a:cubicBezTo>
                    <a:pt x="289396" y="364923"/>
                    <a:pt x="289766" y="367076"/>
                    <a:pt x="289833" y="367446"/>
                  </a:cubicBezTo>
                  <a:cubicBezTo>
                    <a:pt x="289900" y="367816"/>
                    <a:pt x="289833" y="369464"/>
                    <a:pt x="289833" y="369699"/>
                  </a:cubicBezTo>
                  <a:cubicBezTo>
                    <a:pt x="289833" y="369901"/>
                    <a:pt x="291617" y="374039"/>
                    <a:pt x="291617" y="374342"/>
                  </a:cubicBezTo>
                  <a:cubicBezTo>
                    <a:pt x="291617" y="374645"/>
                    <a:pt x="291785" y="377235"/>
                    <a:pt x="291785" y="377470"/>
                  </a:cubicBezTo>
                  <a:cubicBezTo>
                    <a:pt x="291785" y="377706"/>
                    <a:pt x="291785" y="379926"/>
                    <a:pt x="291785" y="379926"/>
                  </a:cubicBezTo>
                  <a:cubicBezTo>
                    <a:pt x="291785" y="379926"/>
                    <a:pt x="291045" y="381675"/>
                    <a:pt x="290540" y="381810"/>
                  </a:cubicBezTo>
                  <a:cubicBezTo>
                    <a:pt x="290035" y="381944"/>
                    <a:pt x="289429" y="382684"/>
                    <a:pt x="289429" y="382953"/>
                  </a:cubicBezTo>
                  <a:cubicBezTo>
                    <a:pt x="289429" y="383256"/>
                    <a:pt x="290809" y="387158"/>
                    <a:pt x="290809" y="387158"/>
                  </a:cubicBezTo>
                  <a:lnTo>
                    <a:pt x="293434" y="392003"/>
                  </a:lnTo>
                  <a:lnTo>
                    <a:pt x="294814" y="393886"/>
                  </a:lnTo>
                  <a:lnTo>
                    <a:pt x="295756" y="397150"/>
                  </a:lnTo>
                  <a:lnTo>
                    <a:pt x="293737" y="399403"/>
                  </a:lnTo>
                  <a:lnTo>
                    <a:pt x="291550" y="401489"/>
                  </a:lnTo>
                  <a:lnTo>
                    <a:pt x="290877" y="403945"/>
                  </a:lnTo>
                  <a:lnTo>
                    <a:pt x="292021" y="407275"/>
                  </a:lnTo>
                  <a:lnTo>
                    <a:pt x="295723" y="410908"/>
                  </a:lnTo>
                  <a:lnTo>
                    <a:pt x="299795" y="414911"/>
                  </a:lnTo>
                  <a:lnTo>
                    <a:pt x="303867" y="417737"/>
                  </a:lnTo>
                  <a:cubicBezTo>
                    <a:pt x="303867" y="417737"/>
                    <a:pt x="306997" y="418107"/>
                    <a:pt x="307502" y="418107"/>
                  </a:cubicBezTo>
                  <a:cubicBezTo>
                    <a:pt x="308007" y="418107"/>
                    <a:pt x="308646" y="415920"/>
                    <a:pt x="308882" y="415786"/>
                  </a:cubicBezTo>
                  <a:cubicBezTo>
                    <a:pt x="309084" y="415651"/>
                    <a:pt x="309319" y="414777"/>
                    <a:pt x="309689" y="414036"/>
                  </a:cubicBezTo>
                  <a:cubicBezTo>
                    <a:pt x="310060" y="413297"/>
                    <a:pt x="310632" y="411581"/>
                    <a:pt x="310699" y="411345"/>
                  </a:cubicBezTo>
                  <a:cubicBezTo>
                    <a:pt x="310766" y="411110"/>
                    <a:pt x="310699" y="410101"/>
                    <a:pt x="310699" y="409663"/>
                  </a:cubicBezTo>
                  <a:cubicBezTo>
                    <a:pt x="310699" y="409226"/>
                    <a:pt x="310901" y="408722"/>
                    <a:pt x="311069" y="407712"/>
                  </a:cubicBezTo>
                  <a:cubicBezTo>
                    <a:pt x="311204" y="406703"/>
                    <a:pt x="311877" y="405694"/>
                    <a:pt x="312213" y="405189"/>
                  </a:cubicBezTo>
                  <a:cubicBezTo>
                    <a:pt x="312584" y="404685"/>
                    <a:pt x="314031" y="403171"/>
                    <a:pt x="314031" y="403171"/>
                  </a:cubicBezTo>
                  <a:cubicBezTo>
                    <a:pt x="314031" y="403171"/>
                    <a:pt x="315781" y="403474"/>
                    <a:pt x="316622" y="403541"/>
                  </a:cubicBezTo>
                  <a:cubicBezTo>
                    <a:pt x="317497" y="403608"/>
                    <a:pt x="319382" y="404416"/>
                    <a:pt x="319584" y="404550"/>
                  </a:cubicBezTo>
                  <a:cubicBezTo>
                    <a:pt x="319819" y="404685"/>
                    <a:pt x="322848" y="407309"/>
                    <a:pt x="322848" y="407309"/>
                  </a:cubicBezTo>
                  <a:lnTo>
                    <a:pt x="323050" y="409630"/>
                  </a:lnTo>
                  <a:lnTo>
                    <a:pt x="323050" y="412960"/>
                  </a:lnTo>
                  <a:lnTo>
                    <a:pt x="322343" y="417602"/>
                  </a:lnTo>
                  <a:cubicBezTo>
                    <a:pt x="322343" y="417602"/>
                    <a:pt x="321973" y="418612"/>
                    <a:pt x="321603" y="418914"/>
                  </a:cubicBezTo>
                  <a:cubicBezTo>
                    <a:pt x="321233" y="419217"/>
                    <a:pt x="319920" y="420865"/>
                    <a:pt x="319853" y="421101"/>
                  </a:cubicBezTo>
                  <a:cubicBezTo>
                    <a:pt x="319786" y="421303"/>
                    <a:pt x="318271" y="422110"/>
                    <a:pt x="317968" y="422177"/>
                  </a:cubicBezTo>
                  <a:cubicBezTo>
                    <a:pt x="317665" y="422245"/>
                    <a:pt x="316656" y="424061"/>
                    <a:pt x="316656" y="424061"/>
                  </a:cubicBezTo>
                  <a:lnTo>
                    <a:pt x="315714" y="425508"/>
                  </a:lnTo>
                  <a:lnTo>
                    <a:pt x="314872" y="429914"/>
                  </a:lnTo>
                  <a:lnTo>
                    <a:pt x="314098" y="433615"/>
                  </a:lnTo>
                  <a:lnTo>
                    <a:pt x="314435" y="436979"/>
                  </a:lnTo>
                  <a:lnTo>
                    <a:pt x="314098" y="442428"/>
                  </a:lnTo>
                  <a:cubicBezTo>
                    <a:pt x="314098" y="442428"/>
                    <a:pt x="316050" y="445355"/>
                    <a:pt x="316488" y="445490"/>
                  </a:cubicBezTo>
                  <a:cubicBezTo>
                    <a:pt x="316925" y="445590"/>
                    <a:pt x="321267" y="446028"/>
                    <a:pt x="321704" y="446028"/>
                  </a:cubicBezTo>
                  <a:cubicBezTo>
                    <a:pt x="322142" y="446028"/>
                    <a:pt x="323017" y="444615"/>
                    <a:pt x="323017" y="444615"/>
                  </a:cubicBezTo>
                  <a:lnTo>
                    <a:pt x="323017" y="442563"/>
                  </a:lnTo>
                  <a:cubicBezTo>
                    <a:pt x="323017" y="442563"/>
                    <a:pt x="323117" y="439535"/>
                    <a:pt x="323017" y="439199"/>
                  </a:cubicBezTo>
                  <a:cubicBezTo>
                    <a:pt x="322916" y="438863"/>
                    <a:pt x="323420" y="438425"/>
                    <a:pt x="323050" y="437988"/>
                  </a:cubicBezTo>
                  <a:cubicBezTo>
                    <a:pt x="322680" y="437551"/>
                    <a:pt x="322243" y="436474"/>
                    <a:pt x="322142" y="436138"/>
                  </a:cubicBezTo>
                  <a:cubicBezTo>
                    <a:pt x="322041" y="435801"/>
                    <a:pt x="322041" y="433749"/>
                    <a:pt x="322041" y="433749"/>
                  </a:cubicBezTo>
                  <a:lnTo>
                    <a:pt x="322377" y="433110"/>
                  </a:lnTo>
                  <a:cubicBezTo>
                    <a:pt x="322377" y="433110"/>
                    <a:pt x="324127" y="432236"/>
                    <a:pt x="324430" y="432236"/>
                  </a:cubicBezTo>
                  <a:cubicBezTo>
                    <a:pt x="324767" y="432236"/>
                    <a:pt x="326281" y="431462"/>
                    <a:pt x="326281" y="431462"/>
                  </a:cubicBezTo>
                  <a:lnTo>
                    <a:pt x="328570" y="430823"/>
                  </a:lnTo>
                  <a:lnTo>
                    <a:pt x="331195" y="433110"/>
                  </a:lnTo>
                  <a:lnTo>
                    <a:pt x="332507" y="435297"/>
                  </a:lnTo>
                  <a:lnTo>
                    <a:pt x="333147" y="437349"/>
                  </a:lnTo>
                  <a:cubicBezTo>
                    <a:pt x="333147" y="437349"/>
                    <a:pt x="332911" y="438762"/>
                    <a:pt x="333147" y="439401"/>
                  </a:cubicBezTo>
                  <a:cubicBezTo>
                    <a:pt x="333349" y="440040"/>
                    <a:pt x="333147" y="444615"/>
                    <a:pt x="333147" y="444615"/>
                  </a:cubicBezTo>
                  <a:cubicBezTo>
                    <a:pt x="333147" y="444615"/>
                    <a:pt x="333349" y="446364"/>
                    <a:pt x="333248" y="447441"/>
                  </a:cubicBezTo>
                  <a:cubicBezTo>
                    <a:pt x="333147" y="448517"/>
                    <a:pt x="333079" y="450603"/>
                    <a:pt x="332844" y="451040"/>
                  </a:cubicBezTo>
                  <a:cubicBezTo>
                    <a:pt x="332608" y="451477"/>
                    <a:pt x="331733" y="454303"/>
                    <a:pt x="331733" y="454303"/>
                  </a:cubicBezTo>
                  <a:lnTo>
                    <a:pt x="331733" y="458205"/>
                  </a:lnTo>
                  <a:cubicBezTo>
                    <a:pt x="331733" y="458205"/>
                    <a:pt x="333517" y="459618"/>
                    <a:pt x="333281" y="459955"/>
                  </a:cubicBezTo>
                  <a:cubicBezTo>
                    <a:pt x="333046" y="460291"/>
                    <a:pt x="333685" y="461132"/>
                    <a:pt x="334998" y="460493"/>
                  </a:cubicBezTo>
                  <a:cubicBezTo>
                    <a:pt x="336478" y="459820"/>
                    <a:pt x="337757" y="459383"/>
                    <a:pt x="338195" y="458407"/>
                  </a:cubicBez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grpSp>
          <p:nvGrpSpPr>
            <p:cNvPr id="630" name="Graphic 11">
              <a:extLst>
                <a:ext uri="{FF2B5EF4-FFF2-40B4-BE49-F238E27FC236}">
                  <a16:creationId xmlns:a16="http://schemas.microsoft.com/office/drawing/2014/main" id="{53BED8F4-C6F1-9451-B1B7-CFF2B65130F2}"/>
                </a:ext>
              </a:extLst>
            </p:cNvPr>
            <p:cNvGrpSpPr/>
            <p:nvPr/>
          </p:nvGrpSpPr>
          <p:grpSpPr>
            <a:xfrm>
              <a:off x="7980671" y="2609627"/>
              <a:ext cx="363191" cy="236874"/>
              <a:chOff x="5630369" y="1818222"/>
              <a:chExt cx="697289" cy="454774"/>
            </a:xfrm>
            <a:grpFill/>
          </p:grpSpPr>
          <p:sp>
            <p:nvSpPr>
              <p:cNvPr id="665" name="Freeform 931">
                <a:extLst>
                  <a:ext uri="{FF2B5EF4-FFF2-40B4-BE49-F238E27FC236}">
                    <a16:creationId xmlns:a16="http://schemas.microsoft.com/office/drawing/2014/main" id="{DE3CCB60-03EC-B21E-3EB5-F4F64DC9345D}"/>
                  </a:ext>
                </a:extLst>
              </p:cNvPr>
              <p:cNvSpPr/>
              <p:nvPr/>
            </p:nvSpPr>
            <p:spPr>
              <a:xfrm>
                <a:off x="6126606" y="1832384"/>
                <a:ext cx="18576" cy="21899"/>
              </a:xfrm>
              <a:custGeom>
                <a:avLst/>
                <a:gdLst>
                  <a:gd name="connsiteX0" fmla="*/ 2322 w 18576"/>
                  <a:gd name="connsiteY0" fmla="*/ 13052 h 21899"/>
                  <a:gd name="connsiteX1" fmla="*/ 2793 w 18576"/>
                  <a:gd name="connsiteY1" fmla="*/ 13624 h 21899"/>
                  <a:gd name="connsiteX2" fmla="*/ 9154 w 18576"/>
                  <a:gd name="connsiteY2" fmla="*/ 21899 h 21899"/>
                  <a:gd name="connsiteX3" fmla="*/ 17029 w 18576"/>
                  <a:gd name="connsiteY3" fmla="*/ 17627 h 21899"/>
                  <a:gd name="connsiteX4" fmla="*/ 18577 w 18576"/>
                  <a:gd name="connsiteY4" fmla="*/ 11303 h 21899"/>
                  <a:gd name="connsiteX5" fmla="*/ 18577 w 18576"/>
                  <a:gd name="connsiteY5" fmla="*/ 5517 h 21899"/>
                  <a:gd name="connsiteX6" fmla="*/ 10433 w 18576"/>
                  <a:gd name="connsiteY6" fmla="*/ 1749 h 21899"/>
                  <a:gd name="connsiteX7" fmla="*/ 2322 w 18576"/>
                  <a:gd name="connsiteY7" fmla="*/ 0 h 21899"/>
                  <a:gd name="connsiteX8" fmla="*/ 0 w 18576"/>
                  <a:gd name="connsiteY8" fmla="*/ 5820 h 21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576" h="21899">
                    <a:moveTo>
                      <a:pt x="2322" y="13052"/>
                    </a:moveTo>
                    <a:lnTo>
                      <a:pt x="2793" y="13624"/>
                    </a:lnTo>
                    <a:lnTo>
                      <a:pt x="9154" y="21899"/>
                    </a:lnTo>
                    <a:lnTo>
                      <a:pt x="17029" y="17627"/>
                    </a:lnTo>
                    <a:lnTo>
                      <a:pt x="18577" y="11303"/>
                    </a:lnTo>
                    <a:lnTo>
                      <a:pt x="18577" y="5517"/>
                    </a:lnTo>
                    <a:lnTo>
                      <a:pt x="10433" y="1749"/>
                    </a:lnTo>
                    <a:lnTo>
                      <a:pt x="2322" y="0"/>
                    </a:lnTo>
                    <a:lnTo>
                      <a:pt x="0" y="582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66" name="Freeform 932">
                <a:extLst>
                  <a:ext uri="{FF2B5EF4-FFF2-40B4-BE49-F238E27FC236}">
                    <a16:creationId xmlns:a16="http://schemas.microsoft.com/office/drawing/2014/main" id="{E8532011-E8C5-4E63-7A33-3D77647BC9E8}"/>
                  </a:ext>
                </a:extLst>
              </p:cNvPr>
              <p:cNvSpPr/>
              <p:nvPr/>
            </p:nvSpPr>
            <p:spPr>
              <a:xfrm>
                <a:off x="6131250" y="1818222"/>
                <a:ext cx="6663" cy="8376"/>
              </a:xfrm>
              <a:custGeom>
                <a:avLst/>
                <a:gdLst>
                  <a:gd name="connsiteX0" fmla="*/ 0 w 6663"/>
                  <a:gd name="connsiteY0" fmla="*/ 8376 h 8376"/>
                  <a:gd name="connsiteX1" fmla="*/ 4375 w 6663"/>
                  <a:gd name="connsiteY1" fmla="*/ 8376 h 8376"/>
                  <a:gd name="connsiteX2" fmla="*/ 6664 w 6663"/>
                  <a:gd name="connsiteY2" fmla="*/ 2893 h 8376"/>
                  <a:gd name="connsiteX3" fmla="*/ 3332 w 6663"/>
                  <a:gd name="connsiteY3" fmla="*/ 0 h 8376"/>
                  <a:gd name="connsiteX4" fmla="*/ 0 w 6663"/>
                  <a:gd name="connsiteY4" fmla="*/ 4171 h 8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3" h="8376">
                    <a:moveTo>
                      <a:pt x="0" y="8376"/>
                    </a:moveTo>
                    <a:lnTo>
                      <a:pt x="4375" y="8376"/>
                    </a:lnTo>
                    <a:lnTo>
                      <a:pt x="6664" y="2893"/>
                    </a:lnTo>
                    <a:lnTo>
                      <a:pt x="3332" y="0"/>
                    </a:lnTo>
                    <a:lnTo>
                      <a:pt x="0" y="417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67" name="Freeform 933">
                <a:extLst>
                  <a:ext uri="{FF2B5EF4-FFF2-40B4-BE49-F238E27FC236}">
                    <a16:creationId xmlns:a16="http://schemas.microsoft.com/office/drawing/2014/main" id="{0A6EDCFB-C522-B7B8-B72F-434CA2AF98A2}"/>
                  </a:ext>
                </a:extLst>
              </p:cNvPr>
              <p:cNvSpPr/>
              <p:nvPr/>
            </p:nvSpPr>
            <p:spPr>
              <a:xfrm>
                <a:off x="5630369" y="1836959"/>
                <a:ext cx="697289" cy="436036"/>
              </a:xfrm>
              <a:custGeom>
                <a:avLst/>
                <a:gdLst>
                  <a:gd name="connsiteX0" fmla="*/ 695977 w 697289"/>
                  <a:gd name="connsiteY0" fmla="*/ 49820 h 436036"/>
                  <a:gd name="connsiteX1" fmla="*/ 693688 w 697289"/>
                  <a:gd name="connsiteY1" fmla="*/ 49618 h 436036"/>
                  <a:gd name="connsiteX2" fmla="*/ 689347 w 697289"/>
                  <a:gd name="connsiteY2" fmla="*/ 51368 h 436036"/>
                  <a:gd name="connsiteX3" fmla="*/ 686318 w 697289"/>
                  <a:gd name="connsiteY3" fmla="*/ 52007 h 436036"/>
                  <a:gd name="connsiteX4" fmla="*/ 680025 w 697289"/>
                  <a:gd name="connsiteY4" fmla="*/ 55270 h 436036"/>
                  <a:gd name="connsiteX5" fmla="*/ 675448 w 697289"/>
                  <a:gd name="connsiteY5" fmla="*/ 57221 h 436036"/>
                  <a:gd name="connsiteX6" fmla="*/ 667404 w 697289"/>
                  <a:gd name="connsiteY6" fmla="*/ 58096 h 436036"/>
                  <a:gd name="connsiteX7" fmla="*/ 662625 w 697289"/>
                  <a:gd name="connsiteY7" fmla="*/ 56582 h 436036"/>
                  <a:gd name="connsiteX8" fmla="*/ 662625 w 697289"/>
                  <a:gd name="connsiteY8" fmla="*/ 49618 h 436036"/>
                  <a:gd name="connsiteX9" fmla="*/ 662625 w 697289"/>
                  <a:gd name="connsiteY9" fmla="*/ 44169 h 436036"/>
                  <a:gd name="connsiteX10" fmla="*/ 658721 w 697289"/>
                  <a:gd name="connsiteY10" fmla="*/ 41141 h 436036"/>
                  <a:gd name="connsiteX11" fmla="*/ 655894 w 697289"/>
                  <a:gd name="connsiteY11" fmla="*/ 43765 h 436036"/>
                  <a:gd name="connsiteX12" fmla="*/ 651317 w 697289"/>
                  <a:gd name="connsiteY12" fmla="*/ 45279 h 436036"/>
                  <a:gd name="connsiteX13" fmla="*/ 648928 w 697289"/>
                  <a:gd name="connsiteY13" fmla="*/ 42251 h 436036"/>
                  <a:gd name="connsiteX14" fmla="*/ 647178 w 697289"/>
                  <a:gd name="connsiteY14" fmla="*/ 38988 h 436036"/>
                  <a:gd name="connsiteX15" fmla="*/ 642029 w 697289"/>
                  <a:gd name="connsiteY15" fmla="*/ 39056 h 436036"/>
                  <a:gd name="connsiteX16" fmla="*/ 638057 w 697289"/>
                  <a:gd name="connsiteY16" fmla="*/ 39863 h 436036"/>
                  <a:gd name="connsiteX17" fmla="*/ 633480 w 697289"/>
                  <a:gd name="connsiteY17" fmla="*/ 42251 h 436036"/>
                  <a:gd name="connsiteX18" fmla="*/ 629778 w 697289"/>
                  <a:gd name="connsiteY18" fmla="*/ 44135 h 436036"/>
                  <a:gd name="connsiteX19" fmla="*/ 627086 w 697289"/>
                  <a:gd name="connsiteY19" fmla="*/ 47533 h 436036"/>
                  <a:gd name="connsiteX20" fmla="*/ 624562 w 697289"/>
                  <a:gd name="connsiteY20" fmla="*/ 51738 h 436036"/>
                  <a:gd name="connsiteX21" fmla="*/ 623485 w 697289"/>
                  <a:gd name="connsiteY21" fmla="*/ 53992 h 436036"/>
                  <a:gd name="connsiteX22" fmla="*/ 619345 w 697289"/>
                  <a:gd name="connsiteY22" fmla="*/ 53992 h 436036"/>
                  <a:gd name="connsiteX23" fmla="*/ 614331 w 697289"/>
                  <a:gd name="connsiteY23" fmla="*/ 54631 h 436036"/>
                  <a:gd name="connsiteX24" fmla="*/ 609350 w 697289"/>
                  <a:gd name="connsiteY24" fmla="*/ 55505 h 436036"/>
                  <a:gd name="connsiteX25" fmla="*/ 605446 w 697289"/>
                  <a:gd name="connsiteY25" fmla="*/ 56380 h 436036"/>
                  <a:gd name="connsiteX26" fmla="*/ 601307 w 697289"/>
                  <a:gd name="connsiteY26" fmla="*/ 57457 h 436036"/>
                  <a:gd name="connsiteX27" fmla="*/ 598042 w 697289"/>
                  <a:gd name="connsiteY27" fmla="*/ 58970 h 436036"/>
                  <a:gd name="connsiteX28" fmla="*/ 594138 w 697289"/>
                  <a:gd name="connsiteY28" fmla="*/ 59172 h 436036"/>
                  <a:gd name="connsiteX29" fmla="*/ 588686 w 697289"/>
                  <a:gd name="connsiteY29" fmla="*/ 58533 h 436036"/>
                  <a:gd name="connsiteX30" fmla="*/ 585657 w 697289"/>
                  <a:gd name="connsiteY30" fmla="*/ 55909 h 436036"/>
                  <a:gd name="connsiteX31" fmla="*/ 583469 w 697289"/>
                  <a:gd name="connsiteY31" fmla="*/ 53756 h 436036"/>
                  <a:gd name="connsiteX32" fmla="*/ 581518 w 697289"/>
                  <a:gd name="connsiteY32" fmla="*/ 50930 h 436036"/>
                  <a:gd name="connsiteX33" fmla="*/ 579128 w 697289"/>
                  <a:gd name="connsiteY33" fmla="*/ 47903 h 436036"/>
                  <a:gd name="connsiteX34" fmla="*/ 577378 w 697289"/>
                  <a:gd name="connsiteY34" fmla="*/ 44438 h 436036"/>
                  <a:gd name="connsiteX35" fmla="*/ 577378 w 697289"/>
                  <a:gd name="connsiteY35" fmla="*/ 40973 h 436036"/>
                  <a:gd name="connsiteX36" fmla="*/ 577378 w 697289"/>
                  <a:gd name="connsiteY36" fmla="*/ 37710 h 436036"/>
                  <a:gd name="connsiteX37" fmla="*/ 575662 w 697289"/>
                  <a:gd name="connsiteY37" fmla="*/ 37508 h 436036"/>
                  <a:gd name="connsiteX38" fmla="*/ 573912 w 697289"/>
                  <a:gd name="connsiteY38" fmla="*/ 38147 h 436036"/>
                  <a:gd name="connsiteX39" fmla="*/ 572162 w 697289"/>
                  <a:gd name="connsiteY39" fmla="*/ 40973 h 436036"/>
                  <a:gd name="connsiteX40" fmla="*/ 572162 w 697289"/>
                  <a:gd name="connsiteY40" fmla="*/ 44001 h 436036"/>
                  <a:gd name="connsiteX41" fmla="*/ 571287 w 697289"/>
                  <a:gd name="connsiteY41" fmla="*/ 48777 h 436036"/>
                  <a:gd name="connsiteX42" fmla="*/ 567147 w 697289"/>
                  <a:gd name="connsiteY42" fmla="*/ 48777 h 436036"/>
                  <a:gd name="connsiteX43" fmla="*/ 564959 w 697289"/>
                  <a:gd name="connsiteY43" fmla="*/ 48004 h 436036"/>
                  <a:gd name="connsiteX44" fmla="*/ 560618 w 697289"/>
                  <a:gd name="connsiteY44" fmla="*/ 44842 h 436036"/>
                  <a:gd name="connsiteX45" fmla="*/ 555839 w 697289"/>
                  <a:gd name="connsiteY45" fmla="*/ 44203 h 436036"/>
                  <a:gd name="connsiteX46" fmla="*/ 553652 w 697289"/>
                  <a:gd name="connsiteY46" fmla="*/ 41579 h 436036"/>
                  <a:gd name="connsiteX47" fmla="*/ 554729 w 697289"/>
                  <a:gd name="connsiteY47" fmla="*/ 35725 h 436036"/>
                  <a:gd name="connsiteX48" fmla="*/ 554729 w 697289"/>
                  <a:gd name="connsiteY48" fmla="*/ 33976 h 436036"/>
                  <a:gd name="connsiteX49" fmla="*/ 552878 w 697289"/>
                  <a:gd name="connsiteY49" fmla="*/ 30074 h 436036"/>
                  <a:gd name="connsiteX50" fmla="*/ 549950 w 697289"/>
                  <a:gd name="connsiteY50" fmla="*/ 29637 h 436036"/>
                  <a:gd name="connsiteX51" fmla="*/ 547123 w 697289"/>
                  <a:gd name="connsiteY51" fmla="*/ 29199 h 436036"/>
                  <a:gd name="connsiteX52" fmla="*/ 540829 w 697289"/>
                  <a:gd name="connsiteY52" fmla="*/ 27685 h 436036"/>
                  <a:gd name="connsiteX53" fmla="*/ 536488 w 697289"/>
                  <a:gd name="connsiteY53" fmla="*/ 25095 h 436036"/>
                  <a:gd name="connsiteX54" fmla="*/ 533425 w 697289"/>
                  <a:gd name="connsiteY54" fmla="*/ 22471 h 436036"/>
                  <a:gd name="connsiteX55" fmla="*/ 529084 w 697289"/>
                  <a:gd name="connsiteY55" fmla="*/ 21832 h 436036"/>
                  <a:gd name="connsiteX56" fmla="*/ 524305 w 697289"/>
                  <a:gd name="connsiteY56" fmla="*/ 22068 h 436036"/>
                  <a:gd name="connsiteX57" fmla="*/ 517136 w 697289"/>
                  <a:gd name="connsiteY57" fmla="*/ 24658 h 436036"/>
                  <a:gd name="connsiteX58" fmla="*/ 508218 w 697289"/>
                  <a:gd name="connsiteY58" fmla="*/ 28796 h 436036"/>
                  <a:gd name="connsiteX59" fmla="*/ 503641 w 697289"/>
                  <a:gd name="connsiteY59" fmla="*/ 29435 h 436036"/>
                  <a:gd name="connsiteX60" fmla="*/ 499939 w 697289"/>
                  <a:gd name="connsiteY60" fmla="*/ 30949 h 436036"/>
                  <a:gd name="connsiteX61" fmla="*/ 493208 w 697289"/>
                  <a:gd name="connsiteY61" fmla="*/ 35086 h 436036"/>
                  <a:gd name="connsiteX62" fmla="*/ 489304 w 697289"/>
                  <a:gd name="connsiteY62" fmla="*/ 36600 h 436036"/>
                  <a:gd name="connsiteX63" fmla="*/ 484525 w 697289"/>
                  <a:gd name="connsiteY63" fmla="*/ 38349 h 436036"/>
                  <a:gd name="connsiteX64" fmla="*/ 479948 w 697289"/>
                  <a:gd name="connsiteY64" fmla="*/ 38114 h 436036"/>
                  <a:gd name="connsiteX65" fmla="*/ 475169 w 697289"/>
                  <a:gd name="connsiteY65" fmla="*/ 39190 h 436036"/>
                  <a:gd name="connsiteX66" fmla="*/ 471904 w 697289"/>
                  <a:gd name="connsiteY66" fmla="*/ 42218 h 436036"/>
                  <a:gd name="connsiteX67" fmla="*/ 473857 w 697289"/>
                  <a:gd name="connsiteY67" fmla="*/ 45918 h 436036"/>
                  <a:gd name="connsiteX68" fmla="*/ 477121 w 697289"/>
                  <a:gd name="connsiteY68" fmla="*/ 46793 h 436036"/>
                  <a:gd name="connsiteX69" fmla="*/ 479948 w 697289"/>
                  <a:gd name="connsiteY69" fmla="*/ 49618 h 436036"/>
                  <a:gd name="connsiteX70" fmla="*/ 479948 w 697289"/>
                  <a:gd name="connsiteY70" fmla="*/ 52007 h 436036"/>
                  <a:gd name="connsiteX71" fmla="*/ 476347 w 697289"/>
                  <a:gd name="connsiteY71" fmla="*/ 56784 h 436036"/>
                  <a:gd name="connsiteX72" fmla="*/ 470356 w 697289"/>
                  <a:gd name="connsiteY72" fmla="*/ 64184 h 436036"/>
                  <a:gd name="connsiteX73" fmla="*/ 463390 w 697289"/>
                  <a:gd name="connsiteY73" fmla="*/ 70912 h 436036"/>
                  <a:gd name="connsiteX74" fmla="*/ 456861 w 697289"/>
                  <a:gd name="connsiteY74" fmla="*/ 76564 h 436036"/>
                  <a:gd name="connsiteX75" fmla="*/ 448616 w 697289"/>
                  <a:gd name="connsiteY75" fmla="*/ 77640 h 436036"/>
                  <a:gd name="connsiteX76" fmla="*/ 446664 w 697289"/>
                  <a:gd name="connsiteY76" fmla="*/ 78515 h 436036"/>
                  <a:gd name="connsiteX77" fmla="*/ 444510 w 697289"/>
                  <a:gd name="connsiteY77" fmla="*/ 81980 h 436036"/>
                  <a:gd name="connsiteX78" fmla="*/ 443837 w 697289"/>
                  <a:gd name="connsiteY78" fmla="*/ 85680 h 436036"/>
                  <a:gd name="connsiteX79" fmla="*/ 446024 w 697289"/>
                  <a:gd name="connsiteY79" fmla="*/ 87429 h 436036"/>
                  <a:gd name="connsiteX80" fmla="*/ 448649 w 697289"/>
                  <a:gd name="connsiteY80" fmla="*/ 89616 h 436036"/>
                  <a:gd name="connsiteX81" fmla="*/ 448649 w 697289"/>
                  <a:gd name="connsiteY81" fmla="*/ 92206 h 436036"/>
                  <a:gd name="connsiteX82" fmla="*/ 446798 w 697289"/>
                  <a:gd name="connsiteY82" fmla="*/ 96983 h 436036"/>
                  <a:gd name="connsiteX83" fmla="*/ 443433 w 697289"/>
                  <a:gd name="connsiteY83" fmla="*/ 102197 h 436036"/>
                  <a:gd name="connsiteX84" fmla="*/ 439731 w 697289"/>
                  <a:gd name="connsiteY84" fmla="*/ 106974 h 436036"/>
                  <a:gd name="connsiteX85" fmla="*/ 432764 w 697289"/>
                  <a:gd name="connsiteY85" fmla="*/ 109362 h 436036"/>
                  <a:gd name="connsiteX86" fmla="*/ 426908 w 697289"/>
                  <a:gd name="connsiteY86" fmla="*/ 109564 h 436036"/>
                  <a:gd name="connsiteX87" fmla="*/ 417351 w 697289"/>
                  <a:gd name="connsiteY87" fmla="*/ 109564 h 436036"/>
                  <a:gd name="connsiteX88" fmla="*/ 410182 w 697289"/>
                  <a:gd name="connsiteY88" fmla="*/ 110102 h 436036"/>
                  <a:gd name="connsiteX89" fmla="*/ 403889 w 697289"/>
                  <a:gd name="connsiteY89" fmla="*/ 111953 h 436036"/>
                  <a:gd name="connsiteX90" fmla="*/ 400187 w 697289"/>
                  <a:gd name="connsiteY90" fmla="*/ 112592 h 436036"/>
                  <a:gd name="connsiteX91" fmla="*/ 391066 w 697289"/>
                  <a:gd name="connsiteY91" fmla="*/ 112794 h 436036"/>
                  <a:gd name="connsiteX92" fmla="*/ 384336 w 697289"/>
                  <a:gd name="connsiteY92" fmla="*/ 110843 h 436036"/>
                  <a:gd name="connsiteX93" fmla="*/ 379119 w 697289"/>
                  <a:gd name="connsiteY93" fmla="*/ 108454 h 436036"/>
                  <a:gd name="connsiteX94" fmla="*/ 373902 w 697289"/>
                  <a:gd name="connsiteY94" fmla="*/ 106940 h 436036"/>
                  <a:gd name="connsiteX95" fmla="*/ 373902 w 697289"/>
                  <a:gd name="connsiteY95" fmla="*/ 101087 h 436036"/>
                  <a:gd name="connsiteX96" fmla="*/ 366835 w 697289"/>
                  <a:gd name="connsiteY96" fmla="*/ 96748 h 436036"/>
                  <a:gd name="connsiteX97" fmla="*/ 363234 w 697289"/>
                  <a:gd name="connsiteY97" fmla="*/ 94359 h 436036"/>
                  <a:gd name="connsiteX98" fmla="*/ 355191 w 697289"/>
                  <a:gd name="connsiteY98" fmla="*/ 90894 h 436036"/>
                  <a:gd name="connsiteX99" fmla="*/ 355830 w 697289"/>
                  <a:gd name="connsiteY99" fmla="*/ 87833 h 436036"/>
                  <a:gd name="connsiteX100" fmla="*/ 356469 w 697289"/>
                  <a:gd name="connsiteY100" fmla="*/ 85007 h 436036"/>
                  <a:gd name="connsiteX101" fmla="*/ 362931 w 697289"/>
                  <a:gd name="connsiteY101" fmla="*/ 83191 h 436036"/>
                  <a:gd name="connsiteX102" fmla="*/ 362123 w 697289"/>
                  <a:gd name="connsiteY102" fmla="*/ 77035 h 436036"/>
                  <a:gd name="connsiteX103" fmla="*/ 361686 w 697289"/>
                  <a:gd name="connsiteY103" fmla="*/ 69230 h 436036"/>
                  <a:gd name="connsiteX104" fmla="*/ 361619 w 697289"/>
                  <a:gd name="connsiteY104" fmla="*/ 61998 h 436036"/>
                  <a:gd name="connsiteX105" fmla="*/ 362864 w 697289"/>
                  <a:gd name="connsiteY105" fmla="*/ 57423 h 436036"/>
                  <a:gd name="connsiteX106" fmla="*/ 363941 w 697289"/>
                  <a:gd name="connsiteY106" fmla="*/ 53352 h 436036"/>
                  <a:gd name="connsiteX107" fmla="*/ 367272 w 697289"/>
                  <a:gd name="connsiteY107" fmla="*/ 49955 h 436036"/>
                  <a:gd name="connsiteX108" fmla="*/ 369931 w 697289"/>
                  <a:gd name="connsiteY108" fmla="*/ 46389 h 436036"/>
                  <a:gd name="connsiteX109" fmla="*/ 370470 w 697289"/>
                  <a:gd name="connsiteY109" fmla="*/ 44034 h 436036"/>
                  <a:gd name="connsiteX110" fmla="*/ 368080 w 697289"/>
                  <a:gd name="connsiteY110" fmla="*/ 41410 h 436036"/>
                  <a:gd name="connsiteX111" fmla="*/ 363840 w 697289"/>
                  <a:gd name="connsiteY111" fmla="*/ 39998 h 436036"/>
                  <a:gd name="connsiteX112" fmla="*/ 360138 w 697289"/>
                  <a:gd name="connsiteY112" fmla="*/ 38786 h 436036"/>
                  <a:gd name="connsiteX113" fmla="*/ 359263 w 697289"/>
                  <a:gd name="connsiteY113" fmla="*/ 37575 h 436036"/>
                  <a:gd name="connsiteX114" fmla="*/ 359902 w 697289"/>
                  <a:gd name="connsiteY114" fmla="*/ 33875 h 436036"/>
                  <a:gd name="connsiteX115" fmla="*/ 359902 w 697289"/>
                  <a:gd name="connsiteY115" fmla="*/ 31386 h 436036"/>
                  <a:gd name="connsiteX116" fmla="*/ 361652 w 697289"/>
                  <a:gd name="connsiteY116" fmla="*/ 28661 h 436036"/>
                  <a:gd name="connsiteX117" fmla="*/ 361652 w 697289"/>
                  <a:gd name="connsiteY117" fmla="*/ 23447 h 436036"/>
                  <a:gd name="connsiteX118" fmla="*/ 361652 w 697289"/>
                  <a:gd name="connsiteY118" fmla="*/ 20857 h 436036"/>
                  <a:gd name="connsiteX119" fmla="*/ 360306 w 697289"/>
                  <a:gd name="connsiteY119" fmla="*/ 20083 h 436036"/>
                  <a:gd name="connsiteX120" fmla="*/ 355897 w 697289"/>
                  <a:gd name="connsiteY120" fmla="*/ 17795 h 436036"/>
                  <a:gd name="connsiteX121" fmla="*/ 352431 w 697289"/>
                  <a:gd name="connsiteY121" fmla="*/ 16921 h 436036"/>
                  <a:gd name="connsiteX122" fmla="*/ 350041 w 697289"/>
                  <a:gd name="connsiteY122" fmla="*/ 18132 h 436036"/>
                  <a:gd name="connsiteX123" fmla="*/ 347551 w 697289"/>
                  <a:gd name="connsiteY123" fmla="*/ 18334 h 436036"/>
                  <a:gd name="connsiteX124" fmla="*/ 346037 w 697289"/>
                  <a:gd name="connsiteY124" fmla="*/ 18535 h 436036"/>
                  <a:gd name="connsiteX125" fmla="*/ 347349 w 697289"/>
                  <a:gd name="connsiteY125" fmla="*/ 16046 h 436036"/>
                  <a:gd name="connsiteX126" fmla="*/ 348325 w 697289"/>
                  <a:gd name="connsiteY126" fmla="*/ 14196 h 436036"/>
                  <a:gd name="connsiteX127" fmla="*/ 349301 w 697289"/>
                  <a:gd name="connsiteY127" fmla="*/ 11908 h 436036"/>
                  <a:gd name="connsiteX128" fmla="*/ 347887 w 697289"/>
                  <a:gd name="connsiteY128" fmla="*/ 9285 h 436036"/>
                  <a:gd name="connsiteX129" fmla="*/ 345936 w 697289"/>
                  <a:gd name="connsiteY129" fmla="*/ 7098 h 436036"/>
                  <a:gd name="connsiteX130" fmla="*/ 342570 w 697289"/>
                  <a:gd name="connsiteY130" fmla="*/ 5483 h 436036"/>
                  <a:gd name="connsiteX131" fmla="*/ 340719 w 697289"/>
                  <a:gd name="connsiteY131" fmla="*/ 5248 h 436036"/>
                  <a:gd name="connsiteX132" fmla="*/ 337017 w 697289"/>
                  <a:gd name="connsiteY132" fmla="*/ 5685 h 436036"/>
                  <a:gd name="connsiteX133" fmla="*/ 334964 w 697289"/>
                  <a:gd name="connsiteY133" fmla="*/ 6896 h 436036"/>
                  <a:gd name="connsiteX134" fmla="*/ 332911 w 697289"/>
                  <a:gd name="connsiteY134" fmla="*/ 9621 h 436036"/>
                  <a:gd name="connsiteX135" fmla="*/ 331700 w 697289"/>
                  <a:gd name="connsiteY135" fmla="*/ 11673 h 436036"/>
                  <a:gd name="connsiteX136" fmla="*/ 329411 w 697289"/>
                  <a:gd name="connsiteY136" fmla="*/ 14061 h 436036"/>
                  <a:gd name="connsiteX137" fmla="*/ 327796 w 697289"/>
                  <a:gd name="connsiteY137" fmla="*/ 16113 h 436036"/>
                  <a:gd name="connsiteX138" fmla="*/ 326281 w 697289"/>
                  <a:gd name="connsiteY138" fmla="*/ 17863 h 436036"/>
                  <a:gd name="connsiteX139" fmla="*/ 322041 w 697289"/>
                  <a:gd name="connsiteY139" fmla="*/ 18199 h 436036"/>
                  <a:gd name="connsiteX140" fmla="*/ 318574 w 697289"/>
                  <a:gd name="connsiteY140" fmla="*/ 17560 h 436036"/>
                  <a:gd name="connsiteX141" fmla="*/ 317397 w 697289"/>
                  <a:gd name="connsiteY141" fmla="*/ 15070 h 436036"/>
                  <a:gd name="connsiteX142" fmla="*/ 315882 w 697289"/>
                  <a:gd name="connsiteY142" fmla="*/ 12581 h 436036"/>
                  <a:gd name="connsiteX143" fmla="*/ 307132 w 697289"/>
                  <a:gd name="connsiteY143" fmla="*/ 12649 h 436036"/>
                  <a:gd name="connsiteX144" fmla="*/ 302218 w 697289"/>
                  <a:gd name="connsiteY144" fmla="*/ 12985 h 436036"/>
                  <a:gd name="connsiteX145" fmla="*/ 294646 w 697289"/>
                  <a:gd name="connsiteY145" fmla="*/ 13792 h 436036"/>
                  <a:gd name="connsiteX146" fmla="*/ 291112 w 697289"/>
                  <a:gd name="connsiteY146" fmla="*/ 12043 h 436036"/>
                  <a:gd name="connsiteX147" fmla="*/ 286939 w 697289"/>
                  <a:gd name="connsiteY147" fmla="*/ 10731 h 436036"/>
                  <a:gd name="connsiteX148" fmla="*/ 285055 w 697289"/>
                  <a:gd name="connsiteY148" fmla="*/ 11774 h 436036"/>
                  <a:gd name="connsiteX149" fmla="*/ 283472 w 697289"/>
                  <a:gd name="connsiteY149" fmla="*/ 14229 h 436036"/>
                  <a:gd name="connsiteX150" fmla="*/ 282766 w 697289"/>
                  <a:gd name="connsiteY150" fmla="*/ 18804 h 436036"/>
                  <a:gd name="connsiteX151" fmla="*/ 283472 w 697289"/>
                  <a:gd name="connsiteY151" fmla="*/ 25802 h 436036"/>
                  <a:gd name="connsiteX152" fmla="*/ 280881 w 697289"/>
                  <a:gd name="connsiteY152" fmla="*/ 29535 h 436036"/>
                  <a:gd name="connsiteX153" fmla="*/ 277684 w 697289"/>
                  <a:gd name="connsiteY153" fmla="*/ 33169 h 436036"/>
                  <a:gd name="connsiteX154" fmla="*/ 275732 w 697289"/>
                  <a:gd name="connsiteY154" fmla="*/ 36364 h 436036"/>
                  <a:gd name="connsiteX155" fmla="*/ 273410 w 697289"/>
                  <a:gd name="connsiteY155" fmla="*/ 38820 h 436036"/>
                  <a:gd name="connsiteX156" fmla="*/ 271559 w 697289"/>
                  <a:gd name="connsiteY156" fmla="*/ 37912 h 436036"/>
                  <a:gd name="connsiteX157" fmla="*/ 271794 w 697289"/>
                  <a:gd name="connsiteY157" fmla="*/ 36499 h 436036"/>
                  <a:gd name="connsiteX158" fmla="*/ 273141 w 697289"/>
                  <a:gd name="connsiteY158" fmla="*/ 32429 h 436036"/>
                  <a:gd name="connsiteX159" fmla="*/ 274386 w 697289"/>
                  <a:gd name="connsiteY159" fmla="*/ 29435 h 436036"/>
                  <a:gd name="connsiteX160" fmla="*/ 275362 w 697289"/>
                  <a:gd name="connsiteY160" fmla="*/ 26441 h 436036"/>
                  <a:gd name="connsiteX161" fmla="*/ 275025 w 697289"/>
                  <a:gd name="connsiteY161" fmla="*/ 18031 h 436036"/>
                  <a:gd name="connsiteX162" fmla="*/ 273073 w 697289"/>
                  <a:gd name="connsiteY162" fmla="*/ 14768 h 436036"/>
                  <a:gd name="connsiteX163" fmla="*/ 270011 w 697289"/>
                  <a:gd name="connsiteY163" fmla="*/ 13019 h 436036"/>
                  <a:gd name="connsiteX164" fmla="*/ 268261 w 697289"/>
                  <a:gd name="connsiteY164" fmla="*/ 11942 h 436036"/>
                  <a:gd name="connsiteX165" fmla="*/ 265669 w 697289"/>
                  <a:gd name="connsiteY165" fmla="*/ 12379 h 436036"/>
                  <a:gd name="connsiteX166" fmla="*/ 260251 w 697289"/>
                  <a:gd name="connsiteY166" fmla="*/ 11303 h 436036"/>
                  <a:gd name="connsiteX167" fmla="*/ 259140 w 697289"/>
                  <a:gd name="connsiteY167" fmla="*/ 9554 h 436036"/>
                  <a:gd name="connsiteX168" fmla="*/ 259140 w 697289"/>
                  <a:gd name="connsiteY168" fmla="*/ 4339 h 436036"/>
                  <a:gd name="connsiteX169" fmla="*/ 259140 w 697289"/>
                  <a:gd name="connsiteY169" fmla="*/ 1749 h 436036"/>
                  <a:gd name="connsiteX170" fmla="*/ 256549 w 697289"/>
                  <a:gd name="connsiteY170" fmla="*/ 0 h 436036"/>
                  <a:gd name="connsiteX171" fmla="*/ 253284 w 697289"/>
                  <a:gd name="connsiteY171" fmla="*/ 0 h 436036"/>
                  <a:gd name="connsiteX172" fmla="*/ 252208 w 697289"/>
                  <a:gd name="connsiteY172" fmla="*/ 875 h 436036"/>
                  <a:gd name="connsiteX173" fmla="*/ 252208 w 697289"/>
                  <a:gd name="connsiteY173" fmla="*/ 3128 h 436036"/>
                  <a:gd name="connsiteX174" fmla="*/ 250356 w 697289"/>
                  <a:gd name="connsiteY174" fmla="*/ 7266 h 436036"/>
                  <a:gd name="connsiteX175" fmla="*/ 248741 w 697289"/>
                  <a:gd name="connsiteY175" fmla="*/ 9890 h 436036"/>
                  <a:gd name="connsiteX176" fmla="*/ 246150 w 697289"/>
                  <a:gd name="connsiteY176" fmla="*/ 12278 h 436036"/>
                  <a:gd name="connsiteX177" fmla="*/ 242649 w 697289"/>
                  <a:gd name="connsiteY177" fmla="*/ 12278 h 436036"/>
                  <a:gd name="connsiteX178" fmla="*/ 236356 w 697289"/>
                  <a:gd name="connsiteY178" fmla="*/ 13355 h 436036"/>
                  <a:gd name="connsiteX179" fmla="*/ 231342 w 697289"/>
                  <a:gd name="connsiteY179" fmla="*/ 14869 h 436036"/>
                  <a:gd name="connsiteX180" fmla="*/ 231342 w 697289"/>
                  <a:gd name="connsiteY180" fmla="*/ 23312 h 436036"/>
                  <a:gd name="connsiteX181" fmla="*/ 229390 w 697289"/>
                  <a:gd name="connsiteY181" fmla="*/ 26340 h 436036"/>
                  <a:gd name="connsiteX182" fmla="*/ 227640 w 697289"/>
                  <a:gd name="connsiteY182" fmla="*/ 31991 h 436036"/>
                  <a:gd name="connsiteX183" fmla="*/ 226563 w 697289"/>
                  <a:gd name="connsiteY183" fmla="*/ 36566 h 436036"/>
                  <a:gd name="connsiteX184" fmla="*/ 220707 w 697289"/>
                  <a:gd name="connsiteY184" fmla="*/ 40704 h 436036"/>
                  <a:gd name="connsiteX185" fmla="*/ 213539 w 697289"/>
                  <a:gd name="connsiteY185" fmla="*/ 43967 h 436036"/>
                  <a:gd name="connsiteX186" fmla="*/ 206168 w 697289"/>
                  <a:gd name="connsiteY186" fmla="*/ 45279 h 436036"/>
                  <a:gd name="connsiteX187" fmla="*/ 201591 w 697289"/>
                  <a:gd name="connsiteY187" fmla="*/ 45279 h 436036"/>
                  <a:gd name="connsiteX188" fmla="*/ 191360 w 697289"/>
                  <a:gd name="connsiteY188" fmla="*/ 48979 h 436036"/>
                  <a:gd name="connsiteX189" fmla="*/ 185269 w 697289"/>
                  <a:gd name="connsiteY189" fmla="*/ 48777 h 436036"/>
                  <a:gd name="connsiteX190" fmla="*/ 178302 w 697289"/>
                  <a:gd name="connsiteY190" fmla="*/ 48777 h 436036"/>
                  <a:gd name="connsiteX191" fmla="*/ 170461 w 697289"/>
                  <a:gd name="connsiteY191" fmla="*/ 48777 h 436036"/>
                  <a:gd name="connsiteX192" fmla="*/ 165681 w 697289"/>
                  <a:gd name="connsiteY192" fmla="*/ 51065 h 436036"/>
                  <a:gd name="connsiteX193" fmla="*/ 160263 w 697289"/>
                  <a:gd name="connsiteY193" fmla="*/ 57053 h 436036"/>
                  <a:gd name="connsiteX194" fmla="*/ 156999 w 697289"/>
                  <a:gd name="connsiteY194" fmla="*/ 63343 h 436036"/>
                  <a:gd name="connsiteX195" fmla="*/ 152422 w 697289"/>
                  <a:gd name="connsiteY195" fmla="*/ 70071 h 436036"/>
                  <a:gd name="connsiteX196" fmla="*/ 146196 w 697289"/>
                  <a:gd name="connsiteY196" fmla="*/ 77674 h 436036"/>
                  <a:gd name="connsiteX197" fmla="*/ 137210 w 697289"/>
                  <a:gd name="connsiteY197" fmla="*/ 76160 h 436036"/>
                  <a:gd name="connsiteX198" fmla="*/ 132195 w 697289"/>
                  <a:gd name="connsiteY198" fmla="*/ 74646 h 436036"/>
                  <a:gd name="connsiteX199" fmla="*/ 126541 w 697289"/>
                  <a:gd name="connsiteY199" fmla="*/ 75723 h 436036"/>
                  <a:gd name="connsiteX200" fmla="*/ 116983 w 697289"/>
                  <a:gd name="connsiteY200" fmla="*/ 87665 h 436036"/>
                  <a:gd name="connsiteX201" fmla="*/ 114594 w 697289"/>
                  <a:gd name="connsiteY201" fmla="*/ 91567 h 436036"/>
                  <a:gd name="connsiteX202" fmla="*/ 109377 w 697289"/>
                  <a:gd name="connsiteY202" fmla="*/ 100246 h 436036"/>
                  <a:gd name="connsiteX203" fmla="*/ 105036 w 697289"/>
                  <a:gd name="connsiteY203" fmla="*/ 101558 h 436036"/>
                  <a:gd name="connsiteX204" fmla="*/ 100021 w 697289"/>
                  <a:gd name="connsiteY204" fmla="*/ 103072 h 436036"/>
                  <a:gd name="connsiteX205" fmla="*/ 94805 w 697289"/>
                  <a:gd name="connsiteY205" fmla="*/ 108084 h 436036"/>
                  <a:gd name="connsiteX206" fmla="*/ 92853 w 697289"/>
                  <a:gd name="connsiteY206" fmla="*/ 113298 h 436036"/>
                  <a:gd name="connsiteX207" fmla="*/ 92415 w 697289"/>
                  <a:gd name="connsiteY207" fmla="*/ 118277 h 436036"/>
                  <a:gd name="connsiteX208" fmla="*/ 92180 w 697289"/>
                  <a:gd name="connsiteY208" fmla="*/ 128705 h 436036"/>
                  <a:gd name="connsiteX209" fmla="*/ 89791 w 697289"/>
                  <a:gd name="connsiteY209" fmla="*/ 136106 h 436036"/>
                  <a:gd name="connsiteX210" fmla="*/ 86762 w 697289"/>
                  <a:gd name="connsiteY210" fmla="*/ 141118 h 436036"/>
                  <a:gd name="connsiteX211" fmla="*/ 80872 w 697289"/>
                  <a:gd name="connsiteY211" fmla="*/ 147644 h 436036"/>
                  <a:gd name="connsiteX212" fmla="*/ 75454 w 697289"/>
                  <a:gd name="connsiteY212" fmla="*/ 154608 h 436036"/>
                  <a:gd name="connsiteX213" fmla="*/ 74377 w 697289"/>
                  <a:gd name="connsiteY213" fmla="*/ 162648 h 436036"/>
                  <a:gd name="connsiteX214" fmla="*/ 66771 w 697289"/>
                  <a:gd name="connsiteY214" fmla="*/ 173076 h 436036"/>
                  <a:gd name="connsiteX215" fmla="*/ 63506 w 697289"/>
                  <a:gd name="connsiteY215" fmla="*/ 176339 h 436036"/>
                  <a:gd name="connsiteX216" fmla="*/ 61756 w 697289"/>
                  <a:gd name="connsiteY216" fmla="*/ 177415 h 436036"/>
                  <a:gd name="connsiteX217" fmla="*/ 56540 w 697289"/>
                  <a:gd name="connsiteY217" fmla="*/ 177415 h 436036"/>
                  <a:gd name="connsiteX218" fmla="*/ 50246 w 697289"/>
                  <a:gd name="connsiteY218" fmla="*/ 179703 h 436036"/>
                  <a:gd name="connsiteX219" fmla="*/ 48698 w 697289"/>
                  <a:gd name="connsiteY219" fmla="*/ 181755 h 436036"/>
                  <a:gd name="connsiteX220" fmla="*/ 48698 w 697289"/>
                  <a:gd name="connsiteY220" fmla="*/ 188483 h 436036"/>
                  <a:gd name="connsiteX221" fmla="*/ 47722 w 697289"/>
                  <a:gd name="connsiteY221" fmla="*/ 191510 h 436036"/>
                  <a:gd name="connsiteX222" fmla="*/ 43482 w 697289"/>
                  <a:gd name="connsiteY222" fmla="*/ 194336 h 436036"/>
                  <a:gd name="connsiteX223" fmla="*/ 37828 w 697289"/>
                  <a:gd name="connsiteY223" fmla="*/ 201737 h 436036"/>
                  <a:gd name="connsiteX224" fmla="*/ 37626 w 697289"/>
                  <a:gd name="connsiteY224" fmla="*/ 214352 h 436036"/>
                  <a:gd name="connsiteX225" fmla="*/ 39140 w 697289"/>
                  <a:gd name="connsiteY225" fmla="*/ 222593 h 436036"/>
                  <a:gd name="connsiteX226" fmla="*/ 43044 w 697289"/>
                  <a:gd name="connsiteY226" fmla="*/ 226496 h 436036"/>
                  <a:gd name="connsiteX227" fmla="*/ 49573 w 697289"/>
                  <a:gd name="connsiteY227" fmla="*/ 232383 h 436036"/>
                  <a:gd name="connsiteX228" fmla="*/ 53915 w 697289"/>
                  <a:gd name="connsiteY228" fmla="*/ 239346 h 436036"/>
                  <a:gd name="connsiteX229" fmla="*/ 56742 w 697289"/>
                  <a:gd name="connsiteY229" fmla="*/ 245199 h 436036"/>
                  <a:gd name="connsiteX230" fmla="*/ 56304 w 697289"/>
                  <a:gd name="connsiteY230" fmla="*/ 251725 h 436036"/>
                  <a:gd name="connsiteX231" fmla="*/ 54117 w 697289"/>
                  <a:gd name="connsiteY231" fmla="*/ 258453 h 436036"/>
                  <a:gd name="connsiteX232" fmla="*/ 51929 w 697289"/>
                  <a:gd name="connsiteY232" fmla="*/ 262154 h 436036"/>
                  <a:gd name="connsiteX233" fmla="*/ 48900 w 697289"/>
                  <a:gd name="connsiteY233" fmla="*/ 265417 h 436036"/>
                  <a:gd name="connsiteX234" fmla="*/ 46511 w 697289"/>
                  <a:gd name="connsiteY234" fmla="*/ 271707 h 436036"/>
                  <a:gd name="connsiteX235" fmla="*/ 45198 w 697289"/>
                  <a:gd name="connsiteY235" fmla="*/ 279545 h 436036"/>
                  <a:gd name="connsiteX236" fmla="*/ 46073 w 697289"/>
                  <a:gd name="connsiteY236" fmla="*/ 284759 h 436036"/>
                  <a:gd name="connsiteX237" fmla="*/ 50414 w 697289"/>
                  <a:gd name="connsiteY237" fmla="*/ 287148 h 436036"/>
                  <a:gd name="connsiteX238" fmla="*/ 54487 w 697289"/>
                  <a:gd name="connsiteY238" fmla="*/ 285331 h 436036"/>
                  <a:gd name="connsiteX239" fmla="*/ 55227 w 697289"/>
                  <a:gd name="connsiteY239" fmla="*/ 283145 h 436036"/>
                  <a:gd name="connsiteX240" fmla="*/ 56540 w 697289"/>
                  <a:gd name="connsiteY240" fmla="*/ 282136 h 436036"/>
                  <a:gd name="connsiteX241" fmla="*/ 58424 w 697289"/>
                  <a:gd name="connsiteY241" fmla="*/ 279949 h 436036"/>
                  <a:gd name="connsiteX242" fmla="*/ 59569 w 697289"/>
                  <a:gd name="connsiteY242" fmla="*/ 277931 h 436036"/>
                  <a:gd name="connsiteX243" fmla="*/ 61151 w 697289"/>
                  <a:gd name="connsiteY243" fmla="*/ 277493 h 436036"/>
                  <a:gd name="connsiteX244" fmla="*/ 63035 w 697289"/>
                  <a:gd name="connsiteY244" fmla="*/ 279377 h 436036"/>
                  <a:gd name="connsiteX245" fmla="*/ 67242 w 697289"/>
                  <a:gd name="connsiteY245" fmla="*/ 280824 h 436036"/>
                  <a:gd name="connsiteX246" fmla="*/ 68117 w 697289"/>
                  <a:gd name="connsiteY246" fmla="*/ 279074 h 436036"/>
                  <a:gd name="connsiteX247" fmla="*/ 69564 w 697289"/>
                  <a:gd name="connsiteY247" fmla="*/ 274600 h 436036"/>
                  <a:gd name="connsiteX248" fmla="*/ 70136 w 697289"/>
                  <a:gd name="connsiteY248" fmla="*/ 271707 h 436036"/>
                  <a:gd name="connsiteX249" fmla="*/ 71886 w 697289"/>
                  <a:gd name="connsiteY249" fmla="*/ 269689 h 436036"/>
                  <a:gd name="connsiteX250" fmla="*/ 75487 w 697289"/>
                  <a:gd name="connsiteY250" fmla="*/ 268377 h 436036"/>
                  <a:gd name="connsiteX251" fmla="*/ 79694 w 697289"/>
                  <a:gd name="connsiteY251" fmla="*/ 267368 h 436036"/>
                  <a:gd name="connsiteX252" fmla="*/ 88814 w 697289"/>
                  <a:gd name="connsiteY252" fmla="*/ 265047 h 436036"/>
                  <a:gd name="connsiteX253" fmla="*/ 91574 w 697289"/>
                  <a:gd name="connsiteY253" fmla="*/ 262725 h 436036"/>
                  <a:gd name="connsiteX254" fmla="*/ 95916 w 697289"/>
                  <a:gd name="connsiteY254" fmla="*/ 258252 h 436036"/>
                  <a:gd name="connsiteX255" fmla="*/ 98675 w 697289"/>
                  <a:gd name="connsiteY255" fmla="*/ 257814 h 436036"/>
                  <a:gd name="connsiteX256" fmla="*/ 100997 w 697289"/>
                  <a:gd name="connsiteY256" fmla="*/ 255930 h 436036"/>
                  <a:gd name="connsiteX257" fmla="*/ 103185 w 697289"/>
                  <a:gd name="connsiteY257" fmla="*/ 252903 h 436036"/>
                  <a:gd name="connsiteX258" fmla="*/ 103050 w 697289"/>
                  <a:gd name="connsiteY258" fmla="*/ 249875 h 436036"/>
                  <a:gd name="connsiteX259" fmla="*/ 102849 w 697289"/>
                  <a:gd name="connsiteY259" fmla="*/ 247991 h 436036"/>
                  <a:gd name="connsiteX260" fmla="*/ 106483 w 697289"/>
                  <a:gd name="connsiteY260" fmla="*/ 244425 h 436036"/>
                  <a:gd name="connsiteX261" fmla="*/ 108031 w 697289"/>
                  <a:gd name="connsiteY261" fmla="*/ 245839 h 436036"/>
                  <a:gd name="connsiteX262" fmla="*/ 113046 w 697289"/>
                  <a:gd name="connsiteY262" fmla="*/ 248698 h 436036"/>
                  <a:gd name="connsiteX263" fmla="*/ 113046 w 697289"/>
                  <a:gd name="connsiteY263" fmla="*/ 253037 h 436036"/>
                  <a:gd name="connsiteX264" fmla="*/ 110455 w 697289"/>
                  <a:gd name="connsiteY264" fmla="*/ 259698 h 436036"/>
                  <a:gd name="connsiteX265" fmla="*/ 109882 w 697289"/>
                  <a:gd name="connsiteY265" fmla="*/ 262288 h 436036"/>
                  <a:gd name="connsiteX266" fmla="*/ 108368 w 697289"/>
                  <a:gd name="connsiteY266" fmla="*/ 266762 h 436036"/>
                  <a:gd name="connsiteX267" fmla="*/ 103656 w 697289"/>
                  <a:gd name="connsiteY267" fmla="*/ 269521 h 436036"/>
                  <a:gd name="connsiteX268" fmla="*/ 93089 w 697289"/>
                  <a:gd name="connsiteY268" fmla="*/ 269521 h 436036"/>
                  <a:gd name="connsiteX269" fmla="*/ 90464 w 697289"/>
                  <a:gd name="connsiteY269" fmla="*/ 275038 h 436036"/>
                  <a:gd name="connsiteX270" fmla="*/ 90464 w 697289"/>
                  <a:gd name="connsiteY270" fmla="*/ 283448 h 436036"/>
                  <a:gd name="connsiteX271" fmla="*/ 86122 w 697289"/>
                  <a:gd name="connsiteY271" fmla="*/ 283448 h 436036"/>
                  <a:gd name="connsiteX272" fmla="*/ 81781 w 697289"/>
                  <a:gd name="connsiteY272" fmla="*/ 287215 h 436036"/>
                  <a:gd name="connsiteX273" fmla="*/ 80333 w 697289"/>
                  <a:gd name="connsiteY273" fmla="*/ 290411 h 436036"/>
                  <a:gd name="connsiteX274" fmla="*/ 78314 w 697289"/>
                  <a:gd name="connsiteY274" fmla="*/ 291555 h 436036"/>
                  <a:gd name="connsiteX275" fmla="*/ 75420 w 697289"/>
                  <a:gd name="connsiteY275" fmla="*/ 295625 h 436036"/>
                  <a:gd name="connsiteX276" fmla="*/ 73973 w 697289"/>
                  <a:gd name="connsiteY276" fmla="*/ 295625 h 436036"/>
                  <a:gd name="connsiteX277" fmla="*/ 68117 w 697289"/>
                  <a:gd name="connsiteY277" fmla="*/ 297374 h 436036"/>
                  <a:gd name="connsiteX278" fmla="*/ 63540 w 697289"/>
                  <a:gd name="connsiteY278" fmla="*/ 297374 h 436036"/>
                  <a:gd name="connsiteX279" fmla="*/ 62026 w 697289"/>
                  <a:gd name="connsiteY279" fmla="*/ 299965 h 436036"/>
                  <a:gd name="connsiteX280" fmla="*/ 58862 w 697289"/>
                  <a:gd name="connsiteY280" fmla="*/ 302689 h 436036"/>
                  <a:gd name="connsiteX281" fmla="*/ 56035 w 697289"/>
                  <a:gd name="connsiteY281" fmla="*/ 304439 h 436036"/>
                  <a:gd name="connsiteX282" fmla="*/ 54184 w 697289"/>
                  <a:gd name="connsiteY282" fmla="*/ 306053 h 436036"/>
                  <a:gd name="connsiteX283" fmla="*/ 50718 w 697289"/>
                  <a:gd name="connsiteY283" fmla="*/ 310393 h 436036"/>
                  <a:gd name="connsiteX284" fmla="*/ 46814 w 697289"/>
                  <a:gd name="connsiteY284" fmla="*/ 312546 h 436036"/>
                  <a:gd name="connsiteX285" fmla="*/ 43549 w 697289"/>
                  <a:gd name="connsiteY285" fmla="*/ 313858 h 436036"/>
                  <a:gd name="connsiteX286" fmla="*/ 43549 w 697289"/>
                  <a:gd name="connsiteY286" fmla="*/ 319509 h 436036"/>
                  <a:gd name="connsiteX287" fmla="*/ 45602 w 697289"/>
                  <a:gd name="connsiteY287" fmla="*/ 323210 h 436036"/>
                  <a:gd name="connsiteX288" fmla="*/ 45266 w 697289"/>
                  <a:gd name="connsiteY288" fmla="*/ 325161 h 436036"/>
                  <a:gd name="connsiteX289" fmla="*/ 42674 w 697289"/>
                  <a:gd name="connsiteY289" fmla="*/ 329063 h 436036"/>
                  <a:gd name="connsiteX290" fmla="*/ 37458 w 697289"/>
                  <a:gd name="connsiteY290" fmla="*/ 332090 h 436036"/>
                  <a:gd name="connsiteX291" fmla="*/ 32006 w 697289"/>
                  <a:gd name="connsiteY291" fmla="*/ 332090 h 436036"/>
                  <a:gd name="connsiteX292" fmla="*/ 26991 w 697289"/>
                  <a:gd name="connsiteY292" fmla="*/ 333503 h 436036"/>
                  <a:gd name="connsiteX293" fmla="*/ 23289 w 697289"/>
                  <a:gd name="connsiteY293" fmla="*/ 335555 h 436036"/>
                  <a:gd name="connsiteX294" fmla="*/ 20226 w 697289"/>
                  <a:gd name="connsiteY294" fmla="*/ 338381 h 436036"/>
                  <a:gd name="connsiteX295" fmla="*/ 17837 w 697289"/>
                  <a:gd name="connsiteY295" fmla="*/ 340332 h 436036"/>
                  <a:gd name="connsiteX296" fmla="*/ 15649 w 697289"/>
                  <a:gd name="connsiteY296" fmla="*/ 345109 h 436036"/>
                  <a:gd name="connsiteX297" fmla="*/ 15649 w 697289"/>
                  <a:gd name="connsiteY297" fmla="*/ 349886 h 436036"/>
                  <a:gd name="connsiteX298" fmla="*/ 14774 w 697289"/>
                  <a:gd name="connsiteY298" fmla="*/ 354663 h 436036"/>
                  <a:gd name="connsiteX299" fmla="*/ 11745 w 697289"/>
                  <a:gd name="connsiteY299" fmla="*/ 354663 h 436036"/>
                  <a:gd name="connsiteX300" fmla="*/ 7842 w 697289"/>
                  <a:gd name="connsiteY300" fmla="*/ 359439 h 436036"/>
                  <a:gd name="connsiteX301" fmla="*/ 4139 w 697289"/>
                  <a:gd name="connsiteY301" fmla="*/ 362265 h 436036"/>
                  <a:gd name="connsiteX302" fmla="*/ 1313 w 697289"/>
                  <a:gd name="connsiteY302" fmla="*/ 365091 h 436036"/>
                  <a:gd name="connsiteX303" fmla="*/ 0 w 697289"/>
                  <a:gd name="connsiteY303" fmla="*/ 367681 h 436036"/>
                  <a:gd name="connsiteX304" fmla="*/ 0 w 697289"/>
                  <a:gd name="connsiteY304" fmla="*/ 371146 h 436036"/>
                  <a:gd name="connsiteX305" fmla="*/ 0 w 697289"/>
                  <a:gd name="connsiteY305" fmla="*/ 376596 h 436036"/>
                  <a:gd name="connsiteX306" fmla="*/ 1515 w 697289"/>
                  <a:gd name="connsiteY306" fmla="*/ 380498 h 436036"/>
                  <a:gd name="connsiteX307" fmla="*/ 6092 w 697289"/>
                  <a:gd name="connsiteY307" fmla="*/ 382449 h 436036"/>
                  <a:gd name="connsiteX308" fmla="*/ 14774 w 697289"/>
                  <a:gd name="connsiteY308" fmla="*/ 382449 h 436036"/>
                  <a:gd name="connsiteX309" fmla="*/ 24130 w 697289"/>
                  <a:gd name="connsiteY309" fmla="*/ 382449 h 436036"/>
                  <a:gd name="connsiteX310" fmla="*/ 31299 w 697289"/>
                  <a:gd name="connsiteY310" fmla="*/ 384635 h 436036"/>
                  <a:gd name="connsiteX311" fmla="*/ 36751 w 697289"/>
                  <a:gd name="connsiteY311" fmla="*/ 389614 h 436036"/>
                  <a:gd name="connsiteX312" fmla="*/ 40890 w 697289"/>
                  <a:gd name="connsiteY312" fmla="*/ 396342 h 436036"/>
                  <a:gd name="connsiteX313" fmla="*/ 48294 w 697289"/>
                  <a:gd name="connsiteY313" fmla="*/ 396342 h 436036"/>
                  <a:gd name="connsiteX314" fmla="*/ 54823 w 697289"/>
                  <a:gd name="connsiteY314" fmla="*/ 401321 h 436036"/>
                  <a:gd name="connsiteX315" fmla="*/ 59165 w 697289"/>
                  <a:gd name="connsiteY315" fmla="*/ 405896 h 436036"/>
                  <a:gd name="connsiteX316" fmla="*/ 59165 w 697289"/>
                  <a:gd name="connsiteY316" fmla="*/ 411749 h 436036"/>
                  <a:gd name="connsiteX317" fmla="*/ 60477 w 697289"/>
                  <a:gd name="connsiteY317" fmla="*/ 419991 h 436036"/>
                  <a:gd name="connsiteX318" fmla="*/ 64381 w 697289"/>
                  <a:gd name="connsiteY318" fmla="*/ 425642 h 436036"/>
                  <a:gd name="connsiteX319" fmla="*/ 75689 w 697289"/>
                  <a:gd name="connsiteY319" fmla="*/ 431058 h 436036"/>
                  <a:gd name="connsiteX320" fmla="*/ 84810 w 697289"/>
                  <a:gd name="connsiteY320" fmla="*/ 431058 h 436036"/>
                  <a:gd name="connsiteX321" fmla="*/ 99820 w 697289"/>
                  <a:gd name="connsiteY321" fmla="*/ 429645 h 436036"/>
                  <a:gd name="connsiteX322" fmla="*/ 102646 w 697289"/>
                  <a:gd name="connsiteY322" fmla="*/ 425642 h 436036"/>
                  <a:gd name="connsiteX323" fmla="*/ 108738 w 697289"/>
                  <a:gd name="connsiteY323" fmla="*/ 424129 h 436036"/>
                  <a:gd name="connsiteX324" fmla="*/ 117421 w 697289"/>
                  <a:gd name="connsiteY324" fmla="*/ 424129 h 436036"/>
                  <a:gd name="connsiteX325" fmla="*/ 126541 w 697289"/>
                  <a:gd name="connsiteY325" fmla="*/ 424129 h 436036"/>
                  <a:gd name="connsiteX326" fmla="*/ 132195 w 697289"/>
                  <a:gd name="connsiteY326" fmla="*/ 421942 h 436036"/>
                  <a:gd name="connsiteX327" fmla="*/ 141114 w 697289"/>
                  <a:gd name="connsiteY327" fmla="*/ 418645 h 436036"/>
                  <a:gd name="connsiteX328" fmla="*/ 147272 w 697289"/>
                  <a:gd name="connsiteY328" fmla="*/ 416761 h 436036"/>
                  <a:gd name="connsiteX329" fmla="*/ 148787 w 697289"/>
                  <a:gd name="connsiteY329" fmla="*/ 415786 h 436036"/>
                  <a:gd name="connsiteX330" fmla="*/ 146397 w 697289"/>
                  <a:gd name="connsiteY330" fmla="*/ 413398 h 436036"/>
                  <a:gd name="connsiteX331" fmla="*/ 147845 w 697289"/>
                  <a:gd name="connsiteY331" fmla="*/ 407611 h 436036"/>
                  <a:gd name="connsiteX332" fmla="*/ 147845 w 697289"/>
                  <a:gd name="connsiteY332" fmla="*/ 402397 h 436036"/>
                  <a:gd name="connsiteX333" fmla="*/ 152927 w 697289"/>
                  <a:gd name="connsiteY333" fmla="*/ 393416 h 436036"/>
                  <a:gd name="connsiteX334" fmla="*/ 157705 w 697289"/>
                  <a:gd name="connsiteY334" fmla="*/ 389951 h 436036"/>
                  <a:gd name="connsiteX335" fmla="*/ 163494 w 697289"/>
                  <a:gd name="connsiteY335" fmla="*/ 385308 h 436036"/>
                  <a:gd name="connsiteX336" fmla="*/ 175946 w 697289"/>
                  <a:gd name="connsiteY336" fmla="*/ 384165 h 436036"/>
                  <a:gd name="connsiteX337" fmla="*/ 189273 w 697289"/>
                  <a:gd name="connsiteY337" fmla="*/ 386183 h 436036"/>
                  <a:gd name="connsiteX338" fmla="*/ 198832 w 697289"/>
                  <a:gd name="connsiteY338" fmla="*/ 389076 h 436036"/>
                  <a:gd name="connsiteX339" fmla="*/ 202601 w 697289"/>
                  <a:gd name="connsiteY339" fmla="*/ 391969 h 436036"/>
                  <a:gd name="connsiteX340" fmla="*/ 205798 w 697289"/>
                  <a:gd name="connsiteY340" fmla="*/ 399201 h 436036"/>
                  <a:gd name="connsiteX341" fmla="*/ 210442 w 697289"/>
                  <a:gd name="connsiteY341" fmla="*/ 402397 h 436036"/>
                  <a:gd name="connsiteX342" fmla="*/ 210442 w 697289"/>
                  <a:gd name="connsiteY342" fmla="*/ 411076 h 436036"/>
                  <a:gd name="connsiteX343" fmla="*/ 210442 w 697289"/>
                  <a:gd name="connsiteY343" fmla="*/ 421202 h 436036"/>
                  <a:gd name="connsiteX344" fmla="*/ 216971 w 697289"/>
                  <a:gd name="connsiteY344" fmla="*/ 428434 h 436036"/>
                  <a:gd name="connsiteX345" fmla="*/ 220303 w 697289"/>
                  <a:gd name="connsiteY345" fmla="*/ 430453 h 436036"/>
                  <a:gd name="connsiteX346" fmla="*/ 224644 w 697289"/>
                  <a:gd name="connsiteY346" fmla="*/ 435364 h 436036"/>
                  <a:gd name="connsiteX347" fmla="*/ 230736 w 697289"/>
                  <a:gd name="connsiteY347" fmla="*/ 430453 h 436036"/>
                  <a:gd name="connsiteX348" fmla="*/ 233058 w 697289"/>
                  <a:gd name="connsiteY348" fmla="*/ 426685 h 436036"/>
                  <a:gd name="connsiteX349" fmla="*/ 233058 w 697289"/>
                  <a:gd name="connsiteY349" fmla="*/ 420596 h 436036"/>
                  <a:gd name="connsiteX350" fmla="*/ 240025 w 697289"/>
                  <a:gd name="connsiteY350" fmla="*/ 416896 h 436036"/>
                  <a:gd name="connsiteX351" fmla="*/ 250996 w 697289"/>
                  <a:gd name="connsiteY351" fmla="*/ 424599 h 436036"/>
                  <a:gd name="connsiteX352" fmla="*/ 254159 w 697289"/>
                  <a:gd name="connsiteY352" fmla="*/ 427963 h 436036"/>
                  <a:gd name="connsiteX353" fmla="*/ 259713 w 697289"/>
                  <a:gd name="connsiteY353" fmla="*/ 429040 h 436036"/>
                  <a:gd name="connsiteX354" fmla="*/ 265804 w 697289"/>
                  <a:gd name="connsiteY354" fmla="*/ 427627 h 436036"/>
                  <a:gd name="connsiteX355" fmla="*/ 272232 w 697289"/>
                  <a:gd name="connsiteY355" fmla="*/ 426551 h 436036"/>
                  <a:gd name="connsiteX356" fmla="*/ 277348 w 697289"/>
                  <a:gd name="connsiteY356" fmla="*/ 425676 h 436036"/>
                  <a:gd name="connsiteX357" fmla="*/ 281252 w 697289"/>
                  <a:gd name="connsiteY357" fmla="*/ 420361 h 436036"/>
                  <a:gd name="connsiteX358" fmla="*/ 282766 w 697289"/>
                  <a:gd name="connsiteY358" fmla="*/ 413398 h 436036"/>
                  <a:gd name="connsiteX359" fmla="*/ 283304 w 697289"/>
                  <a:gd name="connsiteY359" fmla="*/ 408722 h 436036"/>
                  <a:gd name="connsiteX360" fmla="*/ 289833 w 697289"/>
                  <a:gd name="connsiteY360" fmla="*/ 404247 h 436036"/>
                  <a:gd name="connsiteX361" fmla="*/ 295050 w 697289"/>
                  <a:gd name="connsiteY361" fmla="*/ 403373 h 436036"/>
                  <a:gd name="connsiteX362" fmla="*/ 301781 w 697289"/>
                  <a:gd name="connsiteY362" fmla="*/ 405862 h 436036"/>
                  <a:gd name="connsiteX363" fmla="*/ 305584 w 697289"/>
                  <a:gd name="connsiteY363" fmla="*/ 408352 h 436036"/>
                  <a:gd name="connsiteX364" fmla="*/ 309387 w 697289"/>
                  <a:gd name="connsiteY364" fmla="*/ 413768 h 436036"/>
                  <a:gd name="connsiteX365" fmla="*/ 310026 w 697289"/>
                  <a:gd name="connsiteY365" fmla="*/ 419419 h 436036"/>
                  <a:gd name="connsiteX366" fmla="*/ 309387 w 697289"/>
                  <a:gd name="connsiteY366" fmla="*/ 424835 h 436036"/>
                  <a:gd name="connsiteX367" fmla="*/ 315814 w 697289"/>
                  <a:gd name="connsiteY367" fmla="*/ 433850 h 436036"/>
                  <a:gd name="connsiteX368" fmla="*/ 322007 w 697289"/>
                  <a:gd name="connsiteY368" fmla="*/ 436037 h 436036"/>
                  <a:gd name="connsiteX369" fmla="*/ 330825 w 697289"/>
                  <a:gd name="connsiteY369" fmla="*/ 433110 h 436036"/>
                  <a:gd name="connsiteX370" fmla="*/ 336378 w 697289"/>
                  <a:gd name="connsiteY370" fmla="*/ 429645 h 436036"/>
                  <a:gd name="connsiteX371" fmla="*/ 341055 w 697289"/>
                  <a:gd name="connsiteY371" fmla="*/ 423220 h 436036"/>
                  <a:gd name="connsiteX372" fmla="*/ 342671 w 697289"/>
                  <a:gd name="connsiteY372" fmla="*/ 418006 h 436036"/>
                  <a:gd name="connsiteX373" fmla="*/ 341055 w 697289"/>
                  <a:gd name="connsiteY373" fmla="*/ 409092 h 436036"/>
                  <a:gd name="connsiteX374" fmla="*/ 342469 w 697289"/>
                  <a:gd name="connsiteY374" fmla="*/ 403776 h 436036"/>
                  <a:gd name="connsiteX375" fmla="*/ 346070 w 697289"/>
                  <a:gd name="connsiteY375" fmla="*/ 396611 h 436036"/>
                  <a:gd name="connsiteX376" fmla="*/ 351623 w 697289"/>
                  <a:gd name="connsiteY376" fmla="*/ 395299 h 436036"/>
                  <a:gd name="connsiteX377" fmla="*/ 362393 w 697289"/>
                  <a:gd name="connsiteY377" fmla="*/ 394660 h 436036"/>
                  <a:gd name="connsiteX378" fmla="*/ 365859 w 697289"/>
                  <a:gd name="connsiteY378" fmla="*/ 392373 h 436036"/>
                  <a:gd name="connsiteX379" fmla="*/ 364008 w 697289"/>
                  <a:gd name="connsiteY379" fmla="*/ 388773 h 436036"/>
                  <a:gd name="connsiteX380" fmla="*/ 364984 w 697289"/>
                  <a:gd name="connsiteY380" fmla="*/ 382785 h 436036"/>
                  <a:gd name="connsiteX381" fmla="*/ 368585 w 697289"/>
                  <a:gd name="connsiteY381" fmla="*/ 378210 h 436036"/>
                  <a:gd name="connsiteX382" fmla="*/ 369898 w 697289"/>
                  <a:gd name="connsiteY382" fmla="*/ 372996 h 436036"/>
                  <a:gd name="connsiteX383" fmla="*/ 370537 w 697289"/>
                  <a:gd name="connsiteY383" fmla="*/ 369195 h 436036"/>
                  <a:gd name="connsiteX384" fmla="*/ 370537 w 697289"/>
                  <a:gd name="connsiteY384" fmla="*/ 363207 h 436036"/>
                  <a:gd name="connsiteX385" fmla="*/ 370907 w 697289"/>
                  <a:gd name="connsiteY385" fmla="*/ 359507 h 436036"/>
                  <a:gd name="connsiteX386" fmla="*/ 373229 w 697289"/>
                  <a:gd name="connsiteY386" fmla="*/ 354057 h 436036"/>
                  <a:gd name="connsiteX387" fmla="*/ 382148 w 697289"/>
                  <a:gd name="connsiteY387" fmla="*/ 353284 h 436036"/>
                  <a:gd name="connsiteX388" fmla="*/ 388239 w 697289"/>
                  <a:gd name="connsiteY388" fmla="*/ 351871 h 436036"/>
                  <a:gd name="connsiteX389" fmla="*/ 394230 w 697289"/>
                  <a:gd name="connsiteY389" fmla="*/ 349045 h 436036"/>
                  <a:gd name="connsiteX390" fmla="*/ 399009 w 697289"/>
                  <a:gd name="connsiteY390" fmla="*/ 345344 h 436036"/>
                  <a:gd name="connsiteX391" fmla="*/ 407927 w 697289"/>
                  <a:gd name="connsiteY391" fmla="*/ 343932 h 436036"/>
                  <a:gd name="connsiteX392" fmla="*/ 417822 w 697289"/>
                  <a:gd name="connsiteY392" fmla="*/ 343932 h 436036"/>
                  <a:gd name="connsiteX393" fmla="*/ 419774 w 697289"/>
                  <a:gd name="connsiteY393" fmla="*/ 345546 h 436036"/>
                  <a:gd name="connsiteX394" fmla="*/ 420312 w 697289"/>
                  <a:gd name="connsiteY394" fmla="*/ 342182 h 436036"/>
                  <a:gd name="connsiteX395" fmla="*/ 421288 w 697289"/>
                  <a:gd name="connsiteY395" fmla="*/ 333941 h 436036"/>
                  <a:gd name="connsiteX396" fmla="*/ 423240 w 697289"/>
                  <a:gd name="connsiteY396" fmla="*/ 327650 h 436036"/>
                  <a:gd name="connsiteX397" fmla="*/ 426504 w 697289"/>
                  <a:gd name="connsiteY397" fmla="*/ 320821 h 436036"/>
                  <a:gd name="connsiteX398" fmla="*/ 433034 w 697289"/>
                  <a:gd name="connsiteY398" fmla="*/ 313757 h 436036"/>
                  <a:gd name="connsiteX399" fmla="*/ 436601 w 697289"/>
                  <a:gd name="connsiteY399" fmla="*/ 310494 h 436036"/>
                  <a:gd name="connsiteX400" fmla="*/ 439091 w 697289"/>
                  <a:gd name="connsiteY400" fmla="*/ 306692 h 436036"/>
                  <a:gd name="connsiteX401" fmla="*/ 439866 w 697289"/>
                  <a:gd name="connsiteY401" fmla="*/ 298316 h 436036"/>
                  <a:gd name="connsiteX402" fmla="*/ 440640 w 697289"/>
                  <a:gd name="connsiteY402" fmla="*/ 290276 h 436036"/>
                  <a:gd name="connsiteX403" fmla="*/ 443130 w 697289"/>
                  <a:gd name="connsiteY403" fmla="*/ 285836 h 436036"/>
                  <a:gd name="connsiteX404" fmla="*/ 446394 w 697289"/>
                  <a:gd name="connsiteY404" fmla="*/ 284759 h 436036"/>
                  <a:gd name="connsiteX405" fmla="*/ 451712 w 697289"/>
                  <a:gd name="connsiteY405" fmla="*/ 284759 h 436036"/>
                  <a:gd name="connsiteX406" fmla="*/ 458342 w 697289"/>
                  <a:gd name="connsiteY406" fmla="*/ 284860 h 436036"/>
                  <a:gd name="connsiteX407" fmla="*/ 465611 w 697289"/>
                  <a:gd name="connsiteY407" fmla="*/ 284860 h 436036"/>
                  <a:gd name="connsiteX408" fmla="*/ 464635 w 697289"/>
                  <a:gd name="connsiteY408" fmla="*/ 278132 h 436036"/>
                  <a:gd name="connsiteX409" fmla="*/ 462683 w 697289"/>
                  <a:gd name="connsiteY409" fmla="*/ 273120 h 436036"/>
                  <a:gd name="connsiteX410" fmla="*/ 462784 w 697289"/>
                  <a:gd name="connsiteY410" fmla="*/ 267368 h 436036"/>
                  <a:gd name="connsiteX411" fmla="*/ 464837 w 697289"/>
                  <a:gd name="connsiteY411" fmla="*/ 267166 h 436036"/>
                  <a:gd name="connsiteX412" fmla="*/ 470155 w 697289"/>
                  <a:gd name="connsiteY412" fmla="*/ 269554 h 436036"/>
                  <a:gd name="connsiteX413" fmla="*/ 474395 w 697289"/>
                  <a:gd name="connsiteY413" fmla="*/ 269453 h 436036"/>
                  <a:gd name="connsiteX414" fmla="*/ 475910 w 697289"/>
                  <a:gd name="connsiteY414" fmla="*/ 265013 h 436036"/>
                  <a:gd name="connsiteX415" fmla="*/ 476011 w 697289"/>
                  <a:gd name="connsiteY415" fmla="*/ 260337 h 436036"/>
                  <a:gd name="connsiteX416" fmla="*/ 473958 w 697289"/>
                  <a:gd name="connsiteY416" fmla="*/ 254686 h 436036"/>
                  <a:gd name="connsiteX417" fmla="*/ 474832 w 697289"/>
                  <a:gd name="connsiteY417" fmla="*/ 250447 h 436036"/>
                  <a:gd name="connsiteX418" fmla="*/ 477861 w 697289"/>
                  <a:gd name="connsiteY418" fmla="*/ 247823 h 436036"/>
                  <a:gd name="connsiteX419" fmla="*/ 480352 w 697289"/>
                  <a:gd name="connsiteY419" fmla="*/ 245233 h 436036"/>
                  <a:gd name="connsiteX420" fmla="*/ 485131 w 697289"/>
                  <a:gd name="connsiteY420" fmla="*/ 245771 h 436036"/>
                  <a:gd name="connsiteX421" fmla="*/ 487958 w 697289"/>
                  <a:gd name="connsiteY421" fmla="*/ 247958 h 436036"/>
                  <a:gd name="connsiteX422" fmla="*/ 490684 w 697289"/>
                  <a:gd name="connsiteY422" fmla="*/ 248294 h 436036"/>
                  <a:gd name="connsiteX423" fmla="*/ 492198 w 697289"/>
                  <a:gd name="connsiteY423" fmla="*/ 246545 h 436036"/>
                  <a:gd name="connsiteX424" fmla="*/ 493275 w 697289"/>
                  <a:gd name="connsiteY424" fmla="*/ 242104 h 436036"/>
                  <a:gd name="connsiteX425" fmla="*/ 493814 w 697289"/>
                  <a:gd name="connsiteY425" fmla="*/ 237563 h 436036"/>
                  <a:gd name="connsiteX426" fmla="*/ 491323 w 697289"/>
                  <a:gd name="connsiteY426" fmla="*/ 236049 h 436036"/>
                  <a:gd name="connsiteX427" fmla="*/ 488294 w 697289"/>
                  <a:gd name="connsiteY427" fmla="*/ 234838 h 436036"/>
                  <a:gd name="connsiteX428" fmla="*/ 486982 w 697289"/>
                  <a:gd name="connsiteY428" fmla="*/ 231474 h 436036"/>
                  <a:gd name="connsiteX429" fmla="*/ 486746 w 697289"/>
                  <a:gd name="connsiteY429" fmla="*/ 226698 h 436036"/>
                  <a:gd name="connsiteX430" fmla="*/ 485871 w 697289"/>
                  <a:gd name="connsiteY430" fmla="*/ 225924 h 436036"/>
                  <a:gd name="connsiteX431" fmla="*/ 483145 w 697289"/>
                  <a:gd name="connsiteY431" fmla="*/ 225722 h 436036"/>
                  <a:gd name="connsiteX432" fmla="*/ 480116 w 697289"/>
                  <a:gd name="connsiteY432" fmla="*/ 224545 h 436036"/>
                  <a:gd name="connsiteX433" fmla="*/ 478366 w 697289"/>
                  <a:gd name="connsiteY433" fmla="*/ 223031 h 436036"/>
                  <a:gd name="connsiteX434" fmla="*/ 477356 w 697289"/>
                  <a:gd name="connsiteY434" fmla="*/ 221517 h 436036"/>
                  <a:gd name="connsiteX435" fmla="*/ 477020 w 697289"/>
                  <a:gd name="connsiteY435" fmla="*/ 220440 h 436036"/>
                  <a:gd name="connsiteX436" fmla="*/ 476381 w 697289"/>
                  <a:gd name="connsiteY436" fmla="*/ 218489 h 436036"/>
                  <a:gd name="connsiteX437" fmla="*/ 474967 w 697289"/>
                  <a:gd name="connsiteY437" fmla="*/ 215462 h 436036"/>
                  <a:gd name="connsiteX438" fmla="*/ 475506 w 697289"/>
                  <a:gd name="connsiteY438" fmla="*/ 212199 h 436036"/>
                  <a:gd name="connsiteX439" fmla="*/ 477121 w 697289"/>
                  <a:gd name="connsiteY439" fmla="*/ 211324 h 436036"/>
                  <a:gd name="connsiteX440" fmla="*/ 480150 w 697289"/>
                  <a:gd name="connsiteY440" fmla="*/ 211526 h 436036"/>
                  <a:gd name="connsiteX441" fmla="*/ 482539 w 697289"/>
                  <a:gd name="connsiteY441" fmla="*/ 214251 h 436036"/>
                  <a:gd name="connsiteX442" fmla="*/ 485131 w 697289"/>
                  <a:gd name="connsiteY442" fmla="*/ 216303 h 436036"/>
                  <a:gd name="connsiteX443" fmla="*/ 488160 w 697289"/>
                  <a:gd name="connsiteY443" fmla="*/ 217177 h 436036"/>
                  <a:gd name="connsiteX444" fmla="*/ 489775 w 697289"/>
                  <a:gd name="connsiteY444" fmla="*/ 216841 h 436036"/>
                  <a:gd name="connsiteX445" fmla="*/ 491424 w 697289"/>
                  <a:gd name="connsiteY445" fmla="*/ 215428 h 436036"/>
                  <a:gd name="connsiteX446" fmla="*/ 491963 w 697289"/>
                  <a:gd name="connsiteY446" fmla="*/ 213578 h 436036"/>
                  <a:gd name="connsiteX447" fmla="*/ 493477 w 697289"/>
                  <a:gd name="connsiteY447" fmla="*/ 211291 h 436036"/>
                  <a:gd name="connsiteX448" fmla="*/ 494352 w 697289"/>
                  <a:gd name="connsiteY448" fmla="*/ 210517 h 436036"/>
                  <a:gd name="connsiteX449" fmla="*/ 497078 w 697289"/>
                  <a:gd name="connsiteY449" fmla="*/ 209440 h 436036"/>
                  <a:gd name="connsiteX450" fmla="*/ 498054 w 697289"/>
                  <a:gd name="connsiteY450" fmla="*/ 211930 h 436036"/>
                  <a:gd name="connsiteX451" fmla="*/ 498155 w 697289"/>
                  <a:gd name="connsiteY451" fmla="*/ 214116 h 436036"/>
                  <a:gd name="connsiteX452" fmla="*/ 498054 w 697289"/>
                  <a:gd name="connsiteY452" fmla="*/ 218456 h 436036"/>
                  <a:gd name="connsiteX453" fmla="*/ 497516 w 697289"/>
                  <a:gd name="connsiteY453" fmla="*/ 221281 h 436036"/>
                  <a:gd name="connsiteX454" fmla="*/ 495766 w 697289"/>
                  <a:gd name="connsiteY454" fmla="*/ 223771 h 436036"/>
                  <a:gd name="connsiteX455" fmla="*/ 495530 w 697289"/>
                  <a:gd name="connsiteY455" fmla="*/ 226698 h 436036"/>
                  <a:gd name="connsiteX456" fmla="*/ 495530 w 697289"/>
                  <a:gd name="connsiteY456" fmla="*/ 230600 h 436036"/>
                  <a:gd name="connsiteX457" fmla="*/ 496506 w 697289"/>
                  <a:gd name="connsiteY457" fmla="*/ 233964 h 436036"/>
                  <a:gd name="connsiteX458" fmla="*/ 501083 w 697289"/>
                  <a:gd name="connsiteY458" fmla="*/ 234838 h 436036"/>
                  <a:gd name="connsiteX459" fmla="*/ 505122 w 697289"/>
                  <a:gd name="connsiteY459" fmla="*/ 234300 h 436036"/>
                  <a:gd name="connsiteX460" fmla="*/ 506199 w 697289"/>
                  <a:gd name="connsiteY460" fmla="*/ 232248 h 436036"/>
                  <a:gd name="connsiteX461" fmla="*/ 509800 w 697289"/>
                  <a:gd name="connsiteY461" fmla="*/ 228548 h 436036"/>
                  <a:gd name="connsiteX462" fmla="*/ 513064 w 697289"/>
                  <a:gd name="connsiteY462" fmla="*/ 225957 h 436036"/>
                  <a:gd name="connsiteX463" fmla="*/ 516228 w 697289"/>
                  <a:gd name="connsiteY463" fmla="*/ 224107 h 436036"/>
                  <a:gd name="connsiteX464" fmla="*/ 519391 w 697289"/>
                  <a:gd name="connsiteY464" fmla="*/ 222694 h 436036"/>
                  <a:gd name="connsiteX465" fmla="*/ 522858 w 697289"/>
                  <a:gd name="connsiteY465" fmla="*/ 222156 h 436036"/>
                  <a:gd name="connsiteX466" fmla="*/ 528074 w 697289"/>
                  <a:gd name="connsiteY466" fmla="*/ 221954 h 436036"/>
                  <a:gd name="connsiteX467" fmla="*/ 531002 w 697289"/>
                  <a:gd name="connsiteY467" fmla="*/ 220205 h 436036"/>
                  <a:gd name="connsiteX468" fmla="*/ 532079 w 697289"/>
                  <a:gd name="connsiteY468" fmla="*/ 217817 h 436036"/>
                  <a:gd name="connsiteX469" fmla="*/ 532516 w 697289"/>
                  <a:gd name="connsiteY469" fmla="*/ 214015 h 436036"/>
                  <a:gd name="connsiteX470" fmla="*/ 531742 w 697289"/>
                  <a:gd name="connsiteY470" fmla="*/ 210315 h 436036"/>
                  <a:gd name="connsiteX471" fmla="*/ 530093 w 697289"/>
                  <a:gd name="connsiteY471" fmla="*/ 203251 h 436036"/>
                  <a:gd name="connsiteX472" fmla="*/ 529017 w 697289"/>
                  <a:gd name="connsiteY472" fmla="*/ 199113 h 436036"/>
                  <a:gd name="connsiteX473" fmla="*/ 526829 w 697289"/>
                  <a:gd name="connsiteY473" fmla="*/ 193663 h 436036"/>
                  <a:gd name="connsiteX474" fmla="*/ 526829 w 697289"/>
                  <a:gd name="connsiteY474" fmla="*/ 184110 h 436036"/>
                  <a:gd name="connsiteX475" fmla="*/ 527704 w 697289"/>
                  <a:gd name="connsiteY475" fmla="*/ 180645 h 436036"/>
                  <a:gd name="connsiteX476" fmla="*/ 532920 w 697289"/>
                  <a:gd name="connsiteY476" fmla="*/ 180645 h 436036"/>
                  <a:gd name="connsiteX477" fmla="*/ 536185 w 697289"/>
                  <a:gd name="connsiteY477" fmla="*/ 183908 h 436036"/>
                  <a:gd name="connsiteX478" fmla="*/ 540089 w 697289"/>
                  <a:gd name="connsiteY478" fmla="*/ 187608 h 436036"/>
                  <a:gd name="connsiteX479" fmla="*/ 543118 w 697289"/>
                  <a:gd name="connsiteY479" fmla="*/ 188920 h 436036"/>
                  <a:gd name="connsiteX480" fmla="*/ 546382 w 697289"/>
                  <a:gd name="connsiteY480" fmla="*/ 190434 h 436036"/>
                  <a:gd name="connsiteX481" fmla="*/ 547257 w 697289"/>
                  <a:gd name="connsiteY481" fmla="*/ 186296 h 436036"/>
                  <a:gd name="connsiteX482" fmla="*/ 545305 w 697289"/>
                  <a:gd name="connsiteY482" fmla="*/ 181721 h 436036"/>
                  <a:gd name="connsiteX483" fmla="*/ 546180 w 697289"/>
                  <a:gd name="connsiteY483" fmla="*/ 176709 h 436036"/>
                  <a:gd name="connsiteX484" fmla="*/ 546618 w 697289"/>
                  <a:gd name="connsiteY484" fmla="*/ 173681 h 436036"/>
                  <a:gd name="connsiteX485" fmla="*/ 548132 w 697289"/>
                  <a:gd name="connsiteY485" fmla="*/ 172168 h 436036"/>
                  <a:gd name="connsiteX486" fmla="*/ 549647 w 697289"/>
                  <a:gd name="connsiteY486" fmla="*/ 169981 h 436036"/>
                  <a:gd name="connsiteX487" fmla="*/ 546820 w 697289"/>
                  <a:gd name="connsiteY487" fmla="*/ 168467 h 436036"/>
                  <a:gd name="connsiteX488" fmla="*/ 541166 w 697289"/>
                  <a:gd name="connsiteY488" fmla="*/ 168467 h 436036"/>
                  <a:gd name="connsiteX489" fmla="*/ 533122 w 697289"/>
                  <a:gd name="connsiteY489" fmla="*/ 168366 h 436036"/>
                  <a:gd name="connsiteX490" fmla="*/ 527704 w 697289"/>
                  <a:gd name="connsiteY490" fmla="*/ 166314 h 436036"/>
                  <a:gd name="connsiteX491" fmla="*/ 525954 w 697289"/>
                  <a:gd name="connsiteY491" fmla="*/ 160461 h 436036"/>
                  <a:gd name="connsiteX492" fmla="*/ 530531 w 697289"/>
                  <a:gd name="connsiteY492" fmla="*/ 156559 h 436036"/>
                  <a:gd name="connsiteX493" fmla="*/ 534670 w 697289"/>
                  <a:gd name="connsiteY493" fmla="*/ 156323 h 436036"/>
                  <a:gd name="connsiteX494" fmla="*/ 538137 w 697289"/>
                  <a:gd name="connsiteY494" fmla="*/ 156323 h 436036"/>
                  <a:gd name="connsiteX495" fmla="*/ 543791 w 697289"/>
                  <a:gd name="connsiteY495" fmla="*/ 157736 h 436036"/>
                  <a:gd name="connsiteX496" fmla="*/ 545541 w 697289"/>
                  <a:gd name="connsiteY496" fmla="*/ 160226 h 436036"/>
                  <a:gd name="connsiteX497" fmla="*/ 551430 w 697289"/>
                  <a:gd name="connsiteY497" fmla="*/ 160427 h 436036"/>
                  <a:gd name="connsiteX498" fmla="*/ 558161 w 697289"/>
                  <a:gd name="connsiteY498" fmla="*/ 155651 h 436036"/>
                  <a:gd name="connsiteX499" fmla="*/ 561628 w 697289"/>
                  <a:gd name="connsiteY499" fmla="*/ 149360 h 436036"/>
                  <a:gd name="connsiteX500" fmla="*/ 568359 w 697289"/>
                  <a:gd name="connsiteY500" fmla="*/ 148485 h 436036"/>
                  <a:gd name="connsiteX501" fmla="*/ 574652 w 697289"/>
                  <a:gd name="connsiteY501" fmla="*/ 147409 h 436036"/>
                  <a:gd name="connsiteX502" fmla="*/ 583571 w 697289"/>
                  <a:gd name="connsiteY502" fmla="*/ 143708 h 436036"/>
                  <a:gd name="connsiteX503" fmla="*/ 589426 w 697289"/>
                  <a:gd name="connsiteY503" fmla="*/ 143271 h 436036"/>
                  <a:gd name="connsiteX504" fmla="*/ 589426 w 697289"/>
                  <a:gd name="connsiteY504" fmla="*/ 137182 h 436036"/>
                  <a:gd name="connsiteX505" fmla="*/ 588013 w 697289"/>
                  <a:gd name="connsiteY505" fmla="*/ 132406 h 436036"/>
                  <a:gd name="connsiteX506" fmla="*/ 589225 w 697289"/>
                  <a:gd name="connsiteY506" fmla="*/ 127191 h 436036"/>
                  <a:gd name="connsiteX507" fmla="*/ 595316 w 697289"/>
                  <a:gd name="connsiteY507" fmla="*/ 127831 h 436036"/>
                  <a:gd name="connsiteX508" fmla="*/ 602047 w 697289"/>
                  <a:gd name="connsiteY508" fmla="*/ 126956 h 436036"/>
                  <a:gd name="connsiteX509" fmla="*/ 599658 w 697289"/>
                  <a:gd name="connsiteY509" fmla="*/ 131733 h 436036"/>
                  <a:gd name="connsiteX510" fmla="*/ 594643 w 697289"/>
                  <a:gd name="connsiteY510" fmla="*/ 134121 h 436036"/>
                  <a:gd name="connsiteX511" fmla="*/ 593330 w 697289"/>
                  <a:gd name="connsiteY511" fmla="*/ 138696 h 436036"/>
                  <a:gd name="connsiteX512" fmla="*/ 597907 w 697289"/>
                  <a:gd name="connsiteY512" fmla="*/ 143473 h 436036"/>
                  <a:gd name="connsiteX513" fmla="*/ 601609 w 697289"/>
                  <a:gd name="connsiteY513" fmla="*/ 144112 h 436036"/>
                  <a:gd name="connsiteX514" fmla="*/ 605513 w 697289"/>
                  <a:gd name="connsiteY514" fmla="*/ 144549 h 436036"/>
                  <a:gd name="connsiteX515" fmla="*/ 608105 w 697289"/>
                  <a:gd name="connsiteY515" fmla="*/ 143675 h 436036"/>
                  <a:gd name="connsiteX516" fmla="*/ 609215 w 697289"/>
                  <a:gd name="connsiteY516" fmla="*/ 141085 h 436036"/>
                  <a:gd name="connsiteX517" fmla="*/ 608340 w 697289"/>
                  <a:gd name="connsiteY517" fmla="*/ 136745 h 436036"/>
                  <a:gd name="connsiteX518" fmla="*/ 610292 w 697289"/>
                  <a:gd name="connsiteY518" fmla="*/ 132607 h 436036"/>
                  <a:gd name="connsiteX519" fmla="*/ 614432 w 697289"/>
                  <a:gd name="connsiteY519" fmla="*/ 128268 h 436036"/>
                  <a:gd name="connsiteX520" fmla="*/ 615946 w 697289"/>
                  <a:gd name="connsiteY520" fmla="*/ 125442 h 436036"/>
                  <a:gd name="connsiteX521" fmla="*/ 619446 w 697289"/>
                  <a:gd name="connsiteY521" fmla="*/ 122415 h 436036"/>
                  <a:gd name="connsiteX522" fmla="*/ 622913 w 697289"/>
                  <a:gd name="connsiteY522" fmla="*/ 120901 h 436036"/>
                  <a:gd name="connsiteX523" fmla="*/ 627490 w 697289"/>
                  <a:gd name="connsiteY523" fmla="*/ 117873 h 436036"/>
                  <a:gd name="connsiteX524" fmla="*/ 629442 w 697289"/>
                  <a:gd name="connsiteY524" fmla="*/ 116124 h 436036"/>
                  <a:gd name="connsiteX525" fmla="*/ 632033 w 697289"/>
                  <a:gd name="connsiteY525" fmla="*/ 112659 h 436036"/>
                  <a:gd name="connsiteX526" fmla="*/ 637485 w 697289"/>
                  <a:gd name="connsiteY526" fmla="*/ 115922 h 436036"/>
                  <a:gd name="connsiteX527" fmla="*/ 644014 w 697289"/>
                  <a:gd name="connsiteY527" fmla="*/ 116999 h 436036"/>
                  <a:gd name="connsiteX528" fmla="*/ 645764 w 697289"/>
                  <a:gd name="connsiteY528" fmla="*/ 116763 h 436036"/>
                  <a:gd name="connsiteX529" fmla="*/ 647952 w 697289"/>
                  <a:gd name="connsiteY529" fmla="*/ 114375 h 436036"/>
                  <a:gd name="connsiteX530" fmla="*/ 650543 w 697289"/>
                  <a:gd name="connsiteY530" fmla="*/ 108723 h 436036"/>
                  <a:gd name="connsiteX531" fmla="*/ 650981 w 697289"/>
                  <a:gd name="connsiteY531" fmla="*/ 102870 h 436036"/>
                  <a:gd name="connsiteX532" fmla="*/ 651418 w 697289"/>
                  <a:gd name="connsiteY532" fmla="*/ 100482 h 436036"/>
                  <a:gd name="connsiteX533" fmla="*/ 655558 w 697289"/>
                  <a:gd name="connsiteY533" fmla="*/ 100280 h 436036"/>
                  <a:gd name="connsiteX534" fmla="*/ 657072 w 697289"/>
                  <a:gd name="connsiteY534" fmla="*/ 105494 h 436036"/>
                  <a:gd name="connsiteX535" fmla="*/ 658149 w 697289"/>
                  <a:gd name="connsiteY535" fmla="*/ 113298 h 436036"/>
                  <a:gd name="connsiteX536" fmla="*/ 659226 w 697289"/>
                  <a:gd name="connsiteY536" fmla="*/ 118075 h 436036"/>
                  <a:gd name="connsiteX537" fmla="*/ 660976 w 697289"/>
                  <a:gd name="connsiteY537" fmla="*/ 124803 h 436036"/>
                  <a:gd name="connsiteX538" fmla="*/ 666832 w 697289"/>
                  <a:gd name="connsiteY538" fmla="*/ 127393 h 436036"/>
                  <a:gd name="connsiteX539" fmla="*/ 672688 w 697289"/>
                  <a:gd name="connsiteY539" fmla="*/ 128268 h 436036"/>
                  <a:gd name="connsiteX540" fmla="*/ 676827 w 697289"/>
                  <a:gd name="connsiteY540" fmla="*/ 125240 h 436036"/>
                  <a:gd name="connsiteX541" fmla="*/ 683356 w 697289"/>
                  <a:gd name="connsiteY541" fmla="*/ 120026 h 436036"/>
                  <a:gd name="connsiteX542" fmla="*/ 685982 w 697289"/>
                  <a:gd name="connsiteY542" fmla="*/ 118277 h 436036"/>
                  <a:gd name="connsiteX543" fmla="*/ 688808 w 697289"/>
                  <a:gd name="connsiteY543" fmla="*/ 115687 h 436036"/>
                  <a:gd name="connsiteX544" fmla="*/ 690323 w 697289"/>
                  <a:gd name="connsiteY544" fmla="*/ 113736 h 436036"/>
                  <a:gd name="connsiteX545" fmla="*/ 690323 w 697289"/>
                  <a:gd name="connsiteY545" fmla="*/ 111112 h 436036"/>
                  <a:gd name="connsiteX546" fmla="*/ 688270 w 697289"/>
                  <a:gd name="connsiteY546" fmla="*/ 107647 h 436036"/>
                  <a:gd name="connsiteX547" fmla="*/ 690323 w 697289"/>
                  <a:gd name="connsiteY547" fmla="*/ 103072 h 436036"/>
                  <a:gd name="connsiteX548" fmla="*/ 692510 w 697289"/>
                  <a:gd name="connsiteY548" fmla="*/ 101760 h 436036"/>
                  <a:gd name="connsiteX549" fmla="*/ 694261 w 697289"/>
                  <a:gd name="connsiteY549" fmla="*/ 98059 h 436036"/>
                  <a:gd name="connsiteX550" fmla="*/ 690559 w 697289"/>
                  <a:gd name="connsiteY550" fmla="*/ 96108 h 436036"/>
                  <a:gd name="connsiteX551" fmla="*/ 687731 w 697289"/>
                  <a:gd name="connsiteY551" fmla="*/ 96748 h 436036"/>
                  <a:gd name="connsiteX552" fmla="*/ 683828 w 697289"/>
                  <a:gd name="connsiteY552" fmla="*/ 98261 h 436036"/>
                  <a:gd name="connsiteX553" fmla="*/ 678813 w 697289"/>
                  <a:gd name="connsiteY553" fmla="*/ 101087 h 436036"/>
                  <a:gd name="connsiteX554" fmla="*/ 675347 w 697289"/>
                  <a:gd name="connsiteY554" fmla="*/ 101087 h 436036"/>
                  <a:gd name="connsiteX555" fmla="*/ 676659 w 697289"/>
                  <a:gd name="connsiteY555" fmla="*/ 98261 h 436036"/>
                  <a:gd name="connsiteX556" fmla="*/ 677097 w 697289"/>
                  <a:gd name="connsiteY556" fmla="*/ 92845 h 436036"/>
                  <a:gd name="connsiteX557" fmla="*/ 677298 w 697289"/>
                  <a:gd name="connsiteY557" fmla="*/ 89145 h 436036"/>
                  <a:gd name="connsiteX558" fmla="*/ 678611 w 697289"/>
                  <a:gd name="connsiteY558" fmla="*/ 87833 h 436036"/>
                  <a:gd name="connsiteX559" fmla="*/ 681000 w 697289"/>
                  <a:gd name="connsiteY559" fmla="*/ 86319 h 436036"/>
                  <a:gd name="connsiteX560" fmla="*/ 683828 w 697289"/>
                  <a:gd name="connsiteY560" fmla="*/ 84806 h 436036"/>
                  <a:gd name="connsiteX561" fmla="*/ 686856 w 697289"/>
                  <a:gd name="connsiteY561" fmla="*/ 80668 h 436036"/>
                  <a:gd name="connsiteX562" fmla="*/ 686856 w 697289"/>
                  <a:gd name="connsiteY562" fmla="*/ 73704 h 436036"/>
                  <a:gd name="connsiteX563" fmla="*/ 688270 w 697289"/>
                  <a:gd name="connsiteY563" fmla="*/ 68053 h 436036"/>
                  <a:gd name="connsiteX564" fmla="*/ 690356 w 697289"/>
                  <a:gd name="connsiteY564" fmla="*/ 65025 h 436036"/>
                  <a:gd name="connsiteX565" fmla="*/ 692948 w 697289"/>
                  <a:gd name="connsiteY565" fmla="*/ 60248 h 436036"/>
                  <a:gd name="connsiteX566" fmla="*/ 696212 w 697289"/>
                  <a:gd name="connsiteY566" fmla="*/ 56346 h 436036"/>
                  <a:gd name="connsiteX567" fmla="*/ 697290 w 697289"/>
                  <a:gd name="connsiteY567" fmla="*/ 54597 h 436036"/>
                  <a:gd name="connsiteX568" fmla="*/ 697290 w 697289"/>
                  <a:gd name="connsiteY568" fmla="*/ 51771 h 436036"/>
                  <a:gd name="connsiteX569" fmla="*/ 695977 w 697289"/>
                  <a:gd name="connsiteY569" fmla="*/ 49820 h 436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</a:cxnLst>
                <a:rect l="l" t="t" r="r" b="b"/>
                <a:pathLst>
                  <a:path w="697289" h="436036">
                    <a:moveTo>
                      <a:pt x="695977" y="49820"/>
                    </a:moveTo>
                    <a:lnTo>
                      <a:pt x="693688" y="49618"/>
                    </a:lnTo>
                    <a:lnTo>
                      <a:pt x="689347" y="51368"/>
                    </a:lnTo>
                    <a:cubicBezTo>
                      <a:pt x="689347" y="51368"/>
                      <a:pt x="686957" y="51805"/>
                      <a:pt x="686318" y="52007"/>
                    </a:cubicBezTo>
                    <a:cubicBezTo>
                      <a:pt x="685678" y="52209"/>
                      <a:pt x="680025" y="55270"/>
                      <a:pt x="680025" y="55270"/>
                    </a:cubicBezTo>
                    <a:cubicBezTo>
                      <a:pt x="680025" y="55270"/>
                      <a:pt x="676121" y="57221"/>
                      <a:pt x="675448" y="57221"/>
                    </a:cubicBezTo>
                    <a:cubicBezTo>
                      <a:pt x="674808" y="57221"/>
                      <a:pt x="668279" y="58096"/>
                      <a:pt x="667404" y="58096"/>
                    </a:cubicBezTo>
                    <a:cubicBezTo>
                      <a:pt x="666529" y="58096"/>
                      <a:pt x="662625" y="56582"/>
                      <a:pt x="662625" y="56582"/>
                    </a:cubicBezTo>
                    <a:lnTo>
                      <a:pt x="662625" y="49618"/>
                    </a:lnTo>
                    <a:lnTo>
                      <a:pt x="662625" y="44169"/>
                    </a:lnTo>
                    <a:lnTo>
                      <a:pt x="658721" y="41141"/>
                    </a:lnTo>
                    <a:lnTo>
                      <a:pt x="655894" y="43765"/>
                    </a:lnTo>
                    <a:lnTo>
                      <a:pt x="651317" y="45279"/>
                    </a:lnTo>
                    <a:lnTo>
                      <a:pt x="648928" y="42251"/>
                    </a:lnTo>
                    <a:lnTo>
                      <a:pt x="647178" y="38988"/>
                    </a:lnTo>
                    <a:lnTo>
                      <a:pt x="642029" y="39056"/>
                    </a:lnTo>
                    <a:lnTo>
                      <a:pt x="638057" y="39863"/>
                    </a:lnTo>
                    <a:cubicBezTo>
                      <a:pt x="638057" y="39863"/>
                      <a:pt x="633716" y="42184"/>
                      <a:pt x="633480" y="42251"/>
                    </a:cubicBezTo>
                    <a:cubicBezTo>
                      <a:pt x="633278" y="42319"/>
                      <a:pt x="630081" y="44068"/>
                      <a:pt x="629778" y="44135"/>
                    </a:cubicBezTo>
                    <a:cubicBezTo>
                      <a:pt x="629475" y="44203"/>
                      <a:pt x="627086" y="47533"/>
                      <a:pt x="627086" y="47533"/>
                    </a:cubicBezTo>
                    <a:lnTo>
                      <a:pt x="624562" y="51738"/>
                    </a:lnTo>
                    <a:lnTo>
                      <a:pt x="623485" y="53992"/>
                    </a:lnTo>
                    <a:lnTo>
                      <a:pt x="619345" y="53992"/>
                    </a:lnTo>
                    <a:lnTo>
                      <a:pt x="614331" y="54631"/>
                    </a:lnTo>
                    <a:lnTo>
                      <a:pt x="609350" y="55505"/>
                    </a:lnTo>
                    <a:lnTo>
                      <a:pt x="605446" y="56380"/>
                    </a:lnTo>
                    <a:lnTo>
                      <a:pt x="601307" y="57457"/>
                    </a:lnTo>
                    <a:lnTo>
                      <a:pt x="598042" y="58970"/>
                    </a:lnTo>
                    <a:lnTo>
                      <a:pt x="594138" y="59172"/>
                    </a:lnTo>
                    <a:lnTo>
                      <a:pt x="588686" y="58533"/>
                    </a:lnTo>
                    <a:lnTo>
                      <a:pt x="585657" y="55909"/>
                    </a:lnTo>
                    <a:lnTo>
                      <a:pt x="583469" y="53756"/>
                    </a:lnTo>
                    <a:lnTo>
                      <a:pt x="581518" y="50930"/>
                    </a:lnTo>
                    <a:lnTo>
                      <a:pt x="579128" y="47903"/>
                    </a:lnTo>
                    <a:lnTo>
                      <a:pt x="577378" y="44438"/>
                    </a:lnTo>
                    <a:lnTo>
                      <a:pt x="577378" y="40973"/>
                    </a:lnTo>
                    <a:lnTo>
                      <a:pt x="577378" y="37710"/>
                    </a:lnTo>
                    <a:lnTo>
                      <a:pt x="575662" y="37508"/>
                    </a:lnTo>
                    <a:lnTo>
                      <a:pt x="573912" y="38147"/>
                    </a:lnTo>
                    <a:lnTo>
                      <a:pt x="572162" y="40973"/>
                    </a:lnTo>
                    <a:lnTo>
                      <a:pt x="572162" y="44001"/>
                    </a:lnTo>
                    <a:lnTo>
                      <a:pt x="571287" y="48777"/>
                    </a:lnTo>
                    <a:lnTo>
                      <a:pt x="567147" y="48777"/>
                    </a:lnTo>
                    <a:lnTo>
                      <a:pt x="564959" y="48004"/>
                    </a:lnTo>
                    <a:lnTo>
                      <a:pt x="560618" y="44842"/>
                    </a:lnTo>
                    <a:lnTo>
                      <a:pt x="555839" y="44203"/>
                    </a:lnTo>
                    <a:lnTo>
                      <a:pt x="553652" y="41579"/>
                    </a:lnTo>
                    <a:lnTo>
                      <a:pt x="554729" y="35725"/>
                    </a:lnTo>
                    <a:lnTo>
                      <a:pt x="554729" y="33976"/>
                    </a:lnTo>
                    <a:lnTo>
                      <a:pt x="552878" y="30074"/>
                    </a:lnTo>
                    <a:lnTo>
                      <a:pt x="549950" y="29637"/>
                    </a:lnTo>
                    <a:lnTo>
                      <a:pt x="547123" y="29199"/>
                    </a:lnTo>
                    <a:lnTo>
                      <a:pt x="540829" y="27685"/>
                    </a:lnTo>
                    <a:lnTo>
                      <a:pt x="536488" y="25095"/>
                    </a:lnTo>
                    <a:lnTo>
                      <a:pt x="533425" y="22471"/>
                    </a:lnTo>
                    <a:lnTo>
                      <a:pt x="529084" y="21832"/>
                    </a:lnTo>
                    <a:lnTo>
                      <a:pt x="524305" y="22068"/>
                    </a:lnTo>
                    <a:lnTo>
                      <a:pt x="517136" y="24658"/>
                    </a:lnTo>
                    <a:lnTo>
                      <a:pt x="508218" y="28796"/>
                    </a:lnTo>
                    <a:lnTo>
                      <a:pt x="503641" y="29435"/>
                    </a:lnTo>
                    <a:lnTo>
                      <a:pt x="499939" y="30949"/>
                    </a:lnTo>
                    <a:lnTo>
                      <a:pt x="493208" y="35086"/>
                    </a:lnTo>
                    <a:lnTo>
                      <a:pt x="489304" y="36600"/>
                    </a:lnTo>
                    <a:lnTo>
                      <a:pt x="484525" y="38349"/>
                    </a:lnTo>
                    <a:lnTo>
                      <a:pt x="479948" y="38114"/>
                    </a:lnTo>
                    <a:lnTo>
                      <a:pt x="475169" y="39190"/>
                    </a:lnTo>
                    <a:lnTo>
                      <a:pt x="471904" y="42218"/>
                    </a:lnTo>
                    <a:lnTo>
                      <a:pt x="473857" y="45918"/>
                    </a:lnTo>
                    <a:lnTo>
                      <a:pt x="477121" y="46793"/>
                    </a:lnTo>
                    <a:lnTo>
                      <a:pt x="479948" y="49618"/>
                    </a:lnTo>
                    <a:lnTo>
                      <a:pt x="479948" y="52007"/>
                    </a:lnTo>
                    <a:lnTo>
                      <a:pt x="476347" y="56784"/>
                    </a:lnTo>
                    <a:lnTo>
                      <a:pt x="470356" y="64184"/>
                    </a:lnTo>
                    <a:lnTo>
                      <a:pt x="463390" y="70912"/>
                    </a:lnTo>
                    <a:lnTo>
                      <a:pt x="456861" y="76564"/>
                    </a:lnTo>
                    <a:lnTo>
                      <a:pt x="448616" y="77640"/>
                    </a:lnTo>
                    <a:lnTo>
                      <a:pt x="446664" y="78515"/>
                    </a:lnTo>
                    <a:lnTo>
                      <a:pt x="444510" y="81980"/>
                    </a:lnTo>
                    <a:lnTo>
                      <a:pt x="443837" y="85680"/>
                    </a:lnTo>
                    <a:lnTo>
                      <a:pt x="446024" y="87429"/>
                    </a:lnTo>
                    <a:lnTo>
                      <a:pt x="448649" y="89616"/>
                    </a:lnTo>
                    <a:lnTo>
                      <a:pt x="448649" y="92206"/>
                    </a:lnTo>
                    <a:lnTo>
                      <a:pt x="446798" y="96983"/>
                    </a:lnTo>
                    <a:cubicBezTo>
                      <a:pt x="446798" y="96983"/>
                      <a:pt x="443870" y="101558"/>
                      <a:pt x="443433" y="102197"/>
                    </a:cubicBezTo>
                    <a:cubicBezTo>
                      <a:pt x="442995" y="102836"/>
                      <a:pt x="439731" y="106974"/>
                      <a:pt x="439731" y="106974"/>
                    </a:cubicBezTo>
                    <a:cubicBezTo>
                      <a:pt x="439731" y="106974"/>
                      <a:pt x="433639" y="109362"/>
                      <a:pt x="432764" y="109362"/>
                    </a:cubicBezTo>
                    <a:cubicBezTo>
                      <a:pt x="431890" y="109362"/>
                      <a:pt x="426908" y="109564"/>
                      <a:pt x="426908" y="109564"/>
                    </a:cubicBezTo>
                    <a:lnTo>
                      <a:pt x="417351" y="109564"/>
                    </a:lnTo>
                    <a:lnTo>
                      <a:pt x="410182" y="110102"/>
                    </a:lnTo>
                    <a:lnTo>
                      <a:pt x="403889" y="111953"/>
                    </a:lnTo>
                    <a:lnTo>
                      <a:pt x="400187" y="112592"/>
                    </a:lnTo>
                    <a:cubicBezTo>
                      <a:pt x="400187" y="112592"/>
                      <a:pt x="391941" y="113029"/>
                      <a:pt x="391066" y="112794"/>
                    </a:cubicBezTo>
                    <a:cubicBezTo>
                      <a:pt x="390191" y="112592"/>
                      <a:pt x="384336" y="110843"/>
                      <a:pt x="384336" y="110843"/>
                    </a:cubicBezTo>
                    <a:lnTo>
                      <a:pt x="379119" y="108454"/>
                    </a:lnTo>
                    <a:lnTo>
                      <a:pt x="373902" y="106940"/>
                    </a:lnTo>
                    <a:lnTo>
                      <a:pt x="373902" y="101087"/>
                    </a:lnTo>
                    <a:cubicBezTo>
                      <a:pt x="373902" y="101087"/>
                      <a:pt x="367475" y="97185"/>
                      <a:pt x="366835" y="96748"/>
                    </a:cubicBezTo>
                    <a:cubicBezTo>
                      <a:pt x="366196" y="96310"/>
                      <a:pt x="363234" y="94359"/>
                      <a:pt x="363234" y="94359"/>
                    </a:cubicBezTo>
                    <a:cubicBezTo>
                      <a:pt x="363234" y="94359"/>
                      <a:pt x="356066" y="91331"/>
                      <a:pt x="355191" y="90894"/>
                    </a:cubicBezTo>
                    <a:cubicBezTo>
                      <a:pt x="354316" y="90457"/>
                      <a:pt x="355830" y="87833"/>
                      <a:pt x="355830" y="87833"/>
                    </a:cubicBezTo>
                    <a:lnTo>
                      <a:pt x="356469" y="85007"/>
                    </a:lnTo>
                    <a:lnTo>
                      <a:pt x="362931" y="83191"/>
                    </a:lnTo>
                    <a:lnTo>
                      <a:pt x="362123" y="77035"/>
                    </a:lnTo>
                    <a:lnTo>
                      <a:pt x="361686" y="69230"/>
                    </a:lnTo>
                    <a:lnTo>
                      <a:pt x="361619" y="61998"/>
                    </a:lnTo>
                    <a:lnTo>
                      <a:pt x="362864" y="57423"/>
                    </a:lnTo>
                    <a:lnTo>
                      <a:pt x="363941" y="53352"/>
                    </a:lnTo>
                    <a:lnTo>
                      <a:pt x="367272" y="49955"/>
                    </a:lnTo>
                    <a:lnTo>
                      <a:pt x="369931" y="46389"/>
                    </a:lnTo>
                    <a:lnTo>
                      <a:pt x="370470" y="44034"/>
                    </a:lnTo>
                    <a:cubicBezTo>
                      <a:pt x="370470" y="44034"/>
                      <a:pt x="368518" y="41646"/>
                      <a:pt x="368080" y="41410"/>
                    </a:cubicBezTo>
                    <a:cubicBezTo>
                      <a:pt x="367643" y="41209"/>
                      <a:pt x="364176" y="39998"/>
                      <a:pt x="363840" y="39998"/>
                    </a:cubicBezTo>
                    <a:cubicBezTo>
                      <a:pt x="363503" y="39998"/>
                      <a:pt x="360138" y="38786"/>
                      <a:pt x="360138" y="38786"/>
                    </a:cubicBezTo>
                    <a:lnTo>
                      <a:pt x="359263" y="37575"/>
                    </a:lnTo>
                    <a:lnTo>
                      <a:pt x="359902" y="33875"/>
                    </a:lnTo>
                    <a:lnTo>
                      <a:pt x="359902" y="31386"/>
                    </a:lnTo>
                    <a:lnTo>
                      <a:pt x="361652" y="28661"/>
                    </a:lnTo>
                    <a:lnTo>
                      <a:pt x="361652" y="23447"/>
                    </a:lnTo>
                    <a:lnTo>
                      <a:pt x="361652" y="20857"/>
                    </a:lnTo>
                    <a:lnTo>
                      <a:pt x="360306" y="20083"/>
                    </a:lnTo>
                    <a:lnTo>
                      <a:pt x="355897" y="17795"/>
                    </a:lnTo>
                    <a:lnTo>
                      <a:pt x="352431" y="16921"/>
                    </a:lnTo>
                    <a:lnTo>
                      <a:pt x="350041" y="18132"/>
                    </a:lnTo>
                    <a:lnTo>
                      <a:pt x="347551" y="18334"/>
                    </a:lnTo>
                    <a:lnTo>
                      <a:pt x="346037" y="18535"/>
                    </a:lnTo>
                    <a:cubicBezTo>
                      <a:pt x="346037" y="18535"/>
                      <a:pt x="347214" y="16483"/>
                      <a:pt x="347349" y="16046"/>
                    </a:cubicBezTo>
                    <a:cubicBezTo>
                      <a:pt x="347450" y="15609"/>
                      <a:pt x="348325" y="14196"/>
                      <a:pt x="348325" y="14196"/>
                    </a:cubicBezTo>
                    <a:lnTo>
                      <a:pt x="349301" y="11908"/>
                    </a:lnTo>
                    <a:lnTo>
                      <a:pt x="347887" y="9285"/>
                    </a:lnTo>
                    <a:cubicBezTo>
                      <a:pt x="347887" y="9285"/>
                      <a:pt x="346037" y="7434"/>
                      <a:pt x="345936" y="7098"/>
                    </a:cubicBezTo>
                    <a:cubicBezTo>
                      <a:pt x="345835" y="6762"/>
                      <a:pt x="342570" y="5483"/>
                      <a:pt x="342570" y="5483"/>
                    </a:cubicBezTo>
                    <a:lnTo>
                      <a:pt x="340719" y="5248"/>
                    </a:lnTo>
                    <a:lnTo>
                      <a:pt x="337017" y="5685"/>
                    </a:lnTo>
                    <a:cubicBezTo>
                      <a:pt x="337017" y="5685"/>
                      <a:pt x="335806" y="6459"/>
                      <a:pt x="334964" y="6896"/>
                    </a:cubicBezTo>
                    <a:cubicBezTo>
                      <a:pt x="334089" y="7333"/>
                      <a:pt x="332911" y="9621"/>
                      <a:pt x="332911" y="9621"/>
                    </a:cubicBezTo>
                    <a:lnTo>
                      <a:pt x="331700" y="11673"/>
                    </a:lnTo>
                    <a:lnTo>
                      <a:pt x="329411" y="14061"/>
                    </a:lnTo>
                    <a:cubicBezTo>
                      <a:pt x="329411" y="14061"/>
                      <a:pt x="327897" y="15811"/>
                      <a:pt x="327796" y="16113"/>
                    </a:cubicBezTo>
                    <a:cubicBezTo>
                      <a:pt x="327695" y="16450"/>
                      <a:pt x="326281" y="17863"/>
                      <a:pt x="326281" y="17863"/>
                    </a:cubicBezTo>
                    <a:lnTo>
                      <a:pt x="322041" y="18199"/>
                    </a:lnTo>
                    <a:lnTo>
                      <a:pt x="318574" y="17560"/>
                    </a:lnTo>
                    <a:lnTo>
                      <a:pt x="317397" y="15070"/>
                    </a:lnTo>
                    <a:lnTo>
                      <a:pt x="315882" y="12581"/>
                    </a:lnTo>
                    <a:lnTo>
                      <a:pt x="307132" y="12649"/>
                    </a:lnTo>
                    <a:cubicBezTo>
                      <a:pt x="307132" y="12649"/>
                      <a:pt x="302454" y="12850"/>
                      <a:pt x="302218" y="12985"/>
                    </a:cubicBezTo>
                    <a:cubicBezTo>
                      <a:pt x="302016" y="13086"/>
                      <a:pt x="294646" y="13792"/>
                      <a:pt x="294646" y="13792"/>
                    </a:cubicBezTo>
                    <a:cubicBezTo>
                      <a:pt x="294646" y="13792"/>
                      <a:pt x="291281" y="12178"/>
                      <a:pt x="291112" y="12043"/>
                    </a:cubicBezTo>
                    <a:cubicBezTo>
                      <a:pt x="290944" y="11942"/>
                      <a:pt x="286939" y="10731"/>
                      <a:pt x="286939" y="10731"/>
                    </a:cubicBezTo>
                    <a:cubicBezTo>
                      <a:pt x="286939" y="10731"/>
                      <a:pt x="285189" y="11707"/>
                      <a:pt x="285055" y="11774"/>
                    </a:cubicBezTo>
                    <a:cubicBezTo>
                      <a:pt x="284886" y="11841"/>
                      <a:pt x="283472" y="14229"/>
                      <a:pt x="283472" y="14229"/>
                    </a:cubicBezTo>
                    <a:lnTo>
                      <a:pt x="282766" y="18804"/>
                    </a:lnTo>
                    <a:cubicBezTo>
                      <a:pt x="282766" y="18804"/>
                      <a:pt x="283472" y="25600"/>
                      <a:pt x="283472" y="25802"/>
                    </a:cubicBezTo>
                    <a:cubicBezTo>
                      <a:pt x="283472" y="26037"/>
                      <a:pt x="281588" y="28964"/>
                      <a:pt x="280881" y="29535"/>
                    </a:cubicBezTo>
                    <a:cubicBezTo>
                      <a:pt x="280174" y="30141"/>
                      <a:pt x="278256" y="32529"/>
                      <a:pt x="277684" y="33169"/>
                    </a:cubicBezTo>
                    <a:cubicBezTo>
                      <a:pt x="277078" y="33808"/>
                      <a:pt x="275732" y="36364"/>
                      <a:pt x="275732" y="36364"/>
                    </a:cubicBezTo>
                    <a:lnTo>
                      <a:pt x="273410" y="38820"/>
                    </a:lnTo>
                    <a:lnTo>
                      <a:pt x="271559" y="37912"/>
                    </a:lnTo>
                    <a:lnTo>
                      <a:pt x="271794" y="36499"/>
                    </a:lnTo>
                    <a:lnTo>
                      <a:pt x="273141" y="32429"/>
                    </a:lnTo>
                    <a:lnTo>
                      <a:pt x="274386" y="29435"/>
                    </a:lnTo>
                    <a:lnTo>
                      <a:pt x="275362" y="26441"/>
                    </a:lnTo>
                    <a:lnTo>
                      <a:pt x="275025" y="18031"/>
                    </a:lnTo>
                    <a:lnTo>
                      <a:pt x="273073" y="14768"/>
                    </a:lnTo>
                    <a:lnTo>
                      <a:pt x="270011" y="13019"/>
                    </a:lnTo>
                    <a:lnTo>
                      <a:pt x="268261" y="11942"/>
                    </a:lnTo>
                    <a:lnTo>
                      <a:pt x="265669" y="12379"/>
                    </a:lnTo>
                    <a:lnTo>
                      <a:pt x="260251" y="11303"/>
                    </a:lnTo>
                    <a:lnTo>
                      <a:pt x="259140" y="9554"/>
                    </a:lnTo>
                    <a:lnTo>
                      <a:pt x="259140" y="4339"/>
                    </a:lnTo>
                    <a:lnTo>
                      <a:pt x="259140" y="1749"/>
                    </a:lnTo>
                    <a:lnTo>
                      <a:pt x="256549" y="0"/>
                    </a:lnTo>
                    <a:lnTo>
                      <a:pt x="253284" y="0"/>
                    </a:lnTo>
                    <a:lnTo>
                      <a:pt x="252208" y="875"/>
                    </a:lnTo>
                    <a:lnTo>
                      <a:pt x="252208" y="3128"/>
                    </a:lnTo>
                    <a:lnTo>
                      <a:pt x="250356" y="7266"/>
                    </a:lnTo>
                    <a:lnTo>
                      <a:pt x="248741" y="9890"/>
                    </a:lnTo>
                    <a:lnTo>
                      <a:pt x="246150" y="12278"/>
                    </a:lnTo>
                    <a:cubicBezTo>
                      <a:pt x="246150" y="12278"/>
                      <a:pt x="243525" y="12278"/>
                      <a:pt x="242649" y="12278"/>
                    </a:cubicBezTo>
                    <a:cubicBezTo>
                      <a:pt x="241774" y="12278"/>
                      <a:pt x="236356" y="13355"/>
                      <a:pt x="236356" y="13355"/>
                    </a:cubicBezTo>
                    <a:lnTo>
                      <a:pt x="231342" y="14869"/>
                    </a:lnTo>
                    <a:lnTo>
                      <a:pt x="231342" y="23312"/>
                    </a:lnTo>
                    <a:lnTo>
                      <a:pt x="229390" y="26340"/>
                    </a:lnTo>
                    <a:lnTo>
                      <a:pt x="227640" y="31991"/>
                    </a:lnTo>
                    <a:lnTo>
                      <a:pt x="226563" y="36566"/>
                    </a:lnTo>
                    <a:lnTo>
                      <a:pt x="220707" y="40704"/>
                    </a:lnTo>
                    <a:lnTo>
                      <a:pt x="213539" y="43967"/>
                    </a:lnTo>
                    <a:lnTo>
                      <a:pt x="206168" y="45279"/>
                    </a:lnTo>
                    <a:lnTo>
                      <a:pt x="201591" y="45279"/>
                    </a:lnTo>
                    <a:cubicBezTo>
                      <a:pt x="201591" y="45279"/>
                      <a:pt x="193985" y="48542"/>
                      <a:pt x="191360" y="48979"/>
                    </a:cubicBezTo>
                    <a:cubicBezTo>
                      <a:pt x="188735" y="49417"/>
                      <a:pt x="186144" y="48542"/>
                      <a:pt x="185269" y="48777"/>
                    </a:cubicBezTo>
                    <a:cubicBezTo>
                      <a:pt x="184394" y="48979"/>
                      <a:pt x="178302" y="48777"/>
                      <a:pt x="178302" y="48777"/>
                    </a:cubicBezTo>
                    <a:cubicBezTo>
                      <a:pt x="178302" y="48777"/>
                      <a:pt x="175038" y="48777"/>
                      <a:pt x="170461" y="48777"/>
                    </a:cubicBezTo>
                    <a:cubicBezTo>
                      <a:pt x="165884" y="48777"/>
                      <a:pt x="166119" y="50190"/>
                      <a:pt x="165681" y="51065"/>
                    </a:cubicBezTo>
                    <a:cubicBezTo>
                      <a:pt x="165244" y="51940"/>
                      <a:pt x="161778" y="55068"/>
                      <a:pt x="160263" y="57053"/>
                    </a:cubicBezTo>
                    <a:cubicBezTo>
                      <a:pt x="158749" y="59004"/>
                      <a:pt x="157638" y="62502"/>
                      <a:pt x="156999" y="63343"/>
                    </a:cubicBezTo>
                    <a:cubicBezTo>
                      <a:pt x="156359" y="64218"/>
                      <a:pt x="153095" y="69432"/>
                      <a:pt x="152422" y="70071"/>
                    </a:cubicBezTo>
                    <a:cubicBezTo>
                      <a:pt x="151782" y="70711"/>
                      <a:pt x="147407" y="77237"/>
                      <a:pt x="146196" y="77674"/>
                    </a:cubicBezTo>
                    <a:cubicBezTo>
                      <a:pt x="144984" y="78111"/>
                      <a:pt x="137210" y="76160"/>
                      <a:pt x="137210" y="76160"/>
                    </a:cubicBezTo>
                    <a:lnTo>
                      <a:pt x="132195" y="74646"/>
                    </a:lnTo>
                    <a:lnTo>
                      <a:pt x="126541" y="75723"/>
                    </a:lnTo>
                    <a:lnTo>
                      <a:pt x="116983" y="87665"/>
                    </a:lnTo>
                    <a:lnTo>
                      <a:pt x="114594" y="91567"/>
                    </a:lnTo>
                    <a:lnTo>
                      <a:pt x="109377" y="100246"/>
                    </a:lnTo>
                    <a:lnTo>
                      <a:pt x="105036" y="101558"/>
                    </a:lnTo>
                    <a:lnTo>
                      <a:pt x="100021" y="103072"/>
                    </a:lnTo>
                    <a:cubicBezTo>
                      <a:pt x="100021" y="103072"/>
                      <a:pt x="96555" y="106974"/>
                      <a:pt x="94805" y="108084"/>
                    </a:cubicBezTo>
                    <a:cubicBezTo>
                      <a:pt x="93055" y="109161"/>
                      <a:pt x="92853" y="113298"/>
                      <a:pt x="92853" y="113298"/>
                    </a:cubicBezTo>
                    <a:lnTo>
                      <a:pt x="92415" y="118277"/>
                    </a:lnTo>
                    <a:lnTo>
                      <a:pt x="92180" y="128705"/>
                    </a:lnTo>
                    <a:lnTo>
                      <a:pt x="89791" y="136106"/>
                    </a:lnTo>
                    <a:lnTo>
                      <a:pt x="86762" y="141118"/>
                    </a:lnTo>
                    <a:lnTo>
                      <a:pt x="80872" y="147644"/>
                    </a:lnTo>
                    <a:cubicBezTo>
                      <a:pt x="80872" y="147644"/>
                      <a:pt x="75858" y="153733"/>
                      <a:pt x="75454" y="154608"/>
                    </a:cubicBezTo>
                    <a:cubicBezTo>
                      <a:pt x="75016" y="155482"/>
                      <a:pt x="74377" y="162648"/>
                      <a:pt x="74377" y="162648"/>
                    </a:cubicBezTo>
                    <a:lnTo>
                      <a:pt x="66771" y="173076"/>
                    </a:lnTo>
                    <a:lnTo>
                      <a:pt x="63506" y="176339"/>
                    </a:lnTo>
                    <a:lnTo>
                      <a:pt x="61756" y="177415"/>
                    </a:lnTo>
                    <a:lnTo>
                      <a:pt x="56540" y="177415"/>
                    </a:lnTo>
                    <a:cubicBezTo>
                      <a:pt x="56540" y="177415"/>
                      <a:pt x="50886" y="179467"/>
                      <a:pt x="50246" y="179703"/>
                    </a:cubicBezTo>
                    <a:cubicBezTo>
                      <a:pt x="49607" y="179905"/>
                      <a:pt x="48698" y="181755"/>
                      <a:pt x="48698" y="181755"/>
                    </a:cubicBezTo>
                    <a:lnTo>
                      <a:pt x="48698" y="188483"/>
                    </a:lnTo>
                    <a:lnTo>
                      <a:pt x="47722" y="191510"/>
                    </a:lnTo>
                    <a:lnTo>
                      <a:pt x="43482" y="194336"/>
                    </a:lnTo>
                    <a:lnTo>
                      <a:pt x="37828" y="201737"/>
                    </a:lnTo>
                    <a:lnTo>
                      <a:pt x="37626" y="214352"/>
                    </a:lnTo>
                    <a:lnTo>
                      <a:pt x="39140" y="222593"/>
                    </a:lnTo>
                    <a:lnTo>
                      <a:pt x="43044" y="226496"/>
                    </a:lnTo>
                    <a:lnTo>
                      <a:pt x="49573" y="232383"/>
                    </a:lnTo>
                    <a:lnTo>
                      <a:pt x="53915" y="239346"/>
                    </a:lnTo>
                    <a:lnTo>
                      <a:pt x="56742" y="245199"/>
                    </a:lnTo>
                    <a:lnTo>
                      <a:pt x="56304" y="251725"/>
                    </a:lnTo>
                    <a:lnTo>
                      <a:pt x="54117" y="258453"/>
                    </a:lnTo>
                    <a:cubicBezTo>
                      <a:pt x="54117" y="258453"/>
                      <a:pt x="52165" y="261481"/>
                      <a:pt x="51929" y="262154"/>
                    </a:cubicBezTo>
                    <a:cubicBezTo>
                      <a:pt x="51727" y="262793"/>
                      <a:pt x="49539" y="265181"/>
                      <a:pt x="48900" y="265417"/>
                    </a:cubicBezTo>
                    <a:cubicBezTo>
                      <a:pt x="48261" y="265619"/>
                      <a:pt x="46948" y="270833"/>
                      <a:pt x="46511" y="271707"/>
                    </a:cubicBezTo>
                    <a:cubicBezTo>
                      <a:pt x="46073" y="272582"/>
                      <a:pt x="45198" y="278872"/>
                      <a:pt x="45198" y="279545"/>
                    </a:cubicBezTo>
                    <a:cubicBezTo>
                      <a:pt x="45198" y="280184"/>
                      <a:pt x="46073" y="284759"/>
                      <a:pt x="46073" y="284759"/>
                    </a:cubicBezTo>
                    <a:lnTo>
                      <a:pt x="50414" y="287148"/>
                    </a:lnTo>
                    <a:lnTo>
                      <a:pt x="54487" y="285331"/>
                    </a:lnTo>
                    <a:lnTo>
                      <a:pt x="55227" y="283145"/>
                    </a:lnTo>
                    <a:lnTo>
                      <a:pt x="56540" y="282136"/>
                    </a:lnTo>
                    <a:lnTo>
                      <a:pt x="58424" y="279949"/>
                    </a:lnTo>
                    <a:lnTo>
                      <a:pt x="59569" y="277931"/>
                    </a:lnTo>
                    <a:lnTo>
                      <a:pt x="61151" y="277493"/>
                    </a:lnTo>
                    <a:lnTo>
                      <a:pt x="63035" y="279377"/>
                    </a:lnTo>
                    <a:lnTo>
                      <a:pt x="67242" y="280824"/>
                    </a:lnTo>
                    <a:lnTo>
                      <a:pt x="68117" y="279074"/>
                    </a:lnTo>
                    <a:lnTo>
                      <a:pt x="69564" y="274600"/>
                    </a:lnTo>
                    <a:lnTo>
                      <a:pt x="70136" y="271707"/>
                    </a:lnTo>
                    <a:lnTo>
                      <a:pt x="71886" y="269689"/>
                    </a:lnTo>
                    <a:lnTo>
                      <a:pt x="75487" y="268377"/>
                    </a:lnTo>
                    <a:lnTo>
                      <a:pt x="79694" y="267368"/>
                    </a:lnTo>
                    <a:lnTo>
                      <a:pt x="88814" y="265047"/>
                    </a:lnTo>
                    <a:cubicBezTo>
                      <a:pt x="88814" y="265047"/>
                      <a:pt x="90968" y="263028"/>
                      <a:pt x="91574" y="262725"/>
                    </a:cubicBezTo>
                    <a:cubicBezTo>
                      <a:pt x="92146" y="262457"/>
                      <a:pt x="95916" y="258252"/>
                      <a:pt x="95916" y="258252"/>
                    </a:cubicBezTo>
                    <a:cubicBezTo>
                      <a:pt x="95916" y="258252"/>
                      <a:pt x="98238" y="258252"/>
                      <a:pt x="98675" y="257814"/>
                    </a:cubicBezTo>
                    <a:cubicBezTo>
                      <a:pt x="99113" y="257377"/>
                      <a:pt x="100425" y="256233"/>
                      <a:pt x="100997" y="255930"/>
                    </a:cubicBezTo>
                    <a:cubicBezTo>
                      <a:pt x="101570" y="255628"/>
                      <a:pt x="103185" y="252903"/>
                      <a:pt x="103185" y="252903"/>
                    </a:cubicBezTo>
                    <a:lnTo>
                      <a:pt x="103050" y="249875"/>
                    </a:lnTo>
                    <a:lnTo>
                      <a:pt x="102849" y="247991"/>
                    </a:lnTo>
                    <a:lnTo>
                      <a:pt x="106483" y="244425"/>
                    </a:lnTo>
                    <a:lnTo>
                      <a:pt x="108031" y="245839"/>
                    </a:lnTo>
                    <a:lnTo>
                      <a:pt x="113046" y="248698"/>
                    </a:lnTo>
                    <a:lnTo>
                      <a:pt x="113046" y="253037"/>
                    </a:lnTo>
                    <a:lnTo>
                      <a:pt x="110455" y="259698"/>
                    </a:lnTo>
                    <a:lnTo>
                      <a:pt x="109882" y="262288"/>
                    </a:lnTo>
                    <a:lnTo>
                      <a:pt x="108368" y="266762"/>
                    </a:lnTo>
                    <a:lnTo>
                      <a:pt x="103656" y="269521"/>
                    </a:lnTo>
                    <a:lnTo>
                      <a:pt x="93089" y="269521"/>
                    </a:lnTo>
                    <a:lnTo>
                      <a:pt x="90464" y="275038"/>
                    </a:lnTo>
                    <a:lnTo>
                      <a:pt x="90464" y="283448"/>
                    </a:lnTo>
                    <a:lnTo>
                      <a:pt x="86122" y="283448"/>
                    </a:lnTo>
                    <a:lnTo>
                      <a:pt x="81781" y="287215"/>
                    </a:lnTo>
                    <a:lnTo>
                      <a:pt x="80333" y="290411"/>
                    </a:lnTo>
                    <a:lnTo>
                      <a:pt x="78314" y="291555"/>
                    </a:lnTo>
                    <a:lnTo>
                      <a:pt x="75420" y="295625"/>
                    </a:lnTo>
                    <a:lnTo>
                      <a:pt x="73973" y="295625"/>
                    </a:lnTo>
                    <a:lnTo>
                      <a:pt x="68117" y="297374"/>
                    </a:lnTo>
                    <a:lnTo>
                      <a:pt x="63540" y="297374"/>
                    </a:lnTo>
                    <a:lnTo>
                      <a:pt x="62026" y="299965"/>
                    </a:lnTo>
                    <a:lnTo>
                      <a:pt x="58862" y="302689"/>
                    </a:lnTo>
                    <a:lnTo>
                      <a:pt x="56035" y="304439"/>
                    </a:lnTo>
                    <a:lnTo>
                      <a:pt x="54184" y="306053"/>
                    </a:lnTo>
                    <a:cubicBezTo>
                      <a:pt x="54184" y="306053"/>
                      <a:pt x="51559" y="310191"/>
                      <a:pt x="50718" y="310393"/>
                    </a:cubicBezTo>
                    <a:cubicBezTo>
                      <a:pt x="49843" y="310595"/>
                      <a:pt x="46814" y="312546"/>
                      <a:pt x="46814" y="312546"/>
                    </a:cubicBezTo>
                    <a:lnTo>
                      <a:pt x="43549" y="313858"/>
                    </a:lnTo>
                    <a:lnTo>
                      <a:pt x="43549" y="319509"/>
                    </a:lnTo>
                    <a:lnTo>
                      <a:pt x="45602" y="323210"/>
                    </a:lnTo>
                    <a:lnTo>
                      <a:pt x="45266" y="325161"/>
                    </a:lnTo>
                    <a:lnTo>
                      <a:pt x="42674" y="329063"/>
                    </a:lnTo>
                    <a:lnTo>
                      <a:pt x="37458" y="332090"/>
                    </a:lnTo>
                    <a:lnTo>
                      <a:pt x="32006" y="332090"/>
                    </a:lnTo>
                    <a:lnTo>
                      <a:pt x="26991" y="333503"/>
                    </a:lnTo>
                    <a:lnTo>
                      <a:pt x="23289" y="335555"/>
                    </a:lnTo>
                    <a:lnTo>
                      <a:pt x="20226" y="338381"/>
                    </a:lnTo>
                    <a:lnTo>
                      <a:pt x="17837" y="340332"/>
                    </a:lnTo>
                    <a:lnTo>
                      <a:pt x="15649" y="345109"/>
                    </a:lnTo>
                    <a:lnTo>
                      <a:pt x="15649" y="349886"/>
                    </a:lnTo>
                    <a:lnTo>
                      <a:pt x="14774" y="354663"/>
                    </a:lnTo>
                    <a:lnTo>
                      <a:pt x="11745" y="354663"/>
                    </a:lnTo>
                    <a:lnTo>
                      <a:pt x="7842" y="359439"/>
                    </a:lnTo>
                    <a:lnTo>
                      <a:pt x="4139" y="362265"/>
                    </a:lnTo>
                    <a:lnTo>
                      <a:pt x="1313" y="365091"/>
                    </a:lnTo>
                    <a:lnTo>
                      <a:pt x="0" y="367681"/>
                    </a:lnTo>
                    <a:lnTo>
                      <a:pt x="0" y="371146"/>
                    </a:lnTo>
                    <a:lnTo>
                      <a:pt x="0" y="376596"/>
                    </a:lnTo>
                    <a:lnTo>
                      <a:pt x="1515" y="380498"/>
                    </a:lnTo>
                    <a:lnTo>
                      <a:pt x="6092" y="382449"/>
                    </a:lnTo>
                    <a:lnTo>
                      <a:pt x="14774" y="382449"/>
                    </a:lnTo>
                    <a:lnTo>
                      <a:pt x="24130" y="382449"/>
                    </a:lnTo>
                    <a:lnTo>
                      <a:pt x="31299" y="384635"/>
                    </a:lnTo>
                    <a:lnTo>
                      <a:pt x="36751" y="389614"/>
                    </a:lnTo>
                    <a:lnTo>
                      <a:pt x="40890" y="396342"/>
                    </a:lnTo>
                    <a:lnTo>
                      <a:pt x="48294" y="396342"/>
                    </a:lnTo>
                    <a:lnTo>
                      <a:pt x="54823" y="401321"/>
                    </a:lnTo>
                    <a:lnTo>
                      <a:pt x="59165" y="405896"/>
                    </a:lnTo>
                    <a:cubicBezTo>
                      <a:pt x="59165" y="405896"/>
                      <a:pt x="59165" y="411110"/>
                      <a:pt x="59165" y="411749"/>
                    </a:cubicBezTo>
                    <a:cubicBezTo>
                      <a:pt x="59165" y="412388"/>
                      <a:pt x="60477" y="419150"/>
                      <a:pt x="60477" y="419991"/>
                    </a:cubicBezTo>
                    <a:cubicBezTo>
                      <a:pt x="60477" y="420865"/>
                      <a:pt x="64381" y="425642"/>
                      <a:pt x="64381" y="425642"/>
                    </a:cubicBezTo>
                    <a:lnTo>
                      <a:pt x="75689" y="431058"/>
                    </a:lnTo>
                    <a:lnTo>
                      <a:pt x="84810" y="431058"/>
                    </a:lnTo>
                    <a:cubicBezTo>
                      <a:pt x="84810" y="431058"/>
                      <a:pt x="96993" y="430722"/>
                      <a:pt x="99820" y="429645"/>
                    </a:cubicBezTo>
                    <a:cubicBezTo>
                      <a:pt x="102646" y="428569"/>
                      <a:pt x="102646" y="425642"/>
                      <a:pt x="102646" y="425642"/>
                    </a:cubicBezTo>
                    <a:lnTo>
                      <a:pt x="108738" y="424129"/>
                    </a:lnTo>
                    <a:lnTo>
                      <a:pt x="117421" y="424129"/>
                    </a:lnTo>
                    <a:lnTo>
                      <a:pt x="126541" y="424129"/>
                    </a:lnTo>
                    <a:lnTo>
                      <a:pt x="132195" y="421942"/>
                    </a:lnTo>
                    <a:lnTo>
                      <a:pt x="141114" y="418645"/>
                    </a:lnTo>
                    <a:lnTo>
                      <a:pt x="147272" y="416761"/>
                    </a:lnTo>
                    <a:lnTo>
                      <a:pt x="148787" y="415786"/>
                    </a:lnTo>
                    <a:lnTo>
                      <a:pt x="146397" y="413398"/>
                    </a:lnTo>
                    <a:lnTo>
                      <a:pt x="147845" y="407611"/>
                    </a:lnTo>
                    <a:lnTo>
                      <a:pt x="147845" y="402397"/>
                    </a:lnTo>
                    <a:lnTo>
                      <a:pt x="152927" y="393416"/>
                    </a:lnTo>
                    <a:lnTo>
                      <a:pt x="157705" y="389951"/>
                    </a:lnTo>
                    <a:lnTo>
                      <a:pt x="163494" y="385308"/>
                    </a:lnTo>
                    <a:lnTo>
                      <a:pt x="175946" y="384165"/>
                    </a:lnTo>
                    <a:lnTo>
                      <a:pt x="189273" y="386183"/>
                    </a:lnTo>
                    <a:cubicBezTo>
                      <a:pt x="189273" y="386183"/>
                      <a:pt x="197687" y="388504"/>
                      <a:pt x="198832" y="389076"/>
                    </a:cubicBezTo>
                    <a:cubicBezTo>
                      <a:pt x="199976" y="389648"/>
                      <a:pt x="202601" y="391969"/>
                      <a:pt x="202601" y="391969"/>
                    </a:cubicBezTo>
                    <a:lnTo>
                      <a:pt x="205798" y="399201"/>
                    </a:lnTo>
                    <a:lnTo>
                      <a:pt x="210442" y="402397"/>
                    </a:lnTo>
                    <a:lnTo>
                      <a:pt x="210442" y="411076"/>
                    </a:lnTo>
                    <a:lnTo>
                      <a:pt x="210442" y="421202"/>
                    </a:lnTo>
                    <a:lnTo>
                      <a:pt x="216971" y="428434"/>
                    </a:lnTo>
                    <a:lnTo>
                      <a:pt x="220303" y="430453"/>
                    </a:lnTo>
                    <a:lnTo>
                      <a:pt x="224644" y="435364"/>
                    </a:lnTo>
                    <a:lnTo>
                      <a:pt x="230736" y="430453"/>
                    </a:lnTo>
                    <a:lnTo>
                      <a:pt x="233058" y="426685"/>
                    </a:lnTo>
                    <a:lnTo>
                      <a:pt x="233058" y="420596"/>
                    </a:lnTo>
                    <a:lnTo>
                      <a:pt x="240025" y="416896"/>
                    </a:lnTo>
                    <a:lnTo>
                      <a:pt x="250996" y="424599"/>
                    </a:lnTo>
                    <a:cubicBezTo>
                      <a:pt x="250996" y="424599"/>
                      <a:pt x="253823" y="427863"/>
                      <a:pt x="254159" y="427963"/>
                    </a:cubicBezTo>
                    <a:cubicBezTo>
                      <a:pt x="254496" y="428064"/>
                      <a:pt x="259713" y="429040"/>
                      <a:pt x="259713" y="429040"/>
                    </a:cubicBezTo>
                    <a:cubicBezTo>
                      <a:pt x="259713" y="429040"/>
                      <a:pt x="265366" y="427963"/>
                      <a:pt x="265804" y="427627"/>
                    </a:cubicBezTo>
                    <a:cubicBezTo>
                      <a:pt x="266241" y="427291"/>
                      <a:pt x="271794" y="426551"/>
                      <a:pt x="272232" y="426551"/>
                    </a:cubicBezTo>
                    <a:cubicBezTo>
                      <a:pt x="272669" y="426551"/>
                      <a:pt x="277348" y="425676"/>
                      <a:pt x="277348" y="425676"/>
                    </a:cubicBezTo>
                    <a:lnTo>
                      <a:pt x="281252" y="420361"/>
                    </a:lnTo>
                    <a:lnTo>
                      <a:pt x="282766" y="413398"/>
                    </a:lnTo>
                    <a:lnTo>
                      <a:pt x="283304" y="408722"/>
                    </a:lnTo>
                    <a:lnTo>
                      <a:pt x="289833" y="404247"/>
                    </a:lnTo>
                    <a:lnTo>
                      <a:pt x="295050" y="403373"/>
                    </a:lnTo>
                    <a:cubicBezTo>
                      <a:pt x="295050" y="403373"/>
                      <a:pt x="301141" y="405559"/>
                      <a:pt x="301781" y="405862"/>
                    </a:cubicBezTo>
                    <a:cubicBezTo>
                      <a:pt x="302420" y="406199"/>
                      <a:pt x="305584" y="408352"/>
                      <a:pt x="305584" y="408352"/>
                    </a:cubicBezTo>
                    <a:cubicBezTo>
                      <a:pt x="305584" y="408352"/>
                      <a:pt x="309723" y="413229"/>
                      <a:pt x="309387" y="413768"/>
                    </a:cubicBezTo>
                    <a:cubicBezTo>
                      <a:pt x="309050" y="414306"/>
                      <a:pt x="310026" y="418982"/>
                      <a:pt x="310026" y="419419"/>
                    </a:cubicBezTo>
                    <a:cubicBezTo>
                      <a:pt x="310026" y="419856"/>
                      <a:pt x="309387" y="424835"/>
                      <a:pt x="309387" y="424835"/>
                    </a:cubicBezTo>
                    <a:lnTo>
                      <a:pt x="315814" y="433850"/>
                    </a:lnTo>
                    <a:lnTo>
                      <a:pt x="322007" y="436037"/>
                    </a:lnTo>
                    <a:cubicBezTo>
                      <a:pt x="322007" y="436037"/>
                      <a:pt x="330151" y="433312"/>
                      <a:pt x="330825" y="433110"/>
                    </a:cubicBezTo>
                    <a:cubicBezTo>
                      <a:pt x="331498" y="432908"/>
                      <a:pt x="336378" y="429645"/>
                      <a:pt x="336378" y="429645"/>
                    </a:cubicBezTo>
                    <a:cubicBezTo>
                      <a:pt x="336378" y="429645"/>
                      <a:pt x="340820" y="423557"/>
                      <a:pt x="341055" y="423220"/>
                    </a:cubicBezTo>
                    <a:cubicBezTo>
                      <a:pt x="341258" y="422884"/>
                      <a:pt x="342671" y="418006"/>
                      <a:pt x="342671" y="418006"/>
                    </a:cubicBezTo>
                    <a:lnTo>
                      <a:pt x="341055" y="409092"/>
                    </a:lnTo>
                    <a:lnTo>
                      <a:pt x="342469" y="403776"/>
                    </a:lnTo>
                    <a:lnTo>
                      <a:pt x="346070" y="396611"/>
                    </a:lnTo>
                    <a:cubicBezTo>
                      <a:pt x="346070" y="396611"/>
                      <a:pt x="350849" y="395535"/>
                      <a:pt x="351623" y="395299"/>
                    </a:cubicBezTo>
                    <a:cubicBezTo>
                      <a:pt x="352364" y="395064"/>
                      <a:pt x="362393" y="394660"/>
                      <a:pt x="362393" y="394660"/>
                    </a:cubicBezTo>
                    <a:lnTo>
                      <a:pt x="365859" y="392373"/>
                    </a:lnTo>
                    <a:lnTo>
                      <a:pt x="364008" y="388773"/>
                    </a:lnTo>
                    <a:lnTo>
                      <a:pt x="364984" y="382785"/>
                    </a:lnTo>
                    <a:lnTo>
                      <a:pt x="368585" y="378210"/>
                    </a:lnTo>
                    <a:lnTo>
                      <a:pt x="369898" y="372996"/>
                    </a:lnTo>
                    <a:lnTo>
                      <a:pt x="370537" y="369195"/>
                    </a:lnTo>
                    <a:cubicBezTo>
                      <a:pt x="370537" y="369195"/>
                      <a:pt x="370537" y="363644"/>
                      <a:pt x="370537" y="363207"/>
                    </a:cubicBezTo>
                    <a:cubicBezTo>
                      <a:pt x="370537" y="362770"/>
                      <a:pt x="370907" y="359507"/>
                      <a:pt x="370907" y="359507"/>
                    </a:cubicBezTo>
                    <a:lnTo>
                      <a:pt x="373229" y="354057"/>
                    </a:lnTo>
                    <a:cubicBezTo>
                      <a:pt x="373229" y="354057"/>
                      <a:pt x="381710" y="353519"/>
                      <a:pt x="382148" y="353284"/>
                    </a:cubicBezTo>
                    <a:cubicBezTo>
                      <a:pt x="382585" y="353048"/>
                      <a:pt x="388239" y="351871"/>
                      <a:pt x="388239" y="351871"/>
                    </a:cubicBezTo>
                    <a:lnTo>
                      <a:pt x="394230" y="349045"/>
                    </a:lnTo>
                    <a:lnTo>
                      <a:pt x="399009" y="345344"/>
                    </a:lnTo>
                    <a:lnTo>
                      <a:pt x="407927" y="343932"/>
                    </a:lnTo>
                    <a:lnTo>
                      <a:pt x="417822" y="343932"/>
                    </a:lnTo>
                    <a:lnTo>
                      <a:pt x="419774" y="345546"/>
                    </a:lnTo>
                    <a:lnTo>
                      <a:pt x="420312" y="342182"/>
                    </a:lnTo>
                    <a:lnTo>
                      <a:pt x="421288" y="333941"/>
                    </a:lnTo>
                    <a:cubicBezTo>
                      <a:pt x="421288" y="333941"/>
                      <a:pt x="423038" y="328087"/>
                      <a:pt x="423240" y="327650"/>
                    </a:cubicBezTo>
                    <a:cubicBezTo>
                      <a:pt x="423442" y="327213"/>
                      <a:pt x="426504" y="320821"/>
                      <a:pt x="426504" y="320821"/>
                    </a:cubicBezTo>
                    <a:lnTo>
                      <a:pt x="433034" y="313757"/>
                    </a:lnTo>
                    <a:lnTo>
                      <a:pt x="436601" y="310494"/>
                    </a:lnTo>
                    <a:lnTo>
                      <a:pt x="439091" y="306692"/>
                    </a:lnTo>
                    <a:cubicBezTo>
                      <a:pt x="439091" y="306692"/>
                      <a:pt x="439866" y="299628"/>
                      <a:pt x="439866" y="298316"/>
                    </a:cubicBezTo>
                    <a:cubicBezTo>
                      <a:pt x="439866" y="297004"/>
                      <a:pt x="440640" y="290276"/>
                      <a:pt x="440640" y="290276"/>
                    </a:cubicBezTo>
                    <a:cubicBezTo>
                      <a:pt x="440640" y="290276"/>
                      <a:pt x="442693" y="286374"/>
                      <a:pt x="443130" y="285836"/>
                    </a:cubicBezTo>
                    <a:cubicBezTo>
                      <a:pt x="443568" y="285298"/>
                      <a:pt x="445519" y="285298"/>
                      <a:pt x="446394" y="284759"/>
                    </a:cubicBezTo>
                    <a:cubicBezTo>
                      <a:pt x="447269" y="284221"/>
                      <a:pt x="451274" y="284759"/>
                      <a:pt x="451712" y="284759"/>
                    </a:cubicBezTo>
                    <a:cubicBezTo>
                      <a:pt x="452149" y="284759"/>
                      <a:pt x="458342" y="284860"/>
                      <a:pt x="458342" y="284860"/>
                    </a:cubicBezTo>
                    <a:lnTo>
                      <a:pt x="465611" y="284860"/>
                    </a:lnTo>
                    <a:lnTo>
                      <a:pt x="464635" y="278132"/>
                    </a:lnTo>
                    <a:lnTo>
                      <a:pt x="462683" y="273120"/>
                    </a:lnTo>
                    <a:lnTo>
                      <a:pt x="462784" y="267368"/>
                    </a:lnTo>
                    <a:lnTo>
                      <a:pt x="464837" y="267166"/>
                    </a:lnTo>
                    <a:lnTo>
                      <a:pt x="470155" y="269554"/>
                    </a:lnTo>
                    <a:lnTo>
                      <a:pt x="474395" y="269453"/>
                    </a:lnTo>
                    <a:lnTo>
                      <a:pt x="475910" y="265013"/>
                    </a:lnTo>
                    <a:lnTo>
                      <a:pt x="476011" y="260337"/>
                    </a:lnTo>
                    <a:lnTo>
                      <a:pt x="473958" y="254686"/>
                    </a:lnTo>
                    <a:lnTo>
                      <a:pt x="474832" y="250447"/>
                    </a:lnTo>
                    <a:lnTo>
                      <a:pt x="477861" y="247823"/>
                    </a:lnTo>
                    <a:lnTo>
                      <a:pt x="480352" y="245233"/>
                    </a:lnTo>
                    <a:lnTo>
                      <a:pt x="485131" y="245771"/>
                    </a:lnTo>
                    <a:lnTo>
                      <a:pt x="487958" y="247958"/>
                    </a:lnTo>
                    <a:lnTo>
                      <a:pt x="490684" y="248294"/>
                    </a:lnTo>
                    <a:lnTo>
                      <a:pt x="492198" y="246545"/>
                    </a:lnTo>
                    <a:lnTo>
                      <a:pt x="493275" y="242104"/>
                    </a:lnTo>
                    <a:lnTo>
                      <a:pt x="493814" y="237563"/>
                    </a:lnTo>
                    <a:lnTo>
                      <a:pt x="491323" y="236049"/>
                    </a:lnTo>
                    <a:lnTo>
                      <a:pt x="488294" y="234838"/>
                    </a:lnTo>
                    <a:lnTo>
                      <a:pt x="486982" y="231474"/>
                    </a:lnTo>
                    <a:lnTo>
                      <a:pt x="486746" y="226698"/>
                    </a:lnTo>
                    <a:lnTo>
                      <a:pt x="485871" y="225924"/>
                    </a:lnTo>
                    <a:lnTo>
                      <a:pt x="483145" y="225722"/>
                    </a:lnTo>
                    <a:lnTo>
                      <a:pt x="480116" y="224545"/>
                    </a:lnTo>
                    <a:lnTo>
                      <a:pt x="478366" y="223031"/>
                    </a:lnTo>
                    <a:lnTo>
                      <a:pt x="477356" y="221517"/>
                    </a:lnTo>
                    <a:lnTo>
                      <a:pt x="477020" y="220440"/>
                    </a:lnTo>
                    <a:lnTo>
                      <a:pt x="476381" y="218489"/>
                    </a:lnTo>
                    <a:lnTo>
                      <a:pt x="474967" y="215462"/>
                    </a:lnTo>
                    <a:lnTo>
                      <a:pt x="475506" y="212199"/>
                    </a:lnTo>
                    <a:lnTo>
                      <a:pt x="477121" y="211324"/>
                    </a:lnTo>
                    <a:lnTo>
                      <a:pt x="480150" y="211526"/>
                    </a:lnTo>
                    <a:lnTo>
                      <a:pt x="482539" y="214251"/>
                    </a:lnTo>
                    <a:lnTo>
                      <a:pt x="485131" y="216303"/>
                    </a:lnTo>
                    <a:lnTo>
                      <a:pt x="488160" y="217177"/>
                    </a:lnTo>
                    <a:lnTo>
                      <a:pt x="489775" y="216841"/>
                    </a:lnTo>
                    <a:lnTo>
                      <a:pt x="491424" y="215428"/>
                    </a:lnTo>
                    <a:lnTo>
                      <a:pt x="491963" y="213578"/>
                    </a:lnTo>
                    <a:lnTo>
                      <a:pt x="493477" y="211291"/>
                    </a:lnTo>
                    <a:lnTo>
                      <a:pt x="494352" y="210517"/>
                    </a:lnTo>
                    <a:lnTo>
                      <a:pt x="497078" y="209440"/>
                    </a:lnTo>
                    <a:cubicBezTo>
                      <a:pt x="497078" y="209440"/>
                      <a:pt x="497953" y="211492"/>
                      <a:pt x="498054" y="211930"/>
                    </a:cubicBezTo>
                    <a:cubicBezTo>
                      <a:pt x="498155" y="212367"/>
                      <a:pt x="498155" y="214116"/>
                      <a:pt x="498155" y="214116"/>
                    </a:cubicBezTo>
                    <a:cubicBezTo>
                      <a:pt x="498155" y="214116"/>
                      <a:pt x="498256" y="218153"/>
                      <a:pt x="498054" y="218456"/>
                    </a:cubicBezTo>
                    <a:cubicBezTo>
                      <a:pt x="497819" y="218792"/>
                      <a:pt x="497516" y="221281"/>
                      <a:pt x="497516" y="221281"/>
                    </a:cubicBezTo>
                    <a:lnTo>
                      <a:pt x="495766" y="223771"/>
                    </a:lnTo>
                    <a:lnTo>
                      <a:pt x="495530" y="226698"/>
                    </a:lnTo>
                    <a:lnTo>
                      <a:pt x="495530" y="230600"/>
                    </a:lnTo>
                    <a:lnTo>
                      <a:pt x="496506" y="233964"/>
                    </a:lnTo>
                    <a:lnTo>
                      <a:pt x="501083" y="234838"/>
                    </a:lnTo>
                    <a:lnTo>
                      <a:pt x="505122" y="234300"/>
                    </a:lnTo>
                    <a:lnTo>
                      <a:pt x="506199" y="232248"/>
                    </a:lnTo>
                    <a:cubicBezTo>
                      <a:pt x="506199" y="232248"/>
                      <a:pt x="509463" y="228783"/>
                      <a:pt x="509800" y="228548"/>
                    </a:cubicBezTo>
                    <a:cubicBezTo>
                      <a:pt x="510136" y="228312"/>
                      <a:pt x="512627" y="226597"/>
                      <a:pt x="513064" y="225957"/>
                    </a:cubicBezTo>
                    <a:cubicBezTo>
                      <a:pt x="513502" y="225318"/>
                      <a:pt x="516228" y="224107"/>
                      <a:pt x="516228" y="224107"/>
                    </a:cubicBezTo>
                    <a:lnTo>
                      <a:pt x="519391" y="222694"/>
                    </a:lnTo>
                    <a:lnTo>
                      <a:pt x="522858" y="222156"/>
                    </a:lnTo>
                    <a:lnTo>
                      <a:pt x="528074" y="221954"/>
                    </a:lnTo>
                    <a:lnTo>
                      <a:pt x="531002" y="220205"/>
                    </a:lnTo>
                    <a:lnTo>
                      <a:pt x="532079" y="217817"/>
                    </a:lnTo>
                    <a:lnTo>
                      <a:pt x="532516" y="214015"/>
                    </a:lnTo>
                    <a:lnTo>
                      <a:pt x="531742" y="210315"/>
                    </a:lnTo>
                    <a:lnTo>
                      <a:pt x="530093" y="203251"/>
                    </a:lnTo>
                    <a:lnTo>
                      <a:pt x="529017" y="199113"/>
                    </a:lnTo>
                    <a:lnTo>
                      <a:pt x="526829" y="193663"/>
                    </a:lnTo>
                    <a:lnTo>
                      <a:pt x="526829" y="184110"/>
                    </a:lnTo>
                    <a:lnTo>
                      <a:pt x="527704" y="180645"/>
                    </a:lnTo>
                    <a:lnTo>
                      <a:pt x="532920" y="180645"/>
                    </a:lnTo>
                    <a:lnTo>
                      <a:pt x="536185" y="183908"/>
                    </a:lnTo>
                    <a:lnTo>
                      <a:pt x="540089" y="187608"/>
                    </a:lnTo>
                    <a:lnTo>
                      <a:pt x="543118" y="188920"/>
                    </a:lnTo>
                    <a:lnTo>
                      <a:pt x="546382" y="190434"/>
                    </a:lnTo>
                    <a:lnTo>
                      <a:pt x="547257" y="186296"/>
                    </a:lnTo>
                    <a:lnTo>
                      <a:pt x="545305" y="181721"/>
                    </a:lnTo>
                    <a:lnTo>
                      <a:pt x="546180" y="176709"/>
                    </a:lnTo>
                    <a:lnTo>
                      <a:pt x="546618" y="173681"/>
                    </a:lnTo>
                    <a:lnTo>
                      <a:pt x="548132" y="172168"/>
                    </a:lnTo>
                    <a:lnTo>
                      <a:pt x="549647" y="169981"/>
                    </a:lnTo>
                    <a:lnTo>
                      <a:pt x="546820" y="168467"/>
                    </a:lnTo>
                    <a:lnTo>
                      <a:pt x="541166" y="168467"/>
                    </a:lnTo>
                    <a:lnTo>
                      <a:pt x="533122" y="168366"/>
                    </a:lnTo>
                    <a:lnTo>
                      <a:pt x="527704" y="166314"/>
                    </a:lnTo>
                    <a:lnTo>
                      <a:pt x="525954" y="160461"/>
                    </a:lnTo>
                    <a:lnTo>
                      <a:pt x="530531" y="156559"/>
                    </a:lnTo>
                    <a:lnTo>
                      <a:pt x="534670" y="156323"/>
                    </a:lnTo>
                    <a:lnTo>
                      <a:pt x="538137" y="156323"/>
                    </a:lnTo>
                    <a:lnTo>
                      <a:pt x="543791" y="157736"/>
                    </a:lnTo>
                    <a:lnTo>
                      <a:pt x="545541" y="160226"/>
                    </a:lnTo>
                    <a:lnTo>
                      <a:pt x="551430" y="160427"/>
                    </a:lnTo>
                    <a:lnTo>
                      <a:pt x="558161" y="155651"/>
                    </a:lnTo>
                    <a:lnTo>
                      <a:pt x="561628" y="149360"/>
                    </a:lnTo>
                    <a:lnTo>
                      <a:pt x="568359" y="148485"/>
                    </a:lnTo>
                    <a:lnTo>
                      <a:pt x="574652" y="147409"/>
                    </a:lnTo>
                    <a:lnTo>
                      <a:pt x="583571" y="143708"/>
                    </a:lnTo>
                    <a:lnTo>
                      <a:pt x="589426" y="143271"/>
                    </a:lnTo>
                    <a:lnTo>
                      <a:pt x="589426" y="137182"/>
                    </a:lnTo>
                    <a:lnTo>
                      <a:pt x="588013" y="132406"/>
                    </a:lnTo>
                    <a:lnTo>
                      <a:pt x="589225" y="127191"/>
                    </a:lnTo>
                    <a:lnTo>
                      <a:pt x="595316" y="127831"/>
                    </a:lnTo>
                    <a:lnTo>
                      <a:pt x="602047" y="126956"/>
                    </a:lnTo>
                    <a:lnTo>
                      <a:pt x="599658" y="131733"/>
                    </a:lnTo>
                    <a:cubicBezTo>
                      <a:pt x="599658" y="131733"/>
                      <a:pt x="595316" y="134121"/>
                      <a:pt x="594643" y="134121"/>
                    </a:cubicBezTo>
                    <a:cubicBezTo>
                      <a:pt x="594003" y="134121"/>
                      <a:pt x="593330" y="138696"/>
                      <a:pt x="593330" y="138696"/>
                    </a:cubicBezTo>
                    <a:lnTo>
                      <a:pt x="597907" y="143473"/>
                    </a:lnTo>
                    <a:lnTo>
                      <a:pt x="601609" y="144112"/>
                    </a:lnTo>
                    <a:lnTo>
                      <a:pt x="605513" y="144549"/>
                    </a:lnTo>
                    <a:lnTo>
                      <a:pt x="608105" y="143675"/>
                    </a:lnTo>
                    <a:lnTo>
                      <a:pt x="609215" y="141085"/>
                    </a:lnTo>
                    <a:lnTo>
                      <a:pt x="608340" y="136745"/>
                    </a:lnTo>
                    <a:lnTo>
                      <a:pt x="610292" y="132607"/>
                    </a:lnTo>
                    <a:lnTo>
                      <a:pt x="614432" y="128268"/>
                    </a:lnTo>
                    <a:lnTo>
                      <a:pt x="615946" y="125442"/>
                    </a:lnTo>
                    <a:lnTo>
                      <a:pt x="619446" y="122415"/>
                    </a:lnTo>
                    <a:lnTo>
                      <a:pt x="622913" y="120901"/>
                    </a:lnTo>
                    <a:lnTo>
                      <a:pt x="627490" y="117873"/>
                    </a:lnTo>
                    <a:lnTo>
                      <a:pt x="629442" y="116124"/>
                    </a:lnTo>
                    <a:lnTo>
                      <a:pt x="632033" y="112659"/>
                    </a:lnTo>
                    <a:lnTo>
                      <a:pt x="637485" y="115922"/>
                    </a:lnTo>
                    <a:lnTo>
                      <a:pt x="644014" y="116999"/>
                    </a:lnTo>
                    <a:lnTo>
                      <a:pt x="645764" y="116763"/>
                    </a:lnTo>
                    <a:lnTo>
                      <a:pt x="647952" y="114375"/>
                    </a:lnTo>
                    <a:lnTo>
                      <a:pt x="650543" y="108723"/>
                    </a:lnTo>
                    <a:lnTo>
                      <a:pt x="650981" y="102870"/>
                    </a:lnTo>
                    <a:lnTo>
                      <a:pt x="651418" y="100482"/>
                    </a:lnTo>
                    <a:lnTo>
                      <a:pt x="655558" y="100280"/>
                    </a:lnTo>
                    <a:lnTo>
                      <a:pt x="657072" y="105494"/>
                    </a:lnTo>
                    <a:lnTo>
                      <a:pt x="658149" y="113298"/>
                    </a:lnTo>
                    <a:lnTo>
                      <a:pt x="659226" y="118075"/>
                    </a:lnTo>
                    <a:lnTo>
                      <a:pt x="660976" y="124803"/>
                    </a:lnTo>
                    <a:lnTo>
                      <a:pt x="666832" y="127393"/>
                    </a:lnTo>
                    <a:lnTo>
                      <a:pt x="672688" y="128268"/>
                    </a:lnTo>
                    <a:lnTo>
                      <a:pt x="676827" y="125240"/>
                    </a:lnTo>
                    <a:lnTo>
                      <a:pt x="683356" y="120026"/>
                    </a:lnTo>
                    <a:lnTo>
                      <a:pt x="685982" y="118277"/>
                    </a:lnTo>
                    <a:lnTo>
                      <a:pt x="688808" y="115687"/>
                    </a:lnTo>
                    <a:lnTo>
                      <a:pt x="690323" y="113736"/>
                    </a:lnTo>
                    <a:lnTo>
                      <a:pt x="690323" y="111112"/>
                    </a:lnTo>
                    <a:cubicBezTo>
                      <a:pt x="690323" y="111112"/>
                      <a:pt x="688472" y="108286"/>
                      <a:pt x="688270" y="107647"/>
                    </a:cubicBezTo>
                    <a:cubicBezTo>
                      <a:pt x="688034" y="107008"/>
                      <a:pt x="690323" y="103072"/>
                      <a:pt x="690323" y="103072"/>
                    </a:cubicBezTo>
                    <a:lnTo>
                      <a:pt x="692510" y="101760"/>
                    </a:lnTo>
                    <a:lnTo>
                      <a:pt x="694261" y="98059"/>
                    </a:lnTo>
                    <a:lnTo>
                      <a:pt x="690559" y="96108"/>
                    </a:lnTo>
                    <a:lnTo>
                      <a:pt x="687731" y="96748"/>
                    </a:lnTo>
                    <a:lnTo>
                      <a:pt x="683828" y="98261"/>
                    </a:lnTo>
                    <a:cubicBezTo>
                      <a:pt x="683828" y="98261"/>
                      <a:pt x="679688" y="100852"/>
                      <a:pt x="678813" y="101087"/>
                    </a:cubicBezTo>
                    <a:cubicBezTo>
                      <a:pt x="677938" y="101289"/>
                      <a:pt x="675347" y="101087"/>
                      <a:pt x="675347" y="101087"/>
                    </a:cubicBezTo>
                    <a:lnTo>
                      <a:pt x="676659" y="98261"/>
                    </a:lnTo>
                    <a:lnTo>
                      <a:pt x="677097" y="92845"/>
                    </a:lnTo>
                    <a:lnTo>
                      <a:pt x="677298" y="89145"/>
                    </a:lnTo>
                    <a:lnTo>
                      <a:pt x="678611" y="87833"/>
                    </a:lnTo>
                    <a:lnTo>
                      <a:pt x="681000" y="86319"/>
                    </a:lnTo>
                    <a:lnTo>
                      <a:pt x="683828" y="84806"/>
                    </a:lnTo>
                    <a:lnTo>
                      <a:pt x="686856" y="80668"/>
                    </a:lnTo>
                    <a:lnTo>
                      <a:pt x="686856" y="73704"/>
                    </a:lnTo>
                    <a:lnTo>
                      <a:pt x="688270" y="68053"/>
                    </a:lnTo>
                    <a:lnTo>
                      <a:pt x="690356" y="65025"/>
                    </a:lnTo>
                    <a:lnTo>
                      <a:pt x="692948" y="60248"/>
                    </a:lnTo>
                    <a:lnTo>
                      <a:pt x="696212" y="56346"/>
                    </a:lnTo>
                    <a:lnTo>
                      <a:pt x="697290" y="54597"/>
                    </a:lnTo>
                    <a:lnTo>
                      <a:pt x="697290" y="51771"/>
                    </a:lnTo>
                    <a:lnTo>
                      <a:pt x="695977" y="49820"/>
                    </a:lnTo>
                    <a:close/>
                  </a:path>
                </a:pathLst>
              </a:custGeom>
              <a:solidFill>
                <a:schemeClr val="tx2">
                  <a:alpha val="50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sp>
          <p:nvSpPr>
            <p:cNvPr id="631" name="Freeform 897">
              <a:extLst>
                <a:ext uri="{FF2B5EF4-FFF2-40B4-BE49-F238E27FC236}">
                  <a16:creationId xmlns:a16="http://schemas.microsoft.com/office/drawing/2014/main" id="{8C158F70-18AE-2827-9ADC-F72B828B5263}"/>
                </a:ext>
              </a:extLst>
            </p:cNvPr>
            <p:cNvSpPr/>
            <p:nvPr/>
          </p:nvSpPr>
          <p:spPr>
            <a:xfrm>
              <a:off x="7764148" y="2739847"/>
              <a:ext cx="308043" cy="292908"/>
            </a:xfrm>
            <a:custGeom>
              <a:avLst/>
              <a:gdLst>
                <a:gd name="connsiteX0" fmla="*/ 490819 w 591411"/>
                <a:gd name="connsiteY0" fmla="*/ 552430 h 562353"/>
                <a:gd name="connsiteX1" fmla="*/ 491121 w 591411"/>
                <a:gd name="connsiteY1" fmla="*/ 544895 h 562353"/>
                <a:gd name="connsiteX2" fmla="*/ 498088 w 591411"/>
                <a:gd name="connsiteY2" fmla="*/ 532448 h 562353"/>
                <a:gd name="connsiteX3" fmla="*/ 500713 w 591411"/>
                <a:gd name="connsiteY3" fmla="*/ 525485 h 562353"/>
                <a:gd name="connsiteX4" fmla="*/ 506804 w 591411"/>
                <a:gd name="connsiteY4" fmla="*/ 522289 h 562353"/>
                <a:gd name="connsiteX5" fmla="*/ 512896 w 591411"/>
                <a:gd name="connsiteY5" fmla="*/ 520540 h 562353"/>
                <a:gd name="connsiteX6" fmla="*/ 521578 w 591411"/>
                <a:gd name="connsiteY6" fmla="*/ 516772 h 562353"/>
                <a:gd name="connsiteX7" fmla="*/ 527367 w 591411"/>
                <a:gd name="connsiteY7" fmla="*/ 513004 h 562353"/>
                <a:gd name="connsiteX8" fmla="*/ 529387 w 591411"/>
                <a:gd name="connsiteY8" fmla="*/ 510986 h 562353"/>
                <a:gd name="connsiteX9" fmla="*/ 536050 w 591411"/>
                <a:gd name="connsiteY9" fmla="*/ 505469 h 562353"/>
                <a:gd name="connsiteX10" fmla="*/ 535747 w 591411"/>
                <a:gd name="connsiteY10" fmla="*/ 491273 h 562353"/>
                <a:gd name="connsiteX11" fmla="*/ 533425 w 591411"/>
                <a:gd name="connsiteY11" fmla="*/ 468667 h 562353"/>
                <a:gd name="connsiteX12" fmla="*/ 533997 w 591411"/>
                <a:gd name="connsiteY12" fmla="*/ 455043 h 562353"/>
                <a:gd name="connsiteX13" fmla="*/ 532550 w 591411"/>
                <a:gd name="connsiteY13" fmla="*/ 445759 h 562353"/>
                <a:gd name="connsiteX14" fmla="*/ 528209 w 591411"/>
                <a:gd name="connsiteY14" fmla="*/ 436508 h 562353"/>
                <a:gd name="connsiteX15" fmla="*/ 523295 w 591411"/>
                <a:gd name="connsiteY15" fmla="*/ 435633 h 562353"/>
                <a:gd name="connsiteX16" fmla="*/ 517506 w 591411"/>
                <a:gd name="connsiteY16" fmla="*/ 439670 h 562353"/>
                <a:gd name="connsiteX17" fmla="*/ 513165 w 591411"/>
                <a:gd name="connsiteY17" fmla="*/ 443135 h 562353"/>
                <a:gd name="connsiteX18" fmla="*/ 506501 w 591411"/>
                <a:gd name="connsiteY18" fmla="*/ 443135 h 562353"/>
                <a:gd name="connsiteX19" fmla="*/ 498694 w 591411"/>
                <a:gd name="connsiteY19" fmla="*/ 436474 h 562353"/>
                <a:gd name="connsiteX20" fmla="*/ 491155 w 591411"/>
                <a:gd name="connsiteY20" fmla="*/ 434153 h 562353"/>
                <a:gd name="connsiteX21" fmla="*/ 487958 w 591411"/>
                <a:gd name="connsiteY21" fmla="*/ 436171 h 562353"/>
                <a:gd name="connsiteX22" fmla="*/ 476650 w 591411"/>
                <a:gd name="connsiteY22" fmla="*/ 440814 h 562353"/>
                <a:gd name="connsiteX23" fmla="*/ 469683 w 591411"/>
                <a:gd name="connsiteY23" fmla="*/ 435297 h 562353"/>
                <a:gd name="connsiteX24" fmla="*/ 469683 w 591411"/>
                <a:gd name="connsiteY24" fmla="*/ 424869 h 562353"/>
                <a:gd name="connsiteX25" fmla="*/ 463895 w 591411"/>
                <a:gd name="connsiteY25" fmla="*/ 409226 h 562353"/>
                <a:gd name="connsiteX26" fmla="*/ 458981 w 591411"/>
                <a:gd name="connsiteY26" fmla="*/ 396174 h 562353"/>
                <a:gd name="connsiteX27" fmla="*/ 451442 w 591411"/>
                <a:gd name="connsiteY27" fmla="*/ 394156 h 562353"/>
                <a:gd name="connsiteX28" fmla="*/ 437543 w 591411"/>
                <a:gd name="connsiteY28" fmla="*/ 392406 h 562353"/>
                <a:gd name="connsiteX29" fmla="*/ 432630 w 591411"/>
                <a:gd name="connsiteY29" fmla="*/ 386048 h 562353"/>
                <a:gd name="connsiteX30" fmla="*/ 431452 w 591411"/>
                <a:gd name="connsiteY30" fmla="*/ 377369 h 562353"/>
                <a:gd name="connsiteX31" fmla="*/ 430880 w 591411"/>
                <a:gd name="connsiteY31" fmla="*/ 373299 h 562353"/>
                <a:gd name="connsiteX32" fmla="*/ 427682 w 591411"/>
                <a:gd name="connsiteY32" fmla="*/ 366941 h 562353"/>
                <a:gd name="connsiteX33" fmla="*/ 430004 w 591411"/>
                <a:gd name="connsiteY33" fmla="*/ 362602 h 562353"/>
                <a:gd name="connsiteX34" fmla="*/ 434649 w 591411"/>
                <a:gd name="connsiteY34" fmla="*/ 363174 h 562353"/>
                <a:gd name="connsiteX35" fmla="*/ 439293 w 591411"/>
                <a:gd name="connsiteY35" fmla="*/ 368388 h 562353"/>
                <a:gd name="connsiteX36" fmla="*/ 447976 w 591411"/>
                <a:gd name="connsiteY36" fmla="*/ 373299 h 562353"/>
                <a:gd name="connsiteX37" fmla="*/ 458712 w 591411"/>
                <a:gd name="connsiteY37" fmla="*/ 371550 h 562353"/>
                <a:gd name="connsiteX38" fmla="*/ 468270 w 591411"/>
                <a:gd name="connsiteY38" fmla="*/ 362568 h 562353"/>
                <a:gd name="connsiteX39" fmla="*/ 474361 w 591411"/>
                <a:gd name="connsiteY39" fmla="*/ 360550 h 562353"/>
                <a:gd name="connsiteX40" fmla="*/ 476078 w 591411"/>
                <a:gd name="connsiteY40" fmla="*/ 356513 h 562353"/>
                <a:gd name="connsiteX41" fmla="*/ 476953 w 591411"/>
                <a:gd name="connsiteY41" fmla="*/ 349280 h 562353"/>
                <a:gd name="connsiteX42" fmla="*/ 476381 w 591411"/>
                <a:gd name="connsiteY42" fmla="*/ 342317 h 562353"/>
                <a:gd name="connsiteX43" fmla="*/ 475506 w 591411"/>
                <a:gd name="connsiteY43" fmla="*/ 338549 h 562353"/>
                <a:gd name="connsiteX44" fmla="*/ 471433 w 591411"/>
                <a:gd name="connsiteY44" fmla="*/ 332763 h 562353"/>
                <a:gd name="connsiteX45" fmla="*/ 471433 w 591411"/>
                <a:gd name="connsiteY45" fmla="*/ 324084 h 562353"/>
                <a:gd name="connsiteX46" fmla="*/ 475203 w 591411"/>
                <a:gd name="connsiteY46" fmla="*/ 318870 h 562353"/>
                <a:gd name="connsiteX47" fmla="*/ 480991 w 591411"/>
                <a:gd name="connsiteY47" fmla="*/ 312781 h 562353"/>
                <a:gd name="connsiteX48" fmla="*/ 486208 w 591411"/>
                <a:gd name="connsiteY48" fmla="*/ 312781 h 562353"/>
                <a:gd name="connsiteX49" fmla="*/ 495766 w 591411"/>
                <a:gd name="connsiteY49" fmla="*/ 312781 h 562353"/>
                <a:gd name="connsiteX50" fmla="*/ 496068 w 591411"/>
                <a:gd name="connsiteY50" fmla="*/ 306121 h 562353"/>
                <a:gd name="connsiteX51" fmla="*/ 495193 w 591411"/>
                <a:gd name="connsiteY51" fmla="*/ 299157 h 562353"/>
                <a:gd name="connsiteX52" fmla="*/ 492299 w 591411"/>
                <a:gd name="connsiteY52" fmla="*/ 294515 h 562353"/>
                <a:gd name="connsiteX53" fmla="*/ 492299 w 591411"/>
                <a:gd name="connsiteY53" fmla="*/ 290176 h 562353"/>
                <a:gd name="connsiteX54" fmla="*/ 494621 w 591411"/>
                <a:gd name="connsiteY54" fmla="*/ 288729 h 562353"/>
                <a:gd name="connsiteX55" fmla="*/ 496068 w 591411"/>
                <a:gd name="connsiteY55" fmla="*/ 284961 h 562353"/>
                <a:gd name="connsiteX56" fmla="*/ 495193 w 591411"/>
                <a:gd name="connsiteY56" fmla="*/ 279747 h 562353"/>
                <a:gd name="connsiteX57" fmla="*/ 492299 w 591411"/>
                <a:gd name="connsiteY57" fmla="*/ 277157 h 562353"/>
                <a:gd name="connsiteX58" fmla="*/ 492299 w 591411"/>
                <a:gd name="connsiteY58" fmla="*/ 267301 h 562353"/>
                <a:gd name="connsiteX59" fmla="*/ 493746 w 591411"/>
                <a:gd name="connsiteY59" fmla="*/ 260068 h 562353"/>
                <a:gd name="connsiteX60" fmla="*/ 495766 w 591411"/>
                <a:gd name="connsiteY60" fmla="*/ 253105 h 562353"/>
                <a:gd name="connsiteX61" fmla="*/ 503877 w 591411"/>
                <a:gd name="connsiteY61" fmla="*/ 252533 h 562353"/>
                <a:gd name="connsiteX62" fmla="*/ 511987 w 591411"/>
                <a:gd name="connsiteY62" fmla="*/ 255729 h 562353"/>
                <a:gd name="connsiteX63" fmla="*/ 517204 w 591411"/>
                <a:gd name="connsiteY63" fmla="*/ 259193 h 562353"/>
                <a:gd name="connsiteX64" fmla="*/ 525617 w 591411"/>
                <a:gd name="connsiteY64" fmla="*/ 258319 h 562353"/>
                <a:gd name="connsiteX65" fmla="*/ 528814 w 591411"/>
                <a:gd name="connsiteY65" fmla="*/ 262658 h 562353"/>
                <a:gd name="connsiteX66" fmla="*/ 532314 w 591411"/>
                <a:gd name="connsiteY66" fmla="*/ 266998 h 562353"/>
                <a:gd name="connsiteX67" fmla="*/ 538675 w 591411"/>
                <a:gd name="connsiteY67" fmla="*/ 271337 h 562353"/>
                <a:gd name="connsiteX68" fmla="*/ 540694 w 591411"/>
                <a:gd name="connsiteY68" fmla="*/ 276552 h 562353"/>
                <a:gd name="connsiteX69" fmla="*/ 542714 w 591411"/>
                <a:gd name="connsiteY69" fmla="*/ 284961 h 562353"/>
                <a:gd name="connsiteX70" fmla="*/ 545339 w 591411"/>
                <a:gd name="connsiteY70" fmla="*/ 290176 h 562353"/>
                <a:gd name="connsiteX71" fmla="*/ 552305 w 591411"/>
                <a:gd name="connsiteY71" fmla="*/ 290176 h 562353"/>
                <a:gd name="connsiteX72" fmla="*/ 558094 w 591411"/>
                <a:gd name="connsiteY72" fmla="*/ 290176 h 562353"/>
                <a:gd name="connsiteX73" fmla="*/ 563882 w 591411"/>
                <a:gd name="connsiteY73" fmla="*/ 285971 h 562353"/>
                <a:gd name="connsiteX74" fmla="*/ 571421 w 591411"/>
                <a:gd name="connsiteY74" fmla="*/ 281463 h 562353"/>
                <a:gd name="connsiteX75" fmla="*/ 578085 w 591411"/>
                <a:gd name="connsiteY75" fmla="*/ 277393 h 562353"/>
                <a:gd name="connsiteX76" fmla="*/ 581282 w 591411"/>
                <a:gd name="connsiteY76" fmla="*/ 272447 h 562353"/>
                <a:gd name="connsiteX77" fmla="*/ 583604 w 591411"/>
                <a:gd name="connsiteY77" fmla="*/ 269252 h 562353"/>
                <a:gd name="connsiteX78" fmla="*/ 587071 w 591411"/>
                <a:gd name="connsiteY78" fmla="*/ 269252 h 562353"/>
                <a:gd name="connsiteX79" fmla="*/ 591412 w 591411"/>
                <a:gd name="connsiteY79" fmla="*/ 269252 h 562353"/>
                <a:gd name="connsiteX80" fmla="*/ 591412 w 591411"/>
                <a:gd name="connsiteY80" fmla="*/ 266628 h 562353"/>
                <a:gd name="connsiteX81" fmla="*/ 591412 w 591411"/>
                <a:gd name="connsiteY81" fmla="*/ 260842 h 562353"/>
                <a:gd name="connsiteX82" fmla="*/ 585623 w 591411"/>
                <a:gd name="connsiteY82" fmla="*/ 254181 h 562353"/>
                <a:gd name="connsiteX83" fmla="*/ 583604 w 591411"/>
                <a:gd name="connsiteY83" fmla="*/ 248664 h 562353"/>
                <a:gd name="connsiteX84" fmla="*/ 580979 w 591411"/>
                <a:gd name="connsiteY84" fmla="*/ 238808 h 562353"/>
                <a:gd name="connsiteX85" fmla="*/ 580979 w 591411"/>
                <a:gd name="connsiteY85" fmla="*/ 231844 h 562353"/>
                <a:gd name="connsiteX86" fmla="*/ 580979 w 591411"/>
                <a:gd name="connsiteY86" fmla="*/ 226058 h 562353"/>
                <a:gd name="connsiteX87" fmla="*/ 577075 w 591411"/>
                <a:gd name="connsiteY87" fmla="*/ 225486 h 562353"/>
                <a:gd name="connsiteX88" fmla="*/ 570849 w 591411"/>
                <a:gd name="connsiteY88" fmla="*/ 227808 h 562353"/>
                <a:gd name="connsiteX89" fmla="*/ 565329 w 591411"/>
                <a:gd name="connsiteY89" fmla="*/ 230129 h 562353"/>
                <a:gd name="connsiteX90" fmla="*/ 565329 w 591411"/>
                <a:gd name="connsiteY90" fmla="*/ 223165 h 562353"/>
                <a:gd name="connsiteX91" fmla="*/ 552507 w 591411"/>
                <a:gd name="connsiteY91" fmla="*/ 219431 h 562353"/>
                <a:gd name="connsiteX92" fmla="*/ 544329 w 591411"/>
                <a:gd name="connsiteY92" fmla="*/ 210483 h 562353"/>
                <a:gd name="connsiteX93" fmla="*/ 536790 w 591411"/>
                <a:gd name="connsiteY93" fmla="*/ 194067 h 562353"/>
                <a:gd name="connsiteX94" fmla="*/ 536252 w 591411"/>
                <a:gd name="connsiteY94" fmla="*/ 192755 h 562353"/>
                <a:gd name="connsiteX95" fmla="*/ 533156 w 591411"/>
                <a:gd name="connsiteY95" fmla="*/ 192755 h 562353"/>
                <a:gd name="connsiteX96" fmla="*/ 524473 w 591411"/>
                <a:gd name="connsiteY96" fmla="*/ 192755 h 562353"/>
                <a:gd name="connsiteX97" fmla="*/ 518381 w 591411"/>
                <a:gd name="connsiteY97" fmla="*/ 194269 h 562353"/>
                <a:gd name="connsiteX98" fmla="*/ 515555 w 591411"/>
                <a:gd name="connsiteY98" fmla="*/ 198306 h 562353"/>
                <a:gd name="connsiteX99" fmla="*/ 500544 w 591411"/>
                <a:gd name="connsiteY99" fmla="*/ 199718 h 562353"/>
                <a:gd name="connsiteX100" fmla="*/ 491424 w 591411"/>
                <a:gd name="connsiteY100" fmla="*/ 199718 h 562353"/>
                <a:gd name="connsiteX101" fmla="*/ 480116 w 591411"/>
                <a:gd name="connsiteY101" fmla="*/ 194303 h 562353"/>
                <a:gd name="connsiteX102" fmla="*/ 476212 w 591411"/>
                <a:gd name="connsiteY102" fmla="*/ 188651 h 562353"/>
                <a:gd name="connsiteX103" fmla="*/ 474900 w 591411"/>
                <a:gd name="connsiteY103" fmla="*/ 180409 h 562353"/>
                <a:gd name="connsiteX104" fmla="*/ 474900 w 591411"/>
                <a:gd name="connsiteY104" fmla="*/ 174556 h 562353"/>
                <a:gd name="connsiteX105" fmla="*/ 470558 w 591411"/>
                <a:gd name="connsiteY105" fmla="*/ 169981 h 562353"/>
                <a:gd name="connsiteX106" fmla="*/ 464029 w 591411"/>
                <a:gd name="connsiteY106" fmla="*/ 164969 h 562353"/>
                <a:gd name="connsiteX107" fmla="*/ 456625 w 591411"/>
                <a:gd name="connsiteY107" fmla="*/ 164969 h 562353"/>
                <a:gd name="connsiteX108" fmla="*/ 452486 w 591411"/>
                <a:gd name="connsiteY108" fmla="*/ 158241 h 562353"/>
                <a:gd name="connsiteX109" fmla="*/ 447034 w 591411"/>
                <a:gd name="connsiteY109" fmla="*/ 153228 h 562353"/>
                <a:gd name="connsiteX110" fmla="*/ 439865 w 591411"/>
                <a:gd name="connsiteY110" fmla="*/ 151042 h 562353"/>
                <a:gd name="connsiteX111" fmla="*/ 430509 w 591411"/>
                <a:gd name="connsiteY111" fmla="*/ 151042 h 562353"/>
                <a:gd name="connsiteX112" fmla="*/ 421827 w 591411"/>
                <a:gd name="connsiteY112" fmla="*/ 151042 h 562353"/>
                <a:gd name="connsiteX113" fmla="*/ 417249 w 591411"/>
                <a:gd name="connsiteY113" fmla="*/ 149091 h 562353"/>
                <a:gd name="connsiteX114" fmla="*/ 415735 w 591411"/>
                <a:gd name="connsiteY114" fmla="*/ 145189 h 562353"/>
                <a:gd name="connsiteX115" fmla="*/ 415735 w 591411"/>
                <a:gd name="connsiteY115" fmla="*/ 139773 h 562353"/>
                <a:gd name="connsiteX116" fmla="*/ 415735 w 591411"/>
                <a:gd name="connsiteY116" fmla="*/ 136308 h 562353"/>
                <a:gd name="connsiteX117" fmla="*/ 417048 w 591411"/>
                <a:gd name="connsiteY117" fmla="*/ 133718 h 562353"/>
                <a:gd name="connsiteX118" fmla="*/ 419874 w 591411"/>
                <a:gd name="connsiteY118" fmla="*/ 130892 h 562353"/>
                <a:gd name="connsiteX119" fmla="*/ 423576 w 591411"/>
                <a:gd name="connsiteY119" fmla="*/ 128066 h 562353"/>
                <a:gd name="connsiteX120" fmla="*/ 427480 w 591411"/>
                <a:gd name="connsiteY120" fmla="*/ 123289 h 562353"/>
                <a:gd name="connsiteX121" fmla="*/ 430509 w 591411"/>
                <a:gd name="connsiteY121" fmla="*/ 123289 h 562353"/>
                <a:gd name="connsiteX122" fmla="*/ 431384 w 591411"/>
                <a:gd name="connsiteY122" fmla="*/ 118512 h 562353"/>
                <a:gd name="connsiteX123" fmla="*/ 431384 w 591411"/>
                <a:gd name="connsiteY123" fmla="*/ 113736 h 562353"/>
                <a:gd name="connsiteX124" fmla="*/ 433572 w 591411"/>
                <a:gd name="connsiteY124" fmla="*/ 108959 h 562353"/>
                <a:gd name="connsiteX125" fmla="*/ 435961 w 591411"/>
                <a:gd name="connsiteY125" fmla="*/ 107008 h 562353"/>
                <a:gd name="connsiteX126" fmla="*/ 439024 w 591411"/>
                <a:gd name="connsiteY126" fmla="*/ 104182 h 562353"/>
                <a:gd name="connsiteX127" fmla="*/ 442726 w 591411"/>
                <a:gd name="connsiteY127" fmla="*/ 102130 h 562353"/>
                <a:gd name="connsiteX128" fmla="*/ 447740 w 591411"/>
                <a:gd name="connsiteY128" fmla="*/ 100717 h 562353"/>
                <a:gd name="connsiteX129" fmla="*/ 453193 w 591411"/>
                <a:gd name="connsiteY129" fmla="*/ 100717 h 562353"/>
                <a:gd name="connsiteX130" fmla="*/ 458409 w 591411"/>
                <a:gd name="connsiteY130" fmla="*/ 97689 h 562353"/>
                <a:gd name="connsiteX131" fmla="*/ 461000 w 591411"/>
                <a:gd name="connsiteY131" fmla="*/ 93787 h 562353"/>
                <a:gd name="connsiteX132" fmla="*/ 461337 w 591411"/>
                <a:gd name="connsiteY132" fmla="*/ 91836 h 562353"/>
                <a:gd name="connsiteX133" fmla="*/ 459284 w 591411"/>
                <a:gd name="connsiteY133" fmla="*/ 88136 h 562353"/>
                <a:gd name="connsiteX134" fmla="*/ 459284 w 591411"/>
                <a:gd name="connsiteY134" fmla="*/ 82484 h 562353"/>
                <a:gd name="connsiteX135" fmla="*/ 462549 w 591411"/>
                <a:gd name="connsiteY135" fmla="*/ 81172 h 562353"/>
                <a:gd name="connsiteX136" fmla="*/ 466453 w 591411"/>
                <a:gd name="connsiteY136" fmla="*/ 79019 h 562353"/>
                <a:gd name="connsiteX137" fmla="*/ 469919 w 591411"/>
                <a:gd name="connsiteY137" fmla="*/ 74680 h 562353"/>
                <a:gd name="connsiteX138" fmla="*/ 471770 w 591411"/>
                <a:gd name="connsiteY138" fmla="*/ 73065 h 562353"/>
                <a:gd name="connsiteX139" fmla="*/ 474597 w 591411"/>
                <a:gd name="connsiteY139" fmla="*/ 71316 h 562353"/>
                <a:gd name="connsiteX140" fmla="*/ 477761 w 591411"/>
                <a:gd name="connsiteY140" fmla="*/ 68591 h 562353"/>
                <a:gd name="connsiteX141" fmla="*/ 479275 w 591411"/>
                <a:gd name="connsiteY141" fmla="*/ 66001 h 562353"/>
                <a:gd name="connsiteX142" fmla="*/ 483852 w 591411"/>
                <a:gd name="connsiteY142" fmla="*/ 66001 h 562353"/>
                <a:gd name="connsiteX143" fmla="*/ 489741 w 591411"/>
                <a:gd name="connsiteY143" fmla="*/ 64252 h 562353"/>
                <a:gd name="connsiteX144" fmla="*/ 491189 w 591411"/>
                <a:gd name="connsiteY144" fmla="*/ 64252 h 562353"/>
                <a:gd name="connsiteX145" fmla="*/ 494083 w 591411"/>
                <a:gd name="connsiteY145" fmla="*/ 60181 h 562353"/>
                <a:gd name="connsiteX146" fmla="*/ 496102 w 591411"/>
                <a:gd name="connsiteY146" fmla="*/ 59038 h 562353"/>
                <a:gd name="connsiteX147" fmla="*/ 497549 w 591411"/>
                <a:gd name="connsiteY147" fmla="*/ 55842 h 562353"/>
                <a:gd name="connsiteX148" fmla="*/ 501891 w 591411"/>
                <a:gd name="connsiteY148" fmla="*/ 52074 h 562353"/>
                <a:gd name="connsiteX149" fmla="*/ 506232 w 591411"/>
                <a:gd name="connsiteY149" fmla="*/ 52074 h 562353"/>
                <a:gd name="connsiteX150" fmla="*/ 506232 w 591411"/>
                <a:gd name="connsiteY150" fmla="*/ 43664 h 562353"/>
                <a:gd name="connsiteX151" fmla="*/ 508857 w 591411"/>
                <a:gd name="connsiteY151" fmla="*/ 38147 h 562353"/>
                <a:gd name="connsiteX152" fmla="*/ 519425 w 591411"/>
                <a:gd name="connsiteY152" fmla="*/ 38147 h 562353"/>
                <a:gd name="connsiteX153" fmla="*/ 524136 w 591411"/>
                <a:gd name="connsiteY153" fmla="*/ 35389 h 562353"/>
                <a:gd name="connsiteX154" fmla="*/ 525651 w 591411"/>
                <a:gd name="connsiteY154" fmla="*/ 30915 h 562353"/>
                <a:gd name="connsiteX155" fmla="*/ 526223 w 591411"/>
                <a:gd name="connsiteY155" fmla="*/ 28325 h 562353"/>
                <a:gd name="connsiteX156" fmla="*/ 528848 w 591411"/>
                <a:gd name="connsiteY156" fmla="*/ 21664 h 562353"/>
                <a:gd name="connsiteX157" fmla="*/ 528848 w 591411"/>
                <a:gd name="connsiteY157" fmla="*/ 17324 h 562353"/>
                <a:gd name="connsiteX158" fmla="*/ 523833 w 591411"/>
                <a:gd name="connsiteY158" fmla="*/ 14465 h 562353"/>
                <a:gd name="connsiteX159" fmla="*/ 522285 w 591411"/>
                <a:gd name="connsiteY159" fmla="*/ 13052 h 562353"/>
                <a:gd name="connsiteX160" fmla="*/ 518651 w 591411"/>
                <a:gd name="connsiteY160" fmla="*/ 16618 h 562353"/>
                <a:gd name="connsiteX161" fmla="*/ 518853 w 591411"/>
                <a:gd name="connsiteY161" fmla="*/ 18502 h 562353"/>
                <a:gd name="connsiteX162" fmla="*/ 518987 w 591411"/>
                <a:gd name="connsiteY162" fmla="*/ 21529 h 562353"/>
                <a:gd name="connsiteX163" fmla="*/ 516800 w 591411"/>
                <a:gd name="connsiteY163" fmla="*/ 24557 h 562353"/>
                <a:gd name="connsiteX164" fmla="*/ 514477 w 591411"/>
                <a:gd name="connsiteY164" fmla="*/ 26441 h 562353"/>
                <a:gd name="connsiteX165" fmla="*/ 511718 w 591411"/>
                <a:gd name="connsiteY165" fmla="*/ 26878 h 562353"/>
                <a:gd name="connsiteX166" fmla="*/ 507376 w 591411"/>
                <a:gd name="connsiteY166" fmla="*/ 31352 h 562353"/>
                <a:gd name="connsiteX167" fmla="*/ 504617 w 591411"/>
                <a:gd name="connsiteY167" fmla="*/ 33673 h 562353"/>
                <a:gd name="connsiteX168" fmla="*/ 495496 w 591411"/>
                <a:gd name="connsiteY168" fmla="*/ 35994 h 562353"/>
                <a:gd name="connsiteX169" fmla="*/ 491289 w 591411"/>
                <a:gd name="connsiteY169" fmla="*/ 37004 h 562353"/>
                <a:gd name="connsiteX170" fmla="*/ 487655 w 591411"/>
                <a:gd name="connsiteY170" fmla="*/ 38316 h 562353"/>
                <a:gd name="connsiteX171" fmla="*/ 485905 w 591411"/>
                <a:gd name="connsiteY171" fmla="*/ 40334 h 562353"/>
                <a:gd name="connsiteX172" fmla="*/ 485333 w 591411"/>
                <a:gd name="connsiteY172" fmla="*/ 43227 h 562353"/>
                <a:gd name="connsiteX173" fmla="*/ 483885 w 591411"/>
                <a:gd name="connsiteY173" fmla="*/ 47701 h 562353"/>
                <a:gd name="connsiteX174" fmla="*/ 483010 w 591411"/>
                <a:gd name="connsiteY174" fmla="*/ 49450 h 562353"/>
                <a:gd name="connsiteX175" fmla="*/ 478804 w 591411"/>
                <a:gd name="connsiteY175" fmla="*/ 48004 h 562353"/>
                <a:gd name="connsiteX176" fmla="*/ 476919 w 591411"/>
                <a:gd name="connsiteY176" fmla="*/ 46120 h 562353"/>
                <a:gd name="connsiteX177" fmla="*/ 475337 w 591411"/>
                <a:gd name="connsiteY177" fmla="*/ 46557 h 562353"/>
                <a:gd name="connsiteX178" fmla="*/ 474159 w 591411"/>
                <a:gd name="connsiteY178" fmla="*/ 48576 h 562353"/>
                <a:gd name="connsiteX179" fmla="*/ 472275 w 591411"/>
                <a:gd name="connsiteY179" fmla="*/ 50762 h 562353"/>
                <a:gd name="connsiteX180" fmla="*/ 470962 w 591411"/>
                <a:gd name="connsiteY180" fmla="*/ 51771 h 562353"/>
                <a:gd name="connsiteX181" fmla="*/ 470222 w 591411"/>
                <a:gd name="connsiteY181" fmla="*/ 53958 h 562353"/>
                <a:gd name="connsiteX182" fmla="*/ 466149 w 591411"/>
                <a:gd name="connsiteY182" fmla="*/ 55775 h 562353"/>
                <a:gd name="connsiteX183" fmla="*/ 461808 w 591411"/>
                <a:gd name="connsiteY183" fmla="*/ 53386 h 562353"/>
                <a:gd name="connsiteX184" fmla="*/ 460933 w 591411"/>
                <a:gd name="connsiteY184" fmla="*/ 48172 h 562353"/>
                <a:gd name="connsiteX185" fmla="*/ 462246 w 591411"/>
                <a:gd name="connsiteY185" fmla="*/ 40334 h 562353"/>
                <a:gd name="connsiteX186" fmla="*/ 464635 w 591411"/>
                <a:gd name="connsiteY186" fmla="*/ 34043 h 562353"/>
                <a:gd name="connsiteX187" fmla="*/ 459419 w 591411"/>
                <a:gd name="connsiteY187" fmla="*/ 34817 h 562353"/>
                <a:gd name="connsiteX188" fmla="*/ 458207 w 591411"/>
                <a:gd name="connsiteY188" fmla="*/ 34178 h 562353"/>
                <a:gd name="connsiteX189" fmla="*/ 457467 w 591411"/>
                <a:gd name="connsiteY189" fmla="*/ 32126 h 562353"/>
                <a:gd name="connsiteX190" fmla="*/ 457467 w 591411"/>
                <a:gd name="connsiteY190" fmla="*/ 28661 h 562353"/>
                <a:gd name="connsiteX191" fmla="*/ 457467 w 591411"/>
                <a:gd name="connsiteY191" fmla="*/ 25196 h 562353"/>
                <a:gd name="connsiteX192" fmla="*/ 456457 w 591411"/>
                <a:gd name="connsiteY192" fmla="*/ 23178 h 562353"/>
                <a:gd name="connsiteX193" fmla="*/ 454875 w 591411"/>
                <a:gd name="connsiteY193" fmla="*/ 17526 h 562353"/>
                <a:gd name="connsiteX194" fmla="*/ 448784 w 591411"/>
                <a:gd name="connsiteY194" fmla="*/ 13893 h 562353"/>
                <a:gd name="connsiteX195" fmla="*/ 446899 w 591411"/>
                <a:gd name="connsiteY195" fmla="*/ 13590 h 562353"/>
                <a:gd name="connsiteX196" fmla="*/ 444308 w 591411"/>
                <a:gd name="connsiteY196" fmla="*/ 12716 h 562353"/>
                <a:gd name="connsiteX197" fmla="*/ 441986 w 591411"/>
                <a:gd name="connsiteY197" fmla="*/ 11841 h 562353"/>
                <a:gd name="connsiteX198" fmla="*/ 439663 w 591411"/>
                <a:gd name="connsiteY198" fmla="*/ 13288 h 562353"/>
                <a:gd name="connsiteX199" fmla="*/ 437341 w 591411"/>
                <a:gd name="connsiteY199" fmla="*/ 16181 h 562353"/>
                <a:gd name="connsiteX200" fmla="*/ 434885 w 591411"/>
                <a:gd name="connsiteY200" fmla="*/ 18064 h 562353"/>
                <a:gd name="connsiteX201" fmla="*/ 433000 w 591411"/>
                <a:gd name="connsiteY201" fmla="*/ 20251 h 562353"/>
                <a:gd name="connsiteX202" fmla="*/ 431418 w 591411"/>
                <a:gd name="connsiteY202" fmla="*/ 25162 h 562353"/>
                <a:gd name="connsiteX203" fmla="*/ 431418 w 591411"/>
                <a:gd name="connsiteY203" fmla="*/ 26037 h 562353"/>
                <a:gd name="connsiteX204" fmla="*/ 428827 w 591411"/>
                <a:gd name="connsiteY204" fmla="*/ 31251 h 562353"/>
                <a:gd name="connsiteX205" fmla="*/ 424485 w 591411"/>
                <a:gd name="connsiteY205" fmla="*/ 33875 h 562353"/>
                <a:gd name="connsiteX206" fmla="*/ 424485 w 591411"/>
                <a:gd name="connsiteY206" fmla="*/ 30410 h 562353"/>
                <a:gd name="connsiteX207" fmla="*/ 424485 w 591411"/>
                <a:gd name="connsiteY207" fmla="*/ 28089 h 562353"/>
                <a:gd name="connsiteX208" fmla="*/ 421523 w 591411"/>
                <a:gd name="connsiteY208" fmla="*/ 25028 h 562353"/>
                <a:gd name="connsiteX209" fmla="*/ 418562 w 591411"/>
                <a:gd name="connsiteY209" fmla="*/ 22000 h 562353"/>
                <a:gd name="connsiteX210" fmla="*/ 414927 w 591411"/>
                <a:gd name="connsiteY210" fmla="*/ 22740 h 562353"/>
                <a:gd name="connsiteX211" fmla="*/ 410586 w 591411"/>
                <a:gd name="connsiteY211" fmla="*/ 24052 h 562353"/>
                <a:gd name="connsiteX212" fmla="*/ 405941 w 591411"/>
                <a:gd name="connsiteY212" fmla="*/ 23480 h 562353"/>
                <a:gd name="connsiteX213" fmla="*/ 401600 w 591411"/>
                <a:gd name="connsiteY213" fmla="*/ 21159 h 562353"/>
                <a:gd name="connsiteX214" fmla="*/ 399985 w 591411"/>
                <a:gd name="connsiteY214" fmla="*/ 21294 h 562353"/>
                <a:gd name="connsiteX215" fmla="*/ 398235 w 591411"/>
                <a:gd name="connsiteY215" fmla="*/ 22168 h 562353"/>
                <a:gd name="connsiteX216" fmla="*/ 391571 w 591411"/>
                <a:gd name="connsiteY216" fmla="*/ 22875 h 562353"/>
                <a:gd name="connsiteX217" fmla="*/ 389384 w 591411"/>
                <a:gd name="connsiteY217" fmla="*/ 22572 h 562353"/>
                <a:gd name="connsiteX218" fmla="*/ 383427 w 591411"/>
                <a:gd name="connsiteY218" fmla="*/ 20688 h 562353"/>
                <a:gd name="connsiteX219" fmla="*/ 379220 w 591411"/>
                <a:gd name="connsiteY219" fmla="*/ 19107 h 562353"/>
                <a:gd name="connsiteX220" fmla="*/ 374878 w 591411"/>
                <a:gd name="connsiteY220" fmla="*/ 17089 h 562353"/>
                <a:gd name="connsiteX221" fmla="*/ 373128 w 591411"/>
                <a:gd name="connsiteY221" fmla="*/ 14768 h 562353"/>
                <a:gd name="connsiteX222" fmla="*/ 372253 w 591411"/>
                <a:gd name="connsiteY222" fmla="*/ 14465 h 562353"/>
                <a:gd name="connsiteX223" fmla="*/ 368652 w 591411"/>
                <a:gd name="connsiteY223" fmla="*/ 12009 h 562353"/>
                <a:gd name="connsiteX224" fmla="*/ 365758 w 591411"/>
                <a:gd name="connsiteY224" fmla="*/ 11135 h 562353"/>
                <a:gd name="connsiteX225" fmla="*/ 361854 w 591411"/>
                <a:gd name="connsiteY225" fmla="*/ 10395 h 562353"/>
                <a:gd name="connsiteX226" fmla="*/ 358522 w 591411"/>
                <a:gd name="connsiteY226" fmla="*/ 9957 h 562353"/>
                <a:gd name="connsiteX227" fmla="*/ 354753 w 591411"/>
                <a:gd name="connsiteY227" fmla="*/ 9385 h 562353"/>
                <a:gd name="connsiteX228" fmla="*/ 351556 w 591411"/>
                <a:gd name="connsiteY228" fmla="*/ 8376 h 562353"/>
                <a:gd name="connsiteX229" fmla="*/ 349233 w 591411"/>
                <a:gd name="connsiteY229" fmla="*/ 7232 h 562353"/>
                <a:gd name="connsiteX230" fmla="*/ 344455 w 591411"/>
                <a:gd name="connsiteY230" fmla="*/ 6089 h 562353"/>
                <a:gd name="connsiteX231" fmla="*/ 344455 w 591411"/>
                <a:gd name="connsiteY231" fmla="*/ 4205 h 562353"/>
                <a:gd name="connsiteX232" fmla="*/ 343714 w 591411"/>
                <a:gd name="connsiteY232" fmla="*/ 1009 h 562353"/>
                <a:gd name="connsiteX233" fmla="*/ 341830 w 591411"/>
                <a:gd name="connsiteY233" fmla="*/ 0 h 562353"/>
                <a:gd name="connsiteX234" fmla="*/ 340248 w 591411"/>
                <a:gd name="connsiteY234" fmla="*/ 0 h 562353"/>
                <a:gd name="connsiteX235" fmla="*/ 338094 w 591411"/>
                <a:gd name="connsiteY235" fmla="*/ 1413 h 562353"/>
                <a:gd name="connsiteX236" fmla="*/ 335637 w 591411"/>
                <a:gd name="connsiteY236" fmla="*/ 3330 h 562353"/>
                <a:gd name="connsiteX237" fmla="*/ 331868 w 591411"/>
                <a:gd name="connsiteY237" fmla="*/ 4777 h 562353"/>
                <a:gd name="connsiteX238" fmla="*/ 328233 w 591411"/>
                <a:gd name="connsiteY238" fmla="*/ 3902 h 562353"/>
                <a:gd name="connsiteX239" fmla="*/ 324329 w 591411"/>
                <a:gd name="connsiteY239" fmla="*/ 3330 h 562353"/>
                <a:gd name="connsiteX240" fmla="*/ 322714 w 591411"/>
                <a:gd name="connsiteY240" fmla="*/ 1884 h 562353"/>
                <a:gd name="connsiteX241" fmla="*/ 320560 w 591411"/>
                <a:gd name="connsiteY241" fmla="*/ 1884 h 562353"/>
                <a:gd name="connsiteX242" fmla="*/ 317935 w 591411"/>
                <a:gd name="connsiteY242" fmla="*/ 2456 h 562353"/>
                <a:gd name="connsiteX243" fmla="*/ 315915 w 591411"/>
                <a:gd name="connsiteY243" fmla="*/ 3330 h 562353"/>
                <a:gd name="connsiteX244" fmla="*/ 312584 w 591411"/>
                <a:gd name="connsiteY244" fmla="*/ 5080 h 562353"/>
                <a:gd name="connsiteX245" fmla="*/ 309824 w 591411"/>
                <a:gd name="connsiteY245" fmla="*/ 5820 h 562353"/>
                <a:gd name="connsiteX246" fmla="*/ 307064 w 591411"/>
                <a:gd name="connsiteY246" fmla="*/ 6391 h 562353"/>
                <a:gd name="connsiteX247" fmla="*/ 306189 w 591411"/>
                <a:gd name="connsiteY247" fmla="*/ 11303 h 562353"/>
                <a:gd name="connsiteX248" fmla="*/ 306189 w 591411"/>
                <a:gd name="connsiteY248" fmla="*/ 12312 h 562353"/>
                <a:gd name="connsiteX249" fmla="*/ 306627 w 591411"/>
                <a:gd name="connsiteY249" fmla="*/ 14499 h 562353"/>
                <a:gd name="connsiteX250" fmla="*/ 307064 w 591411"/>
                <a:gd name="connsiteY250" fmla="*/ 19141 h 562353"/>
                <a:gd name="connsiteX251" fmla="*/ 305483 w 591411"/>
                <a:gd name="connsiteY251" fmla="*/ 19141 h 562353"/>
                <a:gd name="connsiteX252" fmla="*/ 303901 w 591411"/>
                <a:gd name="connsiteY252" fmla="*/ 20285 h 562353"/>
                <a:gd name="connsiteX253" fmla="*/ 303026 w 591411"/>
                <a:gd name="connsiteY253" fmla="*/ 22034 h 562353"/>
                <a:gd name="connsiteX254" fmla="*/ 304036 w 591411"/>
                <a:gd name="connsiteY254" fmla="*/ 24221 h 562353"/>
                <a:gd name="connsiteX255" fmla="*/ 306223 w 591411"/>
                <a:gd name="connsiteY255" fmla="*/ 25970 h 562353"/>
                <a:gd name="connsiteX256" fmla="*/ 306088 w 591411"/>
                <a:gd name="connsiteY256" fmla="*/ 27282 h 562353"/>
                <a:gd name="connsiteX257" fmla="*/ 304338 w 591411"/>
                <a:gd name="connsiteY257" fmla="*/ 29031 h 562353"/>
                <a:gd name="connsiteX258" fmla="*/ 305651 w 591411"/>
                <a:gd name="connsiteY258" fmla="*/ 30175 h 562353"/>
                <a:gd name="connsiteX259" fmla="*/ 304944 w 591411"/>
                <a:gd name="connsiteY259" fmla="*/ 31487 h 562353"/>
                <a:gd name="connsiteX260" fmla="*/ 303362 w 591411"/>
                <a:gd name="connsiteY260" fmla="*/ 33673 h 562353"/>
                <a:gd name="connsiteX261" fmla="*/ 304944 w 591411"/>
                <a:gd name="connsiteY261" fmla="*/ 36432 h 562353"/>
                <a:gd name="connsiteX262" fmla="*/ 306896 w 591411"/>
                <a:gd name="connsiteY262" fmla="*/ 38618 h 562353"/>
                <a:gd name="connsiteX263" fmla="*/ 307973 w 591411"/>
                <a:gd name="connsiteY263" fmla="*/ 40939 h 562353"/>
                <a:gd name="connsiteX264" fmla="*/ 307973 w 591411"/>
                <a:gd name="connsiteY264" fmla="*/ 43698 h 562353"/>
                <a:gd name="connsiteX265" fmla="*/ 306088 w 591411"/>
                <a:gd name="connsiteY265" fmla="*/ 44573 h 562353"/>
                <a:gd name="connsiteX266" fmla="*/ 304204 w 591411"/>
                <a:gd name="connsiteY266" fmla="*/ 46322 h 562353"/>
                <a:gd name="connsiteX267" fmla="*/ 302757 w 591411"/>
                <a:gd name="connsiteY267" fmla="*/ 49652 h 562353"/>
                <a:gd name="connsiteX268" fmla="*/ 302757 w 591411"/>
                <a:gd name="connsiteY268" fmla="*/ 51536 h 562353"/>
                <a:gd name="connsiteX269" fmla="*/ 304136 w 591411"/>
                <a:gd name="connsiteY269" fmla="*/ 53722 h 562353"/>
                <a:gd name="connsiteX270" fmla="*/ 305381 w 591411"/>
                <a:gd name="connsiteY270" fmla="*/ 56044 h 562353"/>
                <a:gd name="connsiteX271" fmla="*/ 306829 w 591411"/>
                <a:gd name="connsiteY271" fmla="*/ 59071 h 562353"/>
                <a:gd name="connsiteX272" fmla="*/ 306829 w 591411"/>
                <a:gd name="connsiteY272" fmla="*/ 59946 h 562353"/>
                <a:gd name="connsiteX273" fmla="*/ 303800 w 591411"/>
                <a:gd name="connsiteY273" fmla="*/ 60821 h 562353"/>
                <a:gd name="connsiteX274" fmla="*/ 301343 w 591411"/>
                <a:gd name="connsiteY274" fmla="*/ 60955 h 562353"/>
                <a:gd name="connsiteX275" fmla="*/ 298449 w 591411"/>
                <a:gd name="connsiteY275" fmla="*/ 60955 h 562353"/>
                <a:gd name="connsiteX276" fmla="*/ 297439 w 591411"/>
                <a:gd name="connsiteY276" fmla="*/ 60955 h 562353"/>
                <a:gd name="connsiteX277" fmla="*/ 295420 w 591411"/>
                <a:gd name="connsiteY277" fmla="*/ 61830 h 562353"/>
                <a:gd name="connsiteX278" fmla="*/ 295857 w 591411"/>
                <a:gd name="connsiteY278" fmla="*/ 64453 h 562353"/>
                <a:gd name="connsiteX279" fmla="*/ 296430 w 591411"/>
                <a:gd name="connsiteY279" fmla="*/ 66909 h 562353"/>
                <a:gd name="connsiteX280" fmla="*/ 297439 w 591411"/>
                <a:gd name="connsiteY280" fmla="*/ 70811 h 562353"/>
                <a:gd name="connsiteX281" fmla="*/ 298449 w 591411"/>
                <a:gd name="connsiteY281" fmla="*/ 73704 h 562353"/>
                <a:gd name="connsiteX282" fmla="*/ 299324 w 591411"/>
                <a:gd name="connsiteY282" fmla="*/ 77472 h 562353"/>
                <a:gd name="connsiteX283" fmla="*/ 299324 w 591411"/>
                <a:gd name="connsiteY283" fmla="*/ 80365 h 562353"/>
                <a:gd name="connsiteX284" fmla="*/ 296867 w 591411"/>
                <a:gd name="connsiteY284" fmla="*/ 83561 h 562353"/>
                <a:gd name="connsiteX285" fmla="*/ 295420 w 591411"/>
                <a:gd name="connsiteY285" fmla="*/ 86588 h 562353"/>
                <a:gd name="connsiteX286" fmla="*/ 293232 w 591411"/>
                <a:gd name="connsiteY286" fmla="*/ 91063 h 562353"/>
                <a:gd name="connsiteX287" fmla="*/ 291348 w 591411"/>
                <a:gd name="connsiteY287" fmla="*/ 93249 h 562353"/>
                <a:gd name="connsiteX288" fmla="*/ 289598 w 591411"/>
                <a:gd name="connsiteY288" fmla="*/ 95705 h 562353"/>
                <a:gd name="connsiteX289" fmla="*/ 287410 w 591411"/>
                <a:gd name="connsiteY289" fmla="*/ 97589 h 562353"/>
                <a:gd name="connsiteX290" fmla="*/ 284347 w 591411"/>
                <a:gd name="connsiteY290" fmla="*/ 100044 h 562353"/>
                <a:gd name="connsiteX291" fmla="*/ 281016 w 591411"/>
                <a:gd name="connsiteY291" fmla="*/ 102668 h 562353"/>
                <a:gd name="connsiteX292" fmla="*/ 280141 w 591411"/>
                <a:gd name="connsiteY292" fmla="*/ 102668 h 562353"/>
                <a:gd name="connsiteX293" fmla="*/ 280141 w 591411"/>
                <a:gd name="connsiteY293" fmla="*/ 105258 h 562353"/>
                <a:gd name="connsiteX294" fmla="*/ 280141 w 591411"/>
                <a:gd name="connsiteY294" fmla="*/ 105999 h 562353"/>
                <a:gd name="connsiteX295" fmla="*/ 279265 w 591411"/>
                <a:gd name="connsiteY295" fmla="*/ 108454 h 562353"/>
                <a:gd name="connsiteX296" fmla="*/ 276809 w 591411"/>
                <a:gd name="connsiteY296" fmla="*/ 109329 h 562353"/>
                <a:gd name="connsiteX297" fmla="*/ 274924 w 591411"/>
                <a:gd name="connsiteY297" fmla="*/ 108757 h 562353"/>
                <a:gd name="connsiteX298" fmla="*/ 272905 w 591411"/>
                <a:gd name="connsiteY298" fmla="*/ 106738 h 562353"/>
                <a:gd name="connsiteX299" fmla="*/ 269842 w 591411"/>
                <a:gd name="connsiteY299" fmla="*/ 105999 h 562353"/>
                <a:gd name="connsiteX300" fmla="*/ 265198 w 591411"/>
                <a:gd name="connsiteY300" fmla="*/ 106738 h 562353"/>
                <a:gd name="connsiteX301" fmla="*/ 262135 w 591411"/>
                <a:gd name="connsiteY301" fmla="*/ 109329 h 562353"/>
                <a:gd name="connsiteX302" fmla="*/ 260958 w 591411"/>
                <a:gd name="connsiteY302" fmla="*/ 112222 h 562353"/>
                <a:gd name="connsiteX303" fmla="*/ 259207 w 591411"/>
                <a:gd name="connsiteY303" fmla="*/ 113971 h 562353"/>
                <a:gd name="connsiteX304" fmla="*/ 259207 w 591411"/>
                <a:gd name="connsiteY304" fmla="*/ 118008 h 562353"/>
                <a:gd name="connsiteX305" fmla="*/ 255876 w 591411"/>
                <a:gd name="connsiteY305" fmla="*/ 121035 h 562353"/>
                <a:gd name="connsiteX306" fmla="*/ 251534 w 591411"/>
                <a:gd name="connsiteY306" fmla="*/ 120766 h 562353"/>
                <a:gd name="connsiteX307" fmla="*/ 248640 w 591411"/>
                <a:gd name="connsiteY307" fmla="*/ 118882 h 562353"/>
                <a:gd name="connsiteX308" fmla="*/ 247900 w 591411"/>
                <a:gd name="connsiteY308" fmla="*/ 116561 h 562353"/>
                <a:gd name="connsiteX309" fmla="*/ 245443 w 591411"/>
                <a:gd name="connsiteY309" fmla="*/ 116561 h 562353"/>
                <a:gd name="connsiteX310" fmla="*/ 241976 w 591411"/>
                <a:gd name="connsiteY310" fmla="*/ 117436 h 562353"/>
                <a:gd name="connsiteX311" fmla="*/ 237904 w 591411"/>
                <a:gd name="connsiteY311" fmla="*/ 118445 h 562353"/>
                <a:gd name="connsiteX312" fmla="*/ 236592 w 591411"/>
                <a:gd name="connsiteY312" fmla="*/ 119892 h 562353"/>
                <a:gd name="connsiteX313" fmla="*/ 235717 w 591411"/>
                <a:gd name="connsiteY313" fmla="*/ 121035 h 562353"/>
                <a:gd name="connsiteX314" fmla="*/ 234135 w 591411"/>
                <a:gd name="connsiteY314" fmla="*/ 122785 h 562353"/>
                <a:gd name="connsiteX315" fmla="*/ 233125 w 591411"/>
                <a:gd name="connsiteY315" fmla="*/ 124366 h 562353"/>
                <a:gd name="connsiteX316" fmla="*/ 233125 w 591411"/>
                <a:gd name="connsiteY316" fmla="*/ 127831 h 562353"/>
                <a:gd name="connsiteX317" fmla="*/ 233125 w 591411"/>
                <a:gd name="connsiteY317" fmla="*/ 128571 h 562353"/>
                <a:gd name="connsiteX318" fmla="*/ 231442 w 591411"/>
                <a:gd name="connsiteY318" fmla="*/ 130454 h 562353"/>
                <a:gd name="connsiteX319" fmla="*/ 228043 w 591411"/>
                <a:gd name="connsiteY319" fmla="*/ 133348 h 562353"/>
                <a:gd name="connsiteX320" fmla="*/ 223836 w 591411"/>
                <a:gd name="connsiteY320" fmla="*/ 133482 h 562353"/>
                <a:gd name="connsiteX321" fmla="*/ 221817 w 591411"/>
                <a:gd name="connsiteY321" fmla="*/ 131733 h 562353"/>
                <a:gd name="connsiteX322" fmla="*/ 220942 w 591411"/>
                <a:gd name="connsiteY322" fmla="*/ 129849 h 562353"/>
                <a:gd name="connsiteX323" fmla="*/ 220067 w 591411"/>
                <a:gd name="connsiteY323" fmla="*/ 126956 h 562353"/>
                <a:gd name="connsiteX324" fmla="*/ 218351 w 591411"/>
                <a:gd name="connsiteY324" fmla="*/ 126956 h 562353"/>
                <a:gd name="connsiteX325" fmla="*/ 215456 w 591411"/>
                <a:gd name="connsiteY325" fmla="*/ 126956 h 562353"/>
                <a:gd name="connsiteX326" fmla="*/ 214447 w 591411"/>
                <a:gd name="connsiteY326" fmla="*/ 128974 h 562353"/>
                <a:gd name="connsiteX327" fmla="*/ 212865 w 591411"/>
                <a:gd name="connsiteY327" fmla="*/ 131161 h 562353"/>
                <a:gd name="connsiteX328" fmla="*/ 210846 w 591411"/>
                <a:gd name="connsiteY328" fmla="*/ 133179 h 562353"/>
                <a:gd name="connsiteX329" fmla="*/ 207985 w 591411"/>
                <a:gd name="connsiteY329" fmla="*/ 134828 h 562353"/>
                <a:gd name="connsiteX330" fmla="*/ 205057 w 591411"/>
                <a:gd name="connsiteY330" fmla="*/ 133953 h 562353"/>
                <a:gd name="connsiteX331" fmla="*/ 200918 w 591411"/>
                <a:gd name="connsiteY331" fmla="*/ 133045 h 562353"/>
                <a:gd name="connsiteX332" fmla="*/ 196341 w 591411"/>
                <a:gd name="connsiteY332" fmla="*/ 132507 h 562353"/>
                <a:gd name="connsiteX333" fmla="*/ 191124 w 591411"/>
                <a:gd name="connsiteY333" fmla="*/ 132607 h 562353"/>
                <a:gd name="connsiteX334" fmla="*/ 185908 w 591411"/>
                <a:gd name="connsiteY334" fmla="*/ 131968 h 562353"/>
                <a:gd name="connsiteX335" fmla="*/ 178639 w 591411"/>
                <a:gd name="connsiteY335" fmla="*/ 132338 h 562353"/>
                <a:gd name="connsiteX336" fmla="*/ 174735 w 591411"/>
                <a:gd name="connsiteY336" fmla="*/ 131195 h 562353"/>
                <a:gd name="connsiteX337" fmla="*/ 174028 w 591411"/>
                <a:gd name="connsiteY337" fmla="*/ 129883 h 562353"/>
                <a:gd name="connsiteX338" fmla="*/ 170696 w 591411"/>
                <a:gd name="connsiteY338" fmla="*/ 128739 h 562353"/>
                <a:gd name="connsiteX339" fmla="*/ 167364 w 591411"/>
                <a:gd name="connsiteY339" fmla="*/ 127999 h 562353"/>
                <a:gd name="connsiteX340" fmla="*/ 164470 w 591411"/>
                <a:gd name="connsiteY340" fmla="*/ 128739 h 562353"/>
                <a:gd name="connsiteX341" fmla="*/ 161879 w 591411"/>
                <a:gd name="connsiteY341" fmla="*/ 128739 h 562353"/>
                <a:gd name="connsiteX342" fmla="*/ 160566 w 591411"/>
                <a:gd name="connsiteY342" fmla="*/ 129748 h 562353"/>
                <a:gd name="connsiteX343" fmla="*/ 160700 w 591411"/>
                <a:gd name="connsiteY343" fmla="*/ 130623 h 562353"/>
                <a:gd name="connsiteX344" fmla="*/ 160566 w 591411"/>
                <a:gd name="connsiteY344" fmla="*/ 133078 h 562353"/>
                <a:gd name="connsiteX345" fmla="*/ 159388 w 591411"/>
                <a:gd name="connsiteY345" fmla="*/ 134828 h 562353"/>
                <a:gd name="connsiteX346" fmla="*/ 158378 w 591411"/>
                <a:gd name="connsiteY346" fmla="*/ 136577 h 562353"/>
                <a:gd name="connsiteX347" fmla="*/ 158378 w 591411"/>
                <a:gd name="connsiteY347" fmla="*/ 137317 h 562353"/>
                <a:gd name="connsiteX348" fmla="*/ 159018 w 591411"/>
                <a:gd name="connsiteY348" fmla="*/ 139638 h 562353"/>
                <a:gd name="connsiteX349" fmla="*/ 160095 w 591411"/>
                <a:gd name="connsiteY349" fmla="*/ 141522 h 562353"/>
                <a:gd name="connsiteX350" fmla="*/ 160970 w 591411"/>
                <a:gd name="connsiteY350" fmla="*/ 143708 h 562353"/>
                <a:gd name="connsiteX351" fmla="*/ 161845 w 591411"/>
                <a:gd name="connsiteY351" fmla="*/ 147039 h 562353"/>
                <a:gd name="connsiteX352" fmla="*/ 161845 w 591411"/>
                <a:gd name="connsiteY352" fmla="*/ 149663 h 562353"/>
                <a:gd name="connsiteX353" fmla="*/ 160600 w 591411"/>
                <a:gd name="connsiteY353" fmla="*/ 151244 h 562353"/>
                <a:gd name="connsiteX354" fmla="*/ 158345 w 591411"/>
                <a:gd name="connsiteY354" fmla="*/ 151378 h 562353"/>
                <a:gd name="connsiteX355" fmla="*/ 155585 w 591411"/>
                <a:gd name="connsiteY355" fmla="*/ 150235 h 562353"/>
                <a:gd name="connsiteX356" fmla="*/ 152253 w 591411"/>
                <a:gd name="connsiteY356" fmla="*/ 149663 h 562353"/>
                <a:gd name="connsiteX357" fmla="*/ 147171 w 591411"/>
                <a:gd name="connsiteY357" fmla="*/ 149663 h 562353"/>
                <a:gd name="connsiteX358" fmla="*/ 141383 w 591411"/>
                <a:gd name="connsiteY358" fmla="*/ 150975 h 562353"/>
                <a:gd name="connsiteX359" fmla="*/ 137176 w 591411"/>
                <a:gd name="connsiteY359" fmla="*/ 153598 h 562353"/>
                <a:gd name="connsiteX360" fmla="*/ 132969 w 591411"/>
                <a:gd name="connsiteY360" fmla="*/ 158678 h 562353"/>
                <a:gd name="connsiteX361" fmla="*/ 130950 w 591411"/>
                <a:gd name="connsiteY361" fmla="*/ 160427 h 562353"/>
                <a:gd name="connsiteX362" fmla="*/ 128762 w 591411"/>
                <a:gd name="connsiteY362" fmla="*/ 162614 h 562353"/>
                <a:gd name="connsiteX363" fmla="*/ 126003 w 591411"/>
                <a:gd name="connsiteY363" fmla="*/ 165070 h 562353"/>
                <a:gd name="connsiteX364" fmla="*/ 123546 w 591411"/>
                <a:gd name="connsiteY364" fmla="*/ 166819 h 562353"/>
                <a:gd name="connsiteX365" fmla="*/ 122536 w 591411"/>
                <a:gd name="connsiteY365" fmla="*/ 168131 h 562353"/>
                <a:gd name="connsiteX366" fmla="*/ 120517 w 591411"/>
                <a:gd name="connsiteY366" fmla="*/ 169880 h 562353"/>
                <a:gd name="connsiteX367" fmla="*/ 118329 w 591411"/>
                <a:gd name="connsiteY367" fmla="*/ 171461 h 562353"/>
                <a:gd name="connsiteX368" fmla="*/ 118329 w 591411"/>
                <a:gd name="connsiteY368" fmla="*/ 174085 h 562353"/>
                <a:gd name="connsiteX369" fmla="*/ 117959 w 591411"/>
                <a:gd name="connsiteY369" fmla="*/ 176103 h 562353"/>
                <a:gd name="connsiteX370" fmla="*/ 116310 w 591411"/>
                <a:gd name="connsiteY370" fmla="*/ 177685 h 562353"/>
                <a:gd name="connsiteX371" fmla="*/ 113853 w 591411"/>
                <a:gd name="connsiteY371" fmla="*/ 179266 h 562353"/>
                <a:gd name="connsiteX372" fmla="*/ 112709 w 591411"/>
                <a:gd name="connsiteY372" fmla="*/ 180006 h 562353"/>
                <a:gd name="connsiteX373" fmla="*/ 108805 w 591411"/>
                <a:gd name="connsiteY373" fmla="*/ 182764 h 562353"/>
                <a:gd name="connsiteX374" fmla="*/ 108233 w 591411"/>
                <a:gd name="connsiteY374" fmla="*/ 182764 h 562353"/>
                <a:gd name="connsiteX375" fmla="*/ 104026 w 591411"/>
                <a:gd name="connsiteY375" fmla="*/ 183134 h 562353"/>
                <a:gd name="connsiteX376" fmla="*/ 100829 w 591411"/>
                <a:gd name="connsiteY376" fmla="*/ 182764 h 562353"/>
                <a:gd name="connsiteX377" fmla="*/ 99247 w 591411"/>
                <a:gd name="connsiteY377" fmla="*/ 183639 h 562353"/>
                <a:gd name="connsiteX378" fmla="*/ 93593 w 591411"/>
                <a:gd name="connsiteY378" fmla="*/ 185522 h 562353"/>
                <a:gd name="connsiteX379" fmla="*/ 89656 w 591411"/>
                <a:gd name="connsiteY379" fmla="*/ 186229 h 562353"/>
                <a:gd name="connsiteX380" fmla="*/ 81848 w 591411"/>
                <a:gd name="connsiteY380" fmla="*/ 186229 h 562353"/>
                <a:gd name="connsiteX381" fmla="*/ 76934 w 591411"/>
                <a:gd name="connsiteY381" fmla="*/ 186801 h 562353"/>
                <a:gd name="connsiteX382" fmla="*/ 72155 w 591411"/>
                <a:gd name="connsiteY382" fmla="*/ 189391 h 562353"/>
                <a:gd name="connsiteX383" fmla="*/ 68521 w 591411"/>
                <a:gd name="connsiteY383" fmla="*/ 193159 h 562353"/>
                <a:gd name="connsiteX384" fmla="*/ 65189 w 591411"/>
                <a:gd name="connsiteY384" fmla="*/ 194740 h 562353"/>
                <a:gd name="connsiteX385" fmla="*/ 61992 w 591411"/>
                <a:gd name="connsiteY385" fmla="*/ 195884 h 562353"/>
                <a:gd name="connsiteX386" fmla="*/ 59400 w 591411"/>
                <a:gd name="connsiteY386" fmla="*/ 195884 h 562353"/>
                <a:gd name="connsiteX387" fmla="*/ 55463 w 591411"/>
                <a:gd name="connsiteY387" fmla="*/ 195884 h 562353"/>
                <a:gd name="connsiteX388" fmla="*/ 51256 w 591411"/>
                <a:gd name="connsiteY388" fmla="*/ 196590 h 562353"/>
                <a:gd name="connsiteX389" fmla="*/ 49674 w 591411"/>
                <a:gd name="connsiteY389" fmla="*/ 196590 h 562353"/>
                <a:gd name="connsiteX390" fmla="*/ 47487 w 591411"/>
                <a:gd name="connsiteY390" fmla="*/ 200358 h 562353"/>
                <a:gd name="connsiteX391" fmla="*/ 45736 w 591411"/>
                <a:gd name="connsiteY391" fmla="*/ 203116 h 562353"/>
                <a:gd name="connsiteX392" fmla="*/ 42539 w 591411"/>
                <a:gd name="connsiteY392" fmla="*/ 205437 h 562353"/>
                <a:gd name="connsiteX393" fmla="*/ 40217 w 591411"/>
                <a:gd name="connsiteY393" fmla="*/ 207456 h 562353"/>
                <a:gd name="connsiteX394" fmla="*/ 33688 w 591411"/>
                <a:gd name="connsiteY394" fmla="*/ 210315 h 562353"/>
                <a:gd name="connsiteX395" fmla="*/ 28606 w 591411"/>
                <a:gd name="connsiteY395" fmla="*/ 210517 h 562353"/>
                <a:gd name="connsiteX396" fmla="*/ 22077 w 591411"/>
                <a:gd name="connsiteY396" fmla="*/ 210517 h 562353"/>
                <a:gd name="connsiteX397" fmla="*/ 16558 w 591411"/>
                <a:gd name="connsiteY397" fmla="*/ 210517 h 562353"/>
                <a:gd name="connsiteX398" fmla="*/ 11342 w 591411"/>
                <a:gd name="connsiteY398" fmla="*/ 210517 h 562353"/>
                <a:gd name="connsiteX399" fmla="*/ 9591 w 591411"/>
                <a:gd name="connsiteY399" fmla="*/ 210517 h 562353"/>
                <a:gd name="connsiteX400" fmla="*/ 3938 w 591411"/>
                <a:gd name="connsiteY400" fmla="*/ 210517 h 562353"/>
                <a:gd name="connsiteX401" fmla="*/ 740 w 591411"/>
                <a:gd name="connsiteY401" fmla="*/ 212905 h 562353"/>
                <a:gd name="connsiteX402" fmla="*/ 0 w 591411"/>
                <a:gd name="connsiteY402" fmla="*/ 214856 h 562353"/>
                <a:gd name="connsiteX403" fmla="*/ 0 w 591411"/>
                <a:gd name="connsiteY403" fmla="*/ 219633 h 562353"/>
                <a:gd name="connsiteX404" fmla="*/ 1582 w 591411"/>
                <a:gd name="connsiteY404" fmla="*/ 221954 h 562353"/>
                <a:gd name="connsiteX405" fmla="*/ 5216 w 591411"/>
                <a:gd name="connsiteY405" fmla="*/ 226462 h 562353"/>
                <a:gd name="connsiteX406" fmla="*/ 9693 w 591411"/>
                <a:gd name="connsiteY406" fmla="*/ 231104 h 562353"/>
                <a:gd name="connsiteX407" fmla="*/ 11442 w 591411"/>
                <a:gd name="connsiteY407" fmla="*/ 233123 h 562353"/>
                <a:gd name="connsiteX408" fmla="*/ 14774 w 591411"/>
                <a:gd name="connsiteY408" fmla="*/ 236318 h 562353"/>
                <a:gd name="connsiteX409" fmla="*/ 16491 w 591411"/>
                <a:gd name="connsiteY409" fmla="*/ 238505 h 562353"/>
                <a:gd name="connsiteX410" fmla="*/ 15481 w 591411"/>
                <a:gd name="connsiteY410" fmla="*/ 240086 h 562353"/>
                <a:gd name="connsiteX411" fmla="*/ 14774 w 591411"/>
                <a:gd name="connsiteY411" fmla="*/ 241835 h 562353"/>
                <a:gd name="connsiteX412" fmla="*/ 12183 w 591411"/>
                <a:gd name="connsiteY412" fmla="*/ 241835 h 562353"/>
                <a:gd name="connsiteX413" fmla="*/ 8414 w 591411"/>
                <a:gd name="connsiteY413" fmla="*/ 244089 h 562353"/>
                <a:gd name="connsiteX414" fmla="*/ 8414 w 591411"/>
                <a:gd name="connsiteY414" fmla="*/ 245031 h 562353"/>
                <a:gd name="connsiteX415" fmla="*/ 10164 w 591411"/>
                <a:gd name="connsiteY415" fmla="*/ 248227 h 562353"/>
                <a:gd name="connsiteX416" fmla="*/ 12048 w 591411"/>
                <a:gd name="connsiteY416" fmla="*/ 250683 h 562353"/>
                <a:gd name="connsiteX417" fmla="*/ 15683 w 591411"/>
                <a:gd name="connsiteY417" fmla="*/ 252432 h 562353"/>
                <a:gd name="connsiteX418" fmla="*/ 19890 w 591411"/>
                <a:gd name="connsiteY418" fmla="*/ 253576 h 562353"/>
                <a:gd name="connsiteX419" fmla="*/ 24534 w 591411"/>
                <a:gd name="connsiteY419" fmla="*/ 254753 h 562353"/>
                <a:gd name="connsiteX420" fmla="*/ 27428 w 591411"/>
                <a:gd name="connsiteY420" fmla="*/ 256502 h 562353"/>
                <a:gd name="connsiteX421" fmla="*/ 29178 w 591411"/>
                <a:gd name="connsiteY421" fmla="*/ 257814 h 562353"/>
                <a:gd name="connsiteX422" fmla="*/ 31366 w 591411"/>
                <a:gd name="connsiteY422" fmla="*/ 260404 h 562353"/>
                <a:gd name="connsiteX423" fmla="*/ 31231 w 591411"/>
                <a:gd name="connsiteY423" fmla="*/ 261851 h 562353"/>
                <a:gd name="connsiteX424" fmla="*/ 28775 w 591411"/>
                <a:gd name="connsiteY424" fmla="*/ 264878 h 562353"/>
                <a:gd name="connsiteX425" fmla="*/ 25140 w 591411"/>
                <a:gd name="connsiteY425" fmla="*/ 266762 h 562353"/>
                <a:gd name="connsiteX426" fmla="*/ 21371 w 591411"/>
                <a:gd name="connsiteY426" fmla="*/ 270093 h 562353"/>
                <a:gd name="connsiteX427" fmla="*/ 19923 w 591411"/>
                <a:gd name="connsiteY427" fmla="*/ 272986 h 562353"/>
                <a:gd name="connsiteX428" fmla="*/ 20933 w 591411"/>
                <a:gd name="connsiteY428" fmla="*/ 276013 h 562353"/>
                <a:gd name="connsiteX429" fmla="*/ 23525 w 591411"/>
                <a:gd name="connsiteY429" fmla="*/ 278334 h 562353"/>
                <a:gd name="connsiteX430" fmla="*/ 28741 w 591411"/>
                <a:gd name="connsiteY430" fmla="*/ 278334 h 562353"/>
                <a:gd name="connsiteX431" fmla="*/ 32376 w 591411"/>
                <a:gd name="connsiteY431" fmla="*/ 281799 h 562353"/>
                <a:gd name="connsiteX432" fmla="*/ 29044 w 591411"/>
                <a:gd name="connsiteY432" fmla="*/ 285130 h 562353"/>
                <a:gd name="connsiteX433" fmla="*/ 28034 w 591411"/>
                <a:gd name="connsiteY433" fmla="*/ 286139 h 562353"/>
                <a:gd name="connsiteX434" fmla="*/ 26149 w 591411"/>
                <a:gd name="connsiteY434" fmla="*/ 287888 h 562353"/>
                <a:gd name="connsiteX435" fmla="*/ 26149 w 591411"/>
                <a:gd name="connsiteY435" fmla="*/ 290916 h 562353"/>
                <a:gd name="connsiteX436" fmla="*/ 27159 w 591411"/>
                <a:gd name="connsiteY436" fmla="*/ 293237 h 562353"/>
                <a:gd name="connsiteX437" fmla="*/ 29481 w 591411"/>
                <a:gd name="connsiteY437" fmla="*/ 293977 h 562353"/>
                <a:gd name="connsiteX438" fmla="*/ 32241 w 591411"/>
                <a:gd name="connsiteY438" fmla="*/ 293977 h 562353"/>
                <a:gd name="connsiteX439" fmla="*/ 37895 w 591411"/>
                <a:gd name="connsiteY439" fmla="*/ 293977 h 562353"/>
                <a:gd name="connsiteX440" fmla="*/ 39342 w 591411"/>
                <a:gd name="connsiteY440" fmla="*/ 295356 h 562353"/>
                <a:gd name="connsiteX441" fmla="*/ 43549 w 591411"/>
                <a:gd name="connsiteY441" fmla="*/ 299763 h 562353"/>
                <a:gd name="connsiteX442" fmla="*/ 46107 w 591411"/>
                <a:gd name="connsiteY442" fmla="*/ 302656 h 562353"/>
                <a:gd name="connsiteX443" fmla="*/ 46174 w 591411"/>
                <a:gd name="connsiteY443" fmla="*/ 306861 h 562353"/>
                <a:gd name="connsiteX444" fmla="*/ 46174 w 591411"/>
                <a:gd name="connsiteY444" fmla="*/ 311772 h 562353"/>
                <a:gd name="connsiteX445" fmla="*/ 49641 w 591411"/>
                <a:gd name="connsiteY445" fmla="*/ 316549 h 562353"/>
                <a:gd name="connsiteX446" fmla="*/ 52097 w 591411"/>
                <a:gd name="connsiteY446" fmla="*/ 316549 h 562353"/>
                <a:gd name="connsiteX447" fmla="*/ 53612 w 591411"/>
                <a:gd name="connsiteY447" fmla="*/ 318130 h 562353"/>
                <a:gd name="connsiteX448" fmla="*/ 57011 w 591411"/>
                <a:gd name="connsiteY448" fmla="*/ 320451 h 562353"/>
                <a:gd name="connsiteX449" fmla="*/ 61554 w 591411"/>
                <a:gd name="connsiteY449" fmla="*/ 324421 h 562353"/>
                <a:gd name="connsiteX450" fmla="*/ 65828 w 591411"/>
                <a:gd name="connsiteY450" fmla="*/ 327953 h 562353"/>
                <a:gd name="connsiteX451" fmla="*/ 67915 w 591411"/>
                <a:gd name="connsiteY451" fmla="*/ 332225 h 562353"/>
                <a:gd name="connsiteX452" fmla="*/ 68420 w 591411"/>
                <a:gd name="connsiteY452" fmla="*/ 337136 h 562353"/>
                <a:gd name="connsiteX453" fmla="*/ 67848 w 591411"/>
                <a:gd name="connsiteY453" fmla="*/ 339962 h 562353"/>
                <a:gd name="connsiteX454" fmla="*/ 67848 w 591411"/>
                <a:gd name="connsiteY454" fmla="*/ 345378 h 562353"/>
                <a:gd name="connsiteX455" fmla="*/ 67848 w 591411"/>
                <a:gd name="connsiteY455" fmla="*/ 348641 h 562353"/>
                <a:gd name="connsiteX456" fmla="*/ 67848 w 591411"/>
                <a:gd name="connsiteY456" fmla="*/ 352779 h 562353"/>
                <a:gd name="connsiteX457" fmla="*/ 65223 w 591411"/>
                <a:gd name="connsiteY457" fmla="*/ 356513 h 562353"/>
                <a:gd name="connsiteX458" fmla="*/ 62093 w 591411"/>
                <a:gd name="connsiteY458" fmla="*/ 361222 h 562353"/>
                <a:gd name="connsiteX459" fmla="*/ 65021 w 591411"/>
                <a:gd name="connsiteY459" fmla="*/ 359170 h 562353"/>
                <a:gd name="connsiteX460" fmla="*/ 66972 w 591411"/>
                <a:gd name="connsiteY460" fmla="*/ 359709 h 562353"/>
                <a:gd name="connsiteX461" fmla="*/ 67949 w 591411"/>
                <a:gd name="connsiteY461" fmla="*/ 361761 h 562353"/>
                <a:gd name="connsiteX462" fmla="*/ 69665 w 591411"/>
                <a:gd name="connsiteY462" fmla="*/ 365125 h 562353"/>
                <a:gd name="connsiteX463" fmla="*/ 72694 w 591411"/>
                <a:gd name="connsiteY463" fmla="*/ 370978 h 562353"/>
                <a:gd name="connsiteX464" fmla="*/ 75622 w 591411"/>
                <a:gd name="connsiteY464" fmla="*/ 375654 h 562353"/>
                <a:gd name="connsiteX465" fmla="*/ 77910 w 591411"/>
                <a:gd name="connsiteY465" fmla="*/ 378143 h 562353"/>
                <a:gd name="connsiteX466" fmla="*/ 80300 w 591411"/>
                <a:gd name="connsiteY466" fmla="*/ 383794 h 562353"/>
                <a:gd name="connsiteX467" fmla="*/ 84978 w 591411"/>
                <a:gd name="connsiteY467" fmla="*/ 391599 h 562353"/>
                <a:gd name="connsiteX468" fmla="*/ 86492 w 591411"/>
                <a:gd name="connsiteY468" fmla="*/ 395838 h 562353"/>
                <a:gd name="connsiteX469" fmla="*/ 85752 w 591411"/>
                <a:gd name="connsiteY469" fmla="*/ 400513 h 562353"/>
                <a:gd name="connsiteX470" fmla="*/ 86492 w 591411"/>
                <a:gd name="connsiteY470" fmla="*/ 405088 h 562353"/>
                <a:gd name="connsiteX471" fmla="*/ 88680 w 591411"/>
                <a:gd name="connsiteY471" fmla="*/ 408789 h 562353"/>
                <a:gd name="connsiteX472" fmla="*/ 96521 w 591411"/>
                <a:gd name="connsiteY472" fmla="*/ 410538 h 562353"/>
                <a:gd name="connsiteX473" fmla="*/ 102377 w 591411"/>
                <a:gd name="connsiteY473" fmla="*/ 415315 h 562353"/>
                <a:gd name="connsiteX474" fmla="*/ 104767 w 591411"/>
                <a:gd name="connsiteY474" fmla="*/ 419015 h 562353"/>
                <a:gd name="connsiteX475" fmla="*/ 106517 w 591411"/>
                <a:gd name="connsiteY475" fmla="*/ 424431 h 562353"/>
                <a:gd name="connsiteX476" fmla="*/ 107829 w 591411"/>
                <a:gd name="connsiteY476" fmla="*/ 427022 h 562353"/>
                <a:gd name="connsiteX477" fmla="*/ 109142 w 591411"/>
                <a:gd name="connsiteY477" fmla="*/ 429410 h 562353"/>
                <a:gd name="connsiteX478" fmla="*/ 111531 w 591411"/>
                <a:gd name="connsiteY478" fmla="*/ 431798 h 562353"/>
                <a:gd name="connsiteX479" fmla="*/ 115873 w 591411"/>
                <a:gd name="connsiteY479" fmla="*/ 433110 h 562353"/>
                <a:gd name="connsiteX480" fmla="*/ 122402 w 591411"/>
                <a:gd name="connsiteY480" fmla="*/ 434624 h 562353"/>
                <a:gd name="connsiteX481" fmla="*/ 126104 w 591411"/>
                <a:gd name="connsiteY481" fmla="*/ 435263 h 562353"/>
                <a:gd name="connsiteX482" fmla="*/ 128056 w 591411"/>
                <a:gd name="connsiteY482" fmla="*/ 433749 h 562353"/>
                <a:gd name="connsiteX483" fmla="*/ 131758 w 591411"/>
                <a:gd name="connsiteY483" fmla="*/ 433312 h 562353"/>
                <a:gd name="connsiteX484" fmla="*/ 133070 w 591411"/>
                <a:gd name="connsiteY484" fmla="*/ 433749 h 562353"/>
                <a:gd name="connsiteX485" fmla="*/ 135022 w 591411"/>
                <a:gd name="connsiteY485" fmla="*/ 437450 h 562353"/>
                <a:gd name="connsiteX486" fmla="*/ 136772 w 591411"/>
                <a:gd name="connsiteY486" fmla="*/ 442025 h 562353"/>
                <a:gd name="connsiteX487" fmla="*/ 138085 w 591411"/>
                <a:gd name="connsiteY487" fmla="*/ 443976 h 562353"/>
                <a:gd name="connsiteX488" fmla="*/ 140272 w 591411"/>
                <a:gd name="connsiteY488" fmla="*/ 445052 h 562353"/>
                <a:gd name="connsiteX489" fmla="*/ 143099 w 591411"/>
                <a:gd name="connsiteY489" fmla="*/ 445927 h 562353"/>
                <a:gd name="connsiteX490" fmla="*/ 145051 w 591411"/>
                <a:gd name="connsiteY490" fmla="*/ 446802 h 562353"/>
                <a:gd name="connsiteX491" fmla="*/ 149830 w 591411"/>
                <a:gd name="connsiteY491" fmla="*/ 448114 h 562353"/>
                <a:gd name="connsiteX492" fmla="*/ 151143 w 591411"/>
                <a:gd name="connsiteY492" fmla="*/ 448753 h 562353"/>
                <a:gd name="connsiteX493" fmla="*/ 153330 w 591411"/>
                <a:gd name="connsiteY493" fmla="*/ 449392 h 562353"/>
                <a:gd name="connsiteX494" fmla="*/ 158345 w 591411"/>
                <a:gd name="connsiteY494" fmla="*/ 450468 h 562353"/>
                <a:gd name="connsiteX495" fmla="*/ 160936 w 591411"/>
                <a:gd name="connsiteY495" fmla="*/ 451107 h 562353"/>
                <a:gd name="connsiteX496" fmla="*/ 162888 w 591411"/>
                <a:gd name="connsiteY496" fmla="*/ 452419 h 562353"/>
                <a:gd name="connsiteX497" fmla="*/ 164638 w 591411"/>
                <a:gd name="connsiteY497" fmla="*/ 455245 h 562353"/>
                <a:gd name="connsiteX498" fmla="*/ 167465 w 591411"/>
                <a:gd name="connsiteY498" fmla="*/ 456120 h 562353"/>
                <a:gd name="connsiteX499" fmla="*/ 170932 w 591411"/>
                <a:gd name="connsiteY499" fmla="*/ 457869 h 562353"/>
                <a:gd name="connsiteX500" fmla="*/ 175071 w 591411"/>
                <a:gd name="connsiteY500" fmla="*/ 458744 h 562353"/>
                <a:gd name="connsiteX501" fmla="*/ 177898 w 591411"/>
                <a:gd name="connsiteY501" fmla="*/ 458946 h 562353"/>
                <a:gd name="connsiteX502" fmla="*/ 179850 w 591411"/>
                <a:gd name="connsiteY502" fmla="*/ 459585 h 562353"/>
                <a:gd name="connsiteX503" fmla="*/ 182677 w 591411"/>
                <a:gd name="connsiteY503" fmla="*/ 462074 h 562353"/>
                <a:gd name="connsiteX504" fmla="*/ 185066 w 591411"/>
                <a:gd name="connsiteY504" fmla="*/ 464126 h 562353"/>
                <a:gd name="connsiteX505" fmla="*/ 187019 w 591411"/>
                <a:gd name="connsiteY505" fmla="*/ 464126 h 562353"/>
                <a:gd name="connsiteX506" fmla="*/ 190485 w 591411"/>
                <a:gd name="connsiteY506" fmla="*/ 464765 h 562353"/>
                <a:gd name="connsiteX507" fmla="*/ 193312 w 591411"/>
                <a:gd name="connsiteY507" fmla="*/ 463689 h 562353"/>
                <a:gd name="connsiteX508" fmla="*/ 195264 w 591411"/>
                <a:gd name="connsiteY508" fmla="*/ 463049 h 562353"/>
                <a:gd name="connsiteX509" fmla="*/ 198326 w 591411"/>
                <a:gd name="connsiteY509" fmla="*/ 461738 h 562353"/>
                <a:gd name="connsiteX510" fmla="*/ 200077 w 591411"/>
                <a:gd name="connsiteY510" fmla="*/ 461300 h 562353"/>
                <a:gd name="connsiteX511" fmla="*/ 203778 w 591411"/>
                <a:gd name="connsiteY511" fmla="*/ 461838 h 562353"/>
                <a:gd name="connsiteX512" fmla="*/ 209870 w 591411"/>
                <a:gd name="connsiteY512" fmla="*/ 460627 h 562353"/>
                <a:gd name="connsiteX513" fmla="*/ 216601 w 591411"/>
                <a:gd name="connsiteY513" fmla="*/ 460627 h 562353"/>
                <a:gd name="connsiteX514" fmla="*/ 219192 w 591411"/>
                <a:gd name="connsiteY514" fmla="*/ 459114 h 562353"/>
                <a:gd name="connsiteX515" fmla="*/ 230062 w 591411"/>
                <a:gd name="connsiteY515" fmla="*/ 460426 h 562353"/>
                <a:gd name="connsiteX516" fmla="*/ 235077 w 591411"/>
                <a:gd name="connsiteY516" fmla="*/ 460863 h 562353"/>
                <a:gd name="connsiteX517" fmla="*/ 243356 w 591411"/>
                <a:gd name="connsiteY517" fmla="*/ 458676 h 562353"/>
                <a:gd name="connsiteX518" fmla="*/ 246621 w 591411"/>
                <a:gd name="connsiteY518" fmla="*/ 457365 h 562353"/>
                <a:gd name="connsiteX519" fmla="*/ 251837 w 591411"/>
                <a:gd name="connsiteY519" fmla="*/ 457365 h 562353"/>
                <a:gd name="connsiteX520" fmla="*/ 255539 w 591411"/>
                <a:gd name="connsiteY520" fmla="*/ 457163 h 562353"/>
                <a:gd name="connsiteX521" fmla="*/ 260083 w 591411"/>
                <a:gd name="connsiteY521" fmla="*/ 456389 h 562353"/>
                <a:gd name="connsiteX522" fmla="*/ 264659 w 591411"/>
                <a:gd name="connsiteY522" fmla="*/ 455413 h 562353"/>
                <a:gd name="connsiteX523" fmla="*/ 267049 w 591411"/>
                <a:gd name="connsiteY523" fmla="*/ 455413 h 562353"/>
                <a:gd name="connsiteX524" fmla="*/ 270751 w 591411"/>
                <a:gd name="connsiteY524" fmla="*/ 455851 h 562353"/>
                <a:gd name="connsiteX525" fmla="*/ 275530 w 591411"/>
                <a:gd name="connsiteY525" fmla="*/ 454774 h 562353"/>
                <a:gd name="connsiteX526" fmla="*/ 278357 w 591411"/>
                <a:gd name="connsiteY526" fmla="*/ 453025 h 562353"/>
                <a:gd name="connsiteX527" fmla="*/ 278357 w 591411"/>
                <a:gd name="connsiteY527" fmla="*/ 451074 h 562353"/>
                <a:gd name="connsiteX528" fmla="*/ 283573 w 591411"/>
                <a:gd name="connsiteY528" fmla="*/ 451511 h 562353"/>
                <a:gd name="connsiteX529" fmla="*/ 284785 w 591411"/>
                <a:gd name="connsiteY529" fmla="*/ 453462 h 562353"/>
                <a:gd name="connsiteX530" fmla="*/ 283573 w 591411"/>
                <a:gd name="connsiteY530" fmla="*/ 457802 h 562353"/>
                <a:gd name="connsiteX531" fmla="*/ 283573 w 591411"/>
                <a:gd name="connsiteY531" fmla="*/ 459753 h 562353"/>
                <a:gd name="connsiteX532" fmla="*/ 287074 w 591411"/>
                <a:gd name="connsiteY532" fmla="*/ 463218 h 562353"/>
                <a:gd name="connsiteX533" fmla="*/ 289261 w 591411"/>
                <a:gd name="connsiteY533" fmla="*/ 464294 h 562353"/>
                <a:gd name="connsiteX534" fmla="*/ 292088 w 591411"/>
                <a:gd name="connsiteY534" fmla="*/ 467322 h 562353"/>
                <a:gd name="connsiteX535" fmla="*/ 294713 w 591411"/>
                <a:gd name="connsiteY535" fmla="*/ 467961 h 562353"/>
                <a:gd name="connsiteX536" fmla="*/ 297540 w 591411"/>
                <a:gd name="connsiteY536" fmla="*/ 468600 h 562353"/>
                <a:gd name="connsiteX537" fmla="*/ 298853 w 591411"/>
                <a:gd name="connsiteY537" fmla="*/ 467725 h 562353"/>
                <a:gd name="connsiteX538" fmla="*/ 301680 w 591411"/>
                <a:gd name="connsiteY538" fmla="*/ 465337 h 562353"/>
                <a:gd name="connsiteX539" fmla="*/ 303430 w 591411"/>
                <a:gd name="connsiteY539" fmla="*/ 463823 h 562353"/>
                <a:gd name="connsiteX540" fmla="*/ 305381 w 591411"/>
                <a:gd name="connsiteY540" fmla="*/ 462747 h 562353"/>
                <a:gd name="connsiteX541" fmla="*/ 308410 w 591411"/>
                <a:gd name="connsiteY541" fmla="*/ 461872 h 562353"/>
                <a:gd name="connsiteX542" fmla="*/ 310363 w 591411"/>
                <a:gd name="connsiteY542" fmla="*/ 460997 h 562353"/>
                <a:gd name="connsiteX543" fmla="*/ 312954 w 591411"/>
                <a:gd name="connsiteY543" fmla="*/ 458811 h 562353"/>
                <a:gd name="connsiteX544" fmla="*/ 314266 w 591411"/>
                <a:gd name="connsiteY544" fmla="*/ 455985 h 562353"/>
                <a:gd name="connsiteX545" fmla="*/ 316016 w 591411"/>
                <a:gd name="connsiteY545" fmla="*/ 454034 h 562353"/>
                <a:gd name="connsiteX546" fmla="*/ 318642 w 591411"/>
                <a:gd name="connsiteY546" fmla="*/ 452285 h 562353"/>
                <a:gd name="connsiteX547" fmla="*/ 321906 w 591411"/>
                <a:gd name="connsiteY547" fmla="*/ 451410 h 562353"/>
                <a:gd name="connsiteX548" fmla="*/ 326012 w 591411"/>
                <a:gd name="connsiteY548" fmla="*/ 453597 h 562353"/>
                <a:gd name="connsiteX549" fmla="*/ 326012 w 591411"/>
                <a:gd name="connsiteY549" fmla="*/ 457062 h 562353"/>
                <a:gd name="connsiteX550" fmla="*/ 325642 w 591411"/>
                <a:gd name="connsiteY550" fmla="*/ 462915 h 562353"/>
                <a:gd name="connsiteX551" fmla="*/ 325372 w 591411"/>
                <a:gd name="connsiteY551" fmla="*/ 466615 h 562353"/>
                <a:gd name="connsiteX552" fmla="*/ 325372 w 591411"/>
                <a:gd name="connsiteY552" fmla="*/ 470080 h 562353"/>
                <a:gd name="connsiteX553" fmla="*/ 326079 w 591411"/>
                <a:gd name="connsiteY553" fmla="*/ 472132 h 562353"/>
                <a:gd name="connsiteX554" fmla="*/ 327998 w 591411"/>
                <a:gd name="connsiteY554" fmla="*/ 473646 h 562353"/>
                <a:gd name="connsiteX555" fmla="*/ 332776 w 591411"/>
                <a:gd name="connsiteY555" fmla="*/ 477548 h 562353"/>
                <a:gd name="connsiteX556" fmla="*/ 332137 w 591411"/>
                <a:gd name="connsiteY556" fmla="*/ 482224 h 562353"/>
                <a:gd name="connsiteX557" fmla="*/ 329848 w 591411"/>
                <a:gd name="connsiteY557" fmla="*/ 484276 h 562353"/>
                <a:gd name="connsiteX558" fmla="*/ 327459 w 591411"/>
                <a:gd name="connsiteY558" fmla="*/ 485353 h 562353"/>
                <a:gd name="connsiteX559" fmla="*/ 325945 w 591411"/>
                <a:gd name="connsiteY559" fmla="*/ 486429 h 562353"/>
                <a:gd name="connsiteX560" fmla="*/ 326045 w 591411"/>
                <a:gd name="connsiteY560" fmla="*/ 489692 h 562353"/>
                <a:gd name="connsiteX561" fmla="*/ 330387 w 591411"/>
                <a:gd name="connsiteY561" fmla="*/ 494368 h 562353"/>
                <a:gd name="connsiteX562" fmla="*/ 334291 w 591411"/>
                <a:gd name="connsiteY562" fmla="*/ 496319 h 562353"/>
                <a:gd name="connsiteX563" fmla="*/ 331363 w 591411"/>
                <a:gd name="connsiteY563" fmla="*/ 500995 h 562353"/>
                <a:gd name="connsiteX564" fmla="*/ 330589 w 591411"/>
                <a:gd name="connsiteY564" fmla="*/ 503484 h 562353"/>
                <a:gd name="connsiteX565" fmla="*/ 334291 w 591411"/>
                <a:gd name="connsiteY565" fmla="*/ 508799 h 562353"/>
                <a:gd name="connsiteX566" fmla="*/ 337454 w 591411"/>
                <a:gd name="connsiteY566" fmla="*/ 510212 h 562353"/>
                <a:gd name="connsiteX567" fmla="*/ 340719 w 591411"/>
                <a:gd name="connsiteY567" fmla="*/ 512264 h 562353"/>
                <a:gd name="connsiteX568" fmla="*/ 343546 w 591411"/>
                <a:gd name="connsiteY568" fmla="*/ 515965 h 562353"/>
                <a:gd name="connsiteX569" fmla="*/ 344758 w 591411"/>
                <a:gd name="connsiteY569" fmla="*/ 517176 h 562353"/>
                <a:gd name="connsiteX570" fmla="*/ 346810 w 591411"/>
                <a:gd name="connsiteY570" fmla="*/ 517815 h 562353"/>
                <a:gd name="connsiteX571" fmla="*/ 349738 w 591411"/>
                <a:gd name="connsiteY571" fmla="*/ 516301 h 562353"/>
                <a:gd name="connsiteX572" fmla="*/ 349738 w 591411"/>
                <a:gd name="connsiteY572" fmla="*/ 518690 h 562353"/>
                <a:gd name="connsiteX573" fmla="*/ 349738 w 591411"/>
                <a:gd name="connsiteY573" fmla="*/ 522154 h 562353"/>
                <a:gd name="connsiteX574" fmla="*/ 346676 w 591411"/>
                <a:gd name="connsiteY574" fmla="*/ 525619 h 562353"/>
                <a:gd name="connsiteX575" fmla="*/ 347551 w 591411"/>
                <a:gd name="connsiteY575" fmla="*/ 529320 h 562353"/>
                <a:gd name="connsiteX576" fmla="*/ 349738 w 591411"/>
                <a:gd name="connsiteY576" fmla="*/ 530396 h 562353"/>
                <a:gd name="connsiteX577" fmla="*/ 352195 w 591411"/>
                <a:gd name="connsiteY577" fmla="*/ 531641 h 562353"/>
                <a:gd name="connsiteX578" fmla="*/ 353777 w 591411"/>
                <a:gd name="connsiteY578" fmla="*/ 530632 h 562353"/>
                <a:gd name="connsiteX579" fmla="*/ 354988 w 591411"/>
                <a:gd name="connsiteY579" fmla="*/ 529320 h 562353"/>
                <a:gd name="connsiteX580" fmla="*/ 355561 w 591411"/>
                <a:gd name="connsiteY580" fmla="*/ 526729 h 562353"/>
                <a:gd name="connsiteX581" fmla="*/ 356806 w 591411"/>
                <a:gd name="connsiteY581" fmla="*/ 524475 h 562353"/>
                <a:gd name="connsiteX582" fmla="*/ 358825 w 591411"/>
                <a:gd name="connsiteY582" fmla="*/ 522020 h 562353"/>
                <a:gd name="connsiteX583" fmla="*/ 360205 w 591411"/>
                <a:gd name="connsiteY583" fmla="*/ 520271 h 562353"/>
                <a:gd name="connsiteX584" fmla="*/ 362594 w 591411"/>
                <a:gd name="connsiteY584" fmla="*/ 518017 h 562353"/>
                <a:gd name="connsiteX585" fmla="*/ 364344 w 591411"/>
                <a:gd name="connsiteY585" fmla="*/ 515124 h 562353"/>
                <a:gd name="connsiteX586" fmla="*/ 365993 w 591411"/>
                <a:gd name="connsiteY586" fmla="*/ 512533 h 562353"/>
                <a:gd name="connsiteX587" fmla="*/ 367138 w 591411"/>
                <a:gd name="connsiteY587" fmla="*/ 511726 h 562353"/>
                <a:gd name="connsiteX588" fmla="*/ 372926 w 591411"/>
                <a:gd name="connsiteY588" fmla="*/ 511659 h 562353"/>
                <a:gd name="connsiteX589" fmla="*/ 374677 w 591411"/>
                <a:gd name="connsiteY589" fmla="*/ 512298 h 562353"/>
                <a:gd name="connsiteX590" fmla="*/ 377436 w 591411"/>
                <a:gd name="connsiteY590" fmla="*/ 514316 h 562353"/>
                <a:gd name="connsiteX591" fmla="*/ 381407 w 591411"/>
                <a:gd name="connsiteY591" fmla="*/ 517781 h 562353"/>
                <a:gd name="connsiteX592" fmla="*/ 384739 w 591411"/>
                <a:gd name="connsiteY592" fmla="*/ 521414 h 562353"/>
                <a:gd name="connsiteX593" fmla="*/ 387196 w 591411"/>
                <a:gd name="connsiteY593" fmla="*/ 524610 h 562353"/>
                <a:gd name="connsiteX594" fmla="*/ 392042 w 591411"/>
                <a:gd name="connsiteY594" fmla="*/ 525619 h 562353"/>
                <a:gd name="connsiteX595" fmla="*/ 399783 w 591411"/>
                <a:gd name="connsiteY595" fmla="*/ 524475 h 562353"/>
                <a:gd name="connsiteX596" fmla="*/ 404764 w 591411"/>
                <a:gd name="connsiteY596" fmla="*/ 522894 h 562353"/>
                <a:gd name="connsiteX597" fmla="*/ 408095 w 591411"/>
                <a:gd name="connsiteY597" fmla="*/ 521313 h 562353"/>
                <a:gd name="connsiteX598" fmla="*/ 410048 w 591411"/>
                <a:gd name="connsiteY598" fmla="*/ 523063 h 562353"/>
                <a:gd name="connsiteX599" fmla="*/ 412639 w 591411"/>
                <a:gd name="connsiteY599" fmla="*/ 524442 h 562353"/>
                <a:gd name="connsiteX600" fmla="*/ 413884 w 591411"/>
                <a:gd name="connsiteY600" fmla="*/ 528210 h 562353"/>
                <a:gd name="connsiteX601" fmla="*/ 413884 w 591411"/>
                <a:gd name="connsiteY601" fmla="*/ 530901 h 562353"/>
                <a:gd name="connsiteX602" fmla="*/ 413211 w 591411"/>
                <a:gd name="connsiteY602" fmla="*/ 533726 h 562353"/>
                <a:gd name="connsiteX603" fmla="*/ 411764 w 591411"/>
                <a:gd name="connsiteY603" fmla="*/ 536182 h 562353"/>
                <a:gd name="connsiteX604" fmla="*/ 410754 w 591411"/>
                <a:gd name="connsiteY604" fmla="*/ 539008 h 562353"/>
                <a:gd name="connsiteX605" fmla="*/ 411057 w 591411"/>
                <a:gd name="connsiteY605" fmla="*/ 541531 h 562353"/>
                <a:gd name="connsiteX606" fmla="*/ 414086 w 591411"/>
                <a:gd name="connsiteY606" fmla="*/ 543213 h 562353"/>
                <a:gd name="connsiteX607" fmla="*/ 420009 w 591411"/>
                <a:gd name="connsiteY607" fmla="*/ 544222 h 562353"/>
                <a:gd name="connsiteX608" fmla="*/ 424149 w 591411"/>
                <a:gd name="connsiteY608" fmla="*/ 548932 h 562353"/>
                <a:gd name="connsiteX609" fmla="*/ 429433 w 591411"/>
                <a:gd name="connsiteY609" fmla="*/ 551185 h 562353"/>
                <a:gd name="connsiteX610" fmla="*/ 433639 w 591411"/>
                <a:gd name="connsiteY610" fmla="*/ 554213 h 562353"/>
                <a:gd name="connsiteX611" fmla="*/ 439495 w 591411"/>
                <a:gd name="connsiteY611" fmla="*/ 557106 h 562353"/>
                <a:gd name="connsiteX612" fmla="*/ 443635 w 591411"/>
                <a:gd name="connsiteY612" fmla="*/ 557106 h 562353"/>
                <a:gd name="connsiteX613" fmla="*/ 449154 w 591411"/>
                <a:gd name="connsiteY613" fmla="*/ 555525 h 562353"/>
                <a:gd name="connsiteX614" fmla="*/ 455885 w 591411"/>
                <a:gd name="connsiteY614" fmla="*/ 553204 h 562353"/>
                <a:gd name="connsiteX615" fmla="*/ 460664 w 591411"/>
                <a:gd name="connsiteY615" fmla="*/ 549874 h 562353"/>
                <a:gd name="connsiteX616" fmla="*/ 463929 w 591411"/>
                <a:gd name="connsiteY616" fmla="*/ 542271 h 562353"/>
                <a:gd name="connsiteX617" fmla="*/ 465813 w 591411"/>
                <a:gd name="connsiteY617" fmla="*/ 540017 h 562353"/>
                <a:gd name="connsiteX618" fmla="*/ 468606 w 591411"/>
                <a:gd name="connsiteY618" fmla="*/ 541093 h 562353"/>
                <a:gd name="connsiteX619" fmla="*/ 473082 w 591411"/>
                <a:gd name="connsiteY619" fmla="*/ 543045 h 562353"/>
                <a:gd name="connsiteX620" fmla="*/ 473082 w 591411"/>
                <a:gd name="connsiteY620" fmla="*/ 546510 h 562353"/>
                <a:gd name="connsiteX621" fmla="*/ 473082 w 591411"/>
                <a:gd name="connsiteY621" fmla="*/ 551724 h 562353"/>
                <a:gd name="connsiteX622" fmla="*/ 473082 w 591411"/>
                <a:gd name="connsiteY622" fmla="*/ 553473 h 562353"/>
                <a:gd name="connsiteX623" fmla="*/ 473082 w 591411"/>
                <a:gd name="connsiteY623" fmla="*/ 556938 h 562353"/>
                <a:gd name="connsiteX624" fmla="*/ 471433 w 591411"/>
                <a:gd name="connsiteY624" fmla="*/ 560201 h 562353"/>
                <a:gd name="connsiteX625" fmla="*/ 473082 w 591411"/>
                <a:gd name="connsiteY625" fmla="*/ 562253 h 562353"/>
                <a:gd name="connsiteX626" fmla="*/ 476549 w 591411"/>
                <a:gd name="connsiteY626" fmla="*/ 562354 h 562353"/>
                <a:gd name="connsiteX627" fmla="*/ 479275 w 591411"/>
                <a:gd name="connsiteY627" fmla="*/ 561277 h 562353"/>
                <a:gd name="connsiteX628" fmla="*/ 481765 w 591411"/>
                <a:gd name="connsiteY628" fmla="*/ 562152 h 562353"/>
                <a:gd name="connsiteX629" fmla="*/ 483515 w 591411"/>
                <a:gd name="connsiteY629" fmla="*/ 561614 h 562353"/>
                <a:gd name="connsiteX630" fmla="*/ 485837 w 591411"/>
                <a:gd name="connsiteY630" fmla="*/ 561143 h 562353"/>
                <a:gd name="connsiteX631" fmla="*/ 489035 w 591411"/>
                <a:gd name="connsiteY631" fmla="*/ 556366 h 562353"/>
                <a:gd name="connsiteX632" fmla="*/ 490819 w 591411"/>
                <a:gd name="connsiteY632" fmla="*/ 552430 h 562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</a:cxnLst>
              <a:rect l="l" t="t" r="r" b="b"/>
              <a:pathLst>
                <a:path w="591411" h="562353">
                  <a:moveTo>
                    <a:pt x="490819" y="552430"/>
                  </a:moveTo>
                  <a:lnTo>
                    <a:pt x="491121" y="544895"/>
                  </a:lnTo>
                  <a:lnTo>
                    <a:pt x="498088" y="532448"/>
                  </a:lnTo>
                  <a:lnTo>
                    <a:pt x="500713" y="525485"/>
                  </a:lnTo>
                  <a:lnTo>
                    <a:pt x="506804" y="522289"/>
                  </a:lnTo>
                  <a:lnTo>
                    <a:pt x="512896" y="520540"/>
                  </a:lnTo>
                  <a:lnTo>
                    <a:pt x="521578" y="516772"/>
                  </a:lnTo>
                  <a:lnTo>
                    <a:pt x="527367" y="513004"/>
                  </a:lnTo>
                  <a:lnTo>
                    <a:pt x="529387" y="510986"/>
                  </a:lnTo>
                  <a:lnTo>
                    <a:pt x="536050" y="505469"/>
                  </a:lnTo>
                  <a:lnTo>
                    <a:pt x="535747" y="491273"/>
                  </a:lnTo>
                  <a:lnTo>
                    <a:pt x="533425" y="468667"/>
                  </a:lnTo>
                  <a:lnTo>
                    <a:pt x="533997" y="455043"/>
                  </a:lnTo>
                  <a:lnTo>
                    <a:pt x="532550" y="445759"/>
                  </a:lnTo>
                  <a:lnTo>
                    <a:pt x="528209" y="436508"/>
                  </a:lnTo>
                  <a:lnTo>
                    <a:pt x="523295" y="435633"/>
                  </a:lnTo>
                  <a:cubicBezTo>
                    <a:pt x="523295" y="435633"/>
                    <a:pt x="518079" y="438829"/>
                    <a:pt x="517506" y="439670"/>
                  </a:cubicBezTo>
                  <a:cubicBezTo>
                    <a:pt x="516935" y="440545"/>
                    <a:pt x="514309" y="444010"/>
                    <a:pt x="513165" y="443135"/>
                  </a:cubicBezTo>
                  <a:cubicBezTo>
                    <a:pt x="512021" y="442260"/>
                    <a:pt x="507646" y="443438"/>
                    <a:pt x="506501" y="443135"/>
                  </a:cubicBezTo>
                  <a:cubicBezTo>
                    <a:pt x="505357" y="442832"/>
                    <a:pt x="498694" y="436474"/>
                    <a:pt x="498694" y="436474"/>
                  </a:cubicBezTo>
                  <a:lnTo>
                    <a:pt x="491155" y="434153"/>
                  </a:lnTo>
                  <a:cubicBezTo>
                    <a:pt x="491155" y="434153"/>
                    <a:pt x="489136" y="435902"/>
                    <a:pt x="487958" y="436171"/>
                  </a:cubicBezTo>
                  <a:cubicBezTo>
                    <a:pt x="486813" y="436474"/>
                    <a:pt x="479275" y="438493"/>
                    <a:pt x="476650" y="440814"/>
                  </a:cubicBezTo>
                  <a:cubicBezTo>
                    <a:pt x="474058" y="443135"/>
                    <a:pt x="469683" y="435297"/>
                    <a:pt x="469683" y="435297"/>
                  </a:cubicBezTo>
                  <a:lnTo>
                    <a:pt x="469683" y="424869"/>
                  </a:lnTo>
                  <a:lnTo>
                    <a:pt x="463895" y="409226"/>
                  </a:lnTo>
                  <a:lnTo>
                    <a:pt x="458981" y="396174"/>
                  </a:lnTo>
                  <a:lnTo>
                    <a:pt x="451442" y="394156"/>
                  </a:lnTo>
                  <a:lnTo>
                    <a:pt x="437543" y="392406"/>
                  </a:lnTo>
                  <a:lnTo>
                    <a:pt x="432630" y="386048"/>
                  </a:lnTo>
                  <a:lnTo>
                    <a:pt x="431452" y="377369"/>
                  </a:lnTo>
                  <a:lnTo>
                    <a:pt x="430880" y="373299"/>
                  </a:lnTo>
                  <a:lnTo>
                    <a:pt x="427682" y="366941"/>
                  </a:lnTo>
                  <a:lnTo>
                    <a:pt x="430004" y="362602"/>
                  </a:lnTo>
                  <a:lnTo>
                    <a:pt x="434649" y="363174"/>
                  </a:lnTo>
                  <a:lnTo>
                    <a:pt x="439293" y="368388"/>
                  </a:lnTo>
                  <a:lnTo>
                    <a:pt x="447976" y="373299"/>
                  </a:lnTo>
                  <a:lnTo>
                    <a:pt x="458712" y="371550"/>
                  </a:lnTo>
                  <a:cubicBezTo>
                    <a:pt x="458712" y="371550"/>
                    <a:pt x="467395" y="362871"/>
                    <a:pt x="468270" y="362568"/>
                  </a:cubicBezTo>
                  <a:cubicBezTo>
                    <a:pt x="469145" y="362265"/>
                    <a:pt x="472914" y="361121"/>
                    <a:pt x="474361" y="360550"/>
                  </a:cubicBezTo>
                  <a:cubicBezTo>
                    <a:pt x="475808" y="359978"/>
                    <a:pt x="476078" y="356513"/>
                    <a:pt x="476078" y="356513"/>
                  </a:cubicBezTo>
                  <a:lnTo>
                    <a:pt x="476953" y="349280"/>
                  </a:lnTo>
                  <a:lnTo>
                    <a:pt x="476381" y="342317"/>
                  </a:lnTo>
                  <a:lnTo>
                    <a:pt x="475506" y="338549"/>
                  </a:lnTo>
                  <a:lnTo>
                    <a:pt x="471433" y="332763"/>
                  </a:lnTo>
                  <a:lnTo>
                    <a:pt x="471433" y="324084"/>
                  </a:lnTo>
                  <a:lnTo>
                    <a:pt x="475203" y="318870"/>
                  </a:lnTo>
                  <a:lnTo>
                    <a:pt x="480991" y="312781"/>
                  </a:lnTo>
                  <a:lnTo>
                    <a:pt x="486208" y="312781"/>
                  </a:lnTo>
                  <a:lnTo>
                    <a:pt x="495766" y="312781"/>
                  </a:lnTo>
                  <a:lnTo>
                    <a:pt x="496068" y="306121"/>
                  </a:lnTo>
                  <a:lnTo>
                    <a:pt x="495193" y="299157"/>
                  </a:lnTo>
                  <a:lnTo>
                    <a:pt x="492299" y="294515"/>
                  </a:lnTo>
                  <a:lnTo>
                    <a:pt x="492299" y="290176"/>
                  </a:lnTo>
                  <a:lnTo>
                    <a:pt x="494621" y="288729"/>
                  </a:lnTo>
                  <a:lnTo>
                    <a:pt x="496068" y="284961"/>
                  </a:lnTo>
                  <a:lnTo>
                    <a:pt x="495193" y="279747"/>
                  </a:lnTo>
                  <a:lnTo>
                    <a:pt x="492299" y="277157"/>
                  </a:lnTo>
                  <a:lnTo>
                    <a:pt x="492299" y="267301"/>
                  </a:lnTo>
                  <a:lnTo>
                    <a:pt x="493746" y="260068"/>
                  </a:lnTo>
                  <a:lnTo>
                    <a:pt x="495766" y="253105"/>
                  </a:lnTo>
                  <a:lnTo>
                    <a:pt x="503877" y="252533"/>
                  </a:lnTo>
                  <a:lnTo>
                    <a:pt x="511987" y="255729"/>
                  </a:lnTo>
                  <a:lnTo>
                    <a:pt x="517204" y="259193"/>
                  </a:lnTo>
                  <a:lnTo>
                    <a:pt x="525617" y="258319"/>
                  </a:lnTo>
                  <a:lnTo>
                    <a:pt x="528814" y="262658"/>
                  </a:lnTo>
                  <a:lnTo>
                    <a:pt x="532314" y="266998"/>
                  </a:lnTo>
                  <a:lnTo>
                    <a:pt x="538675" y="271337"/>
                  </a:lnTo>
                  <a:lnTo>
                    <a:pt x="540694" y="276552"/>
                  </a:lnTo>
                  <a:lnTo>
                    <a:pt x="542714" y="284961"/>
                  </a:lnTo>
                  <a:lnTo>
                    <a:pt x="545339" y="290176"/>
                  </a:lnTo>
                  <a:lnTo>
                    <a:pt x="552305" y="290176"/>
                  </a:lnTo>
                  <a:lnTo>
                    <a:pt x="558094" y="290176"/>
                  </a:lnTo>
                  <a:lnTo>
                    <a:pt x="563882" y="285971"/>
                  </a:lnTo>
                  <a:lnTo>
                    <a:pt x="571421" y="281463"/>
                  </a:lnTo>
                  <a:lnTo>
                    <a:pt x="578085" y="277393"/>
                  </a:lnTo>
                  <a:lnTo>
                    <a:pt x="581282" y="272447"/>
                  </a:lnTo>
                  <a:lnTo>
                    <a:pt x="583604" y="269252"/>
                  </a:lnTo>
                  <a:lnTo>
                    <a:pt x="587071" y="269252"/>
                  </a:lnTo>
                  <a:lnTo>
                    <a:pt x="591412" y="269252"/>
                  </a:lnTo>
                  <a:lnTo>
                    <a:pt x="591412" y="266628"/>
                  </a:lnTo>
                  <a:lnTo>
                    <a:pt x="591412" y="260842"/>
                  </a:lnTo>
                  <a:lnTo>
                    <a:pt x="585623" y="254181"/>
                  </a:lnTo>
                  <a:lnTo>
                    <a:pt x="583604" y="248664"/>
                  </a:lnTo>
                  <a:lnTo>
                    <a:pt x="580979" y="238808"/>
                  </a:lnTo>
                  <a:lnTo>
                    <a:pt x="580979" y="231844"/>
                  </a:lnTo>
                  <a:lnTo>
                    <a:pt x="580979" y="226058"/>
                  </a:lnTo>
                  <a:lnTo>
                    <a:pt x="577075" y="225486"/>
                  </a:lnTo>
                  <a:lnTo>
                    <a:pt x="570849" y="227808"/>
                  </a:lnTo>
                  <a:lnTo>
                    <a:pt x="565329" y="230129"/>
                  </a:lnTo>
                  <a:lnTo>
                    <a:pt x="565329" y="223165"/>
                  </a:lnTo>
                  <a:lnTo>
                    <a:pt x="552507" y="219431"/>
                  </a:lnTo>
                  <a:lnTo>
                    <a:pt x="544329" y="210483"/>
                  </a:lnTo>
                  <a:lnTo>
                    <a:pt x="536790" y="194067"/>
                  </a:lnTo>
                  <a:lnTo>
                    <a:pt x="536252" y="192755"/>
                  </a:lnTo>
                  <a:lnTo>
                    <a:pt x="533156" y="192755"/>
                  </a:lnTo>
                  <a:lnTo>
                    <a:pt x="524473" y="192755"/>
                  </a:lnTo>
                  <a:lnTo>
                    <a:pt x="518381" y="194269"/>
                  </a:lnTo>
                  <a:cubicBezTo>
                    <a:pt x="518381" y="194269"/>
                    <a:pt x="518381" y="197196"/>
                    <a:pt x="515555" y="198306"/>
                  </a:cubicBezTo>
                  <a:cubicBezTo>
                    <a:pt x="512728" y="199382"/>
                    <a:pt x="500544" y="199718"/>
                    <a:pt x="500544" y="199718"/>
                  </a:cubicBezTo>
                  <a:lnTo>
                    <a:pt x="491424" y="199718"/>
                  </a:lnTo>
                  <a:lnTo>
                    <a:pt x="480116" y="194303"/>
                  </a:lnTo>
                  <a:cubicBezTo>
                    <a:pt x="480116" y="194303"/>
                    <a:pt x="476212" y="189526"/>
                    <a:pt x="476212" y="188651"/>
                  </a:cubicBezTo>
                  <a:cubicBezTo>
                    <a:pt x="476212" y="187776"/>
                    <a:pt x="474900" y="181049"/>
                    <a:pt x="474900" y="180409"/>
                  </a:cubicBezTo>
                  <a:cubicBezTo>
                    <a:pt x="474900" y="179770"/>
                    <a:pt x="474900" y="174556"/>
                    <a:pt x="474900" y="174556"/>
                  </a:cubicBezTo>
                  <a:lnTo>
                    <a:pt x="470558" y="169981"/>
                  </a:lnTo>
                  <a:lnTo>
                    <a:pt x="464029" y="164969"/>
                  </a:lnTo>
                  <a:lnTo>
                    <a:pt x="456625" y="164969"/>
                  </a:lnTo>
                  <a:lnTo>
                    <a:pt x="452486" y="158241"/>
                  </a:lnTo>
                  <a:lnTo>
                    <a:pt x="447034" y="153228"/>
                  </a:lnTo>
                  <a:lnTo>
                    <a:pt x="439865" y="151042"/>
                  </a:lnTo>
                  <a:lnTo>
                    <a:pt x="430509" y="151042"/>
                  </a:lnTo>
                  <a:lnTo>
                    <a:pt x="421827" y="151042"/>
                  </a:lnTo>
                  <a:lnTo>
                    <a:pt x="417249" y="149091"/>
                  </a:lnTo>
                  <a:lnTo>
                    <a:pt x="415735" y="145189"/>
                  </a:lnTo>
                  <a:lnTo>
                    <a:pt x="415735" y="139773"/>
                  </a:lnTo>
                  <a:lnTo>
                    <a:pt x="415735" y="136308"/>
                  </a:lnTo>
                  <a:lnTo>
                    <a:pt x="417048" y="133718"/>
                  </a:lnTo>
                  <a:lnTo>
                    <a:pt x="419874" y="130892"/>
                  </a:lnTo>
                  <a:lnTo>
                    <a:pt x="423576" y="128066"/>
                  </a:lnTo>
                  <a:lnTo>
                    <a:pt x="427480" y="123289"/>
                  </a:lnTo>
                  <a:lnTo>
                    <a:pt x="430509" y="123289"/>
                  </a:lnTo>
                  <a:lnTo>
                    <a:pt x="431384" y="118512"/>
                  </a:lnTo>
                  <a:lnTo>
                    <a:pt x="431384" y="113736"/>
                  </a:lnTo>
                  <a:lnTo>
                    <a:pt x="433572" y="108959"/>
                  </a:lnTo>
                  <a:lnTo>
                    <a:pt x="435961" y="107008"/>
                  </a:lnTo>
                  <a:lnTo>
                    <a:pt x="439024" y="104182"/>
                  </a:lnTo>
                  <a:lnTo>
                    <a:pt x="442726" y="102130"/>
                  </a:lnTo>
                  <a:lnTo>
                    <a:pt x="447740" y="100717"/>
                  </a:lnTo>
                  <a:lnTo>
                    <a:pt x="453193" y="100717"/>
                  </a:lnTo>
                  <a:lnTo>
                    <a:pt x="458409" y="97689"/>
                  </a:lnTo>
                  <a:lnTo>
                    <a:pt x="461000" y="93787"/>
                  </a:lnTo>
                  <a:lnTo>
                    <a:pt x="461337" y="91836"/>
                  </a:lnTo>
                  <a:lnTo>
                    <a:pt x="459284" y="88136"/>
                  </a:lnTo>
                  <a:lnTo>
                    <a:pt x="459284" y="82484"/>
                  </a:lnTo>
                  <a:lnTo>
                    <a:pt x="462549" y="81172"/>
                  </a:lnTo>
                  <a:cubicBezTo>
                    <a:pt x="462549" y="81172"/>
                    <a:pt x="465578" y="79221"/>
                    <a:pt x="466453" y="79019"/>
                  </a:cubicBezTo>
                  <a:cubicBezTo>
                    <a:pt x="467327" y="78784"/>
                    <a:pt x="469919" y="74680"/>
                    <a:pt x="469919" y="74680"/>
                  </a:cubicBezTo>
                  <a:lnTo>
                    <a:pt x="471770" y="73065"/>
                  </a:lnTo>
                  <a:lnTo>
                    <a:pt x="474597" y="71316"/>
                  </a:lnTo>
                  <a:lnTo>
                    <a:pt x="477761" y="68591"/>
                  </a:lnTo>
                  <a:lnTo>
                    <a:pt x="479275" y="66001"/>
                  </a:lnTo>
                  <a:lnTo>
                    <a:pt x="483852" y="66001"/>
                  </a:lnTo>
                  <a:lnTo>
                    <a:pt x="489741" y="64252"/>
                  </a:lnTo>
                  <a:lnTo>
                    <a:pt x="491189" y="64252"/>
                  </a:lnTo>
                  <a:lnTo>
                    <a:pt x="494083" y="60181"/>
                  </a:lnTo>
                  <a:lnTo>
                    <a:pt x="496102" y="59038"/>
                  </a:lnTo>
                  <a:lnTo>
                    <a:pt x="497549" y="55842"/>
                  </a:lnTo>
                  <a:lnTo>
                    <a:pt x="501891" y="52074"/>
                  </a:lnTo>
                  <a:lnTo>
                    <a:pt x="506232" y="52074"/>
                  </a:lnTo>
                  <a:lnTo>
                    <a:pt x="506232" y="43664"/>
                  </a:lnTo>
                  <a:lnTo>
                    <a:pt x="508857" y="38147"/>
                  </a:lnTo>
                  <a:lnTo>
                    <a:pt x="519425" y="38147"/>
                  </a:lnTo>
                  <a:lnTo>
                    <a:pt x="524136" y="35389"/>
                  </a:lnTo>
                  <a:lnTo>
                    <a:pt x="525651" y="30915"/>
                  </a:lnTo>
                  <a:lnTo>
                    <a:pt x="526223" y="28325"/>
                  </a:lnTo>
                  <a:lnTo>
                    <a:pt x="528848" y="21664"/>
                  </a:lnTo>
                  <a:lnTo>
                    <a:pt x="528848" y="17324"/>
                  </a:lnTo>
                  <a:lnTo>
                    <a:pt x="523833" y="14465"/>
                  </a:lnTo>
                  <a:lnTo>
                    <a:pt x="522285" y="13052"/>
                  </a:lnTo>
                  <a:lnTo>
                    <a:pt x="518651" y="16618"/>
                  </a:lnTo>
                  <a:lnTo>
                    <a:pt x="518853" y="18502"/>
                  </a:lnTo>
                  <a:lnTo>
                    <a:pt x="518987" y="21529"/>
                  </a:lnTo>
                  <a:cubicBezTo>
                    <a:pt x="518987" y="21529"/>
                    <a:pt x="517405" y="24288"/>
                    <a:pt x="516800" y="24557"/>
                  </a:cubicBezTo>
                  <a:cubicBezTo>
                    <a:pt x="516227" y="24860"/>
                    <a:pt x="514915" y="26003"/>
                    <a:pt x="514477" y="26441"/>
                  </a:cubicBezTo>
                  <a:cubicBezTo>
                    <a:pt x="514040" y="26878"/>
                    <a:pt x="511718" y="26878"/>
                    <a:pt x="511718" y="26878"/>
                  </a:cubicBezTo>
                  <a:cubicBezTo>
                    <a:pt x="511718" y="26878"/>
                    <a:pt x="507949" y="31083"/>
                    <a:pt x="507376" y="31352"/>
                  </a:cubicBezTo>
                  <a:cubicBezTo>
                    <a:pt x="506804" y="31655"/>
                    <a:pt x="504617" y="33673"/>
                    <a:pt x="504617" y="33673"/>
                  </a:cubicBezTo>
                  <a:lnTo>
                    <a:pt x="495496" y="35994"/>
                  </a:lnTo>
                  <a:lnTo>
                    <a:pt x="491289" y="37004"/>
                  </a:lnTo>
                  <a:lnTo>
                    <a:pt x="487655" y="38316"/>
                  </a:lnTo>
                  <a:lnTo>
                    <a:pt x="485905" y="40334"/>
                  </a:lnTo>
                  <a:lnTo>
                    <a:pt x="485333" y="43227"/>
                  </a:lnTo>
                  <a:lnTo>
                    <a:pt x="483885" y="47701"/>
                  </a:lnTo>
                  <a:lnTo>
                    <a:pt x="483010" y="49450"/>
                  </a:lnTo>
                  <a:lnTo>
                    <a:pt x="478804" y="48004"/>
                  </a:lnTo>
                  <a:lnTo>
                    <a:pt x="476919" y="46120"/>
                  </a:lnTo>
                  <a:lnTo>
                    <a:pt x="475337" y="46557"/>
                  </a:lnTo>
                  <a:lnTo>
                    <a:pt x="474159" y="48576"/>
                  </a:lnTo>
                  <a:lnTo>
                    <a:pt x="472275" y="50762"/>
                  </a:lnTo>
                  <a:lnTo>
                    <a:pt x="470962" y="51771"/>
                  </a:lnTo>
                  <a:lnTo>
                    <a:pt x="470222" y="53958"/>
                  </a:lnTo>
                  <a:lnTo>
                    <a:pt x="466149" y="55775"/>
                  </a:lnTo>
                  <a:lnTo>
                    <a:pt x="461808" y="53386"/>
                  </a:lnTo>
                  <a:cubicBezTo>
                    <a:pt x="461808" y="53386"/>
                    <a:pt x="460933" y="48811"/>
                    <a:pt x="460933" y="48172"/>
                  </a:cubicBezTo>
                  <a:cubicBezTo>
                    <a:pt x="460933" y="47533"/>
                    <a:pt x="461808" y="41209"/>
                    <a:pt x="462246" y="40334"/>
                  </a:cubicBezTo>
                  <a:cubicBezTo>
                    <a:pt x="462683" y="39459"/>
                    <a:pt x="463996" y="34245"/>
                    <a:pt x="464635" y="34043"/>
                  </a:cubicBezTo>
                  <a:lnTo>
                    <a:pt x="459419" y="34817"/>
                  </a:lnTo>
                  <a:lnTo>
                    <a:pt x="458207" y="34178"/>
                  </a:lnTo>
                  <a:lnTo>
                    <a:pt x="457467" y="32126"/>
                  </a:lnTo>
                  <a:lnTo>
                    <a:pt x="457467" y="28661"/>
                  </a:lnTo>
                  <a:lnTo>
                    <a:pt x="457467" y="25196"/>
                  </a:lnTo>
                  <a:lnTo>
                    <a:pt x="456457" y="23178"/>
                  </a:lnTo>
                  <a:lnTo>
                    <a:pt x="454875" y="17526"/>
                  </a:lnTo>
                  <a:lnTo>
                    <a:pt x="448784" y="13893"/>
                  </a:lnTo>
                  <a:cubicBezTo>
                    <a:pt x="448784" y="13893"/>
                    <a:pt x="447639" y="13758"/>
                    <a:pt x="446899" y="13590"/>
                  </a:cubicBezTo>
                  <a:cubicBezTo>
                    <a:pt x="446193" y="13456"/>
                    <a:pt x="444711" y="12850"/>
                    <a:pt x="444308" y="12716"/>
                  </a:cubicBezTo>
                  <a:cubicBezTo>
                    <a:pt x="443870" y="12581"/>
                    <a:pt x="441986" y="11841"/>
                    <a:pt x="441986" y="11841"/>
                  </a:cubicBezTo>
                  <a:cubicBezTo>
                    <a:pt x="441986" y="11841"/>
                    <a:pt x="440101" y="13288"/>
                    <a:pt x="439663" y="13288"/>
                  </a:cubicBezTo>
                  <a:cubicBezTo>
                    <a:pt x="439226" y="13288"/>
                    <a:pt x="437644" y="15743"/>
                    <a:pt x="437341" y="16181"/>
                  </a:cubicBezTo>
                  <a:cubicBezTo>
                    <a:pt x="437038" y="16618"/>
                    <a:pt x="435456" y="18064"/>
                    <a:pt x="434885" y="18064"/>
                  </a:cubicBezTo>
                  <a:cubicBezTo>
                    <a:pt x="434312" y="18064"/>
                    <a:pt x="433572" y="19814"/>
                    <a:pt x="433000" y="20251"/>
                  </a:cubicBezTo>
                  <a:cubicBezTo>
                    <a:pt x="432427" y="20688"/>
                    <a:pt x="431418" y="25162"/>
                    <a:pt x="431418" y="25162"/>
                  </a:cubicBezTo>
                  <a:lnTo>
                    <a:pt x="431418" y="26037"/>
                  </a:lnTo>
                  <a:lnTo>
                    <a:pt x="428827" y="31251"/>
                  </a:lnTo>
                  <a:lnTo>
                    <a:pt x="424485" y="33875"/>
                  </a:lnTo>
                  <a:lnTo>
                    <a:pt x="424485" y="30410"/>
                  </a:lnTo>
                  <a:lnTo>
                    <a:pt x="424485" y="28089"/>
                  </a:lnTo>
                  <a:lnTo>
                    <a:pt x="421523" y="25028"/>
                  </a:lnTo>
                  <a:lnTo>
                    <a:pt x="418562" y="22000"/>
                  </a:lnTo>
                  <a:cubicBezTo>
                    <a:pt x="418562" y="22000"/>
                    <a:pt x="415500" y="22740"/>
                    <a:pt x="414927" y="22740"/>
                  </a:cubicBezTo>
                  <a:cubicBezTo>
                    <a:pt x="414355" y="22740"/>
                    <a:pt x="410586" y="24052"/>
                    <a:pt x="410586" y="24052"/>
                  </a:cubicBezTo>
                  <a:lnTo>
                    <a:pt x="405941" y="23480"/>
                  </a:lnTo>
                  <a:cubicBezTo>
                    <a:pt x="405941" y="23480"/>
                    <a:pt x="402038" y="21025"/>
                    <a:pt x="401600" y="21159"/>
                  </a:cubicBezTo>
                  <a:cubicBezTo>
                    <a:pt x="401163" y="21294"/>
                    <a:pt x="399985" y="21294"/>
                    <a:pt x="399985" y="21294"/>
                  </a:cubicBezTo>
                  <a:lnTo>
                    <a:pt x="398235" y="22168"/>
                  </a:lnTo>
                  <a:lnTo>
                    <a:pt x="391571" y="22875"/>
                  </a:lnTo>
                  <a:lnTo>
                    <a:pt x="389384" y="22572"/>
                  </a:lnTo>
                  <a:lnTo>
                    <a:pt x="383427" y="20688"/>
                  </a:lnTo>
                  <a:lnTo>
                    <a:pt x="379220" y="19107"/>
                  </a:lnTo>
                  <a:lnTo>
                    <a:pt x="374878" y="17089"/>
                  </a:lnTo>
                  <a:cubicBezTo>
                    <a:pt x="374878" y="17089"/>
                    <a:pt x="373869" y="15508"/>
                    <a:pt x="373128" y="14768"/>
                  </a:cubicBezTo>
                  <a:cubicBezTo>
                    <a:pt x="372388" y="14028"/>
                    <a:pt x="373128" y="14768"/>
                    <a:pt x="372253" y="14465"/>
                  </a:cubicBezTo>
                  <a:cubicBezTo>
                    <a:pt x="371378" y="14162"/>
                    <a:pt x="368921" y="12447"/>
                    <a:pt x="368652" y="12009"/>
                  </a:cubicBezTo>
                  <a:cubicBezTo>
                    <a:pt x="368349" y="11572"/>
                    <a:pt x="366902" y="11269"/>
                    <a:pt x="365758" y="11135"/>
                  </a:cubicBezTo>
                  <a:cubicBezTo>
                    <a:pt x="364614" y="11000"/>
                    <a:pt x="363301" y="10395"/>
                    <a:pt x="361854" y="10395"/>
                  </a:cubicBezTo>
                  <a:cubicBezTo>
                    <a:pt x="360407" y="10395"/>
                    <a:pt x="359094" y="9957"/>
                    <a:pt x="358522" y="9957"/>
                  </a:cubicBezTo>
                  <a:cubicBezTo>
                    <a:pt x="357950" y="9957"/>
                    <a:pt x="354753" y="9385"/>
                    <a:pt x="354753" y="9385"/>
                  </a:cubicBezTo>
                  <a:cubicBezTo>
                    <a:pt x="354753" y="9385"/>
                    <a:pt x="352161" y="8376"/>
                    <a:pt x="351556" y="8376"/>
                  </a:cubicBezTo>
                  <a:cubicBezTo>
                    <a:pt x="350950" y="8376"/>
                    <a:pt x="349671" y="7367"/>
                    <a:pt x="349233" y="7232"/>
                  </a:cubicBezTo>
                  <a:cubicBezTo>
                    <a:pt x="348796" y="7098"/>
                    <a:pt x="344455" y="6089"/>
                    <a:pt x="344455" y="6089"/>
                  </a:cubicBezTo>
                  <a:lnTo>
                    <a:pt x="344455" y="4205"/>
                  </a:lnTo>
                  <a:cubicBezTo>
                    <a:pt x="344455" y="4205"/>
                    <a:pt x="343882" y="1615"/>
                    <a:pt x="343714" y="1009"/>
                  </a:cubicBezTo>
                  <a:cubicBezTo>
                    <a:pt x="343580" y="437"/>
                    <a:pt x="341830" y="0"/>
                    <a:pt x="341830" y="0"/>
                  </a:cubicBezTo>
                  <a:cubicBezTo>
                    <a:pt x="341830" y="0"/>
                    <a:pt x="340820" y="0"/>
                    <a:pt x="340248" y="0"/>
                  </a:cubicBezTo>
                  <a:cubicBezTo>
                    <a:pt x="339676" y="0"/>
                    <a:pt x="338666" y="875"/>
                    <a:pt x="338094" y="1413"/>
                  </a:cubicBezTo>
                  <a:cubicBezTo>
                    <a:pt x="337522" y="1951"/>
                    <a:pt x="336209" y="2758"/>
                    <a:pt x="335637" y="3330"/>
                  </a:cubicBezTo>
                  <a:cubicBezTo>
                    <a:pt x="335065" y="3902"/>
                    <a:pt x="331868" y="4777"/>
                    <a:pt x="331868" y="4777"/>
                  </a:cubicBezTo>
                  <a:lnTo>
                    <a:pt x="328233" y="3902"/>
                  </a:lnTo>
                  <a:lnTo>
                    <a:pt x="324329" y="3330"/>
                  </a:lnTo>
                  <a:cubicBezTo>
                    <a:pt x="324329" y="3330"/>
                    <a:pt x="323016" y="2590"/>
                    <a:pt x="322714" y="1884"/>
                  </a:cubicBezTo>
                  <a:cubicBezTo>
                    <a:pt x="322445" y="1177"/>
                    <a:pt x="321132" y="1884"/>
                    <a:pt x="320560" y="1884"/>
                  </a:cubicBezTo>
                  <a:cubicBezTo>
                    <a:pt x="319988" y="1884"/>
                    <a:pt x="317935" y="2456"/>
                    <a:pt x="317935" y="2456"/>
                  </a:cubicBezTo>
                  <a:cubicBezTo>
                    <a:pt x="317935" y="2456"/>
                    <a:pt x="316353" y="3196"/>
                    <a:pt x="315915" y="3330"/>
                  </a:cubicBezTo>
                  <a:cubicBezTo>
                    <a:pt x="315478" y="3465"/>
                    <a:pt x="313021" y="4777"/>
                    <a:pt x="312584" y="5080"/>
                  </a:cubicBezTo>
                  <a:cubicBezTo>
                    <a:pt x="312146" y="5382"/>
                    <a:pt x="309824" y="5820"/>
                    <a:pt x="309824" y="5820"/>
                  </a:cubicBezTo>
                  <a:lnTo>
                    <a:pt x="307064" y="6391"/>
                  </a:lnTo>
                  <a:lnTo>
                    <a:pt x="306189" y="11303"/>
                  </a:lnTo>
                  <a:lnTo>
                    <a:pt x="306189" y="12312"/>
                  </a:lnTo>
                  <a:lnTo>
                    <a:pt x="306627" y="14499"/>
                  </a:lnTo>
                  <a:lnTo>
                    <a:pt x="307064" y="19141"/>
                  </a:lnTo>
                  <a:lnTo>
                    <a:pt x="305483" y="19141"/>
                  </a:lnTo>
                  <a:lnTo>
                    <a:pt x="303901" y="20285"/>
                  </a:lnTo>
                  <a:lnTo>
                    <a:pt x="303026" y="22034"/>
                  </a:lnTo>
                  <a:lnTo>
                    <a:pt x="304036" y="24221"/>
                  </a:lnTo>
                  <a:lnTo>
                    <a:pt x="306223" y="25970"/>
                  </a:lnTo>
                  <a:lnTo>
                    <a:pt x="306088" y="27282"/>
                  </a:lnTo>
                  <a:lnTo>
                    <a:pt x="304338" y="29031"/>
                  </a:lnTo>
                  <a:lnTo>
                    <a:pt x="305651" y="30175"/>
                  </a:lnTo>
                  <a:lnTo>
                    <a:pt x="304944" y="31487"/>
                  </a:lnTo>
                  <a:lnTo>
                    <a:pt x="303362" y="33673"/>
                  </a:lnTo>
                  <a:lnTo>
                    <a:pt x="304944" y="36432"/>
                  </a:lnTo>
                  <a:lnTo>
                    <a:pt x="306896" y="38618"/>
                  </a:lnTo>
                  <a:lnTo>
                    <a:pt x="307973" y="40939"/>
                  </a:lnTo>
                  <a:lnTo>
                    <a:pt x="307973" y="43698"/>
                  </a:lnTo>
                  <a:lnTo>
                    <a:pt x="306088" y="44573"/>
                  </a:lnTo>
                  <a:lnTo>
                    <a:pt x="304204" y="46322"/>
                  </a:lnTo>
                  <a:lnTo>
                    <a:pt x="302757" y="49652"/>
                  </a:lnTo>
                  <a:lnTo>
                    <a:pt x="302757" y="51536"/>
                  </a:lnTo>
                  <a:lnTo>
                    <a:pt x="304136" y="53722"/>
                  </a:lnTo>
                  <a:lnTo>
                    <a:pt x="305381" y="56044"/>
                  </a:lnTo>
                  <a:cubicBezTo>
                    <a:pt x="305381" y="56044"/>
                    <a:pt x="307266" y="58499"/>
                    <a:pt x="306829" y="59071"/>
                  </a:cubicBezTo>
                  <a:cubicBezTo>
                    <a:pt x="306391" y="59643"/>
                    <a:pt x="307266" y="59643"/>
                    <a:pt x="306829" y="59946"/>
                  </a:cubicBezTo>
                  <a:cubicBezTo>
                    <a:pt x="306391" y="60248"/>
                    <a:pt x="304810" y="61089"/>
                    <a:pt x="303800" y="60821"/>
                  </a:cubicBezTo>
                  <a:cubicBezTo>
                    <a:pt x="302790" y="60551"/>
                    <a:pt x="301915" y="61224"/>
                    <a:pt x="301343" y="60955"/>
                  </a:cubicBezTo>
                  <a:cubicBezTo>
                    <a:pt x="300771" y="60652"/>
                    <a:pt x="298449" y="60955"/>
                    <a:pt x="298449" y="60955"/>
                  </a:cubicBezTo>
                  <a:lnTo>
                    <a:pt x="297439" y="60955"/>
                  </a:lnTo>
                  <a:lnTo>
                    <a:pt x="295420" y="61830"/>
                  </a:lnTo>
                  <a:cubicBezTo>
                    <a:pt x="295420" y="61830"/>
                    <a:pt x="295689" y="63848"/>
                    <a:pt x="295857" y="64453"/>
                  </a:cubicBezTo>
                  <a:cubicBezTo>
                    <a:pt x="295992" y="65025"/>
                    <a:pt x="296430" y="66909"/>
                    <a:pt x="296430" y="66909"/>
                  </a:cubicBezTo>
                  <a:cubicBezTo>
                    <a:pt x="296430" y="66909"/>
                    <a:pt x="297439" y="70374"/>
                    <a:pt x="297439" y="70811"/>
                  </a:cubicBezTo>
                  <a:cubicBezTo>
                    <a:pt x="297439" y="71249"/>
                    <a:pt x="298449" y="73704"/>
                    <a:pt x="298449" y="73704"/>
                  </a:cubicBezTo>
                  <a:lnTo>
                    <a:pt x="299324" y="77472"/>
                  </a:lnTo>
                  <a:lnTo>
                    <a:pt x="299324" y="80365"/>
                  </a:lnTo>
                  <a:lnTo>
                    <a:pt x="296867" y="83561"/>
                  </a:lnTo>
                  <a:lnTo>
                    <a:pt x="295420" y="86588"/>
                  </a:lnTo>
                  <a:lnTo>
                    <a:pt x="293232" y="91063"/>
                  </a:lnTo>
                  <a:lnTo>
                    <a:pt x="291348" y="93249"/>
                  </a:lnTo>
                  <a:lnTo>
                    <a:pt x="289598" y="95705"/>
                  </a:lnTo>
                  <a:cubicBezTo>
                    <a:pt x="289598" y="95705"/>
                    <a:pt x="288285" y="97151"/>
                    <a:pt x="287410" y="97589"/>
                  </a:cubicBezTo>
                  <a:cubicBezTo>
                    <a:pt x="286535" y="98026"/>
                    <a:pt x="284785" y="99910"/>
                    <a:pt x="284347" y="100044"/>
                  </a:cubicBezTo>
                  <a:cubicBezTo>
                    <a:pt x="283910" y="100179"/>
                    <a:pt x="281016" y="102668"/>
                    <a:pt x="281016" y="102668"/>
                  </a:cubicBezTo>
                  <a:lnTo>
                    <a:pt x="280141" y="102668"/>
                  </a:lnTo>
                  <a:lnTo>
                    <a:pt x="280141" y="105258"/>
                  </a:lnTo>
                  <a:lnTo>
                    <a:pt x="280141" y="105999"/>
                  </a:lnTo>
                  <a:lnTo>
                    <a:pt x="279265" y="108454"/>
                  </a:lnTo>
                  <a:lnTo>
                    <a:pt x="276809" y="109329"/>
                  </a:lnTo>
                  <a:cubicBezTo>
                    <a:pt x="276809" y="109329"/>
                    <a:pt x="275362" y="108891"/>
                    <a:pt x="274924" y="108757"/>
                  </a:cubicBezTo>
                  <a:cubicBezTo>
                    <a:pt x="274487" y="108622"/>
                    <a:pt x="272905" y="106738"/>
                    <a:pt x="272905" y="106738"/>
                  </a:cubicBezTo>
                  <a:lnTo>
                    <a:pt x="269842" y="105999"/>
                  </a:lnTo>
                  <a:lnTo>
                    <a:pt x="265198" y="106738"/>
                  </a:lnTo>
                  <a:cubicBezTo>
                    <a:pt x="265198" y="106738"/>
                    <a:pt x="262741" y="109329"/>
                    <a:pt x="262135" y="109329"/>
                  </a:cubicBezTo>
                  <a:cubicBezTo>
                    <a:pt x="261564" y="109329"/>
                    <a:pt x="261126" y="111650"/>
                    <a:pt x="260958" y="112222"/>
                  </a:cubicBezTo>
                  <a:cubicBezTo>
                    <a:pt x="260823" y="112794"/>
                    <a:pt x="259207" y="113971"/>
                    <a:pt x="259207" y="113971"/>
                  </a:cubicBezTo>
                  <a:lnTo>
                    <a:pt x="259207" y="118008"/>
                  </a:lnTo>
                  <a:lnTo>
                    <a:pt x="255876" y="121035"/>
                  </a:lnTo>
                  <a:lnTo>
                    <a:pt x="251534" y="120766"/>
                  </a:lnTo>
                  <a:lnTo>
                    <a:pt x="248640" y="118882"/>
                  </a:lnTo>
                  <a:lnTo>
                    <a:pt x="247900" y="116561"/>
                  </a:lnTo>
                  <a:lnTo>
                    <a:pt x="245443" y="116561"/>
                  </a:lnTo>
                  <a:lnTo>
                    <a:pt x="241976" y="117436"/>
                  </a:lnTo>
                  <a:lnTo>
                    <a:pt x="237904" y="118445"/>
                  </a:lnTo>
                  <a:lnTo>
                    <a:pt x="236592" y="119892"/>
                  </a:lnTo>
                  <a:lnTo>
                    <a:pt x="235717" y="121035"/>
                  </a:lnTo>
                  <a:lnTo>
                    <a:pt x="234135" y="122785"/>
                  </a:lnTo>
                  <a:lnTo>
                    <a:pt x="233125" y="124366"/>
                  </a:lnTo>
                  <a:lnTo>
                    <a:pt x="233125" y="127831"/>
                  </a:lnTo>
                  <a:lnTo>
                    <a:pt x="233125" y="128571"/>
                  </a:lnTo>
                  <a:cubicBezTo>
                    <a:pt x="233125" y="128571"/>
                    <a:pt x="231880" y="130152"/>
                    <a:pt x="231442" y="130454"/>
                  </a:cubicBezTo>
                  <a:cubicBezTo>
                    <a:pt x="231005" y="130757"/>
                    <a:pt x="228346" y="132776"/>
                    <a:pt x="228043" y="133348"/>
                  </a:cubicBezTo>
                  <a:cubicBezTo>
                    <a:pt x="227740" y="133919"/>
                    <a:pt x="224409" y="133482"/>
                    <a:pt x="223836" y="133482"/>
                  </a:cubicBezTo>
                  <a:cubicBezTo>
                    <a:pt x="223265" y="133482"/>
                    <a:pt x="221817" y="131733"/>
                    <a:pt x="221817" y="131733"/>
                  </a:cubicBezTo>
                  <a:lnTo>
                    <a:pt x="220942" y="129849"/>
                  </a:lnTo>
                  <a:lnTo>
                    <a:pt x="220067" y="126956"/>
                  </a:lnTo>
                  <a:lnTo>
                    <a:pt x="218351" y="126956"/>
                  </a:lnTo>
                  <a:lnTo>
                    <a:pt x="215456" y="126956"/>
                  </a:lnTo>
                  <a:lnTo>
                    <a:pt x="214447" y="128974"/>
                  </a:lnTo>
                  <a:lnTo>
                    <a:pt x="212865" y="131161"/>
                  </a:lnTo>
                  <a:lnTo>
                    <a:pt x="210846" y="133179"/>
                  </a:lnTo>
                  <a:lnTo>
                    <a:pt x="207985" y="134828"/>
                  </a:lnTo>
                  <a:lnTo>
                    <a:pt x="205057" y="133953"/>
                  </a:lnTo>
                  <a:lnTo>
                    <a:pt x="200918" y="133045"/>
                  </a:lnTo>
                  <a:cubicBezTo>
                    <a:pt x="200918" y="133045"/>
                    <a:pt x="196576" y="132507"/>
                    <a:pt x="196341" y="132507"/>
                  </a:cubicBezTo>
                  <a:cubicBezTo>
                    <a:pt x="196105" y="132507"/>
                    <a:pt x="191124" y="132607"/>
                    <a:pt x="191124" y="132607"/>
                  </a:cubicBezTo>
                  <a:lnTo>
                    <a:pt x="185908" y="131968"/>
                  </a:lnTo>
                  <a:lnTo>
                    <a:pt x="178639" y="132338"/>
                  </a:lnTo>
                  <a:lnTo>
                    <a:pt x="174735" y="131195"/>
                  </a:lnTo>
                  <a:lnTo>
                    <a:pt x="174028" y="129883"/>
                  </a:lnTo>
                  <a:lnTo>
                    <a:pt x="170696" y="128739"/>
                  </a:lnTo>
                  <a:lnTo>
                    <a:pt x="167364" y="127999"/>
                  </a:lnTo>
                  <a:lnTo>
                    <a:pt x="164470" y="128739"/>
                  </a:lnTo>
                  <a:lnTo>
                    <a:pt x="161879" y="128739"/>
                  </a:lnTo>
                  <a:lnTo>
                    <a:pt x="160566" y="129748"/>
                  </a:lnTo>
                  <a:lnTo>
                    <a:pt x="160700" y="130623"/>
                  </a:lnTo>
                  <a:lnTo>
                    <a:pt x="160566" y="133078"/>
                  </a:lnTo>
                  <a:lnTo>
                    <a:pt x="159388" y="134828"/>
                  </a:lnTo>
                  <a:lnTo>
                    <a:pt x="158378" y="136577"/>
                  </a:lnTo>
                  <a:lnTo>
                    <a:pt x="158378" y="137317"/>
                  </a:lnTo>
                  <a:lnTo>
                    <a:pt x="159018" y="139638"/>
                  </a:lnTo>
                  <a:lnTo>
                    <a:pt x="160095" y="141522"/>
                  </a:lnTo>
                  <a:lnTo>
                    <a:pt x="160970" y="143708"/>
                  </a:lnTo>
                  <a:lnTo>
                    <a:pt x="161845" y="147039"/>
                  </a:lnTo>
                  <a:lnTo>
                    <a:pt x="161845" y="149663"/>
                  </a:lnTo>
                  <a:lnTo>
                    <a:pt x="160600" y="151244"/>
                  </a:lnTo>
                  <a:lnTo>
                    <a:pt x="158345" y="151378"/>
                  </a:lnTo>
                  <a:lnTo>
                    <a:pt x="155585" y="150235"/>
                  </a:lnTo>
                  <a:lnTo>
                    <a:pt x="152253" y="149663"/>
                  </a:lnTo>
                  <a:lnTo>
                    <a:pt x="147171" y="149663"/>
                  </a:lnTo>
                  <a:lnTo>
                    <a:pt x="141383" y="150975"/>
                  </a:lnTo>
                  <a:lnTo>
                    <a:pt x="137176" y="153598"/>
                  </a:lnTo>
                  <a:lnTo>
                    <a:pt x="132969" y="158678"/>
                  </a:lnTo>
                  <a:lnTo>
                    <a:pt x="130950" y="160427"/>
                  </a:lnTo>
                  <a:cubicBezTo>
                    <a:pt x="130950" y="160427"/>
                    <a:pt x="129200" y="162614"/>
                    <a:pt x="128762" y="162614"/>
                  </a:cubicBezTo>
                  <a:cubicBezTo>
                    <a:pt x="128325" y="162614"/>
                    <a:pt x="126003" y="165070"/>
                    <a:pt x="126003" y="165070"/>
                  </a:cubicBezTo>
                  <a:cubicBezTo>
                    <a:pt x="126003" y="165070"/>
                    <a:pt x="124118" y="166819"/>
                    <a:pt x="123546" y="166819"/>
                  </a:cubicBezTo>
                  <a:cubicBezTo>
                    <a:pt x="122974" y="166819"/>
                    <a:pt x="122536" y="168131"/>
                    <a:pt x="122536" y="168131"/>
                  </a:cubicBezTo>
                  <a:lnTo>
                    <a:pt x="120517" y="169880"/>
                  </a:lnTo>
                  <a:lnTo>
                    <a:pt x="118329" y="171461"/>
                  </a:lnTo>
                  <a:lnTo>
                    <a:pt x="118329" y="174085"/>
                  </a:lnTo>
                  <a:lnTo>
                    <a:pt x="117959" y="176103"/>
                  </a:lnTo>
                  <a:cubicBezTo>
                    <a:pt x="117959" y="176103"/>
                    <a:pt x="116882" y="177550"/>
                    <a:pt x="116310" y="177685"/>
                  </a:cubicBezTo>
                  <a:cubicBezTo>
                    <a:pt x="115738" y="177819"/>
                    <a:pt x="114426" y="178997"/>
                    <a:pt x="113853" y="179266"/>
                  </a:cubicBezTo>
                  <a:cubicBezTo>
                    <a:pt x="113281" y="179568"/>
                    <a:pt x="112709" y="180006"/>
                    <a:pt x="112709" y="180006"/>
                  </a:cubicBezTo>
                  <a:lnTo>
                    <a:pt x="108805" y="182764"/>
                  </a:lnTo>
                  <a:lnTo>
                    <a:pt x="108233" y="182764"/>
                  </a:lnTo>
                  <a:cubicBezTo>
                    <a:pt x="108233" y="182764"/>
                    <a:pt x="104598" y="182831"/>
                    <a:pt x="104026" y="183134"/>
                  </a:cubicBezTo>
                  <a:cubicBezTo>
                    <a:pt x="103454" y="183437"/>
                    <a:pt x="101401" y="182630"/>
                    <a:pt x="100829" y="182764"/>
                  </a:cubicBezTo>
                  <a:cubicBezTo>
                    <a:pt x="100257" y="182899"/>
                    <a:pt x="99819" y="183639"/>
                    <a:pt x="99247" y="183639"/>
                  </a:cubicBezTo>
                  <a:cubicBezTo>
                    <a:pt x="98675" y="183639"/>
                    <a:pt x="95209" y="185388"/>
                    <a:pt x="93593" y="185522"/>
                  </a:cubicBezTo>
                  <a:cubicBezTo>
                    <a:pt x="91978" y="185657"/>
                    <a:pt x="89656" y="186229"/>
                    <a:pt x="89656" y="186229"/>
                  </a:cubicBezTo>
                  <a:cubicBezTo>
                    <a:pt x="89656" y="186229"/>
                    <a:pt x="82285" y="186229"/>
                    <a:pt x="81848" y="186229"/>
                  </a:cubicBezTo>
                  <a:cubicBezTo>
                    <a:pt x="81410" y="186229"/>
                    <a:pt x="76934" y="186801"/>
                    <a:pt x="76934" y="186801"/>
                  </a:cubicBezTo>
                  <a:lnTo>
                    <a:pt x="72155" y="189391"/>
                  </a:lnTo>
                  <a:lnTo>
                    <a:pt x="68521" y="193159"/>
                  </a:lnTo>
                  <a:cubicBezTo>
                    <a:pt x="68521" y="193159"/>
                    <a:pt x="65761" y="194740"/>
                    <a:pt x="65189" y="194740"/>
                  </a:cubicBezTo>
                  <a:cubicBezTo>
                    <a:pt x="64617" y="194740"/>
                    <a:pt x="62429" y="195312"/>
                    <a:pt x="61992" y="195884"/>
                  </a:cubicBezTo>
                  <a:cubicBezTo>
                    <a:pt x="61554" y="196455"/>
                    <a:pt x="59972" y="195581"/>
                    <a:pt x="59400" y="195884"/>
                  </a:cubicBezTo>
                  <a:cubicBezTo>
                    <a:pt x="58828" y="196186"/>
                    <a:pt x="56068" y="195884"/>
                    <a:pt x="55463" y="195884"/>
                  </a:cubicBezTo>
                  <a:cubicBezTo>
                    <a:pt x="54891" y="195884"/>
                    <a:pt x="51828" y="196186"/>
                    <a:pt x="51256" y="196590"/>
                  </a:cubicBezTo>
                  <a:cubicBezTo>
                    <a:pt x="50684" y="197027"/>
                    <a:pt x="50246" y="196590"/>
                    <a:pt x="49674" y="196590"/>
                  </a:cubicBezTo>
                  <a:cubicBezTo>
                    <a:pt x="49102" y="196590"/>
                    <a:pt x="47924" y="199920"/>
                    <a:pt x="47487" y="200358"/>
                  </a:cubicBezTo>
                  <a:cubicBezTo>
                    <a:pt x="47049" y="200795"/>
                    <a:pt x="46174" y="202679"/>
                    <a:pt x="45736" y="203116"/>
                  </a:cubicBezTo>
                  <a:cubicBezTo>
                    <a:pt x="45299" y="203553"/>
                    <a:pt x="42539" y="205437"/>
                    <a:pt x="42539" y="205437"/>
                  </a:cubicBezTo>
                  <a:cubicBezTo>
                    <a:pt x="42539" y="205437"/>
                    <a:pt x="40655" y="207018"/>
                    <a:pt x="40217" y="207456"/>
                  </a:cubicBezTo>
                  <a:cubicBezTo>
                    <a:pt x="39780" y="207893"/>
                    <a:pt x="34563" y="209911"/>
                    <a:pt x="33688" y="210315"/>
                  </a:cubicBezTo>
                  <a:cubicBezTo>
                    <a:pt x="32813" y="210685"/>
                    <a:pt x="28606" y="210517"/>
                    <a:pt x="28606" y="210517"/>
                  </a:cubicBezTo>
                  <a:cubicBezTo>
                    <a:pt x="28606" y="210517"/>
                    <a:pt x="22649" y="210080"/>
                    <a:pt x="22077" y="210517"/>
                  </a:cubicBezTo>
                  <a:cubicBezTo>
                    <a:pt x="21505" y="210954"/>
                    <a:pt x="16558" y="210517"/>
                    <a:pt x="16558" y="210517"/>
                  </a:cubicBezTo>
                  <a:lnTo>
                    <a:pt x="11342" y="210517"/>
                  </a:lnTo>
                  <a:lnTo>
                    <a:pt x="9591" y="210517"/>
                  </a:lnTo>
                  <a:cubicBezTo>
                    <a:pt x="9591" y="210517"/>
                    <a:pt x="4947" y="210517"/>
                    <a:pt x="3938" y="210517"/>
                  </a:cubicBezTo>
                  <a:cubicBezTo>
                    <a:pt x="2928" y="210517"/>
                    <a:pt x="740" y="212905"/>
                    <a:pt x="740" y="212905"/>
                  </a:cubicBezTo>
                  <a:lnTo>
                    <a:pt x="0" y="214856"/>
                  </a:lnTo>
                  <a:cubicBezTo>
                    <a:pt x="0" y="214856"/>
                    <a:pt x="0" y="219061"/>
                    <a:pt x="0" y="219633"/>
                  </a:cubicBezTo>
                  <a:cubicBezTo>
                    <a:pt x="0" y="220205"/>
                    <a:pt x="1582" y="221954"/>
                    <a:pt x="1582" y="221954"/>
                  </a:cubicBezTo>
                  <a:lnTo>
                    <a:pt x="5216" y="226462"/>
                  </a:lnTo>
                  <a:lnTo>
                    <a:pt x="9693" y="231104"/>
                  </a:lnTo>
                  <a:lnTo>
                    <a:pt x="11442" y="233123"/>
                  </a:lnTo>
                  <a:lnTo>
                    <a:pt x="14774" y="236318"/>
                  </a:lnTo>
                  <a:lnTo>
                    <a:pt x="16491" y="238505"/>
                  </a:lnTo>
                  <a:lnTo>
                    <a:pt x="15481" y="240086"/>
                  </a:lnTo>
                  <a:lnTo>
                    <a:pt x="14774" y="241835"/>
                  </a:lnTo>
                  <a:lnTo>
                    <a:pt x="12183" y="241835"/>
                  </a:lnTo>
                  <a:cubicBezTo>
                    <a:pt x="12183" y="241835"/>
                    <a:pt x="9423" y="243921"/>
                    <a:pt x="8414" y="244089"/>
                  </a:cubicBezTo>
                  <a:cubicBezTo>
                    <a:pt x="7404" y="244224"/>
                    <a:pt x="8414" y="245031"/>
                    <a:pt x="8414" y="245031"/>
                  </a:cubicBezTo>
                  <a:lnTo>
                    <a:pt x="10164" y="248227"/>
                  </a:lnTo>
                  <a:lnTo>
                    <a:pt x="12048" y="250683"/>
                  </a:lnTo>
                  <a:cubicBezTo>
                    <a:pt x="12048" y="250683"/>
                    <a:pt x="15077" y="252264"/>
                    <a:pt x="15683" y="252432"/>
                  </a:cubicBezTo>
                  <a:cubicBezTo>
                    <a:pt x="16255" y="252566"/>
                    <a:pt x="19452" y="253306"/>
                    <a:pt x="19890" y="253576"/>
                  </a:cubicBezTo>
                  <a:cubicBezTo>
                    <a:pt x="20327" y="253878"/>
                    <a:pt x="23222" y="254147"/>
                    <a:pt x="24534" y="254753"/>
                  </a:cubicBezTo>
                  <a:cubicBezTo>
                    <a:pt x="25847" y="255325"/>
                    <a:pt x="27428" y="256502"/>
                    <a:pt x="27428" y="256502"/>
                  </a:cubicBezTo>
                  <a:cubicBezTo>
                    <a:pt x="27428" y="256502"/>
                    <a:pt x="28573" y="257511"/>
                    <a:pt x="29178" y="257814"/>
                  </a:cubicBezTo>
                  <a:cubicBezTo>
                    <a:pt x="29751" y="258117"/>
                    <a:pt x="31198" y="259833"/>
                    <a:pt x="31366" y="260404"/>
                  </a:cubicBezTo>
                  <a:cubicBezTo>
                    <a:pt x="31501" y="260976"/>
                    <a:pt x="31231" y="261851"/>
                    <a:pt x="31231" y="261851"/>
                  </a:cubicBezTo>
                  <a:cubicBezTo>
                    <a:pt x="31231" y="261851"/>
                    <a:pt x="29347" y="264609"/>
                    <a:pt x="28775" y="264878"/>
                  </a:cubicBezTo>
                  <a:cubicBezTo>
                    <a:pt x="28203" y="265181"/>
                    <a:pt x="25712" y="266460"/>
                    <a:pt x="25140" y="266762"/>
                  </a:cubicBezTo>
                  <a:cubicBezTo>
                    <a:pt x="24568" y="267065"/>
                    <a:pt x="22380" y="269083"/>
                    <a:pt x="21371" y="270093"/>
                  </a:cubicBezTo>
                  <a:cubicBezTo>
                    <a:pt x="20361" y="271102"/>
                    <a:pt x="19923" y="272414"/>
                    <a:pt x="19923" y="272986"/>
                  </a:cubicBezTo>
                  <a:cubicBezTo>
                    <a:pt x="19923" y="273558"/>
                    <a:pt x="20664" y="275576"/>
                    <a:pt x="20933" y="276013"/>
                  </a:cubicBezTo>
                  <a:cubicBezTo>
                    <a:pt x="21236" y="276451"/>
                    <a:pt x="23525" y="278334"/>
                    <a:pt x="23525" y="278334"/>
                  </a:cubicBezTo>
                  <a:lnTo>
                    <a:pt x="28741" y="278334"/>
                  </a:lnTo>
                  <a:lnTo>
                    <a:pt x="32376" y="281799"/>
                  </a:lnTo>
                  <a:cubicBezTo>
                    <a:pt x="32376" y="281799"/>
                    <a:pt x="29481" y="284995"/>
                    <a:pt x="29044" y="285130"/>
                  </a:cubicBezTo>
                  <a:cubicBezTo>
                    <a:pt x="28606" y="285264"/>
                    <a:pt x="28034" y="286139"/>
                    <a:pt x="28034" y="286139"/>
                  </a:cubicBezTo>
                  <a:lnTo>
                    <a:pt x="26149" y="287888"/>
                  </a:lnTo>
                  <a:lnTo>
                    <a:pt x="26149" y="290916"/>
                  </a:lnTo>
                  <a:lnTo>
                    <a:pt x="27159" y="293237"/>
                  </a:lnTo>
                  <a:cubicBezTo>
                    <a:pt x="27159" y="293237"/>
                    <a:pt x="29044" y="294246"/>
                    <a:pt x="29481" y="293977"/>
                  </a:cubicBezTo>
                  <a:cubicBezTo>
                    <a:pt x="29919" y="293674"/>
                    <a:pt x="32241" y="293977"/>
                    <a:pt x="32241" y="293977"/>
                  </a:cubicBezTo>
                  <a:lnTo>
                    <a:pt x="37895" y="293977"/>
                  </a:lnTo>
                  <a:lnTo>
                    <a:pt x="39342" y="295356"/>
                  </a:lnTo>
                  <a:cubicBezTo>
                    <a:pt x="39342" y="295356"/>
                    <a:pt x="43246" y="299191"/>
                    <a:pt x="43549" y="299763"/>
                  </a:cubicBezTo>
                  <a:cubicBezTo>
                    <a:pt x="43852" y="300335"/>
                    <a:pt x="46107" y="302656"/>
                    <a:pt x="46107" y="302656"/>
                  </a:cubicBezTo>
                  <a:lnTo>
                    <a:pt x="46174" y="306861"/>
                  </a:lnTo>
                  <a:cubicBezTo>
                    <a:pt x="46174" y="306861"/>
                    <a:pt x="46039" y="311200"/>
                    <a:pt x="46174" y="311772"/>
                  </a:cubicBezTo>
                  <a:cubicBezTo>
                    <a:pt x="46309" y="312344"/>
                    <a:pt x="49641" y="316549"/>
                    <a:pt x="49641" y="316549"/>
                  </a:cubicBezTo>
                  <a:lnTo>
                    <a:pt x="52097" y="316549"/>
                  </a:lnTo>
                  <a:lnTo>
                    <a:pt x="53612" y="318130"/>
                  </a:lnTo>
                  <a:cubicBezTo>
                    <a:pt x="53612" y="318130"/>
                    <a:pt x="56943" y="320216"/>
                    <a:pt x="57011" y="320451"/>
                  </a:cubicBezTo>
                  <a:cubicBezTo>
                    <a:pt x="57078" y="320687"/>
                    <a:pt x="61352" y="324286"/>
                    <a:pt x="61554" y="324421"/>
                  </a:cubicBezTo>
                  <a:cubicBezTo>
                    <a:pt x="61790" y="324555"/>
                    <a:pt x="65626" y="327818"/>
                    <a:pt x="65828" y="327953"/>
                  </a:cubicBezTo>
                  <a:cubicBezTo>
                    <a:pt x="66064" y="328087"/>
                    <a:pt x="67848" y="332023"/>
                    <a:pt x="67915" y="332225"/>
                  </a:cubicBezTo>
                  <a:cubicBezTo>
                    <a:pt x="67982" y="332427"/>
                    <a:pt x="68420" y="337136"/>
                    <a:pt x="68420" y="337136"/>
                  </a:cubicBezTo>
                  <a:lnTo>
                    <a:pt x="67848" y="339962"/>
                  </a:lnTo>
                  <a:cubicBezTo>
                    <a:pt x="67848" y="339962"/>
                    <a:pt x="67848" y="345109"/>
                    <a:pt x="67848" y="345378"/>
                  </a:cubicBezTo>
                  <a:cubicBezTo>
                    <a:pt x="67848" y="345681"/>
                    <a:pt x="67848" y="348641"/>
                    <a:pt x="67848" y="348641"/>
                  </a:cubicBezTo>
                  <a:lnTo>
                    <a:pt x="67848" y="352779"/>
                  </a:lnTo>
                  <a:lnTo>
                    <a:pt x="65223" y="356513"/>
                  </a:lnTo>
                  <a:lnTo>
                    <a:pt x="62093" y="361222"/>
                  </a:lnTo>
                  <a:cubicBezTo>
                    <a:pt x="63506" y="360180"/>
                    <a:pt x="65021" y="359170"/>
                    <a:pt x="65021" y="359170"/>
                  </a:cubicBezTo>
                  <a:cubicBezTo>
                    <a:pt x="65021" y="359170"/>
                    <a:pt x="66972" y="359271"/>
                    <a:pt x="66972" y="359709"/>
                  </a:cubicBezTo>
                  <a:cubicBezTo>
                    <a:pt x="66972" y="360146"/>
                    <a:pt x="67949" y="361761"/>
                    <a:pt x="67949" y="361761"/>
                  </a:cubicBezTo>
                  <a:cubicBezTo>
                    <a:pt x="67949" y="361761"/>
                    <a:pt x="69025" y="363846"/>
                    <a:pt x="69665" y="365125"/>
                  </a:cubicBezTo>
                  <a:cubicBezTo>
                    <a:pt x="70304" y="366437"/>
                    <a:pt x="72391" y="370339"/>
                    <a:pt x="72694" y="370978"/>
                  </a:cubicBezTo>
                  <a:cubicBezTo>
                    <a:pt x="73030" y="371617"/>
                    <a:pt x="75622" y="375654"/>
                    <a:pt x="75622" y="375654"/>
                  </a:cubicBezTo>
                  <a:lnTo>
                    <a:pt x="77910" y="378143"/>
                  </a:lnTo>
                  <a:cubicBezTo>
                    <a:pt x="77910" y="378143"/>
                    <a:pt x="79862" y="382718"/>
                    <a:pt x="80300" y="383794"/>
                  </a:cubicBezTo>
                  <a:cubicBezTo>
                    <a:pt x="80737" y="384871"/>
                    <a:pt x="84641" y="391296"/>
                    <a:pt x="84978" y="391599"/>
                  </a:cubicBezTo>
                  <a:cubicBezTo>
                    <a:pt x="85314" y="391935"/>
                    <a:pt x="86492" y="395838"/>
                    <a:pt x="86492" y="395838"/>
                  </a:cubicBezTo>
                  <a:lnTo>
                    <a:pt x="85752" y="400513"/>
                  </a:lnTo>
                  <a:lnTo>
                    <a:pt x="86492" y="405088"/>
                  </a:lnTo>
                  <a:lnTo>
                    <a:pt x="88680" y="408789"/>
                  </a:lnTo>
                  <a:lnTo>
                    <a:pt x="96521" y="410538"/>
                  </a:lnTo>
                  <a:lnTo>
                    <a:pt x="102377" y="415315"/>
                  </a:lnTo>
                  <a:lnTo>
                    <a:pt x="104767" y="419015"/>
                  </a:lnTo>
                  <a:lnTo>
                    <a:pt x="106517" y="424431"/>
                  </a:lnTo>
                  <a:lnTo>
                    <a:pt x="107829" y="427022"/>
                  </a:lnTo>
                  <a:lnTo>
                    <a:pt x="109142" y="429410"/>
                  </a:lnTo>
                  <a:cubicBezTo>
                    <a:pt x="109142" y="429410"/>
                    <a:pt x="110656" y="431798"/>
                    <a:pt x="111531" y="431798"/>
                  </a:cubicBezTo>
                  <a:cubicBezTo>
                    <a:pt x="112406" y="431798"/>
                    <a:pt x="115873" y="433110"/>
                    <a:pt x="115873" y="433110"/>
                  </a:cubicBezTo>
                  <a:cubicBezTo>
                    <a:pt x="115873" y="433110"/>
                    <a:pt x="121527" y="434187"/>
                    <a:pt x="122402" y="434624"/>
                  </a:cubicBezTo>
                  <a:cubicBezTo>
                    <a:pt x="123277" y="435061"/>
                    <a:pt x="125229" y="435499"/>
                    <a:pt x="126104" y="435263"/>
                  </a:cubicBezTo>
                  <a:cubicBezTo>
                    <a:pt x="126979" y="435061"/>
                    <a:pt x="128056" y="433749"/>
                    <a:pt x="128056" y="433749"/>
                  </a:cubicBezTo>
                  <a:lnTo>
                    <a:pt x="131758" y="433312"/>
                  </a:lnTo>
                  <a:lnTo>
                    <a:pt x="133070" y="433749"/>
                  </a:lnTo>
                  <a:cubicBezTo>
                    <a:pt x="134147" y="435701"/>
                    <a:pt x="135022" y="437450"/>
                    <a:pt x="135022" y="437450"/>
                  </a:cubicBezTo>
                  <a:lnTo>
                    <a:pt x="136772" y="442025"/>
                  </a:lnTo>
                  <a:lnTo>
                    <a:pt x="138085" y="443976"/>
                  </a:lnTo>
                  <a:cubicBezTo>
                    <a:pt x="138085" y="443976"/>
                    <a:pt x="139162" y="444178"/>
                    <a:pt x="140272" y="445052"/>
                  </a:cubicBezTo>
                  <a:cubicBezTo>
                    <a:pt x="141349" y="445927"/>
                    <a:pt x="143099" y="445927"/>
                    <a:pt x="143099" y="445927"/>
                  </a:cubicBezTo>
                  <a:cubicBezTo>
                    <a:pt x="143099" y="445927"/>
                    <a:pt x="144614" y="446129"/>
                    <a:pt x="145051" y="446802"/>
                  </a:cubicBezTo>
                  <a:cubicBezTo>
                    <a:pt x="145488" y="447441"/>
                    <a:pt x="149830" y="448114"/>
                    <a:pt x="149830" y="448114"/>
                  </a:cubicBezTo>
                  <a:lnTo>
                    <a:pt x="151143" y="448753"/>
                  </a:lnTo>
                  <a:cubicBezTo>
                    <a:pt x="151143" y="448753"/>
                    <a:pt x="152219" y="449392"/>
                    <a:pt x="153330" y="449392"/>
                  </a:cubicBezTo>
                  <a:cubicBezTo>
                    <a:pt x="154407" y="449392"/>
                    <a:pt x="158345" y="450468"/>
                    <a:pt x="158345" y="450468"/>
                  </a:cubicBezTo>
                  <a:lnTo>
                    <a:pt x="160936" y="451107"/>
                  </a:lnTo>
                  <a:lnTo>
                    <a:pt x="162888" y="452419"/>
                  </a:lnTo>
                  <a:lnTo>
                    <a:pt x="164638" y="455245"/>
                  </a:lnTo>
                  <a:lnTo>
                    <a:pt x="167465" y="456120"/>
                  </a:lnTo>
                  <a:lnTo>
                    <a:pt x="170932" y="457869"/>
                  </a:lnTo>
                  <a:cubicBezTo>
                    <a:pt x="170932" y="457869"/>
                    <a:pt x="174398" y="458508"/>
                    <a:pt x="175071" y="458744"/>
                  </a:cubicBezTo>
                  <a:cubicBezTo>
                    <a:pt x="175711" y="458946"/>
                    <a:pt x="177259" y="458946"/>
                    <a:pt x="177898" y="458946"/>
                  </a:cubicBezTo>
                  <a:cubicBezTo>
                    <a:pt x="178538" y="458946"/>
                    <a:pt x="179210" y="458306"/>
                    <a:pt x="179850" y="459585"/>
                  </a:cubicBezTo>
                  <a:cubicBezTo>
                    <a:pt x="180489" y="460897"/>
                    <a:pt x="182442" y="461435"/>
                    <a:pt x="182677" y="462074"/>
                  </a:cubicBezTo>
                  <a:cubicBezTo>
                    <a:pt x="182879" y="462713"/>
                    <a:pt x="185066" y="464126"/>
                    <a:pt x="185066" y="464126"/>
                  </a:cubicBezTo>
                  <a:lnTo>
                    <a:pt x="187019" y="464126"/>
                  </a:lnTo>
                  <a:cubicBezTo>
                    <a:pt x="187019" y="464126"/>
                    <a:pt x="189845" y="464765"/>
                    <a:pt x="190485" y="464765"/>
                  </a:cubicBezTo>
                  <a:cubicBezTo>
                    <a:pt x="191124" y="464765"/>
                    <a:pt x="193312" y="463689"/>
                    <a:pt x="193312" y="463689"/>
                  </a:cubicBezTo>
                  <a:lnTo>
                    <a:pt x="195264" y="463049"/>
                  </a:lnTo>
                  <a:lnTo>
                    <a:pt x="198326" y="461738"/>
                  </a:lnTo>
                  <a:cubicBezTo>
                    <a:pt x="198326" y="461738"/>
                    <a:pt x="199201" y="461300"/>
                    <a:pt x="200077" y="461300"/>
                  </a:cubicBezTo>
                  <a:cubicBezTo>
                    <a:pt x="200952" y="461300"/>
                    <a:pt x="203778" y="461838"/>
                    <a:pt x="203778" y="461838"/>
                  </a:cubicBezTo>
                  <a:lnTo>
                    <a:pt x="209870" y="460627"/>
                  </a:lnTo>
                  <a:lnTo>
                    <a:pt x="216601" y="460627"/>
                  </a:lnTo>
                  <a:lnTo>
                    <a:pt x="219192" y="459114"/>
                  </a:lnTo>
                  <a:lnTo>
                    <a:pt x="230062" y="460426"/>
                  </a:lnTo>
                  <a:lnTo>
                    <a:pt x="235077" y="460863"/>
                  </a:lnTo>
                  <a:lnTo>
                    <a:pt x="243356" y="458676"/>
                  </a:lnTo>
                  <a:cubicBezTo>
                    <a:pt x="243356" y="458676"/>
                    <a:pt x="245746" y="457600"/>
                    <a:pt x="246621" y="457365"/>
                  </a:cubicBezTo>
                  <a:cubicBezTo>
                    <a:pt x="247496" y="457163"/>
                    <a:pt x="251837" y="457365"/>
                    <a:pt x="251837" y="457365"/>
                  </a:cubicBezTo>
                  <a:lnTo>
                    <a:pt x="255539" y="457163"/>
                  </a:lnTo>
                  <a:cubicBezTo>
                    <a:pt x="255539" y="457163"/>
                    <a:pt x="259241" y="456826"/>
                    <a:pt x="260083" y="456389"/>
                  </a:cubicBezTo>
                  <a:cubicBezTo>
                    <a:pt x="260924" y="455952"/>
                    <a:pt x="264659" y="455413"/>
                    <a:pt x="264659" y="455413"/>
                  </a:cubicBezTo>
                  <a:lnTo>
                    <a:pt x="267049" y="455413"/>
                  </a:lnTo>
                  <a:cubicBezTo>
                    <a:pt x="267049" y="455413"/>
                    <a:pt x="268564" y="456288"/>
                    <a:pt x="270751" y="455851"/>
                  </a:cubicBezTo>
                  <a:cubicBezTo>
                    <a:pt x="272939" y="455413"/>
                    <a:pt x="275530" y="454774"/>
                    <a:pt x="275530" y="454774"/>
                  </a:cubicBezTo>
                  <a:lnTo>
                    <a:pt x="278357" y="453025"/>
                  </a:lnTo>
                  <a:lnTo>
                    <a:pt x="278357" y="451074"/>
                  </a:lnTo>
                  <a:lnTo>
                    <a:pt x="283573" y="451511"/>
                  </a:lnTo>
                  <a:cubicBezTo>
                    <a:pt x="283573" y="451511"/>
                    <a:pt x="284785" y="452386"/>
                    <a:pt x="284785" y="453462"/>
                  </a:cubicBezTo>
                  <a:cubicBezTo>
                    <a:pt x="284785" y="454539"/>
                    <a:pt x="283573" y="457802"/>
                    <a:pt x="283573" y="457802"/>
                  </a:cubicBezTo>
                  <a:lnTo>
                    <a:pt x="283573" y="459753"/>
                  </a:lnTo>
                  <a:cubicBezTo>
                    <a:pt x="283573" y="459753"/>
                    <a:pt x="286198" y="462780"/>
                    <a:pt x="287074" y="463218"/>
                  </a:cubicBezTo>
                  <a:cubicBezTo>
                    <a:pt x="287949" y="463655"/>
                    <a:pt x="287949" y="462343"/>
                    <a:pt x="289261" y="464294"/>
                  </a:cubicBezTo>
                  <a:cubicBezTo>
                    <a:pt x="290574" y="466245"/>
                    <a:pt x="290978" y="466918"/>
                    <a:pt x="292088" y="467322"/>
                  </a:cubicBezTo>
                  <a:cubicBezTo>
                    <a:pt x="293165" y="467759"/>
                    <a:pt x="293401" y="467322"/>
                    <a:pt x="294713" y="467961"/>
                  </a:cubicBezTo>
                  <a:cubicBezTo>
                    <a:pt x="296026" y="468600"/>
                    <a:pt x="297540" y="468600"/>
                    <a:pt x="297540" y="468600"/>
                  </a:cubicBezTo>
                  <a:lnTo>
                    <a:pt x="298853" y="467725"/>
                  </a:lnTo>
                  <a:lnTo>
                    <a:pt x="301680" y="465337"/>
                  </a:lnTo>
                  <a:lnTo>
                    <a:pt x="303430" y="463823"/>
                  </a:lnTo>
                  <a:lnTo>
                    <a:pt x="305381" y="462747"/>
                  </a:lnTo>
                  <a:lnTo>
                    <a:pt x="308410" y="461872"/>
                  </a:lnTo>
                  <a:lnTo>
                    <a:pt x="310363" y="460997"/>
                  </a:lnTo>
                  <a:cubicBezTo>
                    <a:pt x="310363" y="460997"/>
                    <a:pt x="312954" y="459685"/>
                    <a:pt x="312954" y="458811"/>
                  </a:cubicBezTo>
                  <a:cubicBezTo>
                    <a:pt x="312954" y="457936"/>
                    <a:pt x="314266" y="455985"/>
                    <a:pt x="314266" y="455985"/>
                  </a:cubicBezTo>
                  <a:cubicBezTo>
                    <a:pt x="314266" y="455985"/>
                    <a:pt x="315343" y="454236"/>
                    <a:pt x="316016" y="454034"/>
                  </a:cubicBezTo>
                  <a:cubicBezTo>
                    <a:pt x="316690" y="453832"/>
                    <a:pt x="318642" y="452285"/>
                    <a:pt x="318642" y="452285"/>
                  </a:cubicBezTo>
                  <a:cubicBezTo>
                    <a:pt x="318642" y="452285"/>
                    <a:pt x="321267" y="451410"/>
                    <a:pt x="321906" y="451410"/>
                  </a:cubicBezTo>
                  <a:cubicBezTo>
                    <a:pt x="322546" y="451410"/>
                    <a:pt x="326012" y="453597"/>
                    <a:pt x="326012" y="453597"/>
                  </a:cubicBezTo>
                  <a:cubicBezTo>
                    <a:pt x="326012" y="453597"/>
                    <a:pt x="325810" y="455783"/>
                    <a:pt x="326012" y="457062"/>
                  </a:cubicBezTo>
                  <a:cubicBezTo>
                    <a:pt x="326248" y="458374"/>
                    <a:pt x="325642" y="462915"/>
                    <a:pt x="325642" y="462915"/>
                  </a:cubicBezTo>
                  <a:lnTo>
                    <a:pt x="325372" y="466615"/>
                  </a:lnTo>
                  <a:lnTo>
                    <a:pt x="325372" y="470080"/>
                  </a:lnTo>
                  <a:lnTo>
                    <a:pt x="326079" y="472132"/>
                  </a:lnTo>
                  <a:lnTo>
                    <a:pt x="327998" y="473646"/>
                  </a:lnTo>
                  <a:lnTo>
                    <a:pt x="332776" y="477548"/>
                  </a:lnTo>
                  <a:lnTo>
                    <a:pt x="332137" y="482224"/>
                  </a:lnTo>
                  <a:lnTo>
                    <a:pt x="329848" y="484276"/>
                  </a:lnTo>
                  <a:cubicBezTo>
                    <a:pt x="329848" y="484276"/>
                    <a:pt x="328233" y="485353"/>
                    <a:pt x="327459" y="485353"/>
                  </a:cubicBezTo>
                  <a:cubicBezTo>
                    <a:pt x="326685" y="485353"/>
                    <a:pt x="325945" y="486429"/>
                    <a:pt x="325945" y="486429"/>
                  </a:cubicBezTo>
                  <a:cubicBezTo>
                    <a:pt x="325945" y="486429"/>
                    <a:pt x="325844" y="488918"/>
                    <a:pt x="326045" y="489692"/>
                  </a:cubicBezTo>
                  <a:cubicBezTo>
                    <a:pt x="326281" y="490466"/>
                    <a:pt x="329647" y="493493"/>
                    <a:pt x="330387" y="494368"/>
                  </a:cubicBezTo>
                  <a:cubicBezTo>
                    <a:pt x="331161" y="495243"/>
                    <a:pt x="334291" y="496319"/>
                    <a:pt x="334291" y="496319"/>
                  </a:cubicBezTo>
                  <a:lnTo>
                    <a:pt x="331363" y="500995"/>
                  </a:lnTo>
                  <a:lnTo>
                    <a:pt x="330589" y="503484"/>
                  </a:lnTo>
                  <a:lnTo>
                    <a:pt x="334291" y="508799"/>
                  </a:lnTo>
                  <a:lnTo>
                    <a:pt x="337454" y="510212"/>
                  </a:lnTo>
                  <a:lnTo>
                    <a:pt x="340719" y="512264"/>
                  </a:lnTo>
                  <a:lnTo>
                    <a:pt x="343546" y="515965"/>
                  </a:lnTo>
                  <a:lnTo>
                    <a:pt x="344758" y="517176"/>
                  </a:lnTo>
                  <a:cubicBezTo>
                    <a:pt x="344758" y="517176"/>
                    <a:pt x="346171" y="517815"/>
                    <a:pt x="346810" y="517815"/>
                  </a:cubicBezTo>
                  <a:cubicBezTo>
                    <a:pt x="347450" y="517815"/>
                    <a:pt x="349738" y="516301"/>
                    <a:pt x="349738" y="516301"/>
                  </a:cubicBezTo>
                  <a:cubicBezTo>
                    <a:pt x="349738" y="516301"/>
                    <a:pt x="349738" y="517815"/>
                    <a:pt x="349738" y="518690"/>
                  </a:cubicBezTo>
                  <a:cubicBezTo>
                    <a:pt x="349738" y="519564"/>
                    <a:pt x="349738" y="522154"/>
                    <a:pt x="349738" y="522154"/>
                  </a:cubicBezTo>
                  <a:lnTo>
                    <a:pt x="346676" y="525619"/>
                  </a:lnTo>
                  <a:lnTo>
                    <a:pt x="347551" y="529320"/>
                  </a:lnTo>
                  <a:lnTo>
                    <a:pt x="349738" y="530396"/>
                  </a:lnTo>
                  <a:lnTo>
                    <a:pt x="352195" y="531641"/>
                  </a:lnTo>
                  <a:cubicBezTo>
                    <a:pt x="352195" y="531641"/>
                    <a:pt x="353339" y="530766"/>
                    <a:pt x="353777" y="530632"/>
                  </a:cubicBezTo>
                  <a:cubicBezTo>
                    <a:pt x="354214" y="530497"/>
                    <a:pt x="354787" y="530497"/>
                    <a:pt x="354988" y="529320"/>
                  </a:cubicBezTo>
                  <a:cubicBezTo>
                    <a:pt x="355224" y="528176"/>
                    <a:pt x="355224" y="527806"/>
                    <a:pt x="355561" y="526729"/>
                  </a:cubicBezTo>
                  <a:cubicBezTo>
                    <a:pt x="355931" y="525653"/>
                    <a:pt x="355931" y="525417"/>
                    <a:pt x="356806" y="524475"/>
                  </a:cubicBezTo>
                  <a:cubicBezTo>
                    <a:pt x="357681" y="523534"/>
                    <a:pt x="358488" y="522592"/>
                    <a:pt x="358825" y="522020"/>
                  </a:cubicBezTo>
                  <a:cubicBezTo>
                    <a:pt x="359195" y="521448"/>
                    <a:pt x="359633" y="520641"/>
                    <a:pt x="360205" y="520271"/>
                  </a:cubicBezTo>
                  <a:cubicBezTo>
                    <a:pt x="360777" y="519901"/>
                    <a:pt x="362594" y="518320"/>
                    <a:pt x="362594" y="518017"/>
                  </a:cubicBezTo>
                  <a:cubicBezTo>
                    <a:pt x="362594" y="517714"/>
                    <a:pt x="363974" y="516133"/>
                    <a:pt x="364344" y="515124"/>
                  </a:cubicBezTo>
                  <a:cubicBezTo>
                    <a:pt x="364714" y="514115"/>
                    <a:pt x="365792" y="512668"/>
                    <a:pt x="365993" y="512533"/>
                  </a:cubicBezTo>
                  <a:cubicBezTo>
                    <a:pt x="366196" y="512399"/>
                    <a:pt x="366868" y="511726"/>
                    <a:pt x="367138" y="511726"/>
                  </a:cubicBezTo>
                  <a:cubicBezTo>
                    <a:pt x="367441" y="511726"/>
                    <a:pt x="372926" y="511659"/>
                    <a:pt x="372926" y="511659"/>
                  </a:cubicBezTo>
                  <a:lnTo>
                    <a:pt x="374677" y="512298"/>
                  </a:lnTo>
                  <a:cubicBezTo>
                    <a:pt x="374677" y="512298"/>
                    <a:pt x="376494" y="513374"/>
                    <a:pt x="377436" y="514316"/>
                  </a:cubicBezTo>
                  <a:cubicBezTo>
                    <a:pt x="378378" y="515258"/>
                    <a:pt x="381273" y="517512"/>
                    <a:pt x="381407" y="517781"/>
                  </a:cubicBezTo>
                  <a:cubicBezTo>
                    <a:pt x="381542" y="518084"/>
                    <a:pt x="384604" y="521044"/>
                    <a:pt x="384739" y="521414"/>
                  </a:cubicBezTo>
                  <a:cubicBezTo>
                    <a:pt x="384874" y="521784"/>
                    <a:pt x="386052" y="524105"/>
                    <a:pt x="387196" y="524610"/>
                  </a:cubicBezTo>
                  <a:cubicBezTo>
                    <a:pt x="388340" y="525115"/>
                    <a:pt x="390830" y="525787"/>
                    <a:pt x="392042" y="525619"/>
                  </a:cubicBezTo>
                  <a:cubicBezTo>
                    <a:pt x="393287" y="525485"/>
                    <a:pt x="398840" y="524812"/>
                    <a:pt x="399783" y="524475"/>
                  </a:cubicBezTo>
                  <a:cubicBezTo>
                    <a:pt x="400725" y="524105"/>
                    <a:pt x="403114" y="523836"/>
                    <a:pt x="404764" y="522894"/>
                  </a:cubicBezTo>
                  <a:cubicBezTo>
                    <a:pt x="406446" y="521952"/>
                    <a:pt x="408095" y="521313"/>
                    <a:pt x="408095" y="521313"/>
                  </a:cubicBezTo>
                  <a:lnTo>
                    <a:pt x="410048" y="523063"/>
                  </a:lnTo>
                  <a:lnTo>
                    <a:pt x="412639" y="524442"/>
                  </a:lnTo>
                  <a:cubicBezTo>
                    <a:pt x="412639" y="524442"/>
                    <a:pt x="413951" y="527907"/>
                    <a:pt x="413884" y="528210"/>
                  </a:cubicBezTo>
                  <a:cubicBezTo>
                    <a:pt x="413817" y="528512"/>
                    <a:pt x="414389" y="530026"/>
                    <a:pt x="413884" y="530901"/>
                  </a:cubicBezTo>
                  <a:cubicBezTo>
                    <a:pt x="413379" y="531775"/>
                    <a:pt x="413951" y="532583"/>
                    <a:pt x="413211" y="533726"/>
                  </a:cubicBezTo>
                  <a:cubicBezTo>
                    <a:pt x="412504" y="534870"/>
                    <a:pt x="412134" y="535812"/>
                    <a:pt x="411764" y="536182"/>
                  </a:cubicBezTo>
                  <a:cubicBezTo>
                    <a:pt x="411393" y="536552"/>
                    <a:pt x="410754" y="538503"/>
                    <a:pt x="410754" y="539008"/>
                  </a:cubicBezTo>
                  <a:cubicBezTo>
                    <a:pt x="410754" y="539512"/>
                    <a:pt x="410182" y="540387"/>
                    <a:pt x="411057" y="541531"/>
                  </a:cubicBezTo>
                  <a:cubicBezTo>
                    <a:pt x="411932" y="542675"/>
                    <a:pt x="412572" y="543112"/>
                    <a:pt x="414086" y="543213"/>
                  </a:cubicBezTo>
                  <a:cubicBezTo>
                    <a:pt x="415600" y="543280"/>
                    <a:pt x="419740" y="543583"/>
                    <a:pt x="420009" y="544222"/>
                  </a:cubicBezTo>
                  <a:cubicBezTo>
                    <a:pt x="420312" y="544861"/>
                    <a:pt x="423576" y="548562"/>
                    <a:pt x="424149" y="548932"/>
                  </a:cubicBezTo>
                  <a:cubicBezTo>
                    <a:pt x="424721" y="549302"/>
                    <a:pt x="428860" y="550748"/>
                    <a:pt x="429433" y="551185"/>
                  </a:cubicBezTo>
                  <a:cubicBezTo>
                    <a:pt x="430004" y="551623"/>
                    <a:pt x="433067" y="553944"/>
                    <a:pt x="433639" y="554213"/>
                  </a:cubicBezTo>
                  <a:cubicBezTo>
                    <a:pt x="434211" y="554516"/>
                    <a:pt x="438418" y="556837"/>
                    <a:pt x="439495" y="557106"/>
                  </a:cubicBezTo>
                  <a:cubicBezTo>
                    <a:pt x="440572" y="557409"/>
                    <a:pt x="443265" y="557173"/>
                    <a:pt x="443635" y="557106"/>
                  </a:cubicBezTo>
                  <a:cubicBezTo>
                    <a:pt x="444005" y="557039"/>
                    <a:pt x="448212" y="556029"/>
                    <a:pt x="449154" y="555525"/>
                  </a:cubicBezTo>
                  <a:cubicBezTo>
                    <a:pt x="450096" y="555020"/>
                    <a:pt x="454808" y="554280"/>
                    <a:pt x="455885" y="553204"/>
                  </a:cubicBezTo>
                  <a:cubicBezTo>
                    <a:pt x="456962" y="552127"/>
                    <a:pt x="460361" y="550580"/>
                    <a:pt x="460664" y="549874"/>
                  </a:cubicBezTo>
                  <a:cubicBezTo>
                    <a:pt x="460967" y="549167"/>
                    <a:pt x="463929" y="542473"/>
                    <a:pt x="463929" y="542271"/>
                  </a:cubicBezTo>
                  <a:cubicBezTo>
                    <a:pt x="463929" y="542069"/>
                    <a:pt x="465813" y="540017"/>
                    <a:pt x="465813" y="540017"/>
                  </a:cubicBezTo>
                  <a:lnTo>
                    <a:pt x="468606" y="541093"/>
                  </a:lnTo>
                  <a:lnTo>
                    <a:pt x="473082" y="543045"/>
                  </a:lnTo>
                  <a:lnTo>
                    <a:pt x="473082" y="546510"/>
                  </a:lnTo>
                  <a:lnTo>
                    <a:pt x="473082" y="551724"/>
                  </a:lnTo>
                  <a:lnTo>
                    <a:pt x="473082" y="553473"/>
                  </a:lnTo>
                  <a:lnTo>
                    <a:pt x="473082" y="556938"/>
                  </a:lnTo>
                  <a:lnTo>
                    <a:pt x="471433" y="560201"/>
                  </a:lnTo>
                  <a:lnTo>
                    <a:pt x="473082" y="562253"/>
                  </a:lnTo>
                  <a:lnTo>
                    <a:pt x="476549" y="562354"/>
                  </a:lnTo>
                  <a:lnTo>
                    <a:pt x="479275" y="561277"/>
                  </a:lnTo>
                  <a:lnTo>
                    <a:pt x="481765" y="562152"/>
                  </a:lnTo>
                  <a:lnTo>
                    <a:pt x="483515" y="561614"/>
                  </a:lnTo>
                  <a:lnTo>
                    <a:pt x="485837" y="561143"/>
                  </a:lnTo>
                  <a:lnTo>
                    <a:pt x="489035" y="556366"/>
                  </a:lnTo>
                  <a:lnTo>
                    <a:pt x="490819" y="552430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32" name="Freeform 898">
              <a:extLst>
                <a:ext uri="{FF2B5EF4-FFF2-40B4-BE49-F238E27FC236}">
                  <a16:creationId xmlns:a16="http://schemas.microsoft.com/office/drawing/2014/main" id="{C7F5D7DA-A9C6-69CF-AF70-C1F8A6E33FA3}"/>
                </a:ext>
              </a:extLst>
            </p:cNvPr>
            <p:cNvSpPr/>
            <p:nvPr/>
          </p:nvSpPr>
          <p:spPr>
            <a:xfrm>
              <a:off x="7996097" y="2453893"/>
              <a:ext cx="92292" cy="93883"/>
            </a:xfrm>
            <a:custGeom>
              <a:avLst/>
              <a:gdLst>
                <a:gd name="connsiteX0" fmla="*/ 13630 w 177191"/>
                <a:gd name="connsiteY0" fmla="*/ 153133 h 180246"/>
                <a:gd name="connsiteX1" fmla="*/ 14539 w 177191"/>
                <a:gd name="connsiteY1" fmla="*/ 151585 h 180246"/>
                <a:gd name="connsiteX2" fmla="*/ 14909 w 177191"/>
                <a:gd name="connsiteY2" fmla="*/ 149870 h 180246"/>
                <a:gd name="connsiteX3" fmla="*/ 13866 w 177191"/>
                <a:gd name="connsiteY3" fmla="*/ 148255 h 180246"/>
                <a:gd name="connsiteX4" fmla="*/ 10702 w 177191"/>
                <a:gd name="connsiteY4" fmla="*/ 145127 h 180246"/>
                <a:gd name="connsiteX5" fmla="*/ 9221 w 177191"/>
                <a:gd name="connsiteY5" fmla="*/ 142974 h 180246"/>
                <a:gd name="connsiteX6" fmla="*/ 6091 w 177191"/>
                <a:gd name="connsiteY6" fmla="*/ 139677 h 180246"/>
                <a:gd name="connsiteX7" fmla="*/ 3769 w 177191"/>
                <a:gd name="connsiteY7" fmla="*/ 137860 h 180246"/>
                <a:gd name="connsiteX8" fmla="*/ 1514 w 177191"/>
                <a:gd name="connsiteY8" fmla="*/ 135405 h 180246"/>
                <a:gd name="connsiteX9" fmla="*/ 505 w 177191"/>
                <a:gd name="connsiteY9" fmla="*/ 132444 h 180246"/>
                <a:gd name="connsiteX10" fmla="*/ 269 w 177191"/>
                <a:gd name="connsiteY10" fmla="*/ 129854 h 180246"/>
                <a:gd name="connsiteX11" fmla="*/ 0 w 177191"/>
                <a:gd name="connsiteY11" fmla="*/ 126019 h 180246"/>
                <a:gd name="connsiteX12" fmla="*/ 0 w 177191"/>
                <a:gd name="connsiteY12" fmla="*/ 124068 h 180246"/>
                <a:gd name="connsiteX13" fmla="*/ 3601 w 177191"/>
                <a:gd name="connsiteY13" fmla="*/ 123194 h 180246"/>
                <a:gd name="connsiteX14" fmla="*/ 4341 w 177191"/>
                <a:gd name="connsiteY14" fmla="*/ 123194 h 180246"/>
                <a:gd name="connsiteX15" fmla="*/ 6091 w 177191"/>
                <a:gd name="connsiteY15" fmla="*/ 123194 h 180246"/>
                <a:gd name="connsiteX16" fmla="*/ 7841 w 177191"/>
                <a:gd name="connsiteY16" fmla="*/ 123194 h 180246"/>
                <a:gd name="connsiteX17" fmla="*/ 9558 w 177191"/>
                <a:gd name="connsiteY17" fmla="*/ 123194 h 180246"/>
                <a:gd name="connsiteX18" fmla="*/ 10298 w 177191"/>
                <a:gd name="connsiteY18" fmla="*/ 122689 h 180246"/>
                <a:gd name="connsiteX19" fmla="*/ 12250 w 177191"/>
                <a:gd name="connsiteY19" fmla="*/ 121175 h 180246"/>
                <a:gd name="connsiteX20" fmla="*/ 13765 w 177191"/>
                <a:gd name="connsiteY20" fmla="*/ 117912 h 180246"/>
                <a:gd name="connsiteX21" fmla="*/ 16659 w 177191"/>
                <a:gd name="connsiteY21" fmla="*/ 115322 h 180246"/>
                <a:gd name="connsiteX22" fmla="*/ 18476 w 177191"/>
                <a:gd name="connsiteY22" fmla="*/ 114447 h 180246"/>
                <a:gd name="connsiteX23" fmla="*/ 21808 w 177191"/>
                <a:gd name="connsiteY23" fmla="*/ 111756 h 180246"/>
                <a:gd name="connsiteX24" fmla="*/ 23996 w 177191"/>
                <a:gd name="connsiteY24" fmla="*/ 111117 h 180246"/>
                <a:gd name="connsiteX25" fmla="*/ 26318 w 177191"/>
                <a:gd name="connsiteY25" fmla="*/ 111117 h 180246"/>
                <a:gd name="connsiteX26" fmla="*/ 29212 w 177191"/>
                <a:gd name="connsiteY26" fmla="*/ 111083 h 180246"/>
                <a:gd name="connsiteX27" fmla="*/ 31837 w 177191"/>
                <a:gd name="connsiteY27" fmla="*/ 110478 h 180246"/>
                <a:gd name="connsiteX28" fmla="*/ 33722 w 177191"/>
                <a:gd name="connsiteY28" fmla="*/ 109906 h 180246"/>
                <a:gd name="connsiteX29" fmla="*/ 36111 w 177191"/>
                <a:gd name="connsiteY29" fmla="*/ 107955 h 180246"/>
                <a:gd name="connsiteX30" fmla="*/ 36919 w 177191"/>
                <a:gd name="connsiteY30" fmla="*/ 107013 h 180246"/>
                <a:gd name="connsiteX31" fmla="*/ 38299 w 177191"/>
                <a:gd name="connsiteY31" fmla="*/ 105432 h 180246"/>
                <a:gd name="connsiteX32" fmla="*/ 39813 w 177191"/>
                <a:gd name="connsiteY32" fmla="*/ 104490 h 180246"/>
                <a:gd name="connsiteX33" fmla="*/ 42203 w 177191"/>
                <a:gd name="connsiteY33" fmla="*/ 102539 h 180246"/>
                <a:gd name="connsiteX34" fmla="*/ 43717 w 177191"/>
                <a:gd name="connsiteY34" fmla="*/ 101025 h 180246"/>
                <a:gd name="connsiteX35" fmla="*/ 45232 w 177191"/>
                <a:gd name="connsiteY35" fmla="*/ 98704 h 180246"/>
                <a:gd name="connsiteX36" fmla="*/ 45232 w 177191"/>
                <a:gd name="connsiteY36" fmla="*/ 94566 h 180246"/>
                <a:gd name="connsiteX37" fmla="*/ 41900 w 177191"/>
                <a:gd name="connsiteY37" fmla="*/ 91370 h 180246"/>
                <a:gd name="connsiteX38" fmla="*/ 41193 w 177191"/>
                <a:gd name="connsiteY38" fmla="*/ 88107 h 180246"/>
                <a:gd name="connsiteX39" fmla="*/ 37121 w 177191"/>
                <a:gd name="connsiteY39" fmla="*/ 84979 h 180246"/>
                <a:gd name="connsiteX40" fmla="*/ 35674 w 177191"/>
                <a:gd name="connsiteY40" fmla="*/ 84979 h 180246"/>
                <a:gd name="connsiteX41" fmla="*/ 33924 w 177191"/>
                <a:gd name="connsiteY41" fmla="*/ 84979 h 180246"/>
                <a:gd name="connsiteX42" fmla="*/ 31904 w 177191"/>
                <a:gd name="connsiteY42" fmla="*/ 83835 h 180246"/>
                <a:gd name="connsiteX43" fmla="*/ 31029 w 177191"/>
                <a:gd name="connsiteY43" fmla="*/ 82254 h 180246"/>
                <a:gd name="connsiteX44" fmla="*/ 31433 w 177191"/>
                <a:gd name="connsiteY44" fmla="*/ 81043 h 180246"/>
                <a:gd name="connsiteX45" fmla="*/ 30289 w 177191"/>
                <a:gd name="connsiteY45" fmla="*/ 79126 h 180246"/>
                <a:gd name="connsiteX46" fmla="*/ 29481 w 177191"/>
                <a:gd name="connsiteY46" fmla="*/ 77545 h 180246"/>
                <a:gd name="connsiteX47" fmla="*/ 28236 w 177191"/>
                <a:gd name="connsiteY47" fmla="*/ 76771 h 180246"/>
                <a:gd name="connsiteX48" fmla="*/ 25779 w 177191"/>
                <a:gd name="connsiteY48" fmla="*/ 74820 h 180246"/>
                <a:gd name="connsiteX49" fmla="*/ 24669 w 177191"/>
                <a:gd name="connsiteY49" fmla="*/ 72532 h 180246"/>
                <a:gd name="connsiteX50" fmla="*/ 24366 w 177191"/>
                <a:gd name="connsiteY50" fmla="*/ 70783 h 180246"/>
                <a:gd name="connsiteX51" fmla="*/ 24366 w 177191"/>
                <a:gd name="connsiteY51" fmla="*/ 70178 h 180246"/>
                <a:gd name="connsiteX52" fmla="*/ 23996 w 177191"/>
                <a:gd name="connsiteY52" fmla="*/ 68159 h 180246"/>
                <a:gd name="connsiteX53" fmla="*/ 24366 w 177191"/>
                <a:gd name="connsiteY53" fmla="*/ 66847 h 180246"/>
                <a:gd name="connsiteX54" fmla="*/ 25241 w 177191"/>
                <a:gd name="connsiteY54" fmla="*/ 65636 h 180246"/>
                <a:gd name="connsiteX55" fmla="*/ 26991 w 177191"/>
                <a:gd name="connsiteY55" fmla="*/ 64122 h 180246"/>
                <a:gd name="connsiteX56" fmla="*/ 28606 w 177191"/>
                <a:gd name="connsiteY56" fmla="*/ 63685 h 180246"/>
                <a:gd name="connsiteX57" fmla="*/ 29818 w 177191"/>
                <a:gd name="connsiteY57" fmla="*/ 63685 h 180246"/>
                <a:gd name="connsiteX58" fmla="*/ 32039 w 177191"/>
                <a:gd name="connsiteY58" fmla="*/ 62541 h 180246"/>
                <a:gd name="connsiteX59" fmla="*/ 34866 w 177191"/>
                <a:gd name="connsiteY59" fmla="*/ 60523 h 180246"/>
                <a:gd name="connsiteX60" fmla="*/ 35943 w 177191"/>
                <a:gd name="connsiteY60" fmla="*/ 59716 h 180246"/>
                <a:gd name="connsiteX61" fmla="*/ 37188 w 177191"/>
                <a:gd name="connsiteY61" fmla="*/ 59346 h 180246"/>
                <a:gd name="connsiteX62" fmla="*/ 39409 w 177191"/>
                <a:gd name="connsiteY62" fmla="*/ 59346 h 180246"/>
                <a:gd name="connsiteX63" fmla="*/ 41328 w 177191"/>
                <a:gd name="connsiteY63" fmla="*/ 59346 h 180246"/>
                <a:gd name="connsiteX64" fmla="*/ 43212 w 177191"/>
                <a:gd name="connsiteY64" fmla="*/ 59312 h 180246"/>
                <a:gd name="connsiteX65" fmla="*/ 46039 w 177191"/>
                <a:gd name="connsiteY65" fmla="*/ 59278 h 180246"/>
                <a:gd name="connsiteX66" fmla="*/ 47924 w 177191"/>
                <a:gd name="connsiteY66" fmla="*/ 59278 h 180246"/>
                <a:gd name="connsiteX67" fmla="*/ 50112 w 177191"/>
                <a:gd name="connsiteY67" fmla="*/ 59278 h 180246"/>
                <a:gd name="connsiteX68" fmla="*/ 53544 w 177191"/>
                <a:gd name="connsiteY68" fmla="*/ 58471 h 180246"/>
                <a:gd name="connsiteX69" fmla="*/ 54722 w 177191"/>
                <a:gd name="connsiteY69" fmla="*/ 55881 h 180246"/>
                <a:gd name="connsiteX70" fmla="*/ 57011 w 177191"/>
                <a:gd name="connsiteY70" fmla="*/ 52685 h 180246"/>
                <a:gd name="connsiteX71" fmla="*/ 57650 w 177191"/>
                <a:gd name="connsiteY71" fmla="*/ 49691 h 180246"/>
                <a:gd name="connsiteX72" fmla="*/ 58290 w 177191"/>
                <a:gd name="connsiteY72" fmla="*/ 47403 h 180246"/>
                <a:gd name="connsiteX73" fmla="*/ 59939 w 177191"/>
                <a:gd name="connsiteY73" fmla="*/ 45116 h 180246"/>
                <a:gd name="connsiteX74" fmla="*/ 60746 w 177191"/>
                <a:gd name="connsiteY74" fmla="*/ 44140 h 180246"/>
                <a:gd name="connsiteX75" fmla="*/ 62093 w 177191"/>
                <a:gd name="connsiteY75" fmla="*/ 42627 h 180246"/>
                <a:gd name="connsiteX76" fmla="*/ 64011 w 177191"/>
                <a:gd name="connsiteY76" fmla="*/ 40844 h 180246"/>
                <a:gd name="connsiteX77" fmla="*/ 66670 w 177191"/>
                <a:gd name="connsiteY77" fmla="*/ 39935 h 180246"/>
                <a:gd name="connsiteX78" fmla="*/ 68722 w 177191"/>
                <a:gd name="connsiteY78" fmla="*/ 39801 h 180246"/>
                <a:gd name="connsiteX79" fmla="*/ 70405 w 177191"/>
                <a:gd name="connsiteY79" fmla="*/ 39801 h 180246"/>
                <a:gd name="connsiteX80" fmla="*/ 72525 w 177191"/>
                <a:gd name="connsiteY80" fmla="*/ 39465 h 180246"/>
                <a:gd name="connsiteX81" fmla="*/ 74275 w 177191"/>
                <a:gd name="connsiteY81" fmla="*/ 38825 h 180246"/>
                <a:gd name="connsiteX82" fmla="*/ 75689 w 177191"/>
                <a:gd name="connsiteY82" fmla="*/ 37581 h 180246"/>
                <a:gd name="connsiteX83" fmla="*/ 76732 w 177191"/>
                <a:gd name="connsiteY83" fmla="*/ 36538 h 180246"/>
                <a:gd name="connsiteX84" fmla="*/ 78482 w 177191"/>
                <a:gd name="connsiteY84" fmla="*/ 36538 h 180246"/>
                <a:gd name="connsiteX85" fmla="*/ 79290 w 177191"/>
                <a:gd name="connsiteY85" fmla="*/ 37850 h 180246"/>
                <a:gd name="connsiteX86" fmla="*/ 79795 w 177191"/>
                <a:gd name="connsiteY86" fmla="*/ 39027 h 180246"/>
                <a:gd name="connsiteX87" fmla="*/ 82184 w 177191"/>
                <a:gd name="connsiteY87" fmla="*/ 39532 h 180246"/>
                <a:gd name="connsiteX88" fmla="*/ 83968 w 177191"/>
                <a:gd name="connsiteY88" fmla="*/ 39364 h 180246"/>
                <a:gd name="connsiteX89" fmla="*/ 84843 w 177191"/>
                <a:gd name="connsiteY89" fmla="*/ 37850 h 180246"/>
                <a:gd name="connsiteX90" fmla="*/ 83968 w 177191"/>
                <a:gd name="connsiteY90" fmla="*/ 35663 h 180246"/>
                <a:gd name="connsiteX91" fmla="*/ 82184 w 177191"/>
                <a:gd name="connsiteY91" fmla="*/ 34620 h 180246"/>
                <a:gd name="connsiteX92" fmla="*/ 79694 w 177191"/>
                <a:gd name="connsiteY92" fmla="*/ 33207 h 180246"/>
                <a:gd name="connsiteX93" fmla="*/ 76665 w 177191"/>
                <a:gd name="connsiteY93" fmla="*/ 30920 h 180246"/>
                <a:gd name="connsiteX94" fmla="*/ 75588 w 177191"/>
                <a:gd name="connsiteY94" fmla="*/ 28902 h 180246"/>
                <a:gd name="connsiteX95" fmla="*/ 74074 w 177191"/>
                <a:gd name="connsiteY95" fmla="*/ 26614 h 180246"/>
                <a:gd name="connsiteX96" fmla="*/ 72829 w 177191"/>
                <a:gd name="connsiteY96" fmla="*/ 24158 h 180246"/>
                <a:gd name="connsiteX97" fmla="*/ 72559 w 177191"/>
                <a:gd name="connsiteY97" fmla="*/ 22476 h 180246"/>
                <a:gd name="connsiteX98" fmla="*/ 73468 w 177191"/>
                <a:gd name="connsiteY98" fmla="*/ 21333 h 180246"/>
                <a:gd name="connsiteX99" fmla="*/ 75218 w 177191"/>
                <a:gd name="connsiteY99" fmla="*/ 20794 h 180246"/>
                <a:gd name="connsiteX100" fmla="*/ 77372 w 177191"/>
                <a:gd name="connsiteY100" fmla="*/ 21131 h 180246"/>
                <a:gd name="connsiteX101" fmla="*/ 79694 w 177191"/>
                <a:gd name="connsiteY101" fmla="*/ 22443 h 180246"/>
                <a:gd name="connsiteX102" fmla="*/ 80905 w 177191"/>
                <a:gd name="connsiteY102" fmla="*/ 23519 h 180246"/>
                <a:gd name="connsiteX103" fmla="*/ 84338 w 177191"/>
                <a:gd name="connsiteY103" fmla="*/ 24831 h 180246"/>
                <a:gd name="connsiteX104" fmla="*/ 85415 w 177191"/>
                <a:gd name="connsiteY104" fmla="*/ 23755 h 180246"/>
                <a:gd name="connsiteX105" fmla="*/ 84910 w 177191"/>
                <a:gd name="connsiteY105" fmla="*/ 22174 h 180246"/>
                <a:gd name="connsiteX106" fmla="*/ 84742 w 177191"/>
                <a:gd name="connsiteY106" fmla="*/ 20122 h 180246"/>
                <a:gd name="connsiteX107" fmla="*/ 83093 w 177191"/>
                <a:gd name="connsiteY107" fmla="*/ 18171 h 180246"/>
                <a:gd name="connsiteX108" fmla="*/ 81747 w 177191"/>
                <a:gd name="connsiteY108" fmla="*/ 17027 h 180246"/>
                <a:gd name="connsiteX109" fmla="*/ 80771 w 177191"/>
                <a:gd name="connsiteY109" fmla="*/ 15177 h 180246"/>
                <a:gd name="connsiteX110" fmla="*/ 80771 w 177191"/>
                <a:gd name="connsiteY110" fmla="*/ 13764 h 180246"/>
                <a:gd name="connsiteX111" fmla="*/ 82790 w 177191"/>
                <a:gd name="connsiteY111" fmla="*/ 13158 h 180246"/>
                <a:gd name="connsiteX112" fmla="*/ 85415 w 177191"/>
                <a:gd name="connsiteY112" fmla="*/ 12822 h 180246"/>
                <a:gd name="connsiteX113" fmla="*/ 89420 w 177191"/>
                <a:gd name="connsiteY113" fmla="*/ 14067 h 180246"/>
                <a:gd name="connsiteX114" fmla="*/ 92045 w 177191"/>
                <a:gd name="connsiteY114" fmla="*/ 12149 h 180246"/>
                <a:gd name="connsiteX115" fmla="*/ 94435 w 177191"/>
                <a:gd name="connsiteY115" fmla="*/ 10703 h 180246"/>
                <a:gd name="connsiteX116" fmla="*/ 94738 w 177191"/>
                <a:gd name="connsiteY116" fmla="*/ 7574 h 180246"/>
                <a:gd name="connsiteX117" fmla="*/ 94738 w 177191"/>
                <a:gd name="connsiteY117" fmla="*/ 5051 h 180246"/>
                <a:gd name="connsiteX118" fmla="*/ 95814 w 177191"/>
                <a:gd name="connsiteY118" fmla="*/ 3033 h 180246"/>
                <a:gd name="connsiteX119" fmla="*/ 96959 w 177191"/>
                <a:gd name="connsiteY119" fmla="*/ 1351 h 180246"/>
                <a:gd name="connsiteX120" fmla="*/ 99348 w 177191"/>
                <a:gd name="connsiteY120" fmla="*/ 39 h 180246"/>
                <a:gd name="connsiteX121" fmla="*/ 101536 w 177191"/>
                <a:gd name="connsiteY121" fmla="*/ 39 h 180246"/>
                <a:gd name="connsiteX122" fmla="*/ 102848 w 177191"/>
                <a:gd name="connsiteY122" fmla="*/ 543 h 180246"/>
                <a:gd name="connsiteX123" fmla="*/ 103723 w 177191"/>
                <a:gd name="connsiteY123" fmla="*/ 3066 h 180246"/>
                <a:gd name="connsiteX124" fmla="*/ 103723 w 177191"/>
                <a:gd name="connsiteY124" fmla="*/ 6027 h 180246"/>
                <a:gd name="connsiteX125" fmla="*/ 103757 w 177191"/>
                <a:gd name="connsiteY125" fmla="*/ 8482 h 180246"/>
                <a:gd name="connsiteX126" fmla="*/ 103757 w 177191"/>
                <a:gd name="connsiteY126" fmla="*/ 11611 h 180246"/>
                <a:gd name="connsiteX127" fmla="*/ 104161 w 177191"/>
                <a:gd name="connsiteY127" fmla="*/ 13932 h 180246"/>
                <a:gd name="connsiteX128" fmla="*/ 105978 w 177191"/>
                <a:gd name="connsiteY128" fmla="*/ 16825 h 180246"/>
                <a:gd name="connsiteX129" fmla="*/ 107291 w 177191"/>
                <a:gd name="connsiteY129" fmla="*/ 19785 h 180246"/>
                <a:gd name="connsiteX130" fmla="*/ 109680 w 177191"/>
                <a:gd name="connsiteY130" fmla="*/ 22409 h 180246"/>
                <a:gd name="connsiteX131" fmla="*/ 113214 w 177191"/>
                <a:gd name="connsiteY131" fmla="*/ 25100 h 180246"/>
                <a:gd name="connsiteX132" fmla="*/ 117354 w 177191"/>
                <a:gd name="connsiteY132" fmla="*/ 27691 h 180246"/>
                <a:gd name="connsiteX133" fmla="*/ 119507 w 177191"/>
                <a:gd name="connsiteY133" fmla="*/ 29070 h 180246"/>
                <a:gd name="connsiteX134" fmla="*/ 123983 w 177191"/>
                <a:gd name="connsiteY134" fmla="*/ 35091 h 180246"/>
                <a:gd name="connsiteX135" fmla="*/ 127315 w 177191"/>
                <a:gd name="connsiteY135" fmla="*/ 38624 h 180246"/>
                <a:gd name="connsiteX136" fmla="*/ 129839 w 177191"/>
                <a:gd name="connsiteY136" fmla="*/ 41012 h 180246"/>
                <a:gd name="connsiteX137" fmla="*/ 135931 w 177191"/>
                <a:gd name="connsiteY137" fmla="*/ 43535 h 180246"/>
                <a:gd name="connsiteX138" fmla="*/ 142022 w 177191"/>
                <a:gd name="connsiteY138" fmla="*/ 41954 h 180246"/>
                <a:gd name="connsiteX139" fmla="*/ 146667 w 177191"/>
                <a:gd name="connsiteY139" fmla="*/ 41079 h 180246"/>
                <a:gd name="connsiteX140" fmla="*/ 157840 w 177191"/>
                <a:gd name="connsiteY140" fmla="*/ 41449 h 180246"/>
                <a:gd name="connsiteX141" fmla="*/ 161172 w 177191"/>
                <a:gd name="connsiteY141" fmla="*/ 41449 h 180246"/>
                <a:gd name="connsiteX142" fmla="*/ 165379 w 177191"/>
                <a:gd name="connsiteY142" fmla="*/ 43198 h 180246"/>
                <a:gd name="connsiteX143" fmla="*/ 171302 w 177191"/>
                <a:gd name="connsiteY143" fmla="*/ 43198 h 180246"/>
                <a:gd name="connsiteX144" fmla="*/ 174499 w 177191"/>
                <a:gd name="connsiteY144" fmla="*/ 42761 h 180246"/>
                <a:gd name="connsiteX145" fmla="*/ 176383 w 177191"/>
                <a:gd name="connsiteY145" fmla="*/ 45452 h 180246"/>
                <a:gd name="connsiteX146" fmla="*/ 177191 w 177191"/>
                <a:gd name="connsiteY146" fmla="*/ 46966 h 180246"/>
                <a:gd name="connsiteX147" fmla="*/ 176249 w 177191"/>
                <a:gd name="connsiteY147" fmla="*/ 49220 h 180246"/>
                <a:gd name="connsiteX148" fmla="*/ 174667 w 177191"/>
                <a:gd name="connsiteY148" fmla="*/ 50599 h 180246"/>
                <a:gd name="connsiteX149" fmla="*/ 173220 w 177191"/>
                <a:gd name="connsiteY149" fmla="*/ 51037 h 180246"/>
                <a:gd name="connsiteX150" fmla="*/ 171571 w 177191"/>
                <a:gd name="connsiteY150" fmla="*/ 50734 h 180246"/>
                <a:gd name="connsiteX151" fmla="*/ 169855 w 177191"/>
                <a:gd name="connsiteY151" fmla="*/ 50498 h 180246"/>
                <a:gd name="connsiteX152" fmla="*/ 168710 w 177191"/>
                <a:gd name="connsiteY152" fmla="*/ 51373 h 180246"/>
                <a:gd name="connsiteX153" fmla="*/ 168710 w 177191"/>
                <a:gd name="connsiteY153" fmla="*/ 54501 h 180246"/>
                <a:gd name="connsiteX154" fmla="*/ 168912 w 177191"/>
                <a:gd name="connsiteY154" fmla="*/ 55511 h 180246"/>
                <a:gd name="connsiteX155" fmla="*/ 168138 w 177191"/>
                <a:gd name="connsiteY155" fmla="*/ 56957 h 180246"/>
                <a:gd name="connsiteX156" fmla="*/ 165749 w 177191"/>
                <a:gd name="connsiteY156" fmla="*/ 57462 h 180246"/>
                <a:gd name="connsiteX157" fmla="*/ 164066 w 177191"/>
                <a:gd name="connsiteY157" fmla="*/ 56890 h 180246"/>
                <a:gd name="connsiteX158" fmla="*/ 161037 w 177191"/>
                <a:gd name="connsiteY158" fmla="*/ 56587 h 180246"/>
                <a:gd name="connsiteX159" fmla="*/ 158648 w 177191"/>
                <a:gd name="connsiteY159" fmla="*/ 54905 h 180246"/>
                <a:gd name="connsiteX160" fmla="*/ 155181 w 177191"/>
                <a:gd name="connsiteY160" fmla="*/ 55645 h 180246"/>
                <a:gd name="connsiteX161" fmla="*/ 153229 w 177191"/>
                <a:gd name="connsiteY161" fmla="*/ 58538 h 180246"/>
                <a:gd name="connsiteX162" fmla="*/ 150907 w 177191"/>
                <a:gd name="connsiteY162" fmla="*/ 62945 h 180246"/>
                <a:gd name="connsiteX163" fmla="*/ 152287 w 177191"/>
                <a:gd name="connsiteY163" fmla="*/ 65468 h 180246"/>
                <a:gd name="connsiteX164" fmla="*/ 155922 w 177191"/>
                <a:gd name="connsiteY164" fmla="*/ 67924 h 180246"/>
                <a:gd name="connsiteX165" fmla="*/ 155989 w 177191"/>
                <a:gd name="connsiteY165" fmla="*/ 69168 h 180246"/>
                <a:gd name="connsiteX166" fmla="*/ 152926 w 177191"/>
                <a:gd name="connsiteY166" fmla="*/ 71422 h 180246"/>
                <a:gd name="connsiteX167" fmla="*/ 152051 w 177191"/>
                <a:gd name="connsiteY167" fmla="*/ 73811 h 180246"/>
                <a:gd name="connsiteX168" fmla="*/ 152926 w 177191"/>
                <a:gd name="connsiteY168" fmla="*/ 76502 h 180246"/>
                <a:gd name="connsiteX169" fmla="*/ 154945 w 177191"/>
                <a:gd name="connsiteY169" fmla="*/ 78016 h 180246"/>
                <a:gd name="connsiteX170" fmla="*/ 156628 w 177191"/>
                <a:gd name="connsiteY170" fmla="*/ 79597 h 180246"/>
                <a:gd name="connsiteX171" fmla="*/ 156662 w 177191"/>
                <a:gd name="connsiteY171" fmla="*/ 80538 h 180246"/>
                <a:gd name="connsiteX172" fmla="*/ 156561 w 177191"/>
                <a:gd name="connsiteY172" fmla="*/ 81615 h 180246"/>
                <a:gd name="connsiteX173" fmla="*/ 156561 w 177191"/>
                <a:gd name="connsiteY173" fmla="*/ 84003 h 180246"/>
                <a:gd name="connsiteX174" fmla="*/ 157705 w 177191"/>
                <a:gd name="connsiteY174" fmla="*/ 84811 h 180246"/>
                <a:gd name="connsiteX175" fmla="*/ 159388 w 177191"/>
                <a:gd name="connsiteY175" fmla="*/ 86829 h 180246"/>
                <a:gd name="connsiteX176" fmla="*/ 161138 w 177191"/>
                <a:gd name="connsiteY176" fmla="*/ 88276 h 180246"/>
                <a:gd name="connsiteX177" fmla="*/ 162652 w 177191"/>
                <a:gd name="connsiteY177" fmla="*/ 89857 h 180246"/>
                <a:gd name="connsiteX178" fmla="*/ 163696 w 177191"/>
                <a:gd name="connsiteY178" fmla="*/ 92312 h 180246"/>
                <a:gd name="connsiteX179" fmla="*/ 164301 w 177191"/>
                <a:gd name="connsiteY179" fmla="*/ 93927 h 180246"/>
                <a:gd name="connsiteX180" fmla="*/ 164369 w 177191"/>
                <a:gd name="connsiteY180" fmla="*/ 96114 h 180246"/>
                <a:gd name="connsiteX181" fmla="*/ 164436 w 177191"/>
                <a:gd name="connsiteY181" fmla="*/ 98401 h 180246"/>
                <a:gd name="connsiteX182" fmla="*/ 162855 w 177191"/>
                <a:gd name="connsiteY182" fmla="*/ 100689 h 180246"/>
                <a:gd name="connsiteX183" fmla="*/ 160802 w 177191"/>
                <a:gd name="connsiteY183" fmla="*/ 102976 h 180246"/>
                <a:gd name="connsiteX184" fmla="*/ 159152 w 177191"/>
                <a:gd name="connsiteY184" fmla="*/ 104221 h 180246"/>
                <a:gd name="connsiteX185" fmla="*/ 156090 w 177191"/>
                <a:gd name="connsiteY185" fmla="*/ 105835 h 180246"/>
                <a:gd name="connsiteX186" fmla="*/ 154239 w 177191"/>
                <a:gd name="connsiteY186" fmla="*/ 106979 h 180246"/>
                <a:gd name="connsiteX187" fmla="*/ 152825 w 177191"/>
                <a:gd name="connsiteY187" fmla="*/ 107484 h 180246"/>
                <a:gd name="connsiteX188" fmla="*/ 150470 w 177191"/>
                <a:gd name="connsiteY188" fmla="*/ 107484 h 180246"/>
                <a:gd name="connsiteX189" fmla="*/ 148148 w 177191"/>
                <a:gd name="connsiteY189" fmla="*/ 107820 h 180246"/>
                <a:gd name="connsiteX190" fmla="*/ 145253 w 177191"/>
                <a:gd name="connsiteY190" fmla="*/ 107787 h 180246"/>
                <a:gd name="connsiteX191" fmla="*/ 141787 w 177191"/>
                <a:gd name="connsiteY191" fmla="*/ 107080 h 180246"/>
                <a:gd name="connsiteX192" fmla="*/ 137883 w 177191"/>
                <a:gd name="connsiteY192" fmla="*/ 108493 h 180246"/>
                <a:gd name="connsiteX193" fmla="*/ 134282 w 177191"/>
                <a:gd name="connsiteY193" fmla="*/ 109368 h 180246"/>
                <a:gd name="connsiteX194" fmla="*/ 131892 w 177191"/>
                <a:gd name="connsiteY194" fmla="*/ 110141 h 180246"/>
                <a:gd name="connsiteX195" fmla="*/ 128729 w 177191"/>
                <a:gd name="connsiteY195" fmla="*/ 109368 h 180246"/>
                <a:gd name="connsiteX196" fmla="*/ 125901 w 177191"/>
                <a:gd name="connsiteY196" fmla="*/ 107517 h 180246"/>
                <a:gd name="connsiteX197" fmla="*/ 122334 w 177191"/>
                <a:gd name="connsiteY197" fmla="*/ 106643 h 180246"/>
                <a:gd name="connsiteX198" fmla="*/ 117320 w 177191"/>
                <a:gd name="connsiteY198" fmla="*/ 107080 h 180246"/>
                <a:gd name="connsiteX199" fmla="*/ 114493 w 177191"/>
                <a:gd name="connsiteY199" fmla="*/ 111218 h 180246"/>
                <a:gd name="connsiteX200" fmla="*/ 113079 w 177191"/>
                <a:gd name="connsiteY200" fmla="*/ 116096 h 180246"/>
                <a:gd name="connsiteX201" fmla="*/ 113079 w 177191"/>
                <a:gd name="connsiteY201" fmla="*/ 120536 h 180246"/>
                <a:gd name="connsiteX202" fmla="*/ 112305 w 177191"/>
                <a:gd name="connsiteY202" fmla="*/ 126288 h 180246"/>
                <a:gd name="connsiteX203" fmla="*/ 112844 w 177191"/>
                <a:gd name="connsiteY203" fmla="*/ 129652 h 180246"/>
                <a:gd name="connsiteX204" fmla="*/ 116646 w 177191"/>
                <a:gd name="connsiteY204" fmla="*/ 135203 h 180246"/>
                <a:gd name="connsiteX205" fmla="*/ 118262 w 177191"/>
                <a:gd name="connsiteY205" fmla="*/ 138668 h 180246"/>
                <a:gd name="connsiteX206" fmla="*/ 121190 w 177191"/>
                <a:gd name="connsiteY206" fmla="*/ 139038 h 180246"/>
                <a:gd name="connsiteX207" fmla="*/ 124118 w 177191"/>
                <a:gd name="connsiteY207" fmla="*/ 137019 h 180246"/>
                <a:gd name="connsiteX208" fmla="*/ 124320 w 177191"/>
                <a:gd name="connsiteY208" fmla="*/ 137019 h 180246"/>
                <a:gd name="connsiteX209" fmla="*/ 126810 w 177191"/>
                <a:gd name="connsiteY209" fmla="*/ 138971 h 180246"/>
                <a:gd name="connsiteX210" fmla="*/ 129099 w 177191"/>
                <a:gd name="connsiteY210" fmla="*/ 142570 h 180246"/>
                <a:gd name="connsiteX211" fmla="*/ 129638 w 177191"/>
                <a:gd name="connsiteY211" fmla="*/ 144757 h 180246"/>
                <a:gd name="connsiteX212" fmla="*/ 127786 w 177191"/>
                <a:gd name="connsiteY212" fmla="*/ 148760 h 180246"/>
                <a:gd name="connsiteX213" fmla="*/ 127988 w 177191"/>
                <a:gd name="connsiteY213" fmla="*/ 152426 h 180246"/>
                <a:gd name="connsiteX214" fmla="*/ 129402 w 177191"/>
                <a:gd name="connsiteY214" fmla="*/ 153772 h 180246"/>
                <a:gd name="connsiteX215" fmla="*/ 129402 w 177191"/>
                <a:gd name="connsiteY215" fmla="*/ 154647 h 180246"/>
                <a:gd name="connsiteX216" fmla="*/ 126575 w 177191"/>
                <a:gd name="connsiteY216" fmla="*/ 157035 h 180246"/>
                <a:gd name="connsiteX217" fmla="*/ 125161 w 177191"/>
                <a:gd name="connsiteY217" fmla="*/ 158347 h 180246"/>
                <a:gd name="connsiteX218" fmla="*/ 120921 w 177191"/>
                <a:gd name="connsiteY218" fmla="*/ 160735 h 180246"/>
                <a:gd name="connsiteX219" fmla="*/ 118733 w 177191"/>
                <a:gd name="connsiteY219" fmla="*/ 164873 h 180246"/>
                <a:gd name="connsiteX220" fmla="*/ 115570 w 177191"/>
                <a:gd name="connsiteY220" fmla="*/ 164873 h 180246"/>
                <a:gd name="connsiteX221" fmla="*/ 112406 w 177191"/>
                <a:gd name="connsiteY221" fmla="*/ 164873 h 180246"/>
                <a:gd name="connsiteX222" fmla="*/ 108603 w 177191"/>
                <a:gd name="connsiteY222" fmla="*/ 164873 h 180246"/>
                <a:gd name="connsiteX223" fmla="*/ 104363 w 177191"/>
                <a:gd name="connsiteY223" fmla="*/ 160870 h 180246"/>
                <a:gd name="connsiteX224" fmla="*/ 99584 w 177191"/>
                <a:gd name="connsiteY224" fmla="*/ 160197 h 180246"/>
                <a:gd name="connsiteX225" fmla="*/ 98170 w 177191"/>
                <a:gd name="connsiteY225" fmla="*/ 161408 h 180246"/>
                <a:gd name="connsiteX226" fmla="*/ 97497 w 177191"/>
                <a:gd name="connsiteY226" fmla="*/ 162384 h 180246"/>
                <a:gd name="connsiteX227" fmla="*/ 96959 w 177191"/>
                <a:gd name="connsiteY227" fmla="*/ 164234 h 180246"/>
                <a:gd name="connsiteX228" fmla="*/ 96420 w 177191"/>
                <a:gd name="connsiteY228" fmla="*/ 166185 h 180246"/>
                <a:gd name="connsiteX229" fmla="*/ 96521 w 177191"/>
                <a:gd name="connsiteY229" fmla="*/ 168573 h 180246"/>
                <a:gd name="connsiteX230" fmla="*/ 96185 w 177191"/>
                <a:gd name="connsiteY230" fmla="*/ 170424 h 180246"/>
                <a:gd name="connsiteX231" fmla="*/ 95512 w 177191"/>
                <a:gd name="connsiteY231" fmla="*/ 171736 h 180246"/>
                <a:gd name="connsiteX232" fmla="*/ 93997 w 177191"/>
                <a:gd name="connsiteY232" fmla="*/ 173485 h 180246"/>
                <a:gd name="connsiteX233" fmla="*/ 90396 w 177191"/>
                <a:gd name="connsiteY233" fmla="*/ 175133 h 180246"/>
                <a:gd name="connsiteX234" fmla="*/ 87771 w 177191"/>
                <a:gd name="connsiteY234" fmla="*/ 175772 h 180246"/>
                <a:gd name="connsiteX235" fmla="*/ 85382 w 177191"/>
                <a:gd name="connsiteY235" fmla="*/ 176546 h 180246"/>
                <a:gd name="connsiteX236" fmla="*/ 83733 w 177191"/>
                <a:gd name="connsiteY236" fmla="*/ 176546 h 180246"/>
                <a:gd name="connsiteX237" fmla="*/ 81680 w 177191"/>
                <a:gd name="connsiteY237" fmla="*/ 176580 h 180246"/>
                <a:gd name="connsiteX238" fmla="*/ 77439 w 177191"/>
                <a:gd name="connsiteY238" fmla="*/ 173518 h 180246"/>
                <a:gd name="connsiteX239" fmla="*/ 74949 w 177191"/>
                <a:gd name="connsiteY239" fmla="*/ 170491 h 180246"/>
                <a:gd name="connsiteX240" fmla="*/ 72660 w 177191"/>
                <a:gd name="connsiteY240" fmla="*/ 168203 h 180246"/>
                <a:gd name="connsiteX241" fmla="*/ 70271 w 177191"/>
                <a:gd name="connsiteY241" fmla="*/ 168102 h 180246"/>
                <a:gd name="connsiteX242" fmla="*/ 66367 w 177191"/>
                <a:gd name="connsiteY242" fmla="*/ 168203 h 180246"/>
                <a:gd name="connsiteX243" fmla="*/ 63102 w 177191"/>
                <a:gd name="connsiteY243" fmla="*/ 169717 h 180246"/>
                <a:gd name="connsiteX244" fmla="*/ 61251 w 177191"/>
                <a:gd name="connsiteY244" fmla="*/ 171231 h 180246"/>
                <a:gd name="connsiteX245" fmla="*/ 56573 w 177191"/>
                <a:gd name="connsiteY245" fmla="*/ 173619 h 180246"/>
                <a:gd name="connsiteX246" fmla="*/ 52097 w 177191"/>
                <a:gd name="connsiteY246" fmla="*/ 174931 h 180246"/>
                <a:gd name="connsiteX247" fmla="*/ 48294 w 177191"/>
                <a:gd name="connsiteY247" fmla="*/ 175032 h 180246"/>
                <a:gd name="connsiteX248" fmla="*/ 42876 w 177191"/>
                <a:gd name="connsiteY248" fmla="*/ 173619 h 180246"/>
                <a:gd name="connsiteX249" fmla="*/ 40385 w 177191"/>
                <a:gd name="connsiteY249" fmla="*/ 173619 h 180246"/>
                <a:gd name="connsiteX250" fmla="*/ 38097 w 177191"/>
                <a:gd name="connsiteY250" fmla="*/ 175470 h 180246"/>
                <a:gd name="connsiteX251" fmla="*/ 37121 w 177191"/>
                <a:gd name="connsiteY251" fmla="*/ 179607 h 180246"/>
                <a:gd name="connsiteX252" fmla="*/ 35606 w 177191"/>
                <a:gd name="connsiteY252" fmla="*/ 180246 h 180246"/>
                <a:gd name="connsiteX253" fmla="*/ 30827 w 177191"/>
                <a:gd name="connsiteY253" fmla="*/ 179607 h 180246"/>
                <a:gd name="connsiteX254" fmla="*/ 28539 w 177191"/>
                <a:gd name="connsiteY254" fmla="*/ 178194 h 180246"/>
                <a:gd name="connsiteX255" fmla="*/ 25813 w 177191"/>
                <a:gd name="connsiteY255" fmla="*/ 173518 h 180246"/>
                <a:gd name="connsiteX256" fmla="*/ 24938 w 177191"/>
                <a:gd name="connsiteY256" fmla="*/ 170491 h 180246"/>
                <a:gd name="connsiteX257" fmla="*/ 22212 w 177191"/>
                <a:gd name="connsiteY257" fmla="*/ 168540 h 180246"/>
                <a:gd name="connsiteX258" fmla="*/ 18409 w 177191"/>
                <a:gd name="connsiteY258" fmla="*/ 168102 h 180246"/>
                <a:gd name="connsiteX259" fmla="*/ 15481 w 177191"/>
                <a:gd name="connsiteY259" fmla="*/ 167901 h 180246"/>
                <a:gd name="connsiteX260" fmla="*/ 11779 w 177191"/>
                <a:gd name="connsiteY260" fmla="*/ 166589 h 180246"/>
                <a:gd name="connsiteX261" fmla="*/ 11106 w 177191"/>
                <a:gd name="connsiteY261" fmla="*/ 162249 h 180246"/>
                <a:gd name="connsiteX262" fmla="*/ 8515 w 177191"/>
                <a:gd name="connsiteY262" fmla="*/ 161375 h 180246"/>
                <a:gd name="connsiteX263" fmla="*/ 3837 w 177191"/>
                <a:gd name="connsiteY263" fmla="*/ 160500 h 180246"/>
                <a:gd name="connsiteX264" fmla="*/ 3365 w 177191"/>
                <a:gd name="connsiteY264" fmla="*/ 158986 h 180246"/>
                <a:gd name="connsiteX265" fmla="*/ 1548 w 177191"/>
                <a:gd name="connsiteY265" fmla="*/ 155959 h 180246"/>
                <a:gd name="connsiteX266" fmla="*/ 1548 w 177191"/>
                <a:gd name="connsiteY266" fmla="*/ 153671 h 180246"/>
                <a:gd name="connsiteX267" fmla="*/ 2861 w 177191"/>
                <a:gd name="connsiteY267" fmla="*/ 152494 h 180246"/>
                <a:gd name="connsiteX268" fmla="*/ 5788 w 177191"/>
                <a:gd name="connsiteY268" fmla="*/ 152595 h 180246"/>
                <a:gd name="connsiteX269" fmla="*/ 8077 w 177191"/>
                <a:gd name="connsiteY269" fmla="*/ 153469 h 180246"/>
                <a:gd name="connsiteX270" fmla="*/ 9591 w 177191"/>
                <a:gd name="connsiteY270" fmla="*/ 153907 h 180246"/>
                <a:gd name="connsiteX271" fmla="*/ 11981 w 177191"/>
                <a:gd name="connsiteY271" fmla="*/ 154344 h 180246"/>
                <a:gd name="connsiteX272" fmla="*/ 13630 w 177191"/>
                <a:gd name="connsiteY272" fmla="*/ 153133 h 180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</a:cxnLst>
              <a:rect l="l" t="t" r="r" b="b"/>
              <a:pathLst>
                <a:path w="177191" h="180246">
                  <a:moveTo>
                    <a:pt x="13630" y="153133"/>
                  </a:moveTo>
                  <a:lnTo>
                    <a:pt x="14539" y="151585"/>
                  </a:lnTo>
                  <a:lnTo>
                    <a:pt x="14909" y="149870"/>
                  </a:lnTo>
                  <a:lnTo>
                    <a:pt x="13866" y="148255"/>
                  </a:lnTo>
                  <a:lnTo>
                    <a:pt x="10702" y="145127"/>
                  </a:lnTo>
                  <a:lnTo>
                    <a:pt x="9221" y="142974"/>
                  </a:lnTo>
                  <a:lnTo>
                    <a:pt x="6091" y="139677"/>
                  </a:lnTo>
                  <a:lnTo>
                    <a:pt x="3769" y="137860"/>
                  </a:lnTo>
                  <a:cubicBezTo>
                    <a:pt x="3769" y="137860"/>
                    <a:pt x="1582" y="135607"/>
                    <a:pt x="1514" y="135405"/>
                  </a:cubicBezTo>
                  <a:cubicBezTo>
                    <a:pt x="1447" y="135203"/>
                    <a:pt x="572" y="132646"/>
                    <a:pt x="505" y="132444"/>
                  </a:cubicBezTo>
                  <a:cubicBezTo>
                    <a:pt x="438" y="132243"/>
                    <a:pt x="269" y="129854"/>
                    <a:pt x="269" y="129854"/>
                  </a:cubicBezTo>
                  <a:lnTo>
                    <a:pt x="0" y="126019"/>
                  </a:lnTo>
                  <a:lnTo>
                    <a:pt x="0" y="124068"/>
                  </a:lnTo>
                  <a:lnTo>
                    <a:pt x="3601" y="123194"/>
                  </a:lnTo>
                  <a:lnTo>
                    <a:pt x="4341" y="123194"/>
                  </a:lnTo>
                  <a:lnTo>
                    <a:pt x="6091" y="123194"/>
                  </a:lnTo>
                  <a:lnTo>
                    <a:pt x="7841" y="123194"/>
                  </a:lnTo>
                  <a:lnTo>
                    <a:pt x="9558" y="123194"/>
                  </a:lnTo>
                  <a:cubicBezTo>
                    <a:pt x="9558" y="123194"/>
                    <a:pt x="9558" y="123261"/>
                    <a:pt x="10298" y="122689"/>
                  </a:cubicBezTo>
                  <a:cubicBezTo>
                    <a:pt x="11039" y="122117"/>
                    <a:pt x="12250" y="121175"/>
                    <a:pt x="12250" y="121175"/>
                  </a:cubicBezTo>
                  <a:lnTo>
                    <a:pt x="13765" y="117912"/>
                  </a:lnTo>
                  <a:lnTo>
                    <a:pt x="16659" y="115322"/>
                  </a:lnTo>
                  <a:cubicBezTo>
                    <a:pt x="16659" y="115322"/>
                    <a:pt x="18039" y="114885"/>
                    <a:pt x="18476" y="114447"/>
                  </a:cubicBezTo>
                  <a:cubicBezTo>
                    <a:pt x="18914" y="114010"/>
                    <a:pt x="21808" y="111756"/>
                    <a:pt x="21808" y="111756"/>
                  </a:cubicBezTo>
                  <a:cubicBezTo>
                    <a:pt x="21808" y="111756"/>
                    <a:pt x="23693" y="111117"/>
                    <a:pt x="23996" y="111117"/>
                  </a:cubicBezTo>
                  <a:cubicBezTo>
                    <a:pt x="24299" y="111117"/>
                    <a:pt x="25510" y="111050"/>
                    <a:pt x="26318" y="111117"/>
                  </a:cubicBezTo>
                  <a:cubicBezTo>
                    <a:pt x="27125" y="111184"/>
                    <a:pt x="28337" y="110982"/>
                    <a:pt x="29212" y="111083"/>
                  </a:cubicBezTo>
                  <a:cubicBezTo>
                    <a:pt x="30087" y="111184"/>
                    <a:pt x="31534" y="110478"/>
                    <a:pt x="31837" y="110478"/>
                  </a:cubicBezTo>
                  <a:cubicBezTo>
                    <a:pt x="32106" y="110478"/>
                    <a:pt x="32981" y="110040"/>
                    <a:pt x="33722" y="109906"/>
                  </a:cubicBezTo>
                  <a:cubicBezTo>
                    <a:pt x="34429" y="109771"/>
                    <a:pt x="36111" y="107955"/>
                    <a:pt x="36111" y="107955"/>
                  </a:cubicBezTo>
                  <a:cubicBezTo>
                    <a:pt x="36111" y="107955"/>
                    <a:pt x="36751" y="107316"/>
                    <a:pt x="36919" y="107013"/>
                  </a:cubicBezTo>
                  <a:cubicBezTo>
                    <a:pt x="37054" y="106744"/>
                    <a:pt x="38063" y="105499"/>
                    <a:pt x="38299" y="105432"/>
                  </a:cubicBezTo>
                  <a:cubicBezTo>
                    <a:pt x="38501" y="105365"/>
                    <a:pt x="39544" y="104490"/>
                    <a:pt x="39813" y="104490"/>
                  </a:cubicBezTo>
                  <a:cubicBezTo>
                    <a:pt x="40082" y="104490"/>
                    <a:pt x="41967" y="102606"/>
                    <a:pt x="42203" y="102539"/>
                  </a:cubicBezTo>
                  <a:cubicBezTo>
                    <a:pt x="42405" y="102471"/>
                    <a:pt x="43448" y="101227"/>
                    <a:pt x="43717" y="101025"/>
                  </a:cubicBezTo>
                  <a:cubicBezTo>
                    <a:pt x="44020" y="100823"/>
                    <a:pt x="45232" y="99007"/>
                    <a:pt x="45232" y="98704"/>
                  </a:cubicBezTo>
                  <a:cubicBezTo>
                    <a:pt x="45232" y="98401"/>
                    <a:pt x="45232" y="94566"/>
                    <a:pt x="45232" y="94566"/>
                  </a:cubicBezTo>
                  <a:lnTo>
                    <a:pt x="41900" y="91370"/>
                  </a:lnTo>
                  <a:lnTo>
                    <a:pt x="41193" y="88107"/>
                  </a:lnTo>
                  <a:lnTo>
                    <a:pt x="37121" y="84979"/>
                  </a:lnTo>
                  <a:lnTo>
                    <a:pt x="35674" y="84979"/>
                  </a:lnTo>
                  <a:lnTo>
                    <a:pt x="33924" y="84979"/>
                  </a:lnTo>
                  <a:lnTo>
                    <a:pt x="31904" y="83835"/>
                  </a:lnTo>
                  <a:lnTo>
                    <a:pt x="31029" y="82254"/>
                  </a:lnTo>
                  <a:lnTo>
                    <a:pt x="31433" y="81043"/>
                  </a:lnTo>
                  <a:lnTo>
                    <a:pt x="30289" y="79126"/>
                  </a:lnTo>
                  <a:lnTo>
                    <a:pt x="29481" y="77545"/>
                  </a:lnTo>
                  <a:lnTo>
                    <a:pt x="28236" y="76771"/>
                  </a:lnTo>
                  <a:cubicBezTo>
                    <a:pt x="28236" y="76771"/>
                    <a:pt x="25914" y="75022"/>
                    <a:pt x="25779" y="74820"/>
                  </a:cubicBezTo>
                  <a:cubicBezTo>
                    <a:pt x="25678" y="74618"/>
                    <a:pt x="24669" y="72532"/>
                    <a:pt x="24669" y="72532"/>
                  </a:cubicBezTo>
                  <a:lnTo>
                    <a:pt x="24366" y="70783"/>
                  </a:lnTo>
                  <a:lnTo>
                    <a:pt x="24366" y="70178"/>
                  </a:lnTo>
                  <a:cubicBezTo>
                    <a:pt x="24366" y="70178"/>
                    <a:pt x="23827" y="68226"/>
                    <a:pt x="23996" y="68159"/>
                  </a:cubicBezTo>
                  <a:cubicBezTo>
                    <a:pt x="24164" y="68092"/>
                    <a:pt x="24366" y="66847"/>
                    <a:pt x="24366" y="66847"/>
                  </a:cubicBezTo>
                  <a:cubicBezTo>
                    <a:pt x="24635" y="66612"/>
                    <a:pt x="25241" y="65636"/>
                    <a:pt x="25241" y="65636"/>
                  </a:cubicBezTo>
                  <a:cubicBezTo>
                    <a:pt x="25241" y="65636"/>
                    <a:pt x="26823" y="64122"/>
                    <a:pt x="26991" y="64122"/>
                  </a:cubicBezTo>
                  <a:cubicBezTo>
                    <a:pt x="27159" y="64122"/>
                    <a:pt x="28404" y="63685"/>
                    <a:pt x="28606" y="63685"/>
                  </a:cubicBezTo>
                  <a:cubicBezTo>
                    <a:pt x="28842" y="63685"/>
                    <a:pt x="29481" y="63786"/>
                    <a:pt x="29818" y="63685"/>
                  </a:cubicBezTo>
                  <a:cubicBezTo>
                    <a:pt x="30154" y="63584"/>
                    <a:pt x="32039" y="62541"/>
                    <a:pt x="32039" y="62541"/>
                  </a:cubicBezTo>
                  <a:lnTo>
                    <a:pt x="34866" y="60523"/>
                  </a:lnTo>
                  <a:lnTo>
                    <a:pt x="35943" y="59716"/>
                  </a:lnTo>
                  <a:cubicBezTo>
                    <a:pt x="35943" y="59716"/>
                    <a:pt x="36986" y="59379"/>
                    <a:pt x="37188" y="59346"/>
                  </a:cubicBezTo>
                  <a:cubicBezTo>
                    <a:pt x="37390" y="59278"/>
                    <a:pt x="39208" y="59514"/>
                    <a:pt x="39409" y="59346"/>
                  </a:cubicBezTo>
                  <a:cubicBezTo>
                    <a:pt x="39612" y="59177"/>
                    <a:pt x="40924" y="59480"/>
                    <a:pt x="41328" y="59346"/>
                  </a:cubicBezTo>
                  <a:cubicBezTo>
                    <a:pt x="41698" y="59177"/>
                    <a:pt x="42674" y="59312"/>
                    <a:pt x="43212" y="59312"/>
                  </a:cubicBezTo>
                  <a:cubicBezTo>
                    <a:pt x="43751" y="59312"/>
                    <a:pt x="45804" y="59245"/>
                    <a:pt x="46039" y="59278"/>
                  </a:cubicBezTo>
                  <a:cubicBezTo>
                    <a:pt x="46241" y="59312"/>
                    <a:pt x="47184" y="59211"/>
                    <a:pt x="47924" y="59278"/>
                  </a:cubicBezTo>
                  <a:cubicBezTo>
                    <a:pt x="48698" y="59312"/>
                    <a:pt x="49573" y="59413"/>
                    <a:pt x="50112" y="59278"/>
                  </a:cubicBezTo>
                  <a:cubicBezTo>
                    <a:pt x="50650" y="59110"/>
                    <a:pt x="53544" y="58471"/>
                    <a:pt x="53544" y="58471"/>
                  </a:cubicBezTo>
                  <a:cubicBezTo>
                    <a:pt x="53544" y="58471"/>
                    <a:pt x="54419" y="55914"/>
                    <a:pt x="54722" y="55881"/>
                  </a:cubicBezTo>
                  <a:cubicBezTo>
                    <a:pt x="55059" y="55813"/>
                    <a:pt x="57011" y="52685"/>
                    <a:pt x="57011" y="52685"/>
                  </a:cubicBezTo>
                  <a:cubicBezTo>
                    <a:pt x="57011" y="52685"/>
                    <a:pt x="57650" y="49859"/>
                    <a:pt x="57650" y="49691"/>
                  </a:cubicBezTo>
                  <a:cubicBezTo>
                    <a:pt x="57650" y="49523"/>
                    <a:pt x="58290" y="47403"/>
                    <a:pt x="58290" y="47403"/>
                  </a:cubicBezTo>
                  <a:lnTo>
                    <a:pt x="59939" y="45116"/>
                  </a:lnTo>
                  <a:lnTo>
                    <a:pt x="60746" y="44140"/>
                  </a:lnTo>
                  <a:lnTo>
                    <a:pt x="62093" y="42627"/>
                  </a:lnTo>
                  <a:cubicBezTo>
                    <a:pt x="62093" y="42627"/>
                    <a:pt x="63775" y="40945"/>
                    <a:pt x="64011" y="40844"/>
                  </a:cubicBezTo>
                  <a:cubicBezTo>
                    <a:pt x="64213" y="40743"/>
                    <a:pt x="66670" y="39935"/>
                    <a:pt x="66670" y="39935"/>
                  </a:cubicBezTo>
                  <a:cubicBezTo>
                    <a:pt x="66670" y="39935"/>
                    <a:pt x="68420" y="39801"/>
                    <a:pt x="68722" y="39801"/>
                  </a:cubicBezTo>
                  <a:cubicBezTo>
                    <a:pt x="69026" y="39801"/>
                    <a:pt x="70405" y="39801"/>
                    <a:pt x="70405" y="39801"/>
                  </a:cubicBezTo>
                  <a:lnTo>
                    <a:pt x="72525" y="39465"/>
                  </a:lnTo>
                  <a:lnTo>
                    <a:pt x="74275" y="38825"/>
                  </a:lnTo>
                  <a:cubicBezTo>
                    <a:pt x="74275" y="38825"/>
                    <a:pt x="75487" y="37581"/>
                    <a:pt x="75689" y="37581"/>
                  </a:cubicBezTo>
                  <a:cubicBezTo>
                    <a:pt x="75891" y="37581"/>
                    <a:pt x="76732" y="36538"/>
                    <a:pt x="76732" y="36538"/>
                  </a:cubicBezTo>
                  <a:cubicBezTo>
                    <a:pt x="76732" y="36538"/>
                    <a:pt x="78247" y="36605"/>
                    <a:pt x="78482" y="36538"/>
                  </a:cubicBezTo>
                  <a:cubicBezTo>
                    <a:pt x="78684" y="36471"/>
                    <a:pt x="79290" y="37850"/>
                    <a:pt x="79290" y="37850"/>
                  </a:cubicBezTo>
                  <a:lnTo>
                    <a:pt x="79795" y="39027"/>
                  </a:lnTo>
                  <a:cubicBezTo>
                    <a:pt x="79795" y="39027"/>
                    <a:pt x="81814" y="39532"/>
                    <a:pt x="82184" y="39532"/>
                  </a:cubicBezTo>
                  <a:cubicBezTo>
                    <a:pt x="82555" y="39532"/>
                    <a:pt x="83968" y="39364"/>
                    <a:pt x="83968" y="39364"/>
                  </a:cubicBezTo>
                  <a:cubicBezTo>
                    <a:pt x="83968" y="39364"/>
                    <a:pt x="84843" y="38018"/>
                    <a:pt x="84843" y="37850"/>
                  </a:cubicBezTo>
                  <a:cubicBezTo>
                    <a:pt x="84843" y="37682"/>
                    <a:pt x="84136" y="35798"/>
                    <a:pt x="83968" y="35663"/>
                  </a:cubicBezTo>
                  <a:cubicBezTo>
                    <a:pt x="83800" y="35562"/>
                    <a:pt x="82353" y="34755"/>
                    <a:pt x="82184" y="34620"/>
                  </a:cubicBezTo>
                  <a:cubicBezTo>
                    <a:pt x="82016" y="34519"/>
                    <a:pt x="79694" y="33207"/>
                    <a:pt x="79694" y="33207"/>
                  </a:cubicBezTo>
                  <a:lnTo>
                    <a:pt x="76665" y="30920"/>
                  </a:lnTo>
                  <a:cubicBezTo>
                    <a:pt x="76665" y="30920"/>
                    <a:pt x="75756" y="29003"/>
                    <a:pt x="75588" y="28902"/>
                  </a:cubicBezTo>
                  <a:cubicBezTo>
                    <a:pt x="75420" y="28801"/>
                    <a:pt x="74174" y="26782"/>
                    <a:pt x="74074" y="26614"/>
                  </a:cubicBezTo>
                  <a:cubicBezTo>
                    <a:pt x="73973" y="26446"/>
                    <a:pt x="72829" y="24394"/>
                    <a:pt x="72829" y="24158"/>
                  </a:cubicBezTo>
                  <a:cubicBezTo>
                    <a:pt x="72829" y="23957"/>
                    <a:pt x="72559" y="22476"/>
                    <a:pt x="72559" y="22476"/>
                  </a:cubicBezTo>
                  <a:cubicBezTo>
                    <a:pt x="72559" y="22476"/>
                    <a:pt x="73333" y="21333"/>
                    <a:pt x="73468" y="21333"/>
                  </a:cubicBezTo>
                  <a:cubicBezTo>
                    <a:pt x="73603" y="21333"/>
                    <a:pt x="75218" y="20794"/>
                    <a:pt x="75218" y="20794"/>
                  </a:cubicBezTo>
                  <a:lnTo>
                    <a:pt x="77372" y="21131"/>
                  </a:lnTo>
                  <a:lnTo>
                    <a:pt x="79694" y="22443"/>
                  </a:lnTo>
                  <a:lnTo>
                    <a:pt x="80905" y="23519"/>
                  </a:lnTo>
                  <a:cubicBezTo>
                    <a:pt x="80905" y="23519"/>
                    <a:pt x="84103" y="24831"/>
                    <a:pt x="84338" y="24831"/>
                  </a:cubicBezTo>
                  <a:cubicBezTo>
                    <a:pt x="84574" y="24831"/>
                    <a:pt x="85550" y="24394"/>
                    <a:pt x="85415" y="23755"/>
                  </a:cubicBezTo>
                  <a:cubicBezTo>
                    <a:pt x="85314" y="23116"/>
                    <a:pt x="84978" y="22342"/>
                    <a:pt x="84910" y="22174"/>
                  </a:cubicBezTo>
                  <a:cubicBezTo>
                    <a:pt x="84843" y="22006"/>
                    <a:pt x="84843" y="20290"/>
                    <a:pt x="84742" y="20122"/>
                  </a:cubicBezTo>
                  <a:cubicBezTo>
                    <a:pt x="84641" y="19953"/>
                    <a:pt x="83093" y="18171"/>
                    <a:pt x="83093" y="18171"/>
                  </a:cubicBezTo>
                  <a:lnTo>
                    <a:pt x="81747" y="17027"/>
                  </a:lnTo>
                  <a:cubicBezTo>
                    <a:pt x="81747" y="17027"/>
                    <a:pt x="80771" y="15715"/>
                    <a:pt x="80771" y="15177"/>
                  </a:cubicBezTo>
                  <a:cubicBezTo>
                    <a:pt x="80771" y="14638"/>
                    <a:pt x="80401" y="13831"/>
                    <a:pt x="80771" y="13764"/>
                  </a:cubicBezTo>
                  <a:cubicBezTo>
                    <a:pt x="81141" y="13697"/>
                    <a:pt x="82117" y="13326"/>
                    <a:pt x="82790" y="13158"/>
                  </a:cubicBezTo>
                  <a:cubicBezTo>
                    <a:pt x="83463" y="12990"/>
                    <a:pt x="84978" y="12822"/>
                    <a:pt x="85415" y="12822"/>
                  </a:cubicBezTo>
                  <a:cubicBezTo>
                    <a:pt x="85853" y="12822"/>
                    <a:pt x="89420" y="14067"/>
                    <a:pt x="89420" y="14067"/>
                  </a:cubicBezTo>
                  <a:cubicBezTo>
                    <a:pt x="89420" y="14067"/>
                    <a:pt x="91843" y="12082"/>
                    <a:pt x="92045" y="12149"/>
                  </a:cubicBezTo>
                  <a:cubicBezTo>
                    <a:pt x="92247" y="12216"/>
                    <a:pt x="94064" y="11140"/>
                    <a:pt x="94435" y="10703"/>
                  </a:cubicBezTo>
                  <a:cubicBezTo>
                    <a:pt x="94805" y="10265"/>
                    <a:pt x="94637" y="8516"/>
                    <a:pt x="94738" y="7574"/>
                  </a:cubicBezTo>
                  <a:cubicBezTo>
                    <a:pt x="94805" y="6632"/>
                    <a:pt x="94603" y="5690"/>
                    <a:pt x="94738" y="5051"/>
                  </a:cubicBezTo>
                  <a:cubicBezTo>
                    <a:pt x="94872" y="4412"/>
                    <a:pt x="95444" y="3470"/>
                    <a:pt x="95814" y="3033"/>
                  </a:cubicBezTo>
                  <a:cubicBezTo>
                    <a:pt x="96185" y="2595"/>
                    <a:pt x="96690" y="1586"/>
                    <a:pt x="96959" y="1351"/>
                  </a:cubicBezTo>
                  <a:cubicBezTo>
                    <a:pt x="97262" y="1115"/>
                    <a:pt x="99079" y="207"/>
                    <a:pt x="99348" y="39"/>
                  </a:cubicBezTo>
                  <a:cubicBezTo>
                    <a:pt x="99651" y="-96"/>
                    <a:pt x="100930" y="173"/>
                    <a:pt x="101536" y="39"/>
                  </a:cubicBezTo>
                  <a:cubicBezTo>
                    <a:pt x="102108" y="-96"/>
                    <a:pt x="102545" y="342"/>
                    <a:pt x="102848" y="543"/>
                  </a:cubicBezTo>
                  <a:cubicBezTo>
                    <a:pt x="103118" y="745"/>
                    <a:pt x="103589" y="1990"/>
                    <a:pt x="103723" y="3066"/>
                  </a:cubicBezTo>
                  <a:cubicBezTo>
                    <a:pt x="103858" y="4143"/>
                    <a:pt x="103589" y="4950"/>
                    <a:pt x="103723" y="6027"/>
                  </a:cubicBezTo>
                  <a:cubicBezTo>
                    <a:pt x="103858" y="7103"/>
                    <a:pt x="103589" y="8045"/>
                    <a:pt x="103757" y="8482"/>
                  </a:cubicBezTo>
                  <a:cubicBezTo>
                    <a:pt x="103925" y="8920"/>
                    <a:pt x="103757" y="11611"/>
                    <a:pt x="103757" y="11611"/>
                  </a:cubicBezTo>
                  <a:cubicBezTo>
                    <a:pt x="103757" y="11611"/>
                    <a:pt x="103286" y="13057"/>
                    <a:pt x="104161" y="13932"/>
                  </a:cubicBezTo>
                  <a:cubicBezTo>
                    <a:pt x="105036" y="14807"/>
                    <a:pt x="105675" y="16388"/>
                    <a:pt x="105978" y="16825"/>
                  </a:cubicBezTo>
                  <a:cubicBezTo>
                    <a:pt x="106281" y="17262"/>
                    <a:pt x="107055" y="19718"/>
                    <a:pt x="107291" y="19785"/>
                  </a:cubicBezTo>
                  <a:cubicBezTo>
                    <a:pt x="107526" y="19853"/>
                    <a:pt x="108738" y="22039"/>
                    <a:pt x="109680" y="22409"/>
                  </a:cubicBezTo>
                  <a:cubicBezTo>
                    <a:pt x="110623" y="22779"/>
                    <a:pt x="111565" y="24226"/>
                    <a:pt x="113214" y="25100"/>
                  </a:cubicBezTo>
                  <a:cubicBezTo>
                    <a:pt x="114863" y="25975"/>
                    <a:pt x="117354" y="27691"/>
                    <a:pt x="117354" y="27691"/>
                  </a:cubicBezTo>
                  <a:lnTo>
                    <a:pt x="119507" y="29070"/>
                  </a:lnTo>
                  <a:lnTo>
                    <a:pt x="123983" y="35091"/>
                  </a:lnTo>
                  <a:lnTo>
                    <a:pt x="127315" y="38624"/>
                  </a:lnTo>
                  <a:lnTo>
                    <a:pt x="129839" y="41012"/>
                  </a:lnTo>
                  <a:lnTo>
                    <a:pt x="135931" y="43535"/>
                  </a:lnTo>
                  <a:cubicBezTo>
                    <a:pt x="135931" y="43535"/>
                    <a:pt x="141585" y="42088"/>
                    <a:pt x="142022" y="41954"/>
                  </a:cubicBezTo>
                  <a:cubicBezTo>
                    <a:pt x="142460" y="41819"/>
                    <a:pt x="146667" y="41079"/>
                    <a:pt x="146667" y="41079"/>
                  </a:cubicBezTo>
                  <a:lnTo>
                    <a:pt x="157840" y="41449"/>
                  </a:lnTo>
                  <a:lnTo>
                    <a:pt x="161172" y="41449"/>
                  </a:lnTo>
                  <a:lnTo>
                    <a:pt x="165379" y="43198"/>
                  </a:lnTo>
                  <a:lnTo>
                    <a:pt x="171302" y="43198"/>
                  </a:lnTo>
                  <a:cubicBezTo>
                    <a:pt x="171302" y="43198"/>
                    <a:pt x="173893" y="42627"/>
                    <a:pt x="174499" y="42761"/>
                  </a:cubicBezTo>
                  <a:cubicBezTo>
                    <a:pt x="175071" y="42896"/>
                    <a:pt x="176383" y="45452"/>
                    <a:pt x="176383" y="45452"/>
                  </a:cubicBezTo>
                  <a:lnTo>
                    <a:pt x="177191" y="46966"/>
                  </a:lnTo>
                  <a:lnTo>
                    <a:pt x="176249" y="49220"/>
                  </a:lnTo>
                  <a:lnTo>
                    <a:pt x="174667" y="50599"/>
                  </a:lnTo>
                  <a:lnTo>
                    <a:pt x="173220" y="51037"/>
                  </a:lnTo>
                  <a:lnTo>
                    <a:pt x="171571" y="50734"/>
                  </a:lnTo>
                  <a:lnTo>
                    <a:pt x="169855" y="50498"/>
                  </a:lnTo>
                  <a:lnTo>
                    <a:pt x="168710" y="51373"/>
                  </a:lnTo>
                  <a:lnTo>
                    <a:pt x="168710" y="54501"/>
                  </a:lnTo>
                  <a:lnTo>
                    <a:pt x="168912" y="55511"/>
                  </a:lnTo>
                  <a:lnTo>
                    <a:pt x="168138" y="56957"/>
                  </a:lnTo>
                  <a:lnTo>
                    <a:pt x="165749" y="57462"/>
                  </a:lnTo>
                  <a:cubicBezTo>
                    <a:pt x="165749" y="57462"/>
                    <a:pt x="164739" y="56890"/>
                    <a:pt x="164066" y="56890"/>
                  </a:cubicBezTo>
                  <a:cubicBezTo>
                    <a:pt x="163393" y="56890"/>
                    <a:pt x="161306" y="56587"/>
                    <a:pt x="161037" y="56587"/>
                  </a:cubicBezTo>
                  <a:cubicBezTo>
                    <a:pt x="160734" y="56587"/>
                    <a:pt x="158917" y="55006"/>
                    <a:pt x="158648" y="54905"/>
                  </a:cubicBezTo>
                  <a:cubicBezTo>
                    <a:pt x="158378" y="54838"/>
                    <a:pt x="155181" y="55645"/>
                    <a:pt x="155181" y="55645"/>
                  </a:cubicBezTo>
                  <a:cubicBezTo>
                    <a:pt x="155181" y="55645"/>
                    <a:pt x="153431" y="58034"/>
                    <a:pt x="153229" y="58538"/>
                  </a:cubicBezTo>
                  <a:cubicBezTo>
                    <a:pt x="153027" y="59043"/>
                    <a:pt x="150907" y="62945"/>
                    <a:pt x="150907" y="62945"/>
                  </a:cubicBezTo>
                  <a:lnTo>
                    <a:pt x="152287" y="65468"/>
                  </a:lnTo>
                  <a:lnTo>
                    <a:pt x="155922" y="67924"/>
                  </a:lnTo>
                  <a:lnTo>
                    <a:pt x="155989" y="69168"/>
                  </a:lnTo>
                  <a:lnTo>
                    <a:pt x="152926" y="71422"/>
                  </a:lnTo>
                  <a:lnTo>
                    <a:pt x="152051" y="73811"/>
                  </a:lnTo>
                  <a:cubicBezTo>
                    <a:pt x="152051" y="73811"/>
                    <a:pt x="152421" y="76064"/>
                    <a:pt x="152926" y="76502"/>
                  </a:cubicBezTo>
                  <a:cubicBezTo>
                    <a:pt x="153431" y="76939"/>
                    <a:pt x="154441" y="77578"/>
                    <a:pt x="154945" y="78016"/>
                  </a:cubicBezTo>
                  <a:cubicBezTo>
                    <a:pt x="155450" y="78453"/>
                    <a:pt x="156393" y="79529"/>
                    <a:pt x="156628" y="79597"/>
                  </a:cubicBezTo>
                  <a:cubicBezTo>
                    <a:pt x="156864" y="79664"/>
                    <a:pt x="156662" y="80538"/>
                    <a:pt x="156662" y="80538"/>
                  </a:cubicBezTo>
                  <a:cubicBezTo>
                    <a:pt x="156662" y="80538"/>
                    <a:pt x="156561" y="81346"/>
                    <a:pt x="156561" y="81615"/>
                  </a:cubicBezTo>
                  <a:cubicBezTo>
                    <a:pt x="156561" y="81918"/>
                    <a:pt x="156561" y="84003"/>
                    <a:pt x="156561" y="84003"/>
                  </a:cubicBezTo>
                  <a:lnTo>
                    <a:pt x="157705" y="84811"/>
                  </a:lnTo>
                  <a:cubicBezTo>
                    <a:pt x="157705" y="84811"/>
                    <a:pt x="159152" y="86560"/>
                    <a:pt x="159388" y="86829"/>
                  </a:cubicBezTo>
                  <a:cubicBezTo>
                    <a:pt x="159590" y="87132"/>
                    <a:pt x="160633" y="87771"/>
                    <a:pt x="161138" y="88276"/>
                  </a:cubicBezTo>
                  <a:cubicBezTo>
                    <a:pt x="161643" y="88780"/>
                    <a:pt x="161777" y="89150"/>
                    <a:pt x="162652" y="89857"/>
                  </a:cubicBezTo>
                  <a:cubicBezTo>
                    <a:pt x="163528" y="90597"/>
                    <a:pt x="163696" y="92312"/>
                    <a:pt x="163696" y="92312"/>
                  </a:cubicBezTo>
                  <a:lnTo>
                    <a:pt x="164301" y="93927"/>
                  </a:lnTo>
                  <a:lnTo>
                    <a:pt x="164369" y="96114"/>
                  </a:lnTo>
                  <a:lnTo>
                    <a:pt x="164436" y="98401"/>
                  </a:lnTo>
                  <a:cubicBezTo>
                    <a:pt x="164436" y="98401"/>
                    <a:pt x="163023" y="100621"/>
                    <a:pt x="162855" y="100689"/>
                  </a:cubicBezTo>
                  <a:cubicBezTo>
                    <a:pt x="162686" y="100756"/>
                    <a:pt x="160802" y="102976"/>
                    <a:pt x="160802" y="102976"/>
                  </a:cubicBezTo>
                  <a:cubicBezTo>
                    <a:pt x="160802" y="102976"/>
                    <a:pt x="159321" y="104120"/>
                    <a:pt x="159152" y="104221"/>
                  </a:cubicBezTo>
                  <a:cubicBezTo>
                    <a:pt x="158984" y="104322"/>
                    <a:pt x="156426" y="105701"/>
                    <a:pt x="156090" y="105835"/>
                  </a:cubicBezTo>
                  <a:cubicBezTo>
                    <a:pt x="155787" y="106004"/>
                    <a:pt x="154475" y="106912"/>
                    <a:pt x="154239" y="106979"/>
                  </a:cubicBezTo>
                  <a:cubicBezTo>
                    <a:pt x="154037" y="107047"/>
                    <a:pt x="153027" y="107484"/>
                    <a:pt x="152825" y="107484"/>
                  </a:cubicBezTo>
                  <a:cubicBezTo>
                    <a:pt x="152623" y="107484"/>
                    <a:pt x="150470" y="107484"/>
                    <a:pt x="150470" y="107484"/>
                  </a:cubicBezTo>
                  <a:cubicBezTo>
                    <a:pt x="150470" y="107484"/>
                    <a:pt x="148955" y="107820"/>
                    <a:pt x="148148" y="107820"/>
                  </a:cubicBezTo>
                  <a:cubicBezTo>
                    <a:pt x="147340" y="107820"/>
                    <a:pt x="145489" y="107787"/>
                    <a:pt x="145253" y="107787"/>
                  </a:cubicBezTo>
                  <a:cubicBezTo>
                    <a:pt x="145051" y="107787"/>
                    <a:pt x="141787" y="107080"/>
                    <a:pt x="141787" y="107080"/>
                  </a:cubicBezTo>
                  <a:lnTo>
                    <a:pt x="137883" y="108493"/>
                  </a:lnTo>
                  <a:lnTo>
                    <a:pt x="134282" y="109368"/>
                  </a:lnTo>
                  <a:lnTo>
                    <a:pt x="131892" y="110141"/>
                  </a:lnTo>
                  <a:lnTo>
                    <a:pt x="128729" y="109368"/>
                  </a:lnTo>
                  <a:lnTo>
                    <a:pt x="125901" y="107517"/>
                  </a:lnTo>
                  <a:lnTo>
                    <a:pt x="122334" y="106643"/>
                  </a:lnTo>
                  <a:lnTo>
                    <a:pt x="117320" y="107080"/>
                  </a:lnTo>
                  <a:lnTo>
                    <a:pt x="114493" y="111218"/>
                  </a:lnTo>
                  <a:lnTo>
                    <a:pt x="113079" y="116096"/>
                  </a:lnTo>
                  <a:lnTo>
                    <a:pt x="113079" y="120536"/>
                  </a:lnTo>
                  <a:lnTo>
                    <a:pt x="112305" y="126288"/>
                  </a:lnTo>
                  <a:lnTo>
                    <a:pt x="112844" y="129652"/>
                  </a:lnTo>
                  <a:lnTo>
                    <a:pt x="116646" y="135203"/>
                  </a:lnTo>
                  <a:lnTo>
                    <a:pt x="118262" y="138668"/>
                  </a:lnTo>
                  <a:lnTo>
                    <a:pt x="121190" y="139038"/>
                  </a:lnTo>
                  <a:lnTo>
                    <a:pt x="124118" y="137019"/>
                  </a:lnTo>
                  <a:lnTo>
                    <a:pt x="124320" y="137019"/>
                  </a:lnTo>
                  <a:lnTo>
                    <a:pt x="126810" y="138971"/>
                  </a:lnTo>
                  <a:lnTo>
                    <a:pt x="129099" y="142570"/>
                  </a:lnTo>
                  <a:lnTo>
                    <a:pt x="129638" y="144757"/>
                  </a:lnTo>
                  <a:lnTo>
                    <a:pt x="127786" y="148760"/>
                  </a:lnTo>
                  <a:lnTo>
                    <a:pt x="127988" y="152426"/>
                  </a:lnTo>
                  <a:lnTo>
                    <a:pt x="129402" y="153772"/>
                  </a:lnTo>
                  <a:cubicBezTo>
                    <a:pt x="129402" y="153772"/>
                    <a:pt x="129503" y="154310"/>
                    <a:pt x="129402" y="154647"/>
                  </a:cubicBezTo>
                  <a:cubicBezTo>
                    <a:pt x="129301" y="154983"/>
                    <a:pt x="126575" y="157035"/>
                    <a:pt x="126575" y="157035"/>
                  </a:cubicBezTo>
                  <a:cubicBezTo>
                    <a:pt x="126575" y="157035"/>
                    <a:pt x="125599" y="158347"/>
                    <a:pt x="125161" y="158347"/>
                  </a:cubicBezTo>
                  <a:cubicBezTo>
                    <a:pt x="124724" y="158347"/>
                    <a:pt x="120921" y="160735"/>
                    <a:pt x="120921" y="160735"/>
                  </a:cubicBezTo>
                  <a:lnTo>
                    <a:pt x="118733" y="164873"/>
                  </a:lnTo>
                  <a:lnTo>
                    <a:pt x="115570" y="164873"/>
                  </a:lnTo>
                  <a:lnTo>
                    <a:pt x="112406" y="164873"/>
                  </a:lnTo>
                  <a:lnTo>
                    <a:pt x="108603" y="164873"/>
                  </a:lnTo>
                  <a:lnTo>
                    <a:pt x="104363" y="160870"/>
                  </a:lnTo>
                  <a:lnTo>
                    <a:pt x="99584" y="160197"/>
                  </a:lnTo>
                  <a:lnTo>
                    <a:pt x="98170" y="161408"/>
                  </a:lnTo>
                  <a:lnTo>
                    <a:pt x="97497" y="162384"/>
                  </a:lnTo>
                  <a:cubicBezTo>
                    <a:pt x="97497" y="162384"/>
                    <a:pt x="96959" y="163797"/>
                    <a:pt x="96959" y="164234"/>
                  </a:cubicBezTo>
                  <a:cubicBezTo>
                    <a:pt x="96959" y="164671"/>
                    <a:pt x="96420" y="166185"/>
                    <a:pt x="96420" y="166185"/>
                  </a:cubicBezTo>
                  <a:lnTo>
                    <a:pt x="96521" y="168573"/>
                  </a:lnTo>
                  <a:lnTo>
                    <a:pt x="96185" y="170424"/>
                  </a:lnTo>
                  <a:cubicBezTo>
                    <a:pt x="96185" y="170424"/>
                    <a:pt x="95747" y="171399"/>
                    <a:pt x="95512" y="171736"/>
                  </a:cubicBezTo>
                  <a:cubicBezTo>
                    <a:pt x="95276" y="172072"/>
                    <a:pt x="94334" y="173148"/>
                    <a:pt x="93997" y="173485"/>
                  </a:cubicBezTo>
                  <a:cubicBezTo>
                    <a:pt x="93661" y="173821"/>
                    <a:pt x="90396" y="175133"/>
                    <a:pt x="90396" y="175133"/>
                  </a:cubicBezTo>
                  <a:lnTo>
                    <a:pt x="87771" y="175772"/>
                  </a:lnTo>
                  <a:cubicBezTo>
                    <a:pt x="87771" y="175772"/>
                    <a:pt x="86021" y="176411"/>
                    <a:pt x="85382" y="176546"/>
                  </a:cubicBezTo>
                  <a:cubicBezTo>
                    <a:pt x="84742" y="176647"/>
                    <a:pt x="84170" y="176445"/>
                    <a:pt x="83733" y="176546"/>
                  </a:cubicBezTo>
                  <a:cubicBezTo>
                    <a:pt x="83295" y="176647"/>
                    <a:pt x="82555" y="176714"/>
                    <a:pt x="81680" y="176580"/>
                  </a:cubicBezTo>
                  <a:cubicBezTo>
                    <a:pt x="80805" y="176445"/>
                    <a:pt x="78651" y="174595"/>
                    <a:pt x="77439" y="173518"/>
                  </a:cubicBezTo>
                  <a:cubicBezTo>
                    <a:pt x="76228" y="172442"/>
                    <a:pt x="75824" y="171029"/>
                    <a:pt x="74949" y="170491"/>
                  </a:cubicBezTo>
                  <a:cubicBezTo>
                    <a:pt x="74074" y="169953"/>
                    <a:pt x="72660" y="168203"/>
                    <a:pt x="72660" y="168203"/>
                  </a:cubicBezTo>
                  <a:cubicBezTo>
                    <a:pt x="72660" y="168203"/>
                    <a:pt x="70708" y="168102"/>
                    <a:pt x="70271" y="168102"/>
                  </a:cubicBezTo>
                  <a:cubicBezTo>
                    <a:pt x="69833" y="168102"/>
                    <a:pt x="66670" y="168203"/>
                    <a:pt x="66367" y="168203"/>
                  </a:cubicBezTo>
                  <a:cubicBezTo>
                    <a:pt x="66030" y="168203"/>
                    <a:pt x="63102" y="169717"/>
                    <a:pt x="63102" y="169717"/>
                  </a:cubicBezTo>
                  <a:lnTo>
                    <a:pt x="61251" y="171231"/>
                  </a:lnTo>
                  <a:lnTo>
                    <a:pt x="56573" y="173619"/>
                  </a:lnTo>
                  <a:lnTo>
                    <a:pt x="52097" y="174931"/>
                  </a:lnTo>
                  <a:cubicBezTo>
                    <a:pt x="52097" y="174931"/>
                    <a:pt x="48732" y="175032"/>
                    <a:pt x="48294" y="175032"/>
                  </a:cubicBezTo>
                  <a:cubicBezTo>
                    <a:pt x="47857" y="175032"/>
                    <a:pt x="43953" y="173619"/>
                    <a:pt x="42876" y="173619"/>
                  </a:cubicBezTo>
                  <a:cubicBezTo>
                    <a:pt x="41765" y="173619"/>
                    <a:pt x="40688" y="173081"/>
                    <a:pt x="40385" y="173619"/>
                  </a:cubicBezTo>
                  <a:cubicBezTo>
                    <a:pt x="40049" y="174158"/>
                    <a:pt x="38770" y="175032"/>
                    <a:pt x="38097" y="175470"/>
                  </a:cubicBezTo>
                  <a:cubicBezTo>
                    <a:pt x="37458" y="175907"/>
                    <a:pt x="37121" y="179607"/>
                    <a:pt x="37121" y="179607"/>
                  </a:cubicBezTo>
                  <a:lnTo>
                    <a:pt x="35606" y="180246"/>
                  </a:lnTo>
                  <a:lnTo>
                    <a:pt x="30827" y="179607"/>
                  </a:lnTo>
                  <a:cubicBezTo>
                    <a:pt x="30827" y="179607"/>
                    <a:pt x="29515" y="179069"/>
                    <a:pt x="28539" y="178194"/>
                  </a:cubicBezTo>
                  <a:cubicBezTo>
                    <a:pt x="27563" y="177320"/>
                    <a:pt x="26150" y="173619"/>
                    <a:pt x="25813" y="173518"/>
                  </a:cubicBezTo>
                  <a:cubicBezTo>
                    <a:pt x="25476" y="173418"/>
                    <a:pt x="25275" y="170794"/>
                    <a:pt x="24938" y="170491"/>
                  </a:cubicBezTo>
                  <a:cubicBezTo>
                    <a:pt x="24601" y="170155"/>
                    <a:pt x="22212" y="168540"/>
                    <a:pt x="22212" y="168540"/>
                  </a:cubicBezTo>
                  <a:cubicBezTo>
                    <a:pt x="22212" y="168540"/>
                    <a:pt x="19385" y="167766"/>
                    <a:pt x="18409" y="168102"/>
                  </a:cubicBezTo>
                  <a:cubicBezTo>
                    <a:pt x="17433" y="168439"/>
                    <a:pt x="16794" y="168102"/>
                    <a:pt x="15481" y="167901"/>
                  </a:cubicBezTo>
                  <a:cubicBezTo>
                    <a:pt x="14168" y="167699"/>
                    <a:pt x="11880" y="166925"/>
                    <a:pt x="11779" y="166589"/>
                  </a:cubicBezTo>
                  <a:cubicBezTo>
                    <a:pt x="11678" y="166252"/>
                    <a:pt x="11106" y="162249"/>
                    <a:pt x="11106" y="162249"/>
                  </a:cubicBezTo>
                  <a:lnTo>
                    <a:pt x="8515" y="161375"/>
                  </a:lnTo>
                  <a:lnTo>
                    <a:pt x="3837" y="160500"/>
                  </a:lnTo>
                  <a:cubicBezTo>
                    <a:pt x="3837" y="160500"/>
                    <a:pt x="3365" y="159423"/>
                    <a:pt x="3365" y="158986"/>
                  </a:cubicBezTo>
                  <a:cubicBezTo>
                    <a:pt x="3365" y="158549"/>
                    <a:pt x="1548" y="156396"/>
                    <a:pt x="1548" y="155959"/>
                  </a:cubicBezTo>
                  <a:cubicBezTo>
                    <a:pt x="1548" y="155521"/>
                    <a:pt x="1548" y="153671"/>
                    <a:pt x="1548" y="153671"/>
                  </a:cubicBezTo>
                  <a:lnTo>
                    <a:pt x="2861" y="152494"/>
                  </a:lnTo>
                  <a:lnTo>
                    <a:pt x="5788" y="152595"/>
                  </a:lnTo>
                  <a:lnTo>
                    <a:pt x="8077" y="153469"/>
                  </a:lnTo>
                  <a:lnTo>
                    <a:pt x="9591" y="153907"/>
                  </a:lnTo>
                  <a:lnTo>
                    <a:pt x="11981" y="154344"/>
                  </a:lnTo>
                  <a:lnTo>
                    <a:pt x="13630" y="153133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33" name="Freeform 899">
              <a:extLst>
                <a:ext uri="{FF2B5EF4-FFF2-40B4-BE49-F238E27FC236}">
                  <a16:creationId xmlns:a16="http://schemas.microsoft.com/office/drawing/2014/main" id="{B9B69DBE-A534-9245-4B7A-5D7A153B03F9}"/>
                </a:ext>
              </a:extLst>
            </p:cNvPr>
            <p:cNvSpPr/>
            <p:nvPr/>
          </p:nvSpPr>
          <p:spPr>
            <a:xfrm>
              <a:off x="8056766" y="2500048"/>
              <a:ext cx="62564" cy="100947"/>
            </a:xfrm>
            <a:custGeom>
              <a:avLst/>
              <a:gdLst>
                <a:gd name="connsiteX0" fmla="*/ 118565 w 120116"/>
                <a:gd name="connsiteY0" fmla="*/ 112087 h 193807"/>
                <a:gd name="connsiteX1" fmla="*/ 120012 w 120116"/>
                <a:gd name="connsiteY1" fmla="*/ 108656 h 193807"/>
                <a:gd name="connsiteX2" fmla="*/ 120012 w 120116"/>
                <a:gd name="connsiteY2" fmla="*/ 104888 h 193807"/>
                <a:gd name="connsiteX3" fmla="*/ 120012 w 120116"/>
                <a:gd name="connsiteY3" fmla="*/ 102399 h 193807"/>
                <a:gd name="connsiteX4" fmla="*/ 118161 w 120116"/>
                <a:gd name="connsiteY4" fmla="*/ 100112 h 193807"/>
                <a:gd name="connsiteX5" fmla="*/ 116209 w 120116"/>
                <a:gd name="connsiteY5" fmla="*/ 98800 h 193807"/>
                <a:gd name="connsiteX6" fmla="*/ 113921 w 120116"/>
                <a:gd name="connsiteY6" fmla="*/ 98800 h 193807"/>
                <a:gd name="connsiteX7" fmla="*/ 113921 w 120116"/>
                <a:gd name="connsiteY7" fmla="*/ 97151 h 193807"/>
                <a:gd name="connsiteX8" fmla="*/ 113921 w 120116"/>
                <a:gd name="connsiteY8" fmla="*/ 95301 h 193807"/>
                <a:gd name="connsiteX9" fmla="*/ 110656 w 120116"/>
                <a:gd name="connsiteY9" fmla="*/ 94527 h 193807"/>
                <a:gd name="connsiteX10" fmla="*/ 108502 w 120116"/>
                <a:gd name="connsiteY10" fmla="*/ 95738 h 193807"/>
                <a:gd name="connsiteX11" fmla="*/ 105675 w 120116"/>
                <a:gd name="connsiteY11" fmla="*/ 96277 h 193807"/>
                <a:gd name="connsiteX12" fmla="*/ 102646 w 120116"/>
                <a:gd name="connsiteY12" fmla="*/ 95301 h 193807"/>
                <a:gd name="connsiteX13" fmla="*/ 102646 w 120116"/>
                <a:gd name="connsiteY13" fmla="*/ 90962 h 193807"/>
                <a:gd name="connsiteX14" fmla="*/ 104598 w 120116"/>
                <a:gd name="connsiteY14" fmla="*/ 89448 h 193807"/>
                <a:gd name="connsiteX15" fmla="*/ 105137 w 120116"/>
                <a:gd name="connsiteY15" fmla="*/ 87396 h 193807"/>
                <a:gd name="connsiteX16" fmla="*/ 106012 w 120116"/>
                <a:gd name="connsiteY16" fmla="*/ 85445 h 193807"/>
                <a:gd name="connsiteX17" fmla="*/ 105103 w 120116"/>
                <a:gd name="connsiteY17" fmla="*/ 83292 h 193807"/>
                <a:gd name="connsiteX18" fmla="*/ 105978 w 120116"/>
                <a:gd name="connsiteY18" fmla="*/ 80971 h 193807"/>
                <a:gd name="connsiteX19" fmla="*/ 106281 w 120116"/>
                <a:gd name="connsiteY19" fmla="*/ 76497 h 193807"/>
                <a:gd name="connsiteX20" fmla="*/ 104093 w 120116"/>
                <a:gd name="connsiteY20" fmla="*/ 73604 h 193807"/>
                <a:gd name="connsiteX21" fmla="*/ 102646 w 120116"/>
                <a:gd name="connsiteY21" fmla="*/ 71417 h 193807"/>
                <a:gd name="connsiteX22" fmla="*/ 95848 w 120116"/>
                <a:gd name="connsiteY22" fmla="*/ 69971 h 193807"/>
                <a:gd name="connsiteX23" fmla="*/ 91776 w 120116"/>
                <a:gd name="connsiteY23" fmla="*/ 70711 h 193807"/>
                <a:gd name="connsiteX24" fmla="*/ 88141 w 120116"/>
                <a:gd name="connsiteY24" fmla="*/ 74478 h 193807"/>
                <a:gd name="connsiteX25" fmla="*/ 85247 w 120116"/>
                <a:gd name="connsiteY25" fmla="*/ 76799 h 193807"/>
                <a:gd name="connsiteX26" fmla="*/ 85247 w 120116"/>
                <a:gd name="connsiteY26" fmla="*/ 78818 h 193807"/>
                <a:gd name="connsiteX27" fmla="*/ 83497 w 120116"/>
                <a:gd name="connsiteY27" fmla="*/ 79120 h 193807"/>
                <a:gd name="connsiteX28" fmla="*/ 81377 w 120116"/>
                <a:gd name="connsiteY28" fmla="*/ 77977 h 193807"/>
                <a:gd name="connsiteX29" fmla="*/ 79997 w 120116"/>
                <a:gd name="connsiteY29" fmla="*/ 75521 h 193807"/>
                <a:gd name="connsiteX30" fmla="*/ 79997 w 120116"/>
                <a:gd name="connsiteY30" fmla="*/ 70172 h 193807"/>
                <a:gd name="connsiteX31" fmla="*/ 80704 w 120116"/>
                <a:gd name="connsiteY31" fmla="*/ 70038 h 193807"/>
                <a:gd name="connsiteX32" fmla="*/ 81276 w 120116"/>
                <a:gd name="connsiteY32" fmla="*/ 66573 h 193807"/>
                <a:gd name="connsiteX33" fmla="*/ 80704 w 120116"/>
                <a:gd name="connsiteY33" fmla="*/ 63814 h 193807"/>
                <a:gd name="connsiteX34" fmla="*/ 75858 w 120116"/>
                <a:gd name="connsiteY34" fmla="*/ 63814 h 193807"/>
                <a:gd name="connsiteX35" fmla="*/ 74780 w 120116"/>
                <a:gd name="connsiteY35" fmla="*/ 60181 h 193807"/>
                <a:gd name="connsiteX36" fmla="*/ 74780 w 120116"/>
                <a:gd name="connsiteY36" fmla="*/ 56279 h 193807"/>
                <a:gd name="connsiteX37" fmla="*/ 71314 w 120116"/>
                <a:gd name="connsiteY37" fmla="*/ 52579 h 193807"/>
                <a:gd name="connsiteX38" fmla="*/ 71314 w 120116"/>
                <a:gd name="connsiteY38" fmla="*/ 51065 h 193807"/>
                <a:gd name="connsiteX39" fmla="*/ 71314 w 120116"/>
                <a:gd name="connsiteY39" fmla="*/ 45851 h 193807"/>
                <a:gd name="connsiteX40" fmla="*/ 69127 w 120116"/>
                <a:gd name="connsiteY40" fmla="*/ 44102 h 193807"/>
                <a:gd name="connsiteX41" fmla="*/ 67174 w 120116"/>
                <a:gd name="connsiteY41" fmla="*/ 41713 h 193807"/>
                <a:gd name="connsiteX42" fmla="*/ 67174 w 120116"/>
                <a:gd name="connsiteY42" fmla="*/ 39964 h 193807"/>
                <a:gd name="connsiteX43" fmla="*/ 67545 w 120116"/>
                <a:gd name="connsiteY43" fmla="*/ 36701 h 193807"/>
                <a:gd name="connsiteX44" fmla="*/ 67814 w 120116"/>
                <a:gd name="connsiteY44" fmla="*/ 35019 h 193807"/>
                <a:gd name="connsiteX45" fmla="*/ 67814 w 120116"/>
                <a:gd name="connsiteY45" fmla="*/ 33640 h 193807"/>
                <a:gd name="connsiteX46" fmla="*/ 67747 w 120116"/>
                <a:gd name="connsiteY46" fmla="*/ 32496 h 193807"/>
                <a:gd name="connsiteX47" fmla="*/ 68689 w 120116"/>
                <a:gd name="connsiteY47" fmla="*/ 31722 h 193807"/>
                <a:gd name="connsiteX48" fmla="*/ 69934 w 120116"/>
                <a:gd name="connsiteY48" fmla="*/ 31016 h 193807"/>
                <a:gd name="connsiteX49" fmla="*/ 70439 w 120116"/>
                <a:gd name="connsiteY49" fmla="*/ 31016 h 193807"/>
                <a:gd name="connsiteX50" fmla="*/ 71751 w 120116"/>
                <a:gd name="connsiteY50" fmla="*/ 31756 h 193807"/>
                <a:gd name="connsiteX51" fmla="*/ 73569 w 120116"/>
                <a:gd name="connsiteY51" fmla="*/ 33068 h 193807"/>
                <a:gd name="connsiteX52" fmla="*/ 74444 w 120116"/>
                <a:gd name="connsiteY52" fmla="*/ 33707 h 193807"/>
                <a:gd name="connsiteX53" fmla="*/ 76194 w 120116"/>
                <a:gd name="connsiteY53" fmla="*/ 34212 h 193807"/>
                <a:gd name="connsiteX54" fmla="*/ 78078 w 120116"/>
                <a:gd name="connsiteY54" fmla="*/ 34952 h 193807"/>
                <a:gd name="connsiteX55" fmla="*/ 80771 w 120116"/>
                <a:gd name="connsiteY55" fmla="*/ 34817 h 193807"/>
                <a:gd name="connsiteX56" fmla="*/ 81848 w 120116"/>
                <a:gd name="connsiteY56" fmla="*/ 33808 h 193807"/>
                <a:gd name="connsiteX57" fmla="*/ 82420 w 120116"/>
                <a:gd name="connsiteY57" fmla="*/ 32664 h 193807"/>
                <a:gd name="connsiteX58" fmla="*/ 84304 w 120116"/>
                <a:gd name="connsiteY58" fmla="*/ 32799 h 193807"/>
                <a:gd name="connsiteX59" fmla="*/ 86122 w 120116"/>
                <a:gd name="connsiteY59" fmla="*/ 32799 h 193807"/>
                <a:gd name="connsiteX60" fmla="*/ 87502 w 120116"/>
                <a:gd name="connsiteY60" fmla="*/ 33371 h 193807"/>
                <a:gd name="connsiteX61" fmla="*/ 87872 w 120116"/>
                <a:gd name="connsiteY61" fmla="*/ 34750 h 193807"/>
                <a:gd name="connsiteX62" fmla="*/ 90060 w 120116"/>
                <a:gd name="connsiteY62" fmla="*/ 34952 h 193807"/>
                <a:gd name="connsiteX63" fmla="*/ 91136 w 120116"/>
                <a:gd name="connsiteY63" fmla="*/ 34245 h 193807"/>
                <a:gd name="connsiteX64" fmla="*/ 91810 w 120116"/>
                <a:gd name="connsiteY64" fmla="*/ 33539 h 193807"/>
                <a:gd name="connsiteX65" fmla="*/ 92584 w 120116"/>
                <a:gd name="connsiteY65" fmla="*/ 31890 h 193807"/>
                <a:gd name="connsiteX66" fmla="*/ 91944 w 120116"/>
                <a:gd name="connsiteY66" fmla="*/ 29670 h 193807"/>
                <a:gd name="connsiteX67" fmla="*/ 90194 w 120116"/>
                <a:gd name="connsiteY67" fmla="*/ 28594 h 193807"/>
                <a:gd name="connsiteX68" fmla="*/ 88612 w 120116"/>
                <a:gd name="connsiteY68" fmla="*/ 27719 h 193807"/>
                <a:gd name="connsiteX69" fmla="*/ 87906 w 120116"/>
                <a:gd name="connsiteY69" fmla="*/ 26407 h 193807"/>
                <a:gd name="connsiteX70" fmla="*/ 88545 w 120116"/>
                <a:gd name="connsiteY70" fmla="*/ 25062 h 193807"/>
                <a:gd name="connsiteX71" fmla="*/ 89622 w 120116"/>
                <a:gd name="connsiteY71" fmla="*/ 23884 h 193807"/>
                <a:gd name="connsiteX72" fmla="*/ 88848 w 120116"/>
                <a:gd name="connsiteY72" fmla="*/ 22808 h 193807"/>
                <a:gd name="connsiteX73" fmla="*/ 85684 w 120116"/>
                <a:gd name="connsiteY73" fmla="*/ 22370 h 193807"/>
                <a:gd name="connsiteX74" fmla="*/ 84372 w 120116"/>
                <a:gd name="connsiteY74" fmla="*/ 22370 h 193807"/>
                <a:gd name="connsiteX75" fmla="*/ 81511 w 120116"/>
                <a:gd name="connsiteY75" fmla="*/ 20688 h 193807"/>
                <a:gd name="connsiteX76" fmla="*/ 82218 w 120116"/>
                <a:gd name="connsiteY76" fmla="*/ 19040 h 193807"/>
                <a:gd name="connsiteX77" fmla="*/ 84843 w 120116"/>
                <a:gd name="connsiteY77" fmla="*/ 17257 h 193807"/>
                <a:gd name="connsiteX78" fmla="*/ 87939 w 120116"/>
                <a:gd name="connsiteY78" fmla="*/ 16887 h 193807"/>
                <a:gd name="connsiteX79" fmla="*/ 88478 w 120116"/>
                <a:gd name="connsiteY79" fmla="*/ 11942 h 193807"/>
                <a:gd name="connsiteX80" fmla="*/ 87872 w 120116"/>
                <a:gd name="connsiteY80" fmla="*/ 9890 h 193807"/>
                <a:gd name="connsiteX81" fmla="*/ 85920 w 120116"/>
                <a:gd name="connsiteY81" fmla="*/ 8208 h 193807"/>
                <a:gd name="connsiteX82" fmla="*/ 81242 w 120116"/>
                <a:gd name="connsiteY82" fmla="*/ 8208 h 193807"/>
                <a:gd name="connsiteX83" fmla="*/ 78348 w 120116"/>
                <a:gd name="connsiteY83" fmla="*/ 11471 h 193807"/>
                <a:gd name="connsiteX84" fmla="*/ 76598 w 120116"/>
                <a:gd name="connsiteY84" fmla="*/ 12009 h 193807"/>
                <a:gd name="connsiteX85" fmla="*/ 73535 w 120116"/>
                <a:gd name="connsiteY85" fmla="*/ 9688 h 193807"/>
                <a:gd name="connsiteX86" fmla="*/ 71785 w 120116"/>
                <a:gd name="connsiteY86" fmla="*/ 5281 h 193807"/>
                <a:gd name="connsiteX87" fmla="*/ 69227 w 120116"/>
                <a:gd name="connsiteY87" fmla="*/ 3936 h 193807"/>
                <a:gd name="connsiteX88" fmla="*/ 67814 w 120116"/>
                <a:gd name="connsiteY88" fmla="*/ 2624 h 193807"/>
                <a:gd name="connsiteX89" fmla="*/ 60646 w 120116"/>
                <a:gd name="connsiteY89" fmla="*/ 0 h 193807"/>
                <a:gd name="connsiteX90" fmla="*/ 56742 w 120116"/>
                <a:gd name="connsiteY90" fmla="*/ 3162 h 193807"/>
                <a:gd name="connsiteX91" fmla="*/ 52165 w 120116"/>
                <a:gd name="connsiteY91" fmla="*/ 5450 h 193807"/>
                <a:gd name="connsiteX92" fmla="*/ 52165 w 120116"/>
                <a:gd name="connsiteY92" fmla="*/ 9486 h 193807"/>
                <a:gd name="connsiteX93" fmla="*/ 49539 w 120116"/>
                <a:gd name="connsiteY93" fmla="*/ 13086 h 193807"/>
                <a:gd name="connsiteX94" fmla="*/ 46948 w 120116"/>
                <a:gd name="connsiteY94" fmla="*/ 15811 h 193807"/>
                <a:gd name="connsiteX95" fmla="*/ 45299 w 120116"/>
                <a:gd name="connsiteY95" fmla="*/ 17997 h 193807"/>
                <a:gd name="connsiteX96" fmla="*/ 42910 w 120116"/>
                <a:gd name="connsiteY96" fmla="*/ 18973 h 193807"/>
                <a:gd name="connsiteX97" fmla="*/ 42203 w 120116"/>
                <a:gd name="connsiteY97" fmla="*/ 20049 h 193807"/>
                <a:gd name="connsiteX98" fmla="*/ 41698 w 120116"/>
                <a:gd name="connsiteY98" fmla="*/ 22101 h 193807"/>
                <a:gd name="connsiteX99" fmla="*/ 41698 w 120116"/>
                <a:gd name="connsiteY99" fmla="*/ 23279 h 193807"/>
                <a:gd name="connsiteX100" fmla="*/ 40621 w 120116"/>
                <a:gd name="connsiteY100" fmla="*/ 26542 h 193807"/>
                <a:gd name="connsiteX101" fmla="*/ 39107 w 120116"/>
                <a:gd name="connsiteY101" fmla="*/ 27181 h 193807"/>
                <a:gd name="connsiteX102" fmla="*/ 35068 w 120116"/>
                <a:gd name="connsiteY102" fmla="*/ 27282 h 193807"/>
                <a:gd name="connsiteX103" fmla="*/ 33655 w 120116"/>
                <a:gd name="connsiteY103" fmla="*/ 29132 h 193807"/>
                <a:gd name="connsiteX104" fmla="*/ 32780 w 120116"/>
                <a:gd name="connsiteY104" fmla="*/ 33808 h 193807"/>
                <a:gd name="connsiteX105" fmla="*/ 32140 w 120116"/>
                <a:gd name="connsiteY105" fmla="*/ 37710 h 193807"/>
                <a:gd name="connsiteX106" fmla="*/ 33991 w 120116"/>
                <a:gd name="connsiteY106" fmla="*/ 43799 h 193807"/>
                <a:gd name="connsiteX107" fmla="*/ 34967 w 120116"/>
                <a:gd name="connsiteY107" fmla="*/ 47062 h 193807"/>
                <a:gd name="connsiteX108" fmla="*/ 38770 w 120116"/>
                <a:gd name="connsiteY108" fmla="*/ 47936 h 193807"/>
                <a:gd name="connsiteX109" fmla="*/ 40722 w 120116"/>
                <a:gd name="connsiteY109" fmla="*/ 48710 h 193807"/>
                <a:gd name="connsiteX110" fmla="*/ 42573 w 120116"/>
                <a:gd name="connsiteY110" fmla="*/ 51334 h 193807"/>
                <a:gd name="connsiteX111" fmla="*/ 42674 w 120116"/>
                <a:gd name="connsiteY111" fmla="*/ 53487 h 193807"/>
                <a:gd name="connsiteX112" fmla="*/ 40722 w 120116"/>
                <a:gd name="connsiteY112" fmla="*/ 54900 h 193807"/>
                <a:gd name="connsiteX113" fmla="*/ 37659 w 120116"/>
                <a:gd name="connsiteY113" fmla="*/ 55236 h 193807"/>
                <a:gd name="connsiteX114" fmla="*/ 35606 w 120116"/>
                <a:gd name="connsiteY114" fmla="*/ 56178 h 193807"/>
                <a:gd name="connsiteX115" fmla="*/ 33318 w 120116"/>
                <a:gd name="connsiteY115" fmla="*/ 59038 h 193807"/>
                <a:gd name="connsiteX116" fmla="*/ 31265 w 120116"/>
                <a:gd name="connsiteY116" fmla="*/ 61863 h 193807"/>
                <a:gd name="connsiteX117" fmla="*/ 34731 w 120116"/>
                <a:gd name="connsiteY117" fmla="*/ 63613 h 193807"/>
                <a:gd name="connsiteX118" fmla="*/ 37996 w 120116"/>
                <a:gd name="connsiteY118" fmla="*/ 64050 h 193807"/>
                <a:gd name="connsiteX119" fmla="*/ 39409 w 120116"/>
                <a:gd name="connsiteY119" fmla="*/ 65463 h 193807"/>
                <a:gd name="connsiteX120" fmla="*/ 40284 w 120116"/>
                <a:gd name="connsiteY120" fmla="*/ 69163 h 193807"/>
                <a:gd name="connsiteX121" fmla="*/ 39308 w 120116"/>
                <a:gd name="connsiteY121" fmla="*/ 73402 h 193807"/>
                <a:gd name="connsiteX122" fmla="*/ 38434 w 120116"/>
                <a:gd name="connsiteY122" fmla="*/ 76328 h 193807"/>
                <a:gd name="connsiteX123" fmla="*/ 35505 w 120116"/>
                <a:gd name="connsiteY123" fmla="*/ 77539 h 193807"/>
                <a:gd name="connsiteX124" fmla="*/ 32477 w 120116"/>
                <a:gd name="connsiteY124" fmla="*/ 76127 h 193807"/>
                <a:gd name="connsiteX125" fmla="*/ 29111 w 120116"/>
                <a:gd name="connsiteY125" fmla="*/ 73536 h 193807"/>
                <a:gd name="connsiteX126" fmla="*/ 25510 w 120116"/>
                <a:gd name="connsiteY126" fmla="*/ 73738 h 193807"/>
                <a:gd name="connsiteX127" fmla="*/ 21371 w 120116"/>
                <a:gd name="connsiteY127" fmla="*/ 72325 h 193807"/>
                <a:gd name="connsiteX128" fmla="*/ 20294 w 120116"/>
                <a:gd name="connsiteY128" fmla="*/ 70912 h 193807"/>
                <a:gd name="connsiteX129" fmla="*/ 20832 w 120116"/>
                <a:gd name="connsiteY129" fmla="*/ 68860 h 193807"/>
                <a:gd name="connsiteX130" fmla="*/ 22010 w 120116"/>
                <a:gd name="connsiteY130" fmla="*/ 67111 h 193807"/>
                <a:gd name="connsiteX131" fmla="*/ 22683 w 120116"/>
                <a:gd name="connsiteY131" fmla="*/ 64487 h 193807"/>
                <a:gd name="connsiteX132" fmla="*/ 22952 w 120116"/>
                <a:gd name="connsiteY132" fmla="*/ 62301 h 193807"/>
                <a:gd name="connsiteX133" fmla="*/ 22649 w 120116"/>
                <a:gd name="connsiteY133" fmla="*/ 60921 h 193807"/>
                <a:gd name="connsiteX134" fmla="*/ 21169 w 120116"/>
                <a:gd name="connsiteY134" fmla="*/ 59879 h 193807"/>
                <a:gd name="connsiteX135" fmla="*/ 19890 w 120116"/>
                <a:gd name="connsiteY135" fmla="*/ 58937 h 193807"/>
                <a:gd name="connsiteX136" fmla="*/ 18241 w 120116"/>
                <a:gd name="connsiteY136" fmla="*/ 58937 h 193807"/>
                <a:gd name="connsiteX137" fmla="*/ 16760 w 120116"/>
                <a:gd name="connsiteY137" fmla="*/ 59374 h 193807"/>
                <a:gd name="connsiteX138" fmla="*/ 15851 w 120116"/>
                <a:gd name="connsiteY138" fmla="*/ 59879 h 193807"/>
                <a:gd name="connsiteX139" fmla="*/ 15851 w 120116"/>
                <a:gd name="connsiteY139" fmla="*/ 61157 h 193807"/>
                <a:gd name="connsiteX140" fmla="*/ 16020 w 120116"/>
                <a:gd name="connsiteY140" fmla="*/ 62435 h 193807"/>
                <a:gd name="connsiteX141" fmla="*/ 15986 w 120116"/>
                <a:gd name="connsiteY141" fmla="*/ 63545 h 193807"/>
                <a:gd name="connsiteX142" fmla="*/ 15817 w 120116"/>
                <a:gd name="connsiteY142" fmla="*/ 65160 h 193807"/>
                <a:gd name="connsiteX143" fmla="*/ 15817 w 120116"/>
                <a:gd name="connsiteY143" fmla="*/ 66943 h 193807"/>
                <a:gd name="connsiteX144" fmla="*/ 15111 w 120116"/>
                <a:gd name="connsiteY144" fmla="*/ 69130 h 193807"/>
                <a:gd name="connsiteX145" fmla="*/ 14067 w 120116"/>
                <a:gd name="connsiteY145" fmla="*/ 70744 h 193807"/>
                <a:gd name="connsiteX146" fmla="*/ 12486 w 120116"/>
                <a:gd name="connsiteY146" fmla="*/ 73099 h 193807"/>
                <a:gd name="connsiteX147" fmla="*/ 10534 w 120116"/>
                <a:gd name="connsiteY147" fmla="*/ 74344 h 193807"/>
                <a:gd name="connsiteX148" fmla="*/ 8649 w 120116"/>
                <a:gd name="connsiteY148" fmla="*/ 77539 h 193807"/>
                <a:gd name="connsiteX149" fmla="*/ 7438 w 120116"/>
                <a:gd name="connsiteY149" fmla="*/ 79726 h 193807"/>
                <a:gd name="connsiteX150" fmla="*/ 6933 w 120116"/>
                <a:gd name="connsiteY150" fmla="*/ 83191 h 193807"/>
                <a:gd name="connsiteX151" fmla="*/ 6933 w 120116"/>
                <a:gd name="connsiteY151" fmla="*/ 85848 h 193807"/>
                <a:gd name="connsiteX152" fmla="*/ 6933 w 120116"/>
                <a:gd name="connsiteY152" fmla="*/ 88136 h 193807"/>
                <a:gd name="connsiteX153" fmla="*/ 8077 w 120116"/>
                <a:gd name="connsiteY153" fmla="*/ 90322 h 193807"/>
                <a:gd name="connsiteX154" fmla="*/ 10096 w 120116"/>
                <a:gd name="connsiteY154" fmla="*/ 93249 h 193807"/>
                <a:gd name="connsiteX155" fmla="*/ 10635 w 120116"/>
                <a:gd name="connsiteY155" fmla="*/ 97925 h 193807"/>
                <a:gd name="connsiteX156" fmla="*/ 6798 w 120116"/>
                <a:gd name="connsiteY156" fmla="*/ 101524 h 193807"/>
                <a:gd name="connsiteX157" fmla="*/ 4543 w 120116"/>
                <a:gd name="connsiteY157" fmla="*/ 103913 h 193807"/>
                <a:gd name="connsiteX158" fmla="*/ 4543 w 120116"/>
                <a:gd name="connsiteY158" fmla="*/ 107378 h 193807"/>
                <a:gd name="connsiteX159" fmla="*/ 10197 w 120116"/>
                <a:gd name="connsiteY159" fmla="*/ 111078 h 193807"/>
                <a:gd name="connsiteX160" fmla="*/ 12385 w 120116"/>
                <a:gd name="connsiteY160" fmla="*/ 114240 h 193807"/>
                <a:gd name="connsiteX161" fmla="*/ 11207 w 120116"/>
                <a:gd name="connsiteY161" fmla="*/ 117705 h 193807"/>
                <a:gd name="connsiteX162" fmla="*/ 9457 w 120116"/>
                <a:gd name="connsiteY162" fmla="*/ 120766 h 193807"/>
                <a:gd name="connsiteX163" fmla="*/ 9894 w 120116"/>
                <a:gd name="connsiteY163" fmla="*/ 124769 h 193807"/>
                <a:gd name="connsiteX164" fmla="*/ 13697 w 120116"/>
                <a:gd name="connsiteY164" fmla="*/ 128470 h 193807"/>
                <a:gd name="connsiteX165" fmla="*/ 19789 w 120116"/>
                <a:gd name="connsiteY165" fmla="*/ 131497 h 193807"/>
                <a:gd name="connsiteX166" fmla="*/ 22717 w 120116"/>
                <a:gd name="connsiteY166" fmla="*/ 132675 h 193807"/>
                <a:gd name="connsiteX167" fmla="*/ 23491 w 120116"/>
                <a:gd name="connsiteY167" fmla="*/ 134962 h 193807"/>
                <a:gd name="connsiteX168" fmla="*/ 20866 w 120116"/>
                <a:gd name="connsiteY168" fmla="*/ 137687 h 193807"/>
                <a:gd name="connsiteX169" fmla="*/ 17938 w 120116"/>
                <a:gd name="connsiteY169" fmla="*/ 139874 h 193807"/>
                <a:gd name="connsiteX170" fmla="*/ 14337 w 120116"/>
                <a:gd name="connsiteY170" fmla="*/ 142060 h 193807"/>
                <a:gd name="connsiteX171" fmla="*/ 11207 w 120116"/>
                <a:gd name="connsiteY171" fmla="*/ 144348 h 193807"/>
                <a:gd name="connsiteX172" fmla="*/ 6630 w 120116"/>
                <a:gd name="connsiteY172" fmla="*/ 145760 h 193807"/>
                <a:gd name="connsiteX173" fmla="*/ 1582 w 120116"/>
                <a:gd name="connsiteY173" fmla="*/ 149360 h 193807"/>
                <a:gd name="connsiteX174" fmla="*/ 0 w 120116"/>
                <a:gd name="connsiteY174" fmla="*/ 151311 h 193807"/>
                <a:gd name="connsiteX175" fmla="*/ 0 w 120116"/>
                <a:gd name="connsiteY175" fmla="*/ 157164 h 193807"/>
                <a:gd name="connsiteX176" fmla="*/ 774 w 120116"/>
                <a:gd name="connsiteY176" fmla="*/ 161168 h 193807"/>
                <a:gd name="connsiteX177" fmla="*/ 1414 w 120116"/>
                <a:gd name="connsiteY177" fmla="*/ 166920 h 193807"/>
                <a:gd name="connsiteX178" fmla="*/ 3500 w 120116"/>
                <a:gd name="connsiteY178" fmla="*/ 170721 h 193807"/>
                <a:gd name="connsiteX179" fmla="*/ 6966 w 120116"/>
                <a:gd name="connsiteY179" fmla="*/ 173984 h 193807"/>
                <a:gd name="connsiteX180" fmla="*/ 9693 w 120116"/>
                <a:gd name="connsiteY180" fmla="*/ 175935 h 193807"/>
                <a:gd name="connsiteX181" fmla="*/ 15683 w 120116"/>
                <a:gd name="connsiteY181" fmla="*/ 180813 h 193807"/>
                <a:gd name="connsiteX182" fmla="*/ 18510 w 120116"/>
                <a:gd name="connsiteY182" fmla="*/ 182327 h 193807"/>
                <a:gd name="connsiteX183" fmla="*/ 21774 w 120116"/>
                <a:gd name="connsiteY183" fmla="*/ 182327 h 193807"/>
                <a:gd name="connsiteX184" fmla="*/ 26991 w 120116"/>
                <a:gd name="connsiteY184" fmla="*/ 182327 h 193807"/>
                <a:gd name="connsiteX185" fmla="*/ 30121 w 120116"/>
                <a:gd name="connsiteY185" fmla="*/ 181553 h 193807"/>
                <a:gd name="connsiteX186" fmla="*/ 31837 w 120116"/>
                <a:gd name="connsiteY186" fmla="*/ 180578 h 193807"/>
                <a:gd name="connsiteX187" fmla="*/ 33150 w 120116"/>
                <a:gd name="connsiteY187" fmla="*/ 179938 h 193807"/>
                <a:gd name="connsiteX188" fmla="*/ 33890 w 120116"/>
                <a:gd name="connsiteY188" fmla="*/ 179837 h 193807"/>
                <a:gd name="connsiteX189" fmla="*/ 36179 w 120116"/>
                <a:gd name="connsiteY189" fmla="*/ 181721 h 193807"/>
                <a:gd name="connsiteX190" fmla="*/ 36616 w 120116"/>
                <a:gd name="connsiteY190" fmla="*/ 183134 h 193807"/>
                <a:gd name="connsiteX191" fmla="*/ 36616 w 120116"/>
                <a:gd name="connsiteY191" fmla="*/ 184951 h 193807"/>
                <a:gd name="connsiteX192" fmla="*/ 36616 w 120116"/>
                <a:gd name="connsiteY192" fmla="*/ 186633 h 193807"/>
                <a:gd name="connsiteX193" fmla="*/ 36616 w 120116"/>
                <a:gd name="connsiteY193" fmla="*/ 186700 h 193807"/>
                <a:gd name="connsiteX194" fmla="*/ 35910 w 120116"/>
                <a:gd name="connsiteY194" fmla="*/ 188584 h 193807"/>
                <a:gd name="connsiteX195" fmla="*/ 36751 w 120116"/>
                <a:gd name="connsiteY195" fmla="*/ 189593 h 193807"/>
                <a:gd name="connsiteX196" fmla="*/ 37861 w 120116"/>
                <a:gd name="connsiteY196" fmla="*/ 190098 h 193807"/>
                <a:gd name="connsiteX197" fmla="*/ 41025 w 120116"/>
                <a:gd name="connsiteY197" fmla="*/ 191443 h 193807"/>
                <a:gd name="connsiteX198" fmla="*/ 42506 w 120116"/>
                <a:gd name="connsiteY198" fmla="*/ 190501 h 193807"/>
                <a:gd name="connsiteX199" fmla="*/ 46746 w 120116"/>
                <a:gd name="connsiteY199" fmla="*/ 189189 h 193807"/>
                <a:gd name="connsiteX200" fmla="*/ 47386 w 120116"/>
                <a:gd name="connsiteY200" fmla="*/ 188113 h 193807"/>
                <a:gd name="connsiteX201" fmla="*/ 48597 w 120116"/>
                <a:gd name="connsiteY201" fmla="*/ 186364 h 193807"/>
                <a:gd name="connsiteX202" fmla="*/ 50886 w 120116"/>
                <a:gd name="connsiteY202" fmla="*/ 186162 h 193807"/>
                <a:gd name="connsiteX203" fmla="*/ 52939 w 120116"/>
                <a:gd name="connsiteY203" fmla="*/ 187676 h 193807"/>
                <a:gd name="connsiteX204" fmla="*/ 53275 w 120116"/>
                <a:gd name="connsiteY204" fmla="*/ 189728 h 193807"/>
                <a:gd name="connsiteX205" fmla="*/ 51424 w 120116"/>
                <a:gd name="connsiteY205" fmla="*/ 191443 h 193807"/>
                <a:gd name="connsiteX206" fmla="*/ 49708 w 120116"/>
                <a:gd name="connsiteY206" fmla="*/ 192352 h 193807"/>
                <a:gd name="connsiteX207" fmla="*/ 49809 w 120116"/>
                <a:gd name="connsiteY207" fmla="*/ 193125 h 193807"/>
                <a:gd name="connsiteX208" fmla="*/ 51896 w 120116"/>
                <a:gd name="connsiteY208" fmla="*/ 193764 h 193807"/>
                <a:gd name="connsiteX209" fmla="*/ 55496 w 120116"/>
                <a:gd name="connsiteY209" fmla="*/ 193764 h 193807"/>
                <a:gd name="connsiteX210" fmla="*/ 57886 w 120116"/>
                <a:gd name="connsiteY210" fmla="*/ 193798 h 193807"/>
                <a:gd name="connsiteX211" fmla="*/ 60208 w 120116"/>
                <a:gd name="connsiteY211" fmla="*/ 192991 h 193807"/>
                <a:gd name="connsiteX212" fmla="*/ 61790 w 120116"/>
                <a:gd name="connsiteY212" fmla="*/ 190905 h 193807"/>
                <a:gd name="connsiteX213" fmla="*/ 63001 w 120116"/>
                <a:gd name="connsiteY213" fmla="*/ 190367 h 193807"/>
                <a:gd name="connsiteX214" fmla="*/ 67040 w 120116"/>
                <a:gd name="connsiteY214" fmla="*/ 192318 h 193807"/>
                <a:gd name="connsiteX215" fmla="*/ 68655 w 120116"/>
                <a:gd name="connsiteY215" fmla="*/ 191679 h 193807"/>
                <a:gd name="connsiteX216" fmla="*/ 71819 w 120116"/>
                <a:gd name="connsiteY216" fmla="*/ 189929 h 193807"/>
                <a:gd name="connsiteX217" fmla="*/ 75958 w 120116"/>
                <a:gd name="connsiteY217" fmla="*/ 188315 h 193807"/>
                <a:gd name="connsiteX218" fmla="*/ 77708 w 120116"/>
                <a:gd name="connsiteY218" fmla="*/ 187978 h 193807"/>
                <a:gd name="connsiteX219" fmla="*/ 80872 w 120116"/>
                <a:gd name="connsiteY219" fmla="*/ 185590 h 193807"/>
                <a:gd name="connsiteX220" fmla="*/ 82117 w 120116"/>
                <a:gd name="connsiteY220" fmla="*/ 182562 h 193807"/>
                <a:gd name="connsiteX221" fmla="*/ 81949 w 120116"/>
                <a:gd name="connsiteY221" fmla="*/ 179400 h 193807"/>
                <a:gd name="connsiteX222" fmla="*/ 81949 w 120116"/>
                <a:gd name="connsiteY222" fmla="*/ 177987 h 193807"/>
                <a:gd name="connsiteX223" fmla="*/ 82723 w 120116"/>
                <a:gd name="connsiteY223" fmla="*/ 175162 h 193807"/>
                <a:gd name="connsiteX224" fmla="*/ 83699 w 120116"/>
                <a:gd name="connsiteY224" fmla="*/ 173412 h 193807"/>
                <a:gd name="connsiteX225" fmla="*/ 83699 w 120116"/>
                <a:gd name="connsiteY225" fmla="*/ 171024 h 193807"/>
                <a:gd name="connsiteX226" fmla="*/ 83261 w 120116"/>
                <a:gd name="connsiteY226" fmla="*/ 168736 h 193807"/>
                <a:gd name="connsiteX227" fmla="*/ 83059 w 120116"/>
                <a:gd name="connsiteY227" fmla="*/ 165372 h 193807"/>
                <a:gd name="connsiteX228" fmla="*/ 82824 w 120116"/>
                <a:gd name="connsiteY228" fmla="*/ 163085 h 193807"/>
                <a:gd name="connsiteX229" fmla="*/ 82824 w 120116"/>
                <a:gd name="connsiteY229" fmla="*/ 161571 h 193807"/>
                <a:gd name="connsiteX230" fmla="*/ 83261 w 120116"/>
                <a:gd name="connsiteY230" fmla="*/ 160360 h 193807"/>
                <a:gd name="connsiteX231" fmla="*/ 84136 w 120116"/>
                <a:gd name="connsiteY231" fmla="*/ 158611 h 193807"/>
                <a:gd name="connsiteX232" fmla="*/ 84776 w 120116"/>
                <a:gd name="connsiteY232" fmla="*/ 156761 h 193807"/>
                <a:gd name="connsiteX233" fmla="*/ 84877 w 120116"/>
                <a:gd name="connsiteY233" fmla="*/ 155247 h 193807"/>
                <a:gd name="connsiteX234" fmla="*/ 85651 w 120116"/>
                <a:gd name="connsiteY234" fmla="*/ 154372 h 193807"/>
                <a:gd name="connsiteX235" fmla="*/ 86526 w 120116"/>
                <a:gd name="connsiteY235" fmla="*/ 153733 h 193807"/>
                <a:gd name="connsiteX236" fmla="*/ 87838 w 120116"/>
                <a:gd name="connsiteY236" fmla="*/ 152859 h 193807"/>
                <a:gd name="connsiteX237" fmla="*/ 88916 w 120116"/>
                <a:gd name="connsiteY237" fmla="*/ 151984 h 193807"/>
                <a:gd name="connsiteX238" fmla="*/ 89891 w 120116"/>
                <a:gd name="connsiteY238" fmla="*/ 150672 h 193807"/>
                <a:gd name="connsiteX239" fmla="*/ 90665 w 120116"/>
                <a:gd name="connsiteY239" fmla="*/ 150033 h 193807"/>
                <a:gd name="connsiteX240" fmla="*/ 91877 w 120116"/>
                <a:gd name="connsiteY240" fmla="*/ 148620 h 193807"/>
                <a:gd name="connsiteX241" fmla="*/ 93627 w 120116"/>
                <a:gd name="connsiteY241" fmla="*/ 147207 h 193807"/>
                <a:gd name="connsiteX242" fmla="*/ 94165 w 120116"/>
                <a:gd name="connsiteY242" fmla="*/ 146770 h 193807"/>
                <a:gd name="connsiteX243" fmla="*/ 94939 w 120116"/>
                <a:gd name="connsiteY243" fmla="*/ 145996 h 193807"/>
                <a:gd name="connsiteX244" fmla="*/ 95713 w 120116"/>
                <a:gd name="connsiteY244" fmla="*/ 145660 h 193807"/>
                <a:gd name="connsiteX245" fmla="*/ 96151 w 120116"/>
                <a:gd name="connsiteY245" fmla="*/ 143877 h 193807"/>
                <a:gd name="connsiteX246" fmla="*/ 95916 w 120116"/>
                <a:gd name="connsiteY246" fmla="*/ 142363 h 193807"/>
                <a:gd name="connsiteX247" fmla="*/ 95916 w 120116"/>
                <a:gd name="connsiteY247" fmla="*/ 139705 h 193807"/>
                <a:gd name="connsiteX248" fmla="*/ 96420 w 120116"/>
                <a:gd name="connsiteY248" fmla="*/ 138259 h 193807"/>
                <a:gd name="connsiteX249" fmla="*/ 95512 w 120116"/>
                <a:gd name="connsiteY249" fmla="*/ 136577 h 193807"/>
                <a:gd name="connsiteX250" fmla="*/ 94165 w 120116"/>
                <a:gd name="connsiteY250" fmla="*/ 135568 h 193807"/>
                <a:gd name="connsiteX251" fmla="*/ 94165 w 120116"/>
                <a:gd name="connsiteY251" fmla="*/ 134491 h 193807"/>
                <a:gd name="connsiteX252" fmla="*/ 94165 w 120116"/>
                <a:gd name="connsiteY252" fmla="*/ 131531 h 193807"/>
                <a:gd name="connsiteX253" fmla="*/ 94165 w 120116"/>
                <a:gd name="connsiteY253" fmla="*/ 129277 h 193807"/>
                <a:gd name="connsiteX254" fmla="*/ 94165 w 120116"/>
                <a:gd name="connsiteY254" fmla="*/ 125812 h 193807"/>
                <a:gd name="connsiteX255" fmla="*/ 94939 w 120116"/>
                <a:gd name="connsiteY255" fmla="*/ 124938 h 193807"/>
                <a:gd name="connsiteX256" fmla="*/ 95882 w 120116"/>
                <a:gd name="connsiteY256" fmla="*/ 124366 h 193807"/>
                <a:gd name="connsiteX257" fmla="*/ 99079 w 120116"/>
                <a:gd name="connsiteY257" fmla="*/ 122919 h 193807"/>
                <a:gd name="connsiteX258" fmla="*/ 100223 w 120116"/>
                <a:gd name="connsiteY258" fmla="*/ 122112 h 193807"/>
                <a:gd name="connsiteX259" fmla="*/ 103353 w 120116"/>
                <a:gd name="connsiteY259" fmla="*/ 121372 h 193807"/>
                <a:gd name="connsiteX260" fmla="*/ 106382 w 120116"/>
                <a:gd name="connsiteY260" fmla="*/ 119623 h 193807"/>
                <a:gd name="connsiteX261" fmla="*/ 107964 w 120116"/>
                <a:gd name="connsiteY261" fmla="*/ 120194 h 193807"/>
                <a:gd name="connsiteX262" fmla="*/ 110151 w 120116"/>
                <a:gd name="connsiteY262" fmla="*/ 117066 h 193807"/>
                <a:gd name="connsiteX263" fmla="*/ 111599 w 120116"/>
                <a:gd name="connsiteY263" fmla="*/ 114879 h 193807"/>
                <a:gd name="connsiteX264" fmla="*/ 116007 w 120116"/>
                <a:gd name="connsiteY264" fmla="*/ 114308 h 193807"/>
                <a:gd name="connsiteX265" fmla="*/ 118026 w 120116"/>
                <a:gd name="connsiteY265" fmla="*/ 113063 h 193807"/>
                <a:gd name="connsiteX266" fmla="*/ 118565 w 120116"/>
                <a:gd name="connsiteY266" fmla="*/ 112087 h 193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</a:cxnLst>
              <a:rect l="l" t="t" r="r" b="b"/>
              <a:pathLst>
                <a:path w="120116" h="193807">
                  <a:moveTo>
                    <a:pt x="118565" y="112087"/>
                  </a:moveTo>
                  <a:lnTo>
                    <a:pt x="120012" y="108656"/>
                  </a:lnTo>
                  <a:lnTo>
                    <a:pt x="120012" y="104888"/>
                  </a:lnTo>
                  <a:cubicBezTo>
                    <a:pt x="120012" y="104888"/>
                    <a:pt x="120248" y="102702"/>
                    <a:pt x="120012" y="102399"/>
                  </a:cubicBezTo>
                  <a:cubicBezTo>
                    <a:pt x="119810" y="102063"/>
                    <a:pt x="118161" y="100112"/>
                    <a:pt x="118161" y="100112"/>
                  </a:cubicBezTo>
                  <a:lnTo>
                    <a:pt x="116209" y="98800"/>
                  </a:lnTo>
                  <a:lnTo>
                    <a:pt x="113921" y="98800"/>
                  </a:lnTo>
                  <a:cubicBezTo>
                    <a:pt x="113921" y="98800"/>
                    <a:pt x="114358" y="98161"/>
                    <a:pt x="113921" y="97151"/>
                  </a:cubicBezTo>
                  <a:cubicBezTo>
                    <a:pt x="113483" y="96176"/>
                    <a:pt x="114695" y="95738"/>
                    <a:pt x="113921" y="95301"/>
                  </a:cubicBezTo>
                  <a:cubicBezTo>
                    <a:pt x="113147" y="94864"/>
                    <a:pt x="110892" y="94225"/>
                    <a:pt x="110656" y="94527"/>
                  </a:cubicBezTo>
                  <a:cubicBezTo>
                    <a:pt x="110454" y="94864"/>
                    <a:pt x="109243" y="95402"/>
                    <a:pt x="108502" y="95738"/>
                  </a:cubicBezTo>
                  <a:cubicBezTo>
                    <a:pt x="107728" y="96075"/>
                    <a:pt x="106113" y="95940"/>
                    <a:pt x="105675" y="96277"/>
                  </a:cubicBezTo>
                  <a:cubicBezTo>
                    <a:pt x="105238" y="96613"/>
                    <a:pt x="102646" y="96176"/>
                    <a:pt x="102646" y="95301"/>
                  </a:cubicBezTo>
                  <a:cubicBezTo>
                    <a:pt x="102646" y="94426"/>
                    <a:pt x="102646" y="90962"/>
                    <a:pt x="102646" y="90962"/>
                  </a:cubicBezTo>
                  <a:lnTo>
                    <a:pt x="104598" y="89448"/>
                  </a:lnTo>
                  <a:cubicBezTo>
                    <a:pt x="104598" y="89448"/>
                    <a:pt x="105036" y="87699"/>
                    <a:pt x="105137" y="87396"/>
                  </a:cubicBezTo>
                  <a:cubicBezTo>
                    <a:pt x="105238" y="87059"/>
                    <a:pt x="106012" y="85445"/>
                    <a:pt x="106012" y="85445"/>
                  </a:cubicBezTo>
                  <a:lnTo>
                    <a:pt x="105103" y="83292"/>
                  </a:lnTo>
                  <a:lnTo>
                    <a:pt x="105978" y="80971"/>
                  </a:lnTo>
                  <a:lnTo>
                    <a:pt x="106281" y="76497"/>
                  </a:lnTo>
                  <a:lnTo>
                    <a:pt x="104093" y="73604"/>
                  </a:lnTo>
                  <a:lnTo>
                    <a:pt x="102646" y="71417"/>
                  </a:lnTo>
                  <a:lnTo>
                    <a:pt x="95848" y="69971"/>
                  </a:lnTo>
                  <a:lnTo>
                    <a:pt x="91776" y="70711"/>
                  </a:lnTo>
                  <a:cubicBezTo>
                    <a:pt x="91776" y="70711"/>
                    <a:pt x="88579" y="74344"/>
                    <a:pt x="88141" y="74478"/>
                  </a:cubicBezTo>
                  <a:cubicBezTo>
                    <a:pt x="87704" y="74613"/>
                    <a:pt x="85247" y="76799"/>
                    <a:pt x="85247" y="76799"/>
                  </a:cubicBezTo>
                  <a:lnTo>
                    <a:pt x="85247" y="78818"/>
                  </a:lnTo>
                  <a:cubicBezTo>
                    <a:pt x="85247" y="78818"/>
                    <a:pt x="84238" y="79827"/>
                    <a:pt x="83497" y="79120"/>
                  </a:cubicBezTo>
                  <a:cubicBezTo>
                    <a:pt x="82757" y="78414"/>
                    <a:pt x="81814" y="78414"/>
                    <a:pt x="81377" y="77977"/>
                  </a:cubicBezTo>
                  <a:cubicBezTo>
                    <a:pt x="80939" y="77539"/>
                    <a:pt x="79997" y="77237"/>
                    <a:pt x="79997" y="75521"/>
                  </a:cubicBezTo>
                  <a:cubicBezTo>
                    <a:pt x="79997" y="73772"/>
                    <a:pt x="79997" y="70172"/>
                    <a:pt x="79997" y="70172"/>
                  </a:cubicBezTo>
                  <a:lnTo>
                    <a:pt x="80704" y="70038"/>
                  </a:lnTo>
                  <a:cubicBezTo>
                    <a:pt x="80704" y="70038"/>
                    <a:pt x="81276" y="67010"/>
                    <a:pt x="81276" y="66573"/>
                  </a:cubicBezTo>
                  <a:cubicBezTo>
                    <a:pt x="81276" y="66136"/>
                    <a:pt x="81713" y="63983"/>
                    <a:pt x="80704" y="63814"/>
                  </a:cubicBezTo>
                  <a:cubicBezTo>
                    <a:pt x="79694" y="63680"/>
                    <a:pt x="75858" y="63814"/>
                    <a:pt x="75858" y="63814"/>
                  </a:cubicBezTo>
                  <a:lnTo>
                    <a:pt x="74780" y="60181"/>
                  </a:lnTo>
                  <a:lnTo>
                    <a:pt x="74780" y="56279"/>
                  </a:lnTo>
                  <a:lnTo>
                    <a:pt x="71314" y="52579"/>
                  </a:lnTo>
                  <a:lnTo>
                    <a:pt x="71314" y="51065"/>
                  </a:lnTo>
                  <a:lnTo>
                    <a:pt x="71314" y="45851"/>
                  </a:lnTo>
                  <a:lnTo>
                    <a:pt x="69127" y="44102"/>
                  </a:lnTo>
                  <a:lnTo>
                    <a:pt x="67174" y="41713"/>
                  </a:lnTo>
                  <a:cubicBezTo>
                    <a:pt x="67174" y="41713"/>
                    <a:pt x="67377" y="40839"/>
                    <a:pt x="67174" y="39964"/>
                  </a:cubicBezTo>
                  <a:cubicBezTo>
                    <a:pt x="66939" y="39089"/>
                    <a:pt x="67545" y="36701"/>
                    <a:pt x="67545" y="36701"/>
                  </a:cubicBezTo>
                  <a:lnTo>
                    <a:pt x="67814" y="35019"/>
                  </a:lnTo>
                  <a:lnTo>
                    <a:pt x="67814" y="33640"/>
                  </a:lnTo>
                  <a:lnTo>
                    <a:pt x="67747" y="32496"/>
                  </a:lnTo>
                  <a:lnTo>
                    <a:pt x="68689" y="31722"/>
                  </a:lnTo>
                  <a:lnTo>
                    <a:pt x="69934" y="31016"/>
                  </a:lnTo>
                  <a:lnTo>
                    <a:pt x="70439" y="31016"/>
                  </a:lnTo>
                  <a:lnTo>
                    <a:pt x="71751" y="31756"/>
                  </a:lnTo>
                  <a:cubicBezTo>
                    <a:pt x="71751" y="31756"/>
                    <a:pt x="73367" y="33000"/>
                    <a:pt x="73569" y="33068"/>
                  </a:cubicBezTo>
                  <a:cubicBezTo>
                    <a:pt x="73804" y="33135"/>
                    <a:pt x="74444" y="33707"/>
                    <a:pt x="74444" y="33707"/>
                  </a:cubicBezTo>
                  <a:lnTo>
                    <a:pt x="76194" y="34212"/>
                  </a:lnTo>
                  <a:lnTo>
                    <a:pt x="78078" y="34952"/>
                  </a:lnTo>
                  <a:cubicBezTo>
                    <a:pt x="78078" y="34952"/>
                    <a:pt x="80333" y="35086"/>
                    <a:pt x="80771" y="34817"/>
                  </a:cubicBezTo>
                  <a:cubicBezTo>
                    <a:pt x="81209" y="34514"/>
                    <a:pt x="81579" y="33875"/>
                    <a:pt x="81848" y="33808"/>
                  </a:cubicBezTo>
                  <a:cubicBezTo>
                    <a:pt x="82151" y="33741"/>
                    <a:pt x="82218" y="32664"/>
                    <a:pt x="82420" y="32664"/>
                  </a:cubicBezTo>
                  <a:cubicBezTo>
                    <a:pt x="82655" y="32664"/>
                    <a:pt x="84304" y="32799"/>
                    <a:pt x="84304" y="32799"/>
                  </a:cubicBezTo>
                  <a:lnTo>
                    <a:pt x="86122" y="32799"/>
                  </a:lnTo>
                  <a:lnTo>
                    <a:pt x="87502" y="33371"/>
                  </a:lnTo>
                  <a:lnTo>
                    <a:pt x="87872" y="34750"/>
                  </a:lnTo>
                  <a:lnTo>
                    <a:pt x="90060" y="34952"/>
                  </a:lnTo>
                  <a:lnTo>
                    <a:pt x="91136" y="34245"/>
                  </a:lnTo>
                  <a:cubicBezTo>
                    <a:pt x="91136" y="34245"/>
                    <a:pt x="91742" y="33707"/>
                    <a:pt x="91810" y="33539"/>
                  </a:cubicBezTo>
                  <a:cubicBezTo>
                    <a:pt x="91877" y="33371"/>
                    <a:pt x="92584" y="32328"/>
                    <a:pt x="92584" y="31890"/>
                  </a:cubicBezTo>
                  <a:cubicBezTo>
                    <a:pt x="92584" y="31453"/>
                    <a:pt x="91944" y="29670"/>
                    <a:pt x="91944" y="29670"/>
                  </a:cubicBezTo>
                  <a:lnTo>
                    <a:pt x="90194" y="28594"/>
                  </a:lnTo>
                  <a:cubicBezTo>
                    <a:pt x="90194" y="28594"/>
                    <a:pt x="88612" y="27887"/>
                    <a:pt x="88612" y="27719"/>
                  </a:cubicBezTo>
                  <a:cubicBezTo>
                    <a:pt x="88612" y="27551"/>
                    <a:pt x="87973" y="26643"/>
                    <a:pt x="87906" y="26407"/>
                  </a:cubicBezTo>
                  <a:cubicBezTo>
                    <a:pt x="87838" y="26205"/>
                    <a:pt x="88377" y="25263"/>
                    <a:pt x="88545" y="25062"/>
                  </a:cubicBezTo>
                  <a:cubicBezTo>
                    <a:pt x="88713" y="24860"/>
                    <a:pt x="89622" y="23884"/>
                    <a:pt x="89622" y="23884"/>
                  </a:cubicBezTo>
                  <a:lnTo>
                    <a:pt x="88848" y="22808"/>
                  </a:lnTo>
                  <a:lnTo>
                    <a:pt x="85684" y="22370"/>
                  </a:lnTo>
                  <a:lnTo>
                    <a:pt x="84372" y="22370"/>
                  </a:lnTo>
                  <a:lnTo>
                    <a:pt x="81511" y="20688"/>
                  </a:lnTo>
                  <a:cubicBezTo>
                    <a:pt x="81511" y="20688"/>
                    <a:pt x="81949" y="19343"/>
                    <a:pt x="82218" y="19040"/>
                  </a:cubicBezTo>
                  <a:cubicBezTo>
                    <a:pt x="82487" y="18771"/>
                    <a:pt x="84574" y="17358"/>
                    <a:pt x="84843" y="17257"/>
                  </a:cubicBezTo>
                  <a:cubicBezTo>
                    <a:pt x="85113" y="17156"/>
                    <a:pt x="87939" y="16887"/>
                    <a:pt x="87939" y="16887"/>
                  </a:cubicBezTo>
                  <a:lnTo>
                    <a:pt x="88478" y="11942"/>
                  </a:lnTo>
                  <a:lnTo>
                    <a:pt x="87872" y="9890"/>
                  </a:lnTo>
                  <a:lnTo>
                    <a:pt x="85920" y="8208"/>
                  </a:lnTo>
                  <a:cubicBezTo>
                    <a:pt x="85920" y="8208"/>
                    <a:pt x="81612" y="8006"/>
                    <a:pt x="81242" y="8208"/>
                  </a:cubicBezTo>
                  <a:cubicBezTo>
                    <a:pt x="80872" y="8410"/>
                    <a:pt x="78785" y="11135"/>
                    <a:pt x="78348" y="11471"/>
                  </a:cubicBezTo>
                  <a:cubicBezTo>
                    <a:pt x="77910" y="11808"/>
                    <a:pt x="77910" y="12447"/>
                    <a:pt x="76598" y="12009"/>
                  </a:cubicBezTo>
                  <a:cubicBezTo>
                    <a:pt x="75285" y="11572"/>
                    <a:pt x="73973" y="10697"/>
                    <a:pt x="73535" y="9688"/>
                  </a:cubicBezTo>
                  <a:cubicBezTo>
                    <a:pt x="73098" y="8645"/>
                    <a:pt x="72021" y="5719"/>
                    <a:pt x="71785" y="5281"/>
                  </a:cubicBezTo>
                  <a:cubicBezTo>
                    <a:pt x="71550" y="4844"/>
                    <a:pt x="69227" y="3936"/>
                    <a:pt x="69227" y="3936"/>
                  </a:cubicBezTo>
                  <a:cubicBezTo>
                    <a:pt x="69227" y="3936"/>
                    <a:pt x="68252" y="2725"/>
                    <a:pt x="67814" y="2624"/>
                  </a:cubicBezTo>
                  <a:cubicBezTo>
                    <a:pt x="67377" y="2523"/>
                    <a:pt x="60646" y="0"/>
                    <a:pt x="60646" y="0"/>
                  </a:cubicBezTo>
                  <a:cubicBezTo>
                    <a:pt x="60646" y="0"/>
                    <a:pt x="58054" y="3028"/>
                    <a:pt x="56742" y="3162"/>
                  </a:cubicBezTo>
                  <a:cubicBezTo>
                    <a:pt x="55429" y="3263"/>
                    <a:pt x="52400" y="5012"/>
                    <a:pt x="52165" y="5450"/>
                  </a:cubicBezTo>
                  <a:cubicBezTo>
                    <a:pt x="51962" y="5887"/>
                    <a:pt x="52165" y="9486"/>
                    <a:pt x="52165" y="9486"/>
                  </a:cubicBezTo>
                  <a:lnTo>
                    <a:pt x="49539" y="13086"/>
                  </a:lnTo>
                  <a:lnTo>
                    <a:pt x="46948" y="15811"/>
                  </a:lnTo>
                  <a:lnTo>
                    <a:pt x="45299" y="17997"/>
                  </a:lnTo>
                  <a:lnTo>
                    <a:pt x="42910" y="18973"/>
                  </a:lnTo>
                  <a:lnTo>
                    <a:pt x="42203" y="20049"/>
                  </a:lnTo>
                  <a:lnTo>
                    <a:pt x="41698" y="22101"/>
                  </a:lnTo>
                  <a:lnTo>
                    <a:pt x="41698" y="23279"/>
                  </a:lnTo>
                  <a:lnTo>
                    <a:pt x="40621" y="26542"/>
                  </a:lnTo>
                  <a:cubicBezTo>
                    <a:pt x="40621" y="26542"/>
                    <a:pt x="40083" y="27080"/>
                    <a:pt x="39107" y="27181"/>
                  </a:cubicBezTo>
                  <a:cubicBezTo>
                    <a:pt x="38130" y="27282"/>
                    <a:pt x="35405" y="27181"/>
                    <a:pt x="35068" y="27282"/>
                  </a:cubicBezTo>
                  <a:cubicBezTo>
                    <a:pt x="34731" y="27383"/>
                    <a:pt x="33655" y="29132"/>
                    <a:pt x="33655" y="29132"/>
                  </a:cubicBezTo>
                  <a:lnTo>
                    <a:pt x="32780" y="33808"/>
                  </a:lnTo>
                  <a:lnTo>
                    <a:pt x="32140" y="37710"/>
                  </a:lnTo>
                  <a:lnTo>
                    <a:pt x="33991" y="43799"/>
                  </a:lnTo>
                  <a:lnTo>
                    <a:pt x="34967" y="47062"/>
                  </a:lnTo>
                  <a:lnTo>
                    <a:pt x="38770" y="47936"/>
                  </a:lnTo>
                  <a:cubicBezTo>
                    <a:pt x="38770" y="47936"/>
                    <a:pt x="40284" y="48475"/>
                    <a:pt x="40722" y="48710"/>
                  </a:cubicBezTo>
                  <a:cubicBezTo>
                    <a:pt x="41159" y="48912"/>
                    <a:pt x="42573" y="51334"/>
                    <a:pt x="42573" y="51334"/>
                  </a:cubicBezTo>
                  <a:lnTo>
                    <a:pt x="42674" y="53487"/>
                  </a:lnTo>
                  <a:lnTo>
                    <a:pt x="40722" y="54900"/>
                  </a:lnTo>
                  <a:cubicBezTo>
                    <a:pt x="40722" y="54900"/>
                    <a:pt x="37996" y="54900"/>
                    <a:pt x="37659" y="55236"/>
                  </a:cubicBezTo>
                  <a:cubicBezTo>
                    <a:pt x="37323" y="55573"/>
                    <a:pt x="35606" y="56178"/>
                    <a:pt x="35606" y="56178"/>
                  </a:cubicBezTo>
                  <a:lnTo>
                    <a:pt x="33318" y="59038"/>
                  </a:lnTo>
                  <a:lnTo>
                    <a:pt x="31265" y="61863"/>
                  </a:lnTo>
                  <a:lnTo>
                    <a:pt x="34731" y="63613"/>
                  </a:lnTo>
                  <a:lnTo>
                    <a:pt x="37996" y="64050"/>
                  </a:lnTo>
                  <a:cubicBezTo>
                    <a:pt x="37996" y="64050"/>
                    <a:pt x="39073" y="65227"/>
                    <a:pt x="39409" y="65463"/>
                  </a:cubicBezTo>
                  <a:cubicBezTo>
                    <a:pt x="39746" y="65665"/>
                    <a:pt x="40284" y="69163"/>
                    <a:pt x="40284" y="69163"/>
                  </a:cubicBezTo>
                  <a:lnTo>
                    <a:pt x="39308" y="73402"/>
                  </a:lnTo>
                  <a:lnTo>
                    <a:pt x="38434" y="76328"/>
                  </a:lnTo>
                  <a:cubicBezTo>
                    <a:pt x="38434" y="76328"/>
                    <a:pt x="35943" y="77539"/>
                    <a:pt x="35505" y="77539"/>
                  </a:cubicBezTo>
                  <a:cubicBezTo>
                    <a:pt x="35068" y="77539"/>
                    <a:pt x="32914" y="76227"/>
                    <a:pt x="32477" y="76127"/>
                  </a:cubicBezTo>
                  <a:cubicBezTo>
                    <a:pt x="32039" y="76026"/>
                    <a:pt x="29111" y="73536"/>
                    <a:pt x="29111" y="73536"/>
                  </a:cubicBezTo>
                  <a:lnTo>
                    <a:pt x="25510" y="73738"/>
                  </a:lnTo>
                  <a:lnTo>
                    <a:pt x="21371" y="72325"/>
                  </a:lnTo>
                  <a:cubicBezTo>
                    <a:pt x="21371" y="72325"/>
                    <a:pt x="20394" y="71350"/>
                    <a:pt x="20294" y="70912"/>
                  </a:cubicBezTo>
                  <a:cubicBezTo>
                    <a:pt x="20193" y="70475"/>
                    <a:pt x="20394" y="69163"/>
                    <a:pt x="20832" y="68860"/>
                  </a:cubicBezTo>
                  <a:cubicBezTo>
                    <a:pt x="21270" y="68524"/>
                    <a:pt x="21707" y="68322"/>
                    <a:pt x="22010" y="67111"/>
                  </a:cubicBezTo>
                  <a:cubicBezTo>
                    <a:pt x="22347" y="65900"/>
                    <a:pt x="22683" y="64925"/>
                    <a:pt x="22683" y="64487"/>
                  </a:cubicBezTo>
                  <a:cubicBezTo>
                    <a:pt x="22683" y="64050"/>
                    <a:pt x="22952" y="62301"/>
                    <a:pt x="22952" y="62301"/>
                  </a:cubicBezTo>
                  <a:cubicBezTo>
                    <a:pt x="22952" y="62301"/>
                    <a:pt x="22683" y="60989"/>
                    <a:pt x="22649" y="60921"/>
                  </a:cubicBezTo>
                  <a:cubicBezTo>
                    <a:pt x="22616" y="60854"/>
                    <a:pt x="21270" y="59912"/>
                    <a:pt x="21169" y="59879"/>
                  </a:cubicBezTo>
                  <a:cubicBezTo>
                    <a:pt x="21068" y="59845"/>
                    <a:pt x="19957" y="58937"/>
                    <a:pt x="19890" y="58937"/>
                  </a:cubicBezTo>
                  <a:cubicBezTo>
                    <a:pt x="19823" y="58937"/>
                    <a:pt x="18241" y="58937"/>
                    <a:pt x="18241" y="58937"/>
                  </a:cubicBezTo>
                  <a:cubicBezTo>
                    <a:pt x="18241" y="58937"/>
                    <a:pt x="16861" y="59374"/>
                    <a:pt x="16760" y="59374"/>
                  </a:cubicBezTo>
                  <a:cubicBezTo>
                    <a:pt x="16659" y="59374"/>
                    <a:pt x="15851" y="59879"/>
                    <a:pt x="15851" y="59879"/>
                  </a:cubicBezTo>
                  <a:cubicBezTo>
                    <a:pt x="15851" y="59879"/>
                    <a:pt x="15817" y="61056"/>
                    <a:pt x="15851" y="61157"/>
                  </a:cubicBezTo>
                  <a:cubicBezTo>
                    <a:pt x="15919" y="61258"/>
                    <a:pt x="16020" y="62435"/>
                    <a:pt x="16020" y="62435"/>
                  </a:cubicBezTo>
                  <a:cubicBezTo>
                    <a:pt x="16020" y="62435"/>
                    <a:pt x="15986" y="63343"/>
                    <a:pt x="15986" y="63545"/>
                  </a:cubicBezTo>
                  <a:cubicBezTo>
                    <a:pt x="15986" y="63781"/>
                    <a:pt x="15817" y="65160"/>
                    <a:pt x="15817" y="65160"/>
                  </a:cubicBezTo>
                  <a:cubicBezTo>
                    <a:pt x="15817" y="65160"/>
                    <a:pt x="15817" y="66741"/>
                    <a:pt x="15817" y="66943"/>
                  </a:cubicBezTo>
                  <a:cubicBezTo>
                    <a:pt x="15817" y="67145"/>
                    <a:pt x="15145" y="68995"/>
                    <a:pt x="15111" y="69130"/>
                  </a:cubicBezTo>
                  <a:cubicBezTo>
                    <a:pt x="15077" y="69230"/>
                    <a:pt x="14067" y="70744"/>
                    <a:pt x="14067" y="70744"/>
                  </a:cubicBezTo>
                  <a:lnTo>
                    <a:pt x="12486" y="73099"/>
                  </a:lnTo>
                  <a:lnTo>
                    <a:pt x="10534" y="74344"/>
                  </a:lnTo>
                  <a:lnTo>
                    <a:pt x="8649" y="77539"/>
                  </a:lnTo>
                  <a:cubicBezTo>
                    <a:pt x="8649" y="77539"/>
                    <a:pt x="7572" y="79322"/>
                    <a:pt x="7438" y="79726"/>
                  </a:cubicBezTo>
                  <a:cubicBezTo>
                    <a:pt x="7270" y="80096"/>
                    <a:pt x="6933" y="83191"/>
                    <a:pt x="6933" y="83191"/>
                  </a:cubicBezTo>
                  <a:lnTo>
                    <a:pt x="6933" y="85848"/>
                  </a:lnTo>
                  <a:cubicBezTo>
                    <a:pt x="6933" y="85848"/>
                    <a:pt x="6596" y="87799"/>
                    <a:pt x="6933" y="88136"/>
                  </a:cubicBezTo>
                  <a:cubicBezTo>
                    <a:pt x="7270" y="88472"/>
                    <a:pt x="8077" y="90322"/>
                    <a:pt x="8077" y="90322"/>
                  </a:cubicBezTo>
                  <a:lnTo>
                    <a:pt x="10096" y="93249"/>
                  </a:lnTo>
                  <a:cubicBezTo>
                    <a:pt x="10096" y="93249"/>
                    <a:pt x="10635" y="97488"/>
                    <a:pt x="10635" y="97925"/>
                  </a:cubicBezTo>
                  <a:cubicBezTo>
                    <a:pt x="10635" y="98362"/>
                    <a:pt x="7101" y="101289"/>
                    <a:pt x="6798" y="101524"/>
                  </a:cubicBezTo>
                  <a:cubicBezTo>
                    <a:pt x="6495" y="101726"/>
                    <a:pt x="4779" y="103375"/>
                    <a:pt x="4543" y="103913"/>
                  </a:cubicBezTo>
                  <a:cubicBezTo>
                    <a:pt x="4342" y="104451"/>
                    <a:pt x="3029" y="106739"/>
                    <a:pt x="4543" y="107378"/>
                  </a:cubicBezTo>
                  <a:cubicBezTo>
                    <a:pt x="6058" y="108017"/>
                    <a:pt x="9760" y="111078"/>
                    <a:pt x="10197" y="111078"/>
                  </a:cubicBezTo>
                  <a:cubicBezTo>
                    <a:pt x="10635" y="111078"/>
                    <a:pt x="12385" y="114240"/>
                    <a:pt x="12385" y="114240"/>
                  </a:cubicBezTo>
                  <a:cubicBezTo>
                    <a:pt x="12385" y="114240"/>
                    <a:pt x="11745" y="117268"/>
                    <a:pt x="11207" y="117705"/>
                  </a:cubicBezTo>
                  <a:cubicBezTo>
                    <a:pt x="10669" y="118142"/>
                    <a:pt x="9894" y="120093"/>
                    <a:pt x="9457" y="120766"/>
                  </a:cubicBezTo>
                  <a:cubicBezTo>
                    <a:pt x="9019" y="121405"/>
                    <a:pt x="9255" y="124130"/>
                    <a:pt x="9894" y="124769"/>
                  </a:cubicBezTo>
                  <a:cubicBezTo>
                    <a:pt x="10534" y="125409"/>
                    <a:pt x="13361" y="128133"/>
                    <a:pt x="13697" y="128470"/>
                  </a:cubicBezTo>
                  <a:cubicBezTo>
                    <a:pt x="14034" y="128806"/>
                    <a:pt x="19116" y="131397"/>
                    <a:pt x="19789" y="131497"/>
                  </a:cubicBezTo>
                  <a:cubicBezTo>
                    <a:pt x="20428" y="131598"/>
                    <a:pt x="22717" y="132675"/>
                    <a:pt x="22717" y="132675"/>
                  </a:cubicBezTo>
                  <a:lnTo>
                    <a:pt x="23491" y="134962"/>
                  </a:lnTo>
                  <a:cubicBezTo>
                    <a:pt x="23491" y="134962"/>
                    <a:pt x="21202" y="137351"/>
                    <a:pt x="20866" y="137687"/>
                  </a:cubicBezTo>
                  <a:cubicBezTo>
                    <a:pt x="20529" y="138023"/>
                    <a:pt x="18274" y="139537"/>
                    <a:pt x="17938" y="139874"/>
                  </a:cubicBezTo>
                  <a:cubicBezTo>
                    <a:pt x="17601" y="140210"/>
                    <a:pt x="15010" y="141287"/>
                    <a:pt x="14337" y="142060"/>
                  </a:cubicBezTo>
                  <a:cubicBezTo>
                    <a:pt x="13697" y="142834"/>
                    <a:pt x="12385" y="143810"/>
                    <a:pt x="11207" y="144348"/>
                  </a:cubicBezTo>
                  <a:cubicBezTo>
                    <a:pt x="9995" y="144886"/>
                    <a:pt x="6630" y="145760"/>
                    <a:pt x="6630" y="145760"/>
                  </a:cubicBezTo>
                  <a:lnTo>
                    <a:pt x="1582" y="149360"/>
                  </a:lnTo>
                  <a:lnTo>
                    <a:pt x="0" y="151311"/>
                  </a:lnTo>
                  <a:lnTo>
                    <a:pt x="0" y="157164"/>
                  </a:lnTo>
                  <a:cubicBezTo>
                    <a:pt x="0" y="157164"/>
                    <a:pt x="774" y="160764"/>
                    <a:pt x="774" y="161168"/>
                  </a:cubicBezTo>
                  <a:cubicBezTo>
                    <a:pt x="774" y="161605"/>
                    <a:pt x="1414" y="166382"/>
                    <a:pt x="1414" y="166920"/>
                  </a:cubicBezTo>
                  <a:cubicBezTo>
                    <a:pt x="1414" y="167458"/>
                    <a:pt x="3500" y="170721"/>
                    <a:pt x="3500" y="170721"/>
                  </a:cubicBezTo>
                  <a:cubicBezTo>
                    <a:pt x="3500" y="170721"/>
                    <a:pt x="6529" y="173648"/>
                    <a:pt x="6966" y="173984"/>
                  </a:cubicBezTo>
                  <a:cubicBezTo>
                    <a:pt x="7404" y="174321"/>
                    <a:pt x="8716" y="175397"/>
                    <a:pt x="9693" y="175935"/>
                  </a:cubicBezTo>
                  <a:cubicBezTo>
                    <a:pt x="10669" y="176473"/>
                    <a:pt x="15346" y="180510"/>
                    <a:pt x="15683" y="180813"/>
                  </a:cubicBezTo>
                  <a:cubicBezTo>
                    <a:pt x="16020" y="181149"/>
                    <a:pt x="17433" y="182327"/>
                    <a:pt x="18510" y="182327"/>
                  </a:cubicBezTo>
                  <a:cubicBezTo>
                    <a:pt x="19587" y="182327"/>
                    <a:pt x="21774" y="182327"/>
                    <a:pt x="21774" y="182327"/>
                  </a:cubicBezTo>
                  <a:cubicBezTo>
                    <a:pt x="21774" y="182327"/>
                    <a:pt x="25039" y="182428"/>
                    <a:pt x="26991" y="182327"/>
                  </a:cubicBezTo>
                  <a:cubicBezTo>
                    <a:pt x="28943" y="182226"/>
                    <a:pt x="30121" y="181553"/>
                    <a:pt x="30121" y="181553"/>
                  </a:cubicBezTo>
                  <a:lnTo>
                    <a:pt x="31837" y="180578"/>
                  </a:lnTo>
                  <a:cubicBezTo>
                    <a:pt x="31837" y="180578"/>
                    <a:pt x="32914" y="180006"/>
                    <a:pt x="33150" y="179938"/>
                  </a:cubicBezTo>
                  <a:cubicBezTo>
                    <a:pt x="33385" y="179871"/>
                    <a:pt x="33587" y="179770"/>
                    <a:pt x="33890" y="179837"/>
                  </a:cubicBezTo>
                  <a:cubicBezTo>
                    <a:pt x="34159" y="179905"/>
                    <a:pt x="36179" y="181721"/>
                    <a:pt x="36179" y="181721"/>
                  </a:cubicBezTo>
                  <a:lnTo>
                    <a:pt x="36616" y="183134"/>
                  </a:lnTo>
                  <a:lnTo>
                    <a:pt x="36616" y="184951"/>
                  </a:lnTo>
                  <a:lnTo>
                    <a:pt x="36616" y="186633"/>
                  </a:lnTo>
                  <a:lnTo>
                    <a:pt x="36616" y="186700"/>
                  </a:lnTo>
                  <a:cubicBezTo>
                    <a:pt x="36616" y="186700"/>
                    <a:pt x="35910" y="188449"/>
                    <a:pt x="35910" y="188584"/>
                  </a:cubicBezTo>
                  <a:cubicBezTo>
                    <a:pt x="35910" y="188718"/>
                    <a:pt x="36111" y="189391"/>
                    <a:pt x="36751" y="189593"/>
                  </a:cubicBezTo>
                  <a:cubicBezTo>
                    <a:pt x="37357" y="189795"/>
                    <a:pt x="35842" y="189290"/>
                    <a:pt x="37861" y="190098"/>
                  </a:cubicBezTo>
                  <a:cubicBezTo>
                    <a:pt x="39881" y="190905"/>
                    <a:pt x="41025" y="191443"/>
                    <a:pt x="41025" y="191443"/>
                  </a:cubicBezTo>
                  <a:lnTo>
                    <a:pt x="42506" y="190501"/>
                  </a:lnTo>
                  <a:lnTo>
                    <a:pt x="46746" y="189189"/>
                  </a:lnTo>
                  <a:lnTo>
                    <a:pt x="47386" y="188113"/>
                  </a:lnTo>
                  <a:cubicBezTo>
                    <a:pt x="47386" y="188113"/>
                    <a:pt x="48126" y="186364"/>
                    <a:pt x="48597" y="186364"/>
                  </a:cubicBezTo>
                  <a:cubicBezTo>
                    <a:pt x="49035" y="186364"/>
                    <a:pt x="50886" y="186162"/>
                    <a:pt x="50886" y="186162"/>
                  </a:cubicBezTo>
                  <a:lnTo>
                    <a:pt x="52939" y="187676"/>
                  </a:lnTo>
                  <a:cubicBezTo>
                    <a:pt x="52939" y="187676"/>
                    <a:pt x="53477" y="189425"/>
                    <a:pt x="53275" y="189728"/>
                  </a:cubicBezTo>
                  <a:cubicBezTo>
                    <a:pt x="53040" y="190064"/>
                    <a:pt x="51862" y="191611"/>
                    <a:pt x="51424" y="191443"/>
                  </a:cubicBezTo>
                  <a:cubicBezTo>
                    <a:pt x="50987" y="191275"/>
                    <a:pt x="49708" y="192352"/>
                    <a:pt x="49708" y="192352"/>
                  </a:cubicBezTo>
                  <a:cubicBezTo>
                    <a:pt x="49708" y="192352"/>
                    <a:pt x="49472" y="193125"/>
                    <a:pt x="49809" y="193125"/>
                  </a:cubicBezTo>
                  <a:cubicBezTo>
                    <a:pt x="50145" y="193125"/>
                    <a:pt x="50482" y="193899"/>
                    <a:pt x="51896" y="193764"/>
                  </a:cubicBezTo>
                  <a:cubicBezTo>
                    <a:pt x="53309" y="193664"/>
                    <a:pt x="55025" y="193899"/>
                    <a:pt x="55496" y="193764"/>
                  </a:cubicBezTo>
                  <a:cubicBezTo>
                    <a:pt x="55934" y="193630"/>
                    <a:pt x="57886" y="193798"/>
                    <a:pt x="57886" y="193798"/>
                  </a:cubicBezTo>
                  <a:lnTo>
                    <a:pt x="60208" y="192991"/>
                  </a:lnTo>
                  <a:cubicBezTo>
                    <a:pt x="60208" y="192991"/>
                    <a:pt x="61487" y="191241"/>
                    <a:pt x="61790" y="190905"/>
                  </a:cubicBezTo>
                  <a:cubicBezTo>
                    <a:pt x="62126" y="190569"/>
                    <a:pt x="62665" y="190468"/>
                    <a:pt x="63001" y="190367"/>
                  </a:cubicBezTo>
                  <a:cubicBezTo>
                    <a:pt x="63338" y="190266"/>
                    <a:pt x="67040" y="192318"/>
                    <a:pt x="67040" y="192318"/>
                  </a:cubicBezTo>
                  <a:cubicBezTo>
                    <a:pt x="67040" y="192318"/>
                    <a:pt x="68016" y="191881"/>
                    <a:pt x="68655" y="191679"/>
                  </a:cubicBezTo>
                  <a:cubicBezTo>
                    <a:pt x="69295" y="191477"/>
                    <a:pt x="71381" y="190030"/>
                    <a:pt x="71819" y="189929"/>
                  </a:cubicBezTo>
                  <a:cubicBezTo>
                    <a:pt x="72256" y="189829"/>
                    <a:pt x="75521" y="188315"/>
                    <a:pt x="75958" y="188315"/>
                  </a:cubicBezTo>
                  <a:cubicBezTo>
                    <a:pt x="76396" y="188315"/>
                    <a:pt x="77708" y="187978"/>
                    <a:pt x="77708" y="187978"/>
                  </a:cubicBezTo>
                  <a:lnTo>
                    <a:pt x="80872" y="185590"/>
                  </a:lnTo>
                  <a:lnTo>
                    <a:pt x="82117" y="182562"/>
                  </a:lnTo>
                  <a:lnTo>
                    <a:pt x="81949" y="179400"/>
                  </a:lnTo>
                  <a:lnTo>
                    <a:pt x="81949" y="177987"/>
                  </a:lnTo>
                  <a:cubicBezTo>
                    <a:pt x="81949" y="177987"/>
                    <a:pt x="82285" y="175397"/>
                    <a:pt x="82723" y="175162"/>
                  </a:cubicBezTo>
                  <a:cubicBezTo>
                    <a:pt x="83160" y="174960"/>
                    <a:pt x="83699" y="173412"/>
                    <a:pt x="83699" y="173412"/>
                  </a:cubicBezTo>
                  <a:lnTo>
                    <a:pt x="83699" y="171024"/>
                  </a:lnTo>
                  <a:lnTo>
                    <a:pt x="83261" y="168736"/>
                  </a:lnTo>
                  <a:lnTo>
                    <a:pt x="83059" y="165372"/>
                  </a:lnTo>
                  <a:lnTo>
                    <a:pt x="82824" y="163085"/>
                  </a:lnTo>
                  <a:cubicBezTo>
                    <a:pt x="82824" y="163085"/>
                    <a:pt x="82723" y="161908"/>
                    <a:pt x="82824" y="161571"/>
                  </a:cubicBezTo>
                  <a:cubicBezTo>
                    <a:pt x="82925" y="161235"/>
                    <a:pt x="82925" y="160932"/>
                    <a:pt x="83261" y="160360"/>
                  </a:cubicBezTo>
                  <a:cubicBezTo>
                    <a:pt x="83598" y="159822"/>
                    <a:pt x="84136" y="158611"/>
                    <a:pt x="84136" y="158611"/>
                  </a:cubicBezTo>
                  <a:lnTo>
                    <a:pt x="84776" y="156761"/>
                  </a:lnTo>
                  <a:lnTo>
                    <a:pt x="84877" y="155247"/>
                  </a:lnTo>
                  <a:lnTo>
                    <a:pt x="85651" y="154372"/>
                  </a:lnTo>
                  <a:lnTo>
                    <a:pt x="86526" y="153733"/>
                  </a:lnTo>
                  <a:lnTo>
                    <a:pt x="87838" y="152859"/>
                  </a:lnTo>
                  <a:lnTo>
                    <a:pt x="88916" y="151984"/>
                  </a:lnTo>
                  <a:lnTo>
                    <a:pt x="89891" y="150672"/>
                  </a:lnTo>
                  <a:lnTo>
                    <a:pt x="90665" y="150033"/>
                  </a:lnTo>
                  <a:cubicBezTo>
                    <a:pt x="90665" y="150033"/>
                    <a:pt x="91540" y="148721"/>
                    <a:pt x="91877" y="148620"/>
                  </a:cubicBezTo>
                  <a:cubicBezTo>
                    <a:pt x="92214" y="148519"/>
                    <a:pt x="93627" y="147207"/>
                    <a:pt x="93627" y="147207"/>
                  </a:cubicBezTo>
                  <a:lnTo>
                    <a:pt x="94165" y="146770"/>
                  </a:lnTo>
                  <a:lnTo>
                    <a:pt x="94939" y="145996"/>
                  </a:lnTo>
                  <a:lnTo>
                    <a:pt x="95713" y="145660"/>
                  </a:lnTo>
                  <a:lnTo>
                    <a:pt x="96151" y="143877"/>
                  </a:lnTo>
                  <a:lnTo>
                    <a:pt x="95916" y="142363"/>
                  </a:lnTo>
                  <a:lnTo>
                    <a:pt x="95916" y="139705"/>
                  </a:lnTo>
                  <a:lnTo>
                    <a:pt x="96420" y="138259"/>
                  </a:lnTo>
                  <a:lnTo>
                    <a:pt x="95512" y="136577"/>
                  </a:lnTo>
                  <a:lnTo>
                    <a:pt x="94165" y="135568"/>
                  </a:lnTo>
                  <a:lnTo>
                    <a:pt x="94165" y="134491"/>
                  </a:lnTo>
                  <a:lnTo>
                    <a:pt x="94165" y="131531"/>
                  </a:lnTo>
                  <a:lnTo>
                    <a:pt x="94165" y="129277"/>
                  </a:lnTo>
                  <a:lnTo>
                    <a:pt x="94165" y="125812"/>
                  </a:lnTo>
                  <a:lnTo>
                    <a:pt x="94939" y="124938"/>
                  </a:lnTo>
                  <a:lnTo>
                    <a:pt x="95882" y="124366"/>
                  </a:lnTo>
                  <a:lnTo>
                    <a:pt x="99079" y="122919"/>
                  </a:lnTo>
                  <a:cubicBezTo>
                    <a:pt x="99079" y="122919"/>
                    <a:pt x="99954" y="122213"/>
                    <a:pt x="100223" y="122112"/>
                  </a:cubicBezTo>
                  <a:cubicBezTo>
                    <a:pt x="100526" y="122045"/>
                    <a:pt x="103353" y="121372"/>
                    <a:pt x="103353" y="121372"/>
                  </a:cubicBezTo>
                  <a:lnTo>
                    <a:pt x="106382" y="119623"/>
                  </a:lnTo>
                  <a:lnTo>
                    <a:pt x="107964" y="120194"/>
                  </a:lnTo>
                  <a:lnTo>
                    <a:pt x="110151" y="117066"/>
                  </a:lnTo>
                  <a:lnTo>
                    <a:pt x="111599" y="114879"/>
                  </a:lnTo>
                  <a:lnTo>
                    <a:pt x="116007" y="114308"/>
                  </a:lnTo>
                  <a:lnTo>
                    <a:pt x="118026" y="113063"/>
                  </a:lnTo>
                  <a:lnTo>
                    <a:pt x="118565" y="112087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34" name="Freeform 900">
              <a:extLst>
                <a:ext uri="{FF2B5EF4-FFF2-40B4-BE49-F238E27FC236}">
                  <a16:creationId xmlns:a16="http://schemas.microsoft.com/office/drawing/2014/main" id="{01915FA1-E6DC-0179-B119-62FEFE3D493A}"/>
                </a:ext>
              </a:extLst>
            </p:cNvPr>
            <p:cNvSpPr/>
            <p:nvPr/>
          </p:nvSpPr>
          <p:spPr>
            <a:xfrm>
              <a:off x="7910632" y="2362503"/>
              <a:ext cx="286439" cy="395672"/>
            </a:xfrm>
            <a:custGeom>
              <a:avLst/>
              <a:gdLst>
                <a:gd name="connsiteX0" fmla="*/ 547410 w 549933"/>
                <a:gd name="connsiteY0" fmla="*/ 270059 h 759650"/>
                <a:gd name="connsiteX1" fmla="*/ 544078 w 549933"/>
                <a:gd name="connsiteY1" fmla="*/ 266729 h 759650"/>
                <a:gd name="connsiteX2" fmla="*/ 542328 w 549933"/>
                <a:gd name="connsiteY2" fmla="*/ 262591 h 759650"/>
                <a:gd name="connsiteX3" fmla="*/ 542462 w 549933"/>
                <a:gd name="connsiteY3" fmla="*/ 256872 h 759650"/>
                <a:gd name="connsiteX4" fmla="*/ 542328 w 549933"/>
                <a:gd name="connsiteY4" fmla="*/ 256872 h 759650"/>
                <a:gd name="connsiteX5" fmla="*/ 535361 w 549933"/>
                <a:gd name="connsiteY5" fmla="*/ 254282 h 759650"/>
                <a:gd name="connsiteX6" fmla="*/ 530717 w 549933"/>
                <a:gd name="connsiteY6" fmla="*/ 250952 h 759650"/>
                <a:gd name="connsiteX7" fmla="*/ 523885 w 549933"/>
                <a:gd name="connsiteY7" fmla="*/ 247184 h 759650"/>
                <a:gd name="connsiteX8" fmla="*/ 522505 w 549933"/>
                <a:gd name="connsiteY8" fmla="*/ 243282 h 759650"/>
                <a:gd name="connsiteX9" fmla="*/ 522303 w 549933"/>
                <a:gd name="connsiteY9" fmla="*/ 239380 h 759650"/>
                <a:gd name="connsiteX10" fmla="*/ 522303 w 549933"/>
                <a:gd name="connsiteY10" fmla="*/ 233425 h 759650"/>
                <a:gd name="connsiteX11" fmla="*/ 522000 w 549933"/>
                <a:gd name="connsiteY11" fmla="*/ 229221 h 759650"/>
                <a:gd name="connsiteX12" fmla="*/ 519241 w 549933"/>
                <a:gd name="connsiteY12" fmla="*/ 225016 h 759650"/>
                <a:gd name="connsiteX13" fmla="*/ 514462 w 549933"/>
                <a:gd name="connsiteY13" fmla="*/ 220541 h 759650"/>
                <a:gd name="connsiteX14" fmla="*/ 510390 w 549933"/>
                <a:gd name="connsiteY14" fmla="*/ 218220 h 759650"/>
                <a:gd name="connsiteX15" fmla="*/ 505913 w 549933"/>
                <a:gd name="connsiteY15" fmla="*/ 218220 h 759650"/>
                <a:gd name="connsiteX16" fmla="*/ 501404 w 549933"/>
                <a:gd name="connsiteY16" fmla="*/ 219600 h 759650"/>
                <a:gd name="connsiteX17" fmla="*/ 500091 w 549933"/>
                <a:gd name="connsiteY17" fmla="*/ 220407 h 759650"/>
                <a:gd name="connsiteX18" fmla="*/ 497029 w 549933"/>
                <a:gd name="connsiteY18" fmla="*/ 220407 h 759650"/>
                <a:gd name="connsiteX19" fmla="*/ 490803 w 549933"/>
                <a:gd name="connsiteY19" fmla="*/ 219700 h 759650"/>
                <a:gd name="connsiteX20" fmla="*/ 488177 w 549933"/>
                <a:gd name="connsiteY20" fmla="*/ 219129 h 759650"/>
                <a:gd name="connsiteX21" fmla="*/ 486293 w 549933"/>
                <a:gd name="connsiteY21" fmla="*/ 214655 h 759650"/>
                <a:gd name="connsiteX22" fmla="*/ 482961 w 549933"/>
                <a:gd name="connsiteY22" fmla="*/ 209642 h 759650"/>
                <a:gd name="connsiteX23" fmla="*/ 482524 w 549933"/>
                <a:gd name="connsiteY23" fmla="*/ 204798 h 759650"/>
                <a:gd name="connsiteX24" fmla="*/ 477879 w 549933"/>
                <a:gd name="connsiteY24" fmla="*/ 204798 h 759650"/>
                <a:gd name="connsiteX25" fmla="*/ 473403 w 549933"/>
                <a:gd name="connsiteY25" fmla="*/ 205538 h 759650"/>
                <a:gd name="connsiteX26" fmla="*/ 469937 w 549933"/>
                <a:gd name="connsiteY26" fmla="*/ 204092 h 759650"/>
                <a:gd name="connsiteX27" fmla="*/ 465461 w 549933"/>
                <a:gd name="connsiteY27" fmla="*/ 200459 h 759650"/>
                <a:gd name="connsiteX28" fmla="*/ 458663 w 549933"/>
                <a:gd name="connsiteY28" fmla="*/ 196422 h 759650"/>
                <a:gd name="connsiteX29" fmla="*/ 453715 w 549933"/>
                <a:gd name="connsiteY29" fmla="*/ 191645 h 759650"/>
                <a:gd name="connsiteX30" fmla="*/ 450383 w 549933"/>
                <a:gd name="connsiteY30" fmla="*/ 188012 h 759650"/>
                <a:gd name="connsiteX31" fmla="*/ 451696 w 549933"/>
                <a:gd name="connsiteY31" fmla="*/ 182798 h 759650"/>
                <a:gd name="connsiteX32" fmla="*/ 458932 w 549933"/>
                <a:gd name="connsiteY32" fmla="*/ 175431 h 759650"/>
                <a:gd name="connsiteX33" fmla="*/ 461119 w 549933"/>
                <a:gd name="connsiteY33" fmla="*/ 173412 h 759650"/>
                <a:gd name="connsiteX34" fmla="*/ 462870 w 549933"/>
                <a:gd name="connsiteY34" fmla="*/ 170957 h 759650"/>
                <a:gd name="connsiteX35" fmla="*/ 463576 w 549933"/>
                <a:gd name="connsiteY35" fmla="*/ 168636 h 759650"/>
                <a:gd name="connsiteX36" fmla="*/ 459537 w 549933"/>
                <a:gd name="connsiteY36" fmla="*/ 166617 h 759650"/>
                <a:gd name="connsiteX37" fmla="*/ 457788 w 549933"/>
                <a:gd name="connsiteY37" fmla="*/ 165171 h 759650"/>
                <a:gd name="connsiteX38" fmla="*/ 459235 w 549933"/>
                <a:gd name="connsiteY38" fmla="*/ 161975 h 759650"/>
                <a:gd name="connsiteX39" fmla="*/ 463307 w 549933"/>
                <a:gd name="connsiteY39" fmla="*/ 159654 h 759650"/>
                <a:gd name="connsiteX40" fmla="*/ 466201 w 549933"/>
                <a:gd name="connsiteY40" fmla="*/ 157770 h 759650"/>
                <a:gd name="connsiteX41" fmla="*/ 471990 w 549933"/>
                <a:gd name="connsiteY41" fmla="*/ 155583 h 759650"/>
                <a:gd name="connsiteX42" fmla="*/ 476634 w 549933"/>
                <a:gd name="connsiteY42" fmla="*/ 150941 h 759650"/>
                <a:gd name="connsiteX43" fmla="*/ 478822 w 549933"/>
                <a:gd name="connsiteY43" fmla="*/ 146871 h 759650"/>
                <a:gd name="connsiteX44" fmla="*/ 478822 w 549933"/>
                <a:gd name="connsiteY44" fmla="*/ 143103 h 759650"/>
                <a:gd name="connsiteX45" fmla="*/ 479394 w 549933"/>
                <a:gd name="connsiteY45" fmla="*/ 139033 h 759650"/>
                <a:gd name="connsiteX46" fmla="*/ 482288 w 549933"/>
                <a:gd name="connsiteY46" fmla="*/ 136846 h 759650"/>
                <a:gd name="connsiteX47" fmla="*/ 485048 w 549933"/>
                <a:gd name="connsiteY47" fmla="*/ 136274 h 759650"/>
                <a:gd name="connsiteX48" fmla="*/ 488380 w 549933"/>
                <a:gd name="connsiteY48" fmla="*/ 134256 h 759650"/>
                <a:gd name="connsiteX49" fmla="*/ 488514 w 549933"/>
                <a:gd name="connsiteY49" fmla="*/ 131060 h 759650"/>
                <a:gd name="connsiteX50" fmla="*/ 481985 w 549933"/>
                <a:gd name="connsiteY50" fmla="*/ 131060 h 759650"/>
                <a:gd name="connsiteX51" fmla="*/ 478351 w 549933"/>
                <a:gd name="connsiteY51" fmla="*/ 131026 h 759650"/>
                <a:gd name="connsiteX52" fmla="*/ 475456 w 549933"/>
                <a:gd name="connsiteY52" fmla="*/ 132641 h 759650"/>
                <a:gd name="connsiteX53" fmla="*/ 470812 w 549933"/>
                <a:gd name="connsiteY53" fmla="*/ 134828 h 759650"/>
                <a:gd name="connsiteX54" fmla="*/ 465595 w 549933"/>
                <a:gd name="connsiteY54" fmla="*/ 135568 h 759650"/>
                <a:gd name="connsiteX55" fmla="*/ 463273 w 549933"/>
                <a:gd name="connsiteY55" fmla="*/ 134828 h 759650"/>
                <a:gd name="connsiteX56" fmla="*/ 461086 w 549933"/>
                <a:gd name="connsiteY56" fmla="*/ 132809 h 759650"/>
                <a:gd name="connsiteX57" fmla="*/ 458191 w 549933"/>
                <a:gd name="connsiteY57" fmla="*/ 133381 h 759650"/>
                <a:gd name="connsiteX58" fmla="*/ 456172 w 549933"/>
                <a:gd name="connsiteY58" fmla="*/ 135971 h 759650"/>
                <a:gd name="connsiteX59" fmla="*/ 454153 w 549933"/>
                <a:gd name="connsiteY59" fmla="*/ 137418 h 759650"/>
                <a:gd name="connsiteX60" fmla="*/ 449812 w 549933"/>
                <a:gd name="connsiteY60" fmla="*/ 134390 h 759650"/>
                <a:gd name="connsiteX61" fmla="*/ 447186 w 549933"/>
                <a:gd name="connsiteY61" fmla="*/ 132372 h 759650"/>
                <a:gd name="connsiteX62" fmla="*/ 444426 w 549933"/>
                <a:gd name="connsiteY62" fmla="*/ 130926 h 759650"/>
                <a:gd name="connsiteX63" fmla="*/ 439648 w 549933"/>
                <a:gd name="connsiteY63" fmla="*/ 133247 h 759650"/>
                <a:gd name="connsiteX64" fmla="*/ 434296 w 549933"/>
                <a:gd name="connsiteY64" fmla="*/ 134121 h 759650"/>
                <a:gd name="connsiteX65" fmla="*/ 431268 w 549933"/>
                <a:gd name="connsiteY65" fmla="*/ 134861 h 759650"/>
                <a:gd name="connsiteX66" fmla="*/ 429686 w 549933"/>
                <a:gd name="connsiteY66" fmla="*/ 132103 h 759650"/>
                <a:gd name="connsiteX67" fmla="*/ 427499 w 549933"/>
                <a:gd name="connsiteY67" fmla="*/ 132237 h 759650"/>
                <a:gd name="connsiteX68" fmla="*/ 423594 w 549933"/>
                <a:gd name="connsiteY68" fmla="*/ 129479 h 759650"/>
                <a:gd name="connsiteX69" fmla="*/ 421575 w 549933"/>
                <a:gd name="connsiteY69" fmla="*/ 131935 h 759650"/>
                <a:gd name="connsiteX70" fmla="*/ 419825 w 549933"/>
                <a:gd name="connsiteY70" fmla="*/ 135130 h 759650"/>
                <a:gd name="connsiteX71" fmla="*/ 417065 w 549933"/>
                <a:gd name="connsiteY71" fmla="*/ 136712 h 759650"/>
                <a:gd name="connsiteX72" fmla="*/ 414037 w 549933"/>
                <a:gd name="connsiteY72" fmla="*/ 137452 h 759650"/>
                <a:gd name="connsiteX73" fmla="*/ 411714 w 549933"/>
                <a:gd name="connsiteY73" fmla="*/ 138595 h 759650"/>
                <a:gd name="connsiteX74" fmla="*/ 406195 w 549933"/>
                <a:gd name="connsiteY74" fmla="*/ 135265 h 759650"/>
                <a:gd name="connsiteX75" fmla="*/ 404445 w 549933"/>
                <a:gd name="connsiteY75" fmla="*/ 134559 h 759650"/>
                <a:gd name="connsiteX76" fmla="*/ 403873 w 549933"/>
                <a:gd name="connsiteY76" fmla="*/ 130926 h 759650"/>
                <a:gd name="connsiteX77" fmla="*/ 402291 w 549933"/>
                <a:gd name="connsiteY77" fmla="*/ 126855 h 759650"/>
                <a:gd name="connsiteX78" fmla="*/ 401147 w 549933"/>
                <a:gd name="connsiteY78" fmla="*/ 124534 h 759650"/>
                <a:gd name="connsiteX79" fmla="*/ 400272 w 549933"/>
                <a:gd name="connsiteY79" fmla="*/ 122516 h 759650"/>
                <a:gd name="connsiteX80" fmla="*/ 400709 w 549933"/>
                <a:gd name="connsiteY80" fmla="*/ 120766 h 759650"/>
                <a:gd name="connsiteX81" fmla="*/ 402291 w 549933"/>
                <a:gd name="connsiteY81" fmla="*/ 118748 h 759650"/>
                <a:gd name="connsiteX82" fmla="*/ 402291 w 549933"/>
                <a:gd name="connsiteY82" fmla="*/ 113534 h 759650"/>
                <a:gd name="connsiteX83" fmla="*/ 401416 w 549933"/>
                <a:gd name="connsiteY83" fmla="*/ 112659 h 759650"/>
                <a:gd name="connsiteX84" fmla="*/ 394315 w 549933"/>
                <a:gd name="connsiteY84" fmla="*/ 111650 h 759650"/>
                <a:gd name="connsiteX85" fmla="*/ 393137 w 549933"/>
                <a:gd name="connsiteY85" fmla="*/ 108622 h 759650"/>
                <a:gd name="connsiteX86" fmla="*/ 396772 w 549933"/>
                <a:gd name="connsiteY86" fmla="*/ 106604 h 759650"/>
                <a:gd name="connsiteX87" fmla="*/ 393878 w 549933"/>
                <a:gd name="connsiteY87" fmla="*/ 103139 h 759650"/>
                <a:gd name="connsiteX88" fmla="*/ 390545 w 549933"/>
                <a:gd name="connsiteY88" fmla="*/ 102264 h 759650"/>
                <a:gd name="connsiteX89" fmla="*/ 389401 w 549933"/>
                <a:gd name="connsiteY89" fmla="*/ 100515 h 759650"/>
                <a:gd name="connsiteX90" fmla="*/ 386945 w 549933"/>
                <a:gd name="connsiteY90" fmla="*/ 96748 h 759650"/>
                <a:gd name="connsiteX91" fmla="*/ 385800 w 549933"/>
                <a:gd name="connsiteY91" fmla="*/ 93855 h 759650"/>
                <a:gd name="connsiteX92" fmla="*/ 385800 w 549933"/>
                <a:gd name="connsiteY92" fmla="*/ 91668 h 759650"/>
                <a:gd name="connsiteX93" fmla="*/ 387820 w 549933"/>
                <a:gd name="connsiteY93" fmla="*/ 87699 h 759650"/>
                <a:gd name="connsiteX94" fmla="*/ 388695 w 549933"/>
                <a:gd name="connsiteY94" fmla="*/ 86622 h 759650"/>
                <a:gd name="connsiteX95" fmla="*/ 389267 w 549933"/>
                <a:gd name="connsiteY95" fmla="*/ 86622 h 759650"/>
                <a:gd name="connsiteX96" fmla="*/ 390849 w 549933"/>
                <a:gd name="connsiteY96" fmla="*/ 86622 h 759650"/>
                <a:gd name="connsiteX97" fmla="*/ 394046 w 549933"/>
                <a:gd name="connsiteY97" fmla="*/ 87497 h 759650"/>
                <a:gd name="connsiteX98" fmla="*/ 397243 w 549933"/>
                <a:gd name="connsiteY98" fmla="*/ 89818 h 759650"/>
                <a:gd name="connsiteX99" fmla="*/ 400440 w 549933"/>
                <a:gd name="connsiteY99" fmla="*/ 91130 h 759650"/>
                <a:gd name="connsiteX100" fmla="*/ 403637 w 549933"/>
                <a:gd name="connsiteY100" fmla="*/ 87497 h 759650"/>
                <a:gd name="connsiteX101" fmla="*/ 402931 w 549933"/>
                <a:gd name="connsiteY101" fmla="*/ 81845 h 759650"/>
                <a:gd name="connsiteX102" fmla="*/ 400474 w 549933"/>
                <a:gd name="connsiteY102" fmla="*/ 78212 h 759650"/>
                <a:gd name="connsiteX103" fmla="*/ 399599 w 549933"/>
                <a:gd name="connsiteY103" fmla="*/ 74747 h 759650"/>
                <a:gd name="connsiteX104" fmla="*/ 396267 w 549933"/>
                <a:gd name="connsiteY104" fmla="*/ 71417 h 759650"/>
                <a:gd name="connsiteX105" fmla="*/ 396839 w 549933"/>
                <a:gd name="connsiteY105" fmla="*/ 69533 h 759650"/>
                <a:gd name="connsiteX106" fmla="*/ 400305 w 549933"/>
                <a:gd name="connsiteY106" fmla="*/ 66640 h 759650"/>
                <a:gd name="connsiteX107" fmla="*/ 400878 w 549933"/>
                <a:gd name="connsiteY107" fmla="*/ 64050 h 759650"/>
                <a:gd name="connsiteX108" fmla="*/ 396536 w 549933"/>
                <a:gd name="connsiteY108" fmla="*/ 63310 h 759650"/>
                <a:gd name="connsiteX109" fmla="*/ 394079 w 549933"/>
                <a:gd name="connsiteY109" fmla="*/ 61729 h 759650"/>
                <a:gd name="connsiteX110" fmla="*/ 395661 w 549933"/>
                <a:gd name="connsiteY110" fmla="*/ 59408 h 759650"/>
                <a:gd name="connsiteX111" fmla="*/ 396233 w 549933"/>
                <a:gd name="connsiteY111" fmla="*/ 57658 h 759650"/>
                <a:gd name="connsiteX112" fmla="*/ 395527 w 549933"/>
                <a:gd name="connsiteY112" fmla="*/ 55337 h 759650"/>
                <a:gd name="connsiteX113" fmla="*/ 394517 w 549933"/>
                <a:gd name="connsiteY113" fmla="*/ 55337 h 759650"/>
                <a:gd name="connsiteX114" fmla="*/ 391757 w 549933"/>
                <a:gd name="connsiteY114" fmla="*/ 53588 h 759650"/>
                <a:gd name="connsiteX115" fmla="*/ 389570 w 549933"/>
                <a:gd name="connsiteY115" fmla="*/ 54328 h 759650"/>
                <a:gd name="connsiteX116" fmla="*/ 388392 w 549933"/>
                <a:gd name="connsiteY116" fmla="*/ 56212 h 759650"/>
                <a:gd name="connsiteX117" fmla="*/ 387247 w 549933"/>
                <a:gd name="connsiteY117" fmla="*/ 58096 h 759650"/>
                <a:gd name="connsiteX118" fmla="*/ 385598 w 549933"/>
                <a:gd name="connsiteY118" fmla="*/ 59542 h 759650"/>
                <a:gd name="connsiteX119" fmla="*/ 383781 w 549933"/>
                <a:gd name="connsiteY119" fmla="*/ 59408 h 759650"/>
                <a:gd name="connsiteX120" fmla="*/ 382569 w 549933"/>
                <a:gd name="connsiteY120" fmla="*/ 57961 h 759650"/>
                <a:gd name="connsiteX121" fmla="*/ 381459 w 549933"/>
                <a:gd name="connsiteY121" fmla="*/ 56515 h 759650"/>
                <a:gd name="connsiteX122" fmla="*/ 381459 w 549933"/>
                <a:gd name="connsiteY122" fmla="*/ 54496 h 759650"/>
                <a:gd name="connsiteX123" fmla="*/ 384252 w 549933"/>
                <a:gd name="connsiteY123" fmla="*/ 53285 h 759650"/>
                <a:gd name="connsiteX124" fmla="*/ 383579 w 549933"/>
                <a:gd name="connsiteY124" fmla="*/ 51603 h 759650"/>
                <a:gd name="connsiteX125" fmla="*/ 382873 w 549933"/>
                <a:gd name="connsiteY125" fmla="*/ 50426 h 759650"/>
                <a:gd name="connsiteX126" fmla="*/ 380012 w 549933"/>
                <a:gd name="connsiteY126" fmla="*/ 48307 h 759650"/>
                <a:gd name="connsiteX127" fmla="*/ 377892 w 549933"/>
                <a:gd name="connsiteY127" fmla="*/ 49719 h 759650"/>
                <a:gd name="connsiteX128" fmla="*/ 377252 w 549933"/>
                <a:gd name="connsiteY128" fmla="*/ 49349 h 759650"/>
                <a:gd name="connsiteX129" fmla="*/ 377252 w 549933"/>
                <a:gd name="connsiteY129" fmla="*/ 46692 h 759650"/>
                <a:gd name="connsiteX130" fmla="*/ 377858 w 549933"/>
                <a:gd name="connsiteY130" fmla="*/ 44842 h 759650"/>
                <a:gd name="connsiteX131" fmla="*/ 377185 w 549933"/>
                <a:gd name="connsiteY131" fmla="*/ 43698 h 759650"/>
                <a:gd name="connsiteX132" fmla="*/ 372844 w 549933"/>
                <a:gd name="connsiteY132" fmla="*/ 40939 h 759650"/>
                <a:gd name="connsiteX133" fmla="*/ 371430 w 549933"/>
                <a:gd name="connsiteY133" fmla="*/ 37845 h 759650"/>
                <a:gd name="connsiteX134" fmla="*/ 370622 w 549933"/>
                <a:gd name="connsiteY134" fmla="*/ 35086 h 759650"/>
                <a:gd name="connsiteX135" fmla="*/ 372877 w 549933"/>
                <a:gd name="connsiteY135" fmla="*/ 32563 h 759650"/>
                <a:gd name="connsiteX136" fmla="*/ 373146 w 549933"/>
                <a:gd name="connsiteY136" fmla="*/ 32193 h 759650"/>
                <a:gd name="connsiteX137" fmla="*/ 374593 w 549933"/>
                <a:gd name="connsiteY137" fmla="*/ 30040 h 759650"/>
                <a:gd name="connsiteX138" fmla="*/ 374089 w 549933"/>
                <a:gd name="connsiteY138" fmla="*/ 27652 h 759650"/>
                <a:gd name="connsiteX139" fmla="*/ 372844 w 549933"/>
                <a:gd name="connsiteY139" fmla="*/ 26071 h 759650"/>
                <a:gd name="connsiteX140" fmla="*/ 371598 w 549933"/>
                <a:gd name="connsiteY140" fmla="*/ 24389 h 759650"/>
                <a:gd name="connsiteX141" fmla="*/ 370589 w 549933"/>
                <a:gd name="connsiteY141" fmla="*/ 22068 h 759650"/>
                <a:gd name="connsiteX142" fmla="*/ 369915 w 549933"/>
                <a:gd name="connsiteY142" fmla="*/ 20184 h 759650"/>
                <a:gd name="connsiteX143" fmla="*/ 367458 w 549933"/>
                <a:gd name="connsiteY143" fmla="*/ 18300 h 759650"/>
                <a:gd name="connsiteX144" fmla="*/ 362949 w 549933"/>
                <a:gd name="connsiteY144" fmla="*/ 13893 h 759650"/>
                <a:gd name="connsiteX145" fmla="*/ 357093 w 549933"/>
                <a:gd name="connsiteY145" fmla="*/ 10630 h 759650"/>
                <a:gd name="connsiteX146" fmla="*/ 355780 w 549933"/>
                <a:gd name="connsiteY146" fmla="*/ 7165 h 759650"/>
                <a:gd name="connsiteX147" fmla="*/ 355780 w 549933"/>
                <a:gd name="connsiteY147" fmla="*/ 5214 h 759650"/>
                <a:gd name="connsiteX148" fmla="*/ 352516 w 549933"/>
                <a:gd name="connsiteY148" fmla="*/ 1749 h 759650"/>
                <a:gd name="connsiteX149" fmla="*/ 347098 w 549933"/>
                <a:gd name="connsiteY149" fmla="*/ 0 h 759650"/>
                <a:gd name="connsiteX150" fmla="*/ 343900 w 549933"/>
                <a:gd name="connsiteY150" fmla="*/ 639 h 759650"/>
                <a:gd name="connsiteX151" fmla="*/ 340266 w 549933"/>
                <a:gd name="connsiteY151" fmla="*/ 1379 h 759650"/>
                <a:gd name="connsiteX152" fmla="*/ 337506 w 549933"/>
                <a:gd name="connsiteY152" fmla="*/ 2388 h 759650"/>
                <a:gd name="connsiteX153" fmla="*/ 335487 w 549933"/>
                <a:gd name="connsiteY153" fmla="*/ 5147 h 759650"/>
                <a:gd name="connsiteX154" fmla="*/ 333333 w 549933"/>
                <a:gd name="connsiteY154" fmla="*/ 6896 h 759650"/>
                <a:gd name="connsiteX155" fmla="*/ 329833 w 549933"/>
                <a:gd name="connsiteY155" fmla="*/ 5887 h 759650"/>
                <a:gd name="connsiteX156" fmla="*/ 327814 w 549933"/>
                <a:gd name="connsiteY156" fmla="*/ 4440 h 759650"/>
                <a:gd name="connsiteX157" fmla="*/ 326939 w 549933"/>
                <a:gd name="connsiteY157" fmla="*/ 3869 h 759650"/>
                <a:gd name="connsiteX158" fmla="*/ 323910 w 549933"/>
                <a:gd name="connsiteY158" fmla="*/ 4306 h 759650"/>
                <a:gd name="connsiteX159" fmla="*/ 322462 w 549933"/>
                <a:gd name="connsiteY159" fmla="*/ 6627 h 759650"/>
                <a:gd name="connsiteX160" fmla="*/ 321587 w 549933"/>
                <a:gd name="connsiteY160" fmla="*/ 8343 h 759650"/>
                <a:gd name="connsiteX161" fmla="*/ 320578 w 549933"/>
                <a:gd name="connsiteY161" fmla="*/ 10664 h 759650"/>
                <a:gd name="connsiteX162" fmla="*/ 320578 w 549933"/>
                <a:gd name="connsiteY162" fmla="*/ 12850 h 759650"/>
                <a:gd name="connsiteX163" fmla="*/ 317684 w 549933"/>
                <a:gd name="connsiteY163" fmla="*/ 16046 h 759650"/>
                <a:gd name="connsiteX164" fmla="*/ 316943 w 549933"/>
                <a:gd name="connsiteY164" fmla="*/ 16551 h 759650"/>
                <a:gd name="connsiteX165" fmla="*/ 314318 w 549933"/>
                <a:gd name="connsiteY165" fmla="*/ 17190 h 759650"/>
                <a:gd name="connsiteX166" fmla="*/ 310986 w 549933"/>
                <a:gd name="connsiteY166" fmla="*/ 17190 h 759650"/>
                <a:gd name="connsiteX167" fmla="*/ 309236 w 549933"/>
                <a:gd name="connsiteY167" fmla="*/ 16315 h 759650"/>
                <a:gd name="connsiteX168" fmla="*/ 305601 w 549933"/>
                <a:gd name="connsiteY168" fmla="*/ 14297 h 759650"/>
                <a:gd name="connsiteX169" fmla="*/ 304020 w 549933"/>
                <a:gd name="connsiteY169" fmla="*/ 13288 h 759650"/>
                <a:gd name="connsiteX170" fmla="*/ 300688 w 549933"/>
                <a:gd name="connsiteY170" fmla="*/ 15172 h 759650"/>
                <a:gd name="connsiteX171" fmla="*/ 299375 w 549933"/>
                <a:gd name="connsiteY171" fmla="*/ 17358 h 759650"/>
                <a:gd name="connsiteX172" fmla="*/ 295741 w 549933"/>
                <a:gd name="connsiteY172" fmla="*/ 17661 h 759650"/>
                <a:gd name="connsiteX173" fmla="*/ 290390 w 549933"/>
                <a:gd name="connsiteY173" fmla="*/ 17358 h 759650"/>
                <a:gd name="connsiteX174" fmla="*/ 287495 w 549933"/>
                <a:gd name="connsiteY174" fmla="*/ 17493 h 759650"/>
                <a:gd name="connsiteX175" fmla="*/ 283861 w 549933"/>
                <a:gd name="connsiteY175" fmla="*/ 18636 h 759650"/>
                <a:gd name="connsiteX176" fmla="*/ 280966 w 549933"/>
                <a:gd name="connsiteY176" fmla="*/ 19343 h 759650"/>
                <a:gd name="connsiteX177" fmla="*/ 278510 w 549933"/>
                <a:gd name="connsiteY177" fmla="*/ 20083 h 759650"/>
                <a:gd name="connsiteX178" fmla="*/ 278577 w 549933"/>
                <a:gd name="connsiteY178" fmla="*/ 24422 h 759650"/>
                <a:gd name="connsiteX179" fmla="*/ 271846 w 549933"/>
                <a:gd name="connsiteY179" fmla="*/ 25566 h 759650"/>
                <a:gd name="connsiteX180" fmla="*/ 271846 w 549933"/>
                <a:gd name="connsiteY180" fmla="*/ 28459 h 759650"/>
                <a:gd name="connsiteX181" fmla="*/ 272855 w 549933"/>
                <a:gd name="connsiteY181" fmla="*/ 29468 h 759650"/>
                <a:gd name="connsiteX182" fmla="*/ 273731 w 549933"/>
                <a:gd name="connsiteY182" fmla="*/ 31218 h 759650"/>
                <a:gd name="connsiteX183" fmla="*/ 274168 w 549933"/>
                <a:gd name="connsiteY183" fmla="*/ 32967 h 759650"/>
                <a:gd name="connsiteX184" fmla="*/ 274875 w 549933"/>
                <a:gd name="connsiteY184" fmla="*/ 34716 h 759650"/>
                <a:gd name="connsiteX185" fmla="*/ 275178 w 549933"/>
                <a:gd name="connsiteY185" fmla="*/ 37912 h 759650"/>
                <a:gd name="connsiteX186" fmla="*/ 275312 w 549933"/>
                <a:gd name="connsiteY186" fmla="*/ 39796 h 759650"/>
                <a:gd name="connsiteX187" fmla="*/ 277332 w 549933"/>
                <a:gd name="connsiteY187" fmla="*/ 44001 h 759650"/>
                <a:gd name="connsiteX188" fmla="*/ 276187 w 549933"/>
                <a:gd name="connsiteY188" fmla="*/ 47768 h 759650"/>
                <a:gd name="connsiteX189" fmla="*/ 273293 w 549933"/>
                <a:gd name="connsiteY189" fmla="*/ 48475 h 759650"/>
                <a:gd name="connsiteX190" fmla="*/ 267067 w 549933"/>
                <a:gd name="connsiteY190" fmla="*/ 50224 h 759650"/>
                <a:gd name="connsiteX191" fmla="*/ 270096 w 549933"/>
                <a:gd name="connsiteY191" fmla="*/ 55304 h 759650"/>
                <a:gd name="connsiteX192" fmla="*/ 274000 w 549933"/>
                <a:gd name="connsiteY192" fmla="*/ 57187 h 759650"/>
                <a:gd name="connsiteX193" fmla="*/ 276154 w 549933"/>
                <a:gd name="connsiteY193" fmla="*/ 58499 h 759650"/>
                <a:gd name="connsiteX194" fmla="*/ 277163 w 549933"/>
                <a:gd name="connsiteY194" fmla="*/ 60383 h 759650"/>
                <a:gd name="connsiteX195" fmla="*/ 276591 w 549933"/>
                <a:gd name="connsiteY195" fmla="*/ 62704 h 759650"/>
                <a:gd name="connsiteX196" fmla="*/ 275716 w 549933"/>
                <a:gd name="connsiteY196" fmla="*/ 66775 h 759650"/>
                <a:gd name="connsiteX197" fmla="*/ 275009 w 549933"/>
                <a:gd name="connsiteY197" fmla="*/ 70845 h 759650"/>
                <a:gd name="connsiteX198" fmla="*/ 274000 w 549933"/>
                <a:gd name="connsiteY198" fmla="*/ 72662 h 759650"/>
                <a:gd name="connsiteX199" fmla="*/ 271980 w 549933"/>
                <a:gd name="connsiteY199" fmla="*/ 72863 h 759650"/>
                <a:gd name="connsiteX200" fmla="*/ 269221 w 549933"/>
                <a:gd name="connsiteY200" fmla="*/ 72863 h 759650"/>
                <a:gd name="connsiteX201" fmla="*/ 266327 w 549933"/>
                <a:gd name="connsiteY201" fmla="*/ 73166 h 759650"/>
                <a:gd name="connsiteX202" fmla="*/ 264745 w 549933"/>
                <a:gd name="connsiteY202" fmla="*/ 74747 h 759650"/>
                <a:gd name="connsiteX203" fmla="*/ 263735 w 549933"/>
                <a:gd name="connsiteY203" fmla="*/ 79255 h 759650"/>
                <a:gd name="connsiteX204" fmla="*/ 262591 w 549933"/>
                <a:gd name="connsiteY204" fmla="*/ 80399 h 759650"/>
                <a:gd name="connsiteX205" fmla="*/ 256802 w 549933"/>
                <a:gd name="connsiteY205" fmla="*/ 80836 h 759650"/>
                <a:gd name="connsiteX206" fmla="*/ 251014 w 549933"/>
                <a:gd name="connsiteY206" fmla="*/ 81139 h 759650"/>
                <a:gd name="connsiteX207" fmla="*/ 247513 w 549933"/>
                <a:gd name="connsiteY207" fmla="*/ 79827 h 759650"/>
                <a:gd name="connsiteX208" fmla="*/ 244451 w 549933"/>
                <a:gd name="connsiteY208" fmla="*/ 76564 h 759650"/>
                <a:gd name="connsiteX209" fmla="*/ 242869 w 549933"/>
                <a:gd name="connsiteY209" fmla="*/ 74613 h 759650"/>
                <a:gd name="connsiteX210" fmla="*/ 239672 w 549933"/>
                <a:gd name="connsiteY210" fmla="*/ 74613 h 759650"/>
                <a:gd name="connsiteX211" fmla="*/ 238225 w 549933"/>
                <a:gd name="connsiteY211" fmla="*/ 77808 h 759650"/>
                <a:gd name="connsiteX212" fmla="*/ 235465 w 549933"/>
                <a:gd name="connsiteY212" fmla="*/ 78549 h 759650"/>
                <a:gd name="connsiteX213" fmla="*/ 235768 w 549933"/>
                <a:gd name="connsiteY213" fmla="*/ 76227 h 759650"/>
                <a:gd name="connsiteX214" fmla="*/ 237081 w 549933"/>
                <a:gd name="connsiteY214" fmla="*/ 74646 h 759650"/>
                <a:gd name="connsiteX215" fmla="*/ 237081 w 549933"/>
                <a:gd name="connsiteY215" fmla="*/ 72056 h 759650"/>
                <a:gd name="connsiteX216" fmla="*/ 233884 w 549933"/>
                <a:gd name="connsiteY216" fmla="*/ 71047 h 759650"/>
                <a:gd name="connsiteX217" fmla="*/ 230855 w 549933"/>
                <a:gd name="connsiteY217" fmla="*/ 72191 h 759650"/>
                <a:gd name="connsiteX218" fmla="*/ 228835 w 549933"/>
                <a:gd name="connsiteY218" fmla="*/ 74075 h 759650"/>
                <a:gd name="connsiteX219" fmla="*/ 226648 w 549933"/>
                <a:gd name="connsiteY219" fmla="*/ 77270 h 759650"/>
                <a:gd name="connsiteX220" fmla="*/ 226648 w 549933"/>
                <a:gd name="connsiteY220" fmla="*/ 79020 h 759650"/>
                <a:gd name="connsiteX221" fmla="*/ 224898 w 549933"/>
                <a:gd name="connsiteY221" fmla="*/ 81038 h 759650"/>
                <a:gd name="connsiteX222" fmla="*/ 224898 w 549933"/>
                <a:gd name="connsiteY222" fmla="*/ 82484 h 759650"/>
                <a:gd name="connsiteX223" fmla="*/ 221970 w 549933"/>
                <a:gd name="connsiteY223" fmla="*/ 85411 h 759650"/>
                <a:gd name="connsiteX224" fmla="*/ 220220 w 549933"/>
                <a:gd name="connsiteY224" fmla="*/ 87362 h 759650"/>
                <a:gd name="connsiteX225" fmla="*/ 217830 w 549933"/>
                <a:gd name="connsiteY225" fmla="*/ 89011 h 759650"/>
                <a:gd name="connsiteX226" fmla="*/ 216080 w 549933"/>
                <a:gd name="connsiteY226" fmla="*/ 89784 h 759650"/>
                <a:gd name="connsiteX227" fmla="*/ 213792 w 549933"/>
                <a:gd name="connsiteY227" fmla="*/ 90659 h 759650"/>
                <a:gd name="connsiteX228" fmla="*/ 212277 w 549933"/>
                <a:gd name="connsiteY228" fmla="*/ 91197 h 759650"/>
                <a:gd name="connsiteX229" fmla="*/ 210662 w 549933"/>
                <a:gd name="connsiteY229" fmla="*/ 92711 h 759650"/>
                <a:gd name="connsiteX230" fmla="*/ 209248 w 549933"/>
                <a:gd name="connsiteY230" fmla="*/ 95436 h 759650"/>
                <a:gd name="connsiteX231" fmla="*/ 209248 w 549933"/>
                <a:gd name="connsiteY231" fmla="*/ 98161 h 759650"/>
                <a:gd name="connsiteX232" fmla="*/ 209248 w 549933"/>
                <a:gd name="connsiteY232" fmla="*/ 101625 h 759650"/>
                <a:gd name="connsiteX233" fmla="*/ 205345 w 549933"/>
                <a:gd name="connsiteY233" fmla="*/ 99674 h 759650"/>
                <a:gd name="connsiteX234" fmla="*/ 203830 w 549933"/>
                <a:gd name="connsiteY234" fmla="*/ 97387 h 759650"/>
                <a:gd name="connsiteX235" fmla="*/ 202753 w 549933"/>
                <a:gd name="connsiteY235" fmla="*/ 90659 h 759650"/>
                <a:gd name="connsiteX236" fmla="*/ 201542 w 549933"/>
                <a:gd name="connsiteY236" fmla="*/ 88472 h 759650"/>
                <a:gd name="connsiteX237" fmla="*/ 198916 w 549933"/>
                <a:gd name="connsiteY237" fmla="*/ 86858 h 759650"/>
                <a:gd name="connsiteX238" fmla="*/ 196527 w 549933"/>
                <a:gd name="connsiteY238" fmla="*/ 84267 h 759650"/>
                <a:gd name="connsiteX239" fmla="*/ 193902 w 549933"/>
                <a:gd name="connsiteY239" fmla="*/ 82215 h 759650"/>
                <a:gd name="connsiteX240" fmla="*/ 189661 w 549933"/>
                <a:gd name="connsiteY240" fmla="*/ 83090 h 759650"/>
                <a:gd name="connsiteX241" fmla="*/ 188248 w 549933"/>
                <a:gd name="connsiteY241" fmla="*/ 83628 h 759650"/>
                <a:gd name="connsiteX242" fmla="*/ 185219 w 549933"/>
                <a:gd name="connsiteY242" fmla="*/ 85680 h 759650"/>
                <a:gd name="connsiteX243" fmla="*/ 181517 w 549933"/>
                <a:gd name="connsiteY243" fmla="*/ 88741 h 759650"/>
                <a:gd name="connsiteX244" fmla="*/ 173036 w 549933"/>
                <a:gd name="connsiteY244" fmla="*/ 95570 h 759650"/>
                <a:gd name="connsiteX245" fmla="*/ 169771 w 549933"/>
                <a:gd name="connsiteY245" fmla="*/ 98295 h 759650"/>
                <a:gd name="connsiteX246" fmla="*/ 161627 w 549933"/>
                <a:gd name="connsiteY246" fmla="*/ 103610 h 759650"/>
                <a:gd name="connsiteX247" fmla="*/ 158800 w 549933"/>
                <a:gd name="connsiteY247" fmla="*/ 105561 h 759650"/>
                <a:gd name="connsiteX248" fmla="*/ 157387 w 549933"/>
                <a:gd name="connsiteY248" fmla="*/ 108286 h 759650"/>
                <a:gd name="connsiteX249" fmla="*/ 155637 w 549933"/>
                <a:gd name="connsiteY249" fmla="*/ 110473 h 759650"/>
                <a:gd name="connsiteX250" fmla="*/ 148805 w 549933"/>
                <a:gd name="connsiteY250" fmla="*/ 106469 h 759650"/>
                <a:gd name="connsiteX251" fmla="*/ 146853 w 549933"/>
                <a:gd name="connsiteY251" fmla="*/ 106469 h 759650"/>
                <a:gd name="connsiteX252" fmla="*/ 144026 w 549933"/>
                <a:gd name="connsiteY252" fmla="*/ 109194 h 759650"/>
                <a:gd name="connsiteX253" fmla="*/ 143252 w 549933"/>
                <a:gd name="connsiteY253" fmla="*/ 112255 h 759650"/>
                <a:gd name="connsiteX254" fmla="*/ 146954 w 549933"/>
                <a:gd name="connsiteY254" fmla="*/ 116696 h 759650"/>
                <a:gd name="connsiteX255" fmla="*/ 149882 w 549933"/>
                <a:gd name="connsiteY255" fmla="*/ 118748 h 759650"/>
                <a:gd name="connsiteX256" fmla="*/ 151733 w 549933"/>
                <a:gd name="connsiteY256" fmla="*/ 120497 h 759650"/>
                <a:gd name="connsiteX257" fmla="*/ 151632 w 549933"/>
                <a:gd name="connsiteY257" fmla="*/ 122011 h 759650"/>
                <a:gd name="connsiteX258" fmla="*/ 150016 w 549933"/>
                <a:gd name="connsiteY258" fmla="*/ 123760 h 759650"/>
                <a:gd name="connsiteX259" fmla="*/ 145002 w 549933"/>
                <a:gd name="connsiteY259" fmla="*/ 123962 h 759650"/>
                <a:gd name="connsiteX260" fmla="*/ 142713 w 549933"/>
                <a:gd name="connsiteY260" fmla="*/ 124063 h 759650"/>
                <a:gd name="connsiteX261" fmla="*/ 137800 w 549933"/>
                <a:gd name="connsiteY261" fmla="*/ 123827 h 759650"/>
                <a:gd name="connsiteX262" fmla="*/ 133761 w 549933"/>
                <a:gd name="connsiteY262" fmla="*/ 123727 h 759650"/>
                <a:gd name="connsiteX263" fmla="*/ 130295 w 549933"/>
                <a:gd name="connsiteY263" fmla="*/ 120901 h 759650"/>
                <a:gd name="connsiteX264" fmla="*/ 126155 w 549933"/>
                <a:gd name="connsiteY264" fmla="*/ 121675 h 759650"/>
                <a:gd name="connsiteX265" fmla="*/ 123867 w 549933"/>
                <a:gd name="connsiteY265" fmla="*/ 124399 h 759650"/>
                <a:gd name="connsiteX266" fmla="*/ 120939 w 549933"/>
                <a:gd name="connsiteY266" fmla="*/ 125375 h 759650"/>
                <a:gd name="connsiteX267" fmla="*/ 117674 w 549933"/>
                <a:gd name="connsiteY267" fmla="*/ 124837 h 759650"/>
                <a:gd name="connsiteX268" fmla="*/ 115285 w 549933"/>
                <a:gd name="connsiteY268" fmla="*/ 124063 h 759650"/>
                <a:gd name="connsiteX269" fmla="*/ 112021 w 549933"/>
                <a:gd name="connsiteY269" fmla="*/ 125139 h 759650"/>
                <a:gd name="connsiteX270" fmla="*/ 110371 w 549933"/>
                <a:gd name="connsiteY270" fmla="*/ 126451 h 759650"/>
                <a:gd name="connsiteX271" fmla="*/ 105155 w 549933"/>
                <a:gd name="connsiteY271" fmla="*/ 126889 h 759650"/>
                <a:gd name="connsiteX272" fmla="*/ 105155 w 549933"/>
                <a:gd name="connsiteY272" fmla="*/ 126014 h 759650"/>
                <a:gd name="connsiteX273" fmla="*/ 107208 w 549933"/>
                <a:gd name="connsiteY273" fmla="*/ 124164 h 759650"/>
                <a:gd name="connsiteX274" fmla="*/ 108284 w 549933"/>
                <a:gd name="connsiteY274" fmla="*/ 122415 h 759650"/>
                <a:gd name="connsiteX275" fmla="*/ 109059 w 549933"/>
                <a:gd name="connsiteY275" fmla="*/ 119690 h 759650"/>
                <a:gd name="connsiteX276" fmla="*/ 109496 w 549933"/>
                <a:gd name="connsiteY276" fmla="*/ 115889 h 759650"/>
                <a:gd name="connsiteX277" fmla="*/ 108857 w 549933"/>
                <a:gd name="connsiteY277" fmla="*/ 113265 h 759650"/>
                <a:gd name="connsiteX278" fmla="*/ 107881 w 549933"/>
                <a:gd name="connsiteY278" fmla="*/ 111213 h 759650"/>
                <a:gd name="connsiteX279" fmla="*/ 107107 w 549933"/>
                <a:gd name="connsiteY279" fmla="*/ 108723 h 759650"/>
                <a:gd name="connsiteX280" fmla="*/ 107544 w 549933"/>
                <a:gd name="connsiteY280" fmla="*/ 106234 h 759650"/>
                <a:gd name="connsiteX281" fmla="*/ 108857 w 549933"/>
                <a:gd name="connsiteY281" fmla="*/ 104922 h 759650"/>
                <a:gd name="connsiteX282" fmla="*/ 109934 w 549933"/>
                <a:gd name="connsiteY282" fmla="*/ 103509 h 759650"/>
                <a:gd name="connsiteX283" fmla="*/ 109395 w 549933"/>
                <a:gd name="connsiteY283" fmla="*/ 100347 h 759650"/>
                <a:gd name="connsiteX284" fmla="*/ 110809 w 549933"/>
                <a:gd name="connsiteY284" fmla="*/ 97757 h 759650"/>
                <a:gd name="connsiteX285" fmla="*/ 111785 w 549933"/>
                <a:gd name="connsiteY285" fmla="*/ 96546 h 759650"/>
                <a:gd name="connsiteX286" fmla="*/ 111145 w 549933"/>
                <a:gd name="connsiteY286" fmla="*/ 89280 h 759650"/>
                <a:gd name="connsiteX287" fmla="*/ 112222 w 549933"/>
                <a:gd name="connsiteY287" fmla="*/ 86117 h 759650"/>
                <a:gd name="connsiteX288" fmla="*/ 106905 w 549933"/>
                <a:gd name="connsiteY288" fmla="*/ 80802 h 759650"/>
                <a:gd name="connsiteX289" fmla="*/ 105592 w 549933"/>
                <a:gd name="connsiteY289" fmla="*/ 78750 h 759650"/>
                <a:gd name="connsiteX290" fmla="*/ 103640 w 549933"/>
                <a:gd name="connsiteY290" fmla="*/ 76160 h 759650"/>
                <a:gd name="connsiteX291" fmla="*/ 106467 w 549933"/>
                <a:gd name="connsiteY291" fmla="*/ 73772 h 759650"/>
                <a:gd name="connsiteX292" fmla="*/ 107342 w 549933"/>
                <a:gd name="connsiteY292" fmla="*/ 72258 h 759650"/>
                <a:gd name="connsiteX293" fmla="*/ 105390 w 549933"/>
                <a:gd name="connsiteY293" fmla="*/ 68019 h 759650"/>
                <a:gd name="connsiteX294" fmla="*/ 103539 w 549933"/>
                <a:gd name="connsiteY294" fmla="*/ 66169 h 759650"/>
                <a:gd name="connsiteX295" fmla="*/ 102126 w 549933"/>
                <a:gd name="connsiteY295" fmla="*/ 62570 h 759650"/>
                <a:gd name="connsiteX296" fmla="*/ 98760 w 549933"/>
                <a:gd name="connsiteY296" fmla="*/ 62570 h 759650"/>
                <a:gd name="connsiteX297" fmla="*/ 97986 w 549933"/>
                <a:gd name="connsiteY297" fmla="*/ 63343 h 759650"/>
                <a:gd name="connsiteX298" fmla="*/ 96573 w 549933"/>
                <a:gd name="connsiteY298" fmla="*/ 66270 h 759650"/>
                <a:gd name="connsiteX299" fmla="*/ 95496 w 549933"/>
                <a:gd name="connsiteY299" fmla="*/ 67683 h 759650"/>
                <a:gd name="connsiteX300" fmla="*/ 93308 w 549933"/>
                <a:gd name="connsiteY300" fmla="*/ 68558 h 759650"/>
                <a:gd name="connsiteX301" fmla="*/ 90683 w 549933"/>
                <a:gd name="connsiteY301" fmla="*/ 68019 h 759650"/>
                <a:gd name="connsiteX302" fmla="*/ 90044 w 549933"/>
                <a:gd name="connsiteY302" fmla="*/ 65194 h 759650"/>
                <a:gd name="connsiteX303" fmla="*/ 87654 w 549933"/>
                <a:gd name="connsiteY303" fmla="*/ 63444 h 759650"/>
                <a:gd name="connsiteX304" fmla="*/ 85467 w 549933"/>
                <a:gd name="connsiteY304" fmla="*/ 66371 h 759650"/>
                <a:gd name="connsiteX305" fmla="*/ 84491 w 549933"/>
                <a:gd name="connsiteY305" fmla="*/ 67784 h 759650"/>
                <a:gd name="connsiteX306" fmla="*/ 82000 w 549933"/>
                <a:gd name="connsiteY306" fmla="*/ 65833 h 759650"/>
                <a:gd name="connsiteX307" fmla="*/ 81024 w 549933"/>
                <a:gd name="connsiteY307" fmla="*/ 64319 h 759650"/>
                <a:gd name="connsiteX308" fmla="*/ 79611 w 549933"/>
                <a:gd name="connsiteY308" fmla="*/ 64117 h 759650"/>
                <a:gd name="connsiteX309" fmla="*/ 76683 w 549933"/>
                <a:gd name="connsiteY309" fmla="*/ 64756 h 759650"/>
                <a:gd name="connsiteX310" fmla="*/ 75707 w 549933"/>
                <a:gd name="connsiteY310" fmla="*/ 66808 h 759650"/>
                <a:gd name="connsiteX311" fmla="*/ 75168 w 549933"/>
                <a:gd name="connsiteY311" fmla="*/ 68995 h 759650"/>
                <a:gd name="connsiteX312" fmla="*/ 74092 w 549933"/>
                <a:gd name="connsiteY312" fmla="*/ 70744 h 759650"/>
                <a:gd name="connsiteX313" fmla="*/ 71803 w 549933"/>
                <a:gd name="connsiteY313" fmla="*/ 71619 h 759650"/>
                <a:gd name="connsiteX314" fmla="*/ 70053 w 549933"/>
                <a:gd name="connsiteY314" fmla="*/ 72931 h 759650"/>
                <a:gd name="connsiteX315" fmla="*/ 70053 w 549933"/>
                <a:gd name="connsiteY315" fmla="*/ 75656 h 759650"/>
                <a:gd name="connsiteX316" fmla="*/ 71467 w 549933"/>
                <a:gd name="connsiteY316" fmla="*/ 77708 h 759650"/>
                <a:gd name="connsiteX317" fmla="*/ 72106 w 549933"/>
                <a:gd name="connsiteY317" fmla="*/ 78919 h 759650"/>
                <a:gd name="connsiteX318" fmla="*/ 73418 w 549933"/>
                <a:gd name="connsiteY318" fmla="*/ 79894 h 759650"/>
                <a:gd name="connsiteX319" fmla="*/ 74395 w 549933"/>
                <a:gd name="connsiteY319" fmla="*/ 81744 h 759650"/>
                <a:gd name="connsiteX320" fmla="*/ 74192 w 549933"/>
                <a:gd name="connsiteY320" fmla="*/ 84234 h 759650"/>
                <a:gd name="connsiteX321" fmla="*/ 73856 w 549933"/>
                <a:gd name="connsiteY321" fmla="*/ 85310 h 759650"/>
                <a:gd name="connsiteX322" fmla="*/ 72543 w 549933"/>
                <a:gd name="connsiteY322" fmla="*/ 86824 h 759650"/>
                <a:gd name="connsiteX323" fmla="*/ 71029 w 549933"/>
                <a:gd name="connsiteY323" fmla="*/ 87026 h 759650"/>
                <a:gd name="connsiteX324" fmla="*/ 67765 w 549933"/>
                <a:gd name="connsiteY324" fmla="*/ 86925 h 759650"/>
                <a:gd name="connsiteX325" fmla="*/ 64937 w 549933"/>
                <a:gd name="connsiteY325" fmla="*/ 87026 h 759650"/>
                <a:gd name="connsiteX326" fmla="*/ 61134 w 549933"/>
                <a:gd name="connsiteY326" fmla="*/ 87261 h 759650"/>
                <a:gd name="connsiteX327" fmla="*/ 58409 w 549933"/>
                <a:gd name="connsiteY327" fmla="*/ 88136 h 759650"/>
                <a:gd name="connsiteX328" fmla="*/ 55918 w 549933"/>
                <a:gd name="connsiteY328" fmla="*/ 89347 h 759650"/>
                <a:gd name="connsiteX329" fmla="*/ 53731 w 549933"/>
                <a:gd name="connsiteY329" fmla="*/ 92173 h 759650"/>
                <a:gd name="connsiteX330" fmla="*/ 51678 w 549933"/>
                <a:gd name="connsiteY330" fmla="*/ 94561 h 759650"/>
                <a:gd name="connsiteX331" fmla="*/ 49826 w 549933"/>
                <a:gd name="connsiteY331" fmla="*/ 97488 h 759650"/>
                <a:gd name="connsiteX332" fmla="*/ 48177 w 549933"/>
                <a:gd name="connsiteY332" fmla="*/ 101087 h 759650"/>
                <a:gd name="connsiteX333" fmla="*/ 48581 w 549933"/>
                <a:gd name="connsiteY333" fmla="*/ 104115 h 759650"/>
                <a:gd name="connsiteX334" fmla="*/ 47403 w 549933"/>
                <a:gd name="connsiteY334" fmla="*/ 106503 h 759650"/>
                <a:gd name="connsiteX335" fmla="*/ 47403 w 549933"/>
                <a:gd name="connsiteY335" fmla="*/ 108656 h 759650"/>
                <a:gd name="connsiteX336" fmla="*/ 48951 w 549933"/>
                <a:gd name="connsiteY336" fmla="*/ 110708 h 759650"/>
                <a:gd name="connsiteX337" fmla="*/ 48548 w 549933"/>
                <a:gd name="connsiteY337" fmla="*/ 112289 h 759650"/>
                <a:gd name="connsiteX338" fmla="*/ 47807 w 549933"/>
                <a:gd name="connsiteY338" fmla="*/ 114577 h 759650"/>
                <a:gd name="connsiteX339" fmla="*/ 48884 w 549933"/>
                <a:gd name="connsiteY339" fmla="*/ 117571 h 759650"/>
                <a:gd name="connsiteX340" fmla="*/ 49557 w 549933"/>
                <a:gd name="connsiteY340" fmla="*/ 119959 h 759650"/>
                <a:gd name="connsiteX341" fmla="*/ 50534 w 549933"/>
                <a:gd name="connsiteY341" fmla="*/ 124097 h 759650"/>
                <a:gd name="connsiteX342" fmla="*/ 50735 w 549933"/>
                <a:gd name="connsiteY342" fmla="*/ 126552 h 759650"/>
                <a:gd name="connsiteX343" fmla="*/ 51173 w 549933"/>
                <a:gd name="connsiteY343" fmla="*/ 130791 h 759650"/>
                <a:gd name="connsiteX344" fmla="*/ 52048 w 549933"/>
                <a:gd name="connsiteY344" fmla="*/ 133886 h 759650"/>
                <a:gd name="connsiteX345" fmla="*/ 51139 w 549933"/>
                <a:gd name="connsiteY345" fmla="*/ 135097 h 759650"/>
                <a:gd name="connsiteX346" fmla="*/ 48481 w 549933"/>
                <a:gd name="connsiteY346" fmla="*/ 134760 h 759650"/>
                <a:gd name="connsiteX347" fmla="*/ 44678 w 549933"/>
                <a:gd name="connsiteY347" fmla="*/ 132305 h 759650"/>
                <a:gd name="connsiteX348" fmla="*/ 39831 w 549933"/>
                <a:gd name="connsiteY348" fmla="*/ 134088 h 759650"/>
                <a:gd name="connsiteX349" fmla="*/ 34413 w 549933"/>
                <a:gd name="connsiteY349" fmla="*/ 133448 h 759650"/>
                <a:gd name="connsiteX350" fmla="*/ 31788 w 549933"/>
                <a:gd name="connsiteY350" fmla="*/ 134962 h 759650"/>
                <a:gd name="connsiteX351" fmla="*/ 28321 w 549933"/>
                <a:gd name="connsiteY351" fmla="*/ 137788 h 759650"/>
                <a:gd name="connsiteX352" fmla="*/ 22432 w 549933"/>
                <a:gd name="connsiteY352" fmla="*/ 143439 h 759650"/>
                <a:gd name="connsiteX353" fmla="*/ 21119 w 549933"/>
                <a:gd name="connsiteY353" fmla="*/ 145626 h 759650"/>
                <a:gd name="connsiteX354" fmla="*/ 20042 w 549933"/>
                <a:gd name="connsiteY354" fmla="*/ 148014 h 759650"/>
                <a:gd name="connsiteX355" fmla="*/ 21792 w 549933"/>
                <a:gd name="connsiteY355" fmla="*/ 150201 h 759650"/>
                <a:gd name="connsiteX356" fmla="*/ 22869 w 549933"/>
                <a:gd name="connsiteY356" fmla="*/ 150840 h 759650"/>
                <a:gd name="connsiteX357" fmla="*/ 26773 w 549933"/>
                <a:gd name="connsiteY357" fmla="*/ 151042 h 759650"/>
                <a:gd name="connsiteX358" fmla="*/ 29937 w 549933"/>
                <a:gd name="connsiteY358" fmla="*/ 152556 h 759650"/>
                <a:gd name="connsiteX359" fmla="*/ 31788 w 549933"/>
                <a:gd name="connsiteY359" fmla="*/ 156054 h 759650"/>
                <a:gd name="connsiteX360" fmla="*/ 31788 w 549933"/>
                <a:gd name="connsiteY360" fmla="*/ 160831 h 759650"/>
                <a:gd name="connsiteX361" fmla="*/ 28961 w 549933"/>
                <a:gd name="connsiteY361" fmla="*/ 162345 h 759650"/>
                <a:gd name="connsiteX362" fmla="*/ 29836 w 549933"/>
                <a:gd name="connsiteY362" fmla="*/ 166045 h 759650"/>
                <a:gd name="connsiteX363" fmla="*/ 31586 w 549933"/>
                <a:gd name="connsiteY363" fmla="*/ 166281 h 759650"/>
                <a:gd name="connsiteX364" fmla="*/ 34211 w 549933"/>
                <a:gd name="connsiteY364" fmla="*/ 166483 h 759650"/>
                <a:gd name="connsiteX365" fmla="*/ 35826 w 549933"/>
                <a:gd name="connsiteY365" fmla="*/ 167795 h 759650"/>
                <a:gd name="connsiteX366" fmla="*/ 37038 w 549933"/>
                <a:gd name="connsiteY366" fmla="*/ 170385 h 759650"/>
                <a:gd name="connsiteX367" fmla="*/ 37038 w 549933"/>
                <a:gd name="connsiteY367" fmla="*/ 173009 h 759650"/>
                <a:gd name="connsiteX368" fmla="*/ 34009 w 549933"/>
                <a:gd name="connsiteY368" fmla="*/ 175868 h 759650"/>
                <a:gd name="connsiteX369" fmla="*/ 31821 w 549933"/>
                <a:gd name="connsiteY369" fmla="*/ 177146 h 759650"/>
                <a:gd name="connsiteX370" fmla="*/ 28557 w 549933"/>
                <a:gd name="connsiteY370" fmla="*/ 178223 h 759650"/>
                <a:gd name="connsiteX371" fmla="*/ 27480 w 549933"/>
                <a:gd name="connsiteY371" fmla="*/ 178862 h 759650"/>
                <a:gd name="connsiteX372" fmla="*/ 25090 w 549933"/>
                <a:gd name="connsiteY372" fmla="*/ 180174 h 759650"/>
                <a:gd name="connsiteX373" fmla="*/ 23576 w 549933"/>
                <a:gd name="connsiteY373" fmla="*/ 182125 h 759650"/>
                <a:gd name="connsiteX374" fmla="*/ 21759 w 549933"/>
                <a:gd name="connsiteY374" fmla="*/ 185758 h 759650"/>
                <a:gd name="connsiteX375" fmla="*/ 21389 w 549933"/>
                <a:gd name="connsiteY375" fmla="*/ 187945 h 759650"/>
                <a:gd name="connsiteX376" fmla="*/ 21389 w 549933"/>
                <a:gd name="connsiteY376" fmla="*/ 190400 h 759650"/>
                <a:gd name="connsiteX377" fmla="*/ 23273 w 549933"/>
                <a:gd name="connsiteY377" fmla="*/ 190972 h 759650"/>
                <a:gd name="connsiteX378" fmla="*/ 26033 w 549933"/>
                <a:gd name="connsiteY378" fmla="*/ 192419 h 759650"/>
                <a:gd name="connsiteX379" fmla="*/ 27615 w 549933"/>
                <a:gd name="connsiteY379" fmla="*/ 193428 h 759650"/>
                <a:gd name="connsiteX380" fmla="*/ 28490 w 549933"/>
                <a:gd name="connsiteY380" fmla="*/ 194605 h 759650"/>
                <a:gd name="connsiteX381" fmla="*/ 29365 w 549933"/>
                <a:gd name="connsiteY381" fmla="*/ 196926 h 759650"/>
                <a:gd name="connsiteX382" fmla="*/ 31250 w 549933"/>
                <a:gd name="connsiteY382" fmla="*/ 198945 h 759650"/>
                <a:gd name="connsiteX383" fmla="*/ 34413 w 549933"/>
                <a:gd name="connsiteY383" fmla="*/ 201703 h 759650"/>
                <a:gd name="connsiteX384" fmla="*/ 37139 w 549933"/>
                <a:gd name="connsiteY384" fmla="*/ 205605 h 759650"/>
                <a:gd name="connsiteX385" fmla="*/ 40067 w 549933"/>
                <a:gd name="connsiteY385" fmla="*/ 209743 h 759650"/>
                <a:gd name="connsiteX386" fmla="*/ 41043 w 549933"/>
                <a:gd name="connsiteY386" fmla="*/ 213107 h 759650"/>
                <a:gd name="connsiteX387" fmla="*/ 42120 w 549933"/>
                <a:gd name="connsiteY387" fmla="*/ 217009 h 759650"/>
                <a:gd name="connsiteX388" fmla="*/ 43634 w 549933"/>
                <a:gd name="connsiteY388" fmla="*/ 221450 h 759650"/>
                <a:gd name="connsiteX389" fmla="*/ 45148 w 549933"/>
                <a:gd name="connsiteY389" fmla="*/ 223838 h 759650"/>
                <a:gd name="connsiteX390" fmla="*/ 46125 w 549933"/>
                <a:gd name="connsiteY390" fmla="*/ 227539 h 759650"/>
                <a:gd name="connsiteX391" fmla="*/ 46865 w 549933"/>
                <a:gd name="connsiteY391" fmla="*/ 229927 h 759650"/>
                <a:gd name="connsiteX392" fmla="*/ 50466 w 549933"/>
                <a:gd name="connsiteY392" fmla="*/ 232954 h 759650"/>
                <a:gd name="connsiteX393" fmla="*/ 53832 w 549933"/>
                <a:gd name="connsiteY393" fmla="*/ 235780 h 759650"/>
                <a:gd name="connsiteX394" fmla="*/ 56658 w 549933"/>
                <a:gd name="connsiteY394" fmla="*/ 237832 h 759650"/>
                <a:gd name="connsiteX395" fmla="*/ 60024 w 549933"/>
                <a:gd name="connsiteY395" fmla="*/ 241297 h 759650"/>
                <a:gd name="connsiteX396" fmla="*/ 61101 w 549933"/>
                <a:gd name="connsiteY396" fmla="*/ 244022 h 759650"/>
                <a:gd name="connsiteX397" fmla="*/ 61438 w 549933"/>
                <a:gd name="connsiteY397" fmla="*/ 245973 h 759650"/>
                <a:gd name="connsiteX398" fmla="*/ 61438 w 549933"/>
                <a:gd name="connsiteY398" fmla="*/ 248698 h 759650"/>
                <a:gd name="connsiteX399" fmla="*/ 62077 w 549933"/>
                <a:gd name="connsiteY399" fmla="*/ 251860 h 759650"/>
                <a:gd name="connsiteX400" fmla="*/ 62615 w 549933"/>
                <a:gd name="connsiteY400" fmla="*/ 257612 h 759650"/>
                <a:gd name="connsiteX401" fmla="*/ 63692 w 549933"/>
                <a:gd name="connsiteY401" fmla="*/ 262187 h 759650"/>
                <a:gd name="connsiteX402" fmla="*/ 62481 w 549933"/>
                <a:gd name="connsiteY402" fmla="*/ 265955 h 759650"/>
                <a:gd name="connsiteX403" fmla="*/ 64433 w 549933"/>
                <a:gd name="connsiteY403" fmla="*/ 269891 h 759650"/>
                <a:gd name="connsiteX404" fmla="*/ 66721 w 549933"/>
                <a:gd name="connsiteY404" fmla="*/ 269655 h 759650"/>
                <a:gd name="connsiteX405" fmla="*/ 69447 w 549933"/>
                <a:gd name="connsiteY405" fmla="*/ 269756 h 759650"/>
                <a:gd name="connsiteX406" fmla="*/ 74226 w 549933"/>
                <a:gd name="connsiteY406" fmla="*/ 270294 h 759650"/>
                <a:gd name="connsiteX407" fmla="*/ 76952 w 549933"/>
                <a:gd name="connsiteY407" fmla="*/ 271001 h 759650"/>
                <a:gd name="connsiteX408" fmla="*/ 80755 w 549933"/>
                <a:gd name="connsiteY408" fmla="*/ 271169 h 759650"/>
                <a:gd name="connsiteX409" fmla="*/ 81294 w 549933"/>
                <a:gd name="connsiteY409" fmla="*/ 271169 h 759650"/>
                <a:gd name="connsiteX410" fmla="*/ 82707 w 549933"/>
                <a:gd name="connsiteY410" fmla="*/ 273221 h 759650"/>
                <a:gd name="connsiteX411" fmla="*/ 82472 w 549933"/>
                <a:gd name="connsiteY411" fmla="*/ 273995 h 759650"/>
                <a:gd name="connsiteX412" fmla="*/ 79308 w 549933"/>
                <a:gd name="connsiteY412" fmla="*/ 275071 h 759650"/>
                <a:gd name="connsiteX413" fmla="*/ 77558 w 549933"/>
                <a:gd name="connsiteY413" fmla="*/ 277561 h 759650"/>
                <a:gd name="connsiteX414" fmla="*/ 75371 w 549933"/>
                <a:gd name="connsiteY414" fmla="*/ 278536 h 759650"/>
                <a:gd name="connsiteX415" fmla="*/ 72981 w 549933"/>
                <a:gd name="connsiteY415" fmla="*/ 279747 h 759650"/>
                <a:gd name="connsiteX416" fmla="*/ 65139 w 549933"/>
                <a:gd name="connsiteY416" fmla="*/ 283347 h 759650"/>
                <a:gd name="connsiteX417" fmla="*/ 57534 w 549933"/>
                <a:gd name="connsiteY417" fmla="*/ 284423 h 759650"/>
                <a:gd name="connsiteX418" fmla="*/ 55346 w 549933"/>
                <a:gd name="connsiteY418" fmla="*/ 285836 h 759650"/>
                <a:gd name="connsiteX419" fmla="*/ 51846 w 549933"/>
                <a:gd name="connsiteY419" fmla="*/ 288561 h 759650"/>
                <a:gd name="connsiteX420" fmla="*/ 42928 w 549933"/>
                <a:gd name="connsiteY420" fmla="*/ 288561 h 759650"/>
                <a:gd name="connsiteX421" fmla="*/ 43567 w 549933"/>
                <a:gd name="connsiteY421" fmla="*/ 294010 h 759650"/>
                <a:gd name="connsiteX422" fmla="*/ 44004 w 549933"/>
                <a:gd name="connsiteY422" fmla="*/ 298585 h 759650"/>
                <a:gd name="connsiteX423" fmla="*/ 42692 w 549933"/>
                <a:gd name="connsiteY423" fmla="*/ 299662 h 759650"/>
                <a:gd name="connsiteX424" fmla="*/ 38351 w 549933"/>
                <a:gd name="connsiteY424" fmla="*/ 299023 h 759650"/>
                <a:gd name="connsiteX425" fmla="*/ 35725 w 549933"/>
                <a:gd name="connsiteY425" fmla="*/ 298585 h 759650"/>
                <a:gd name="connsiteX426" fmla="*/ 33774 w 549933"/>
                <a:gd name="connsiteY426" fmla="*/ 299897 h 759650"/>
                <a:gd name="connsiteX427" fmla="*/ 31586 w 549933"/>
                <a:gd name="connsiteY427" fmla="*/ 305986 h 759650"/>
                <a:gd name="connsiteX428" fmla="*/ 32899 w 549933"/>
                <a:gd name="connsiteY428" fmla="*/ 310763 h 759650"/>
                <a:gd name="connsiteX429" fmla="*/ 37038 w 549933"/>
                <a:gd name="connsiteY429" fmla="*/ 314026 h 759650"/>
                <a:gd name="connsiteX430" fmla="*/ 40505 w 549933"/>
                <a:gd name="connsiteY430" fmla="*/ 314665 h 759650"/>
                <a:gd name="connsiteX431" fmla="*/ 42894 w 549933"/>
                <a:gd name="connsiteY431" fmla="*/ 314665 h 759650"/>
                <a:gd name="connsiteX432" fmla="*/ 44644 w 549933"/>
                <a:gd name="connsiteY432" fmla="*/ 316616 h 759650"/>
                <a:gd name="connsiteX433" fmla="*/ 45721 w 549933"/>
                <a:gd name="connsiteY433" fmla="*/ 318366 h 759650"/>
                <a:gd name="connsiteX434" fmla="*/ 51610 w 549933"/>
                <a:gd name="connsiteY434" fmla="*/ 320956 h 759650"/>
                <a:gd name="connsiteX435" fmla="*/ 55952 w 549933"/>
                <a:gd name="connsiteY435" fmla="*/ 322470 h 759650"/>
                <a:gd name="connsiteX436" fmla="*/ 62043 w 549933"/>
                <a:gd name="connsiteY436" fmla="*/ 322907 h 759650"/>
                <a:gd name="connsiteX437" fmla="*/ 65947 w 549933"/>
                <a:gd name="connsiteY437" fmla="*/ 323445 h 759650"/>
                <a:gd name="connsiteX438" fmla="*/ 70962 w 549933"/>
                <a:gd name="connsiteY438" fmla="*/ 323344 h 759650"/>
                <a:gd name="connsiteX439" fmla="*/ 74226 w 549933"/>
                <a:gd name="connsiteY439" fmla="*/ 323344 h 759650"/>
                <a:gd name="connsiteX440" fmla="*/ 75303 w 549933"/>
                <a:gd name="connsiteY440" fmla="*/ 323781 h 759650"/>
                <a:gd name="connsiteX441" fmla="*/ 76178 w 549933"/>
                <a:gd name="connsiteY441" fmla="*/ 325531 h 759650"/>
                <a:gd name="connsiteX442" fmla="*/ 78130 w 549933"/>
                <a:gd name="connsiteY442" fmla="*/ 328357 h 759650"/>
                <a:gd name="connsiteX443" fmla="*/ 77895 w 549933"/>
                <a:gd name="connsiteY443" fmla="*/ 331182 h 759650"/>
                <a:gd name="connsiteX444" fmla="*/ 76818 w 549933"/>
                <a:gd name="connsiteY444" fmla="*/ 334008 h 759650"/>
                <a:gd name="connsiteX445" fmla="*/ 76178 w 549933"/>
                <a:gd name="connsiteY445" fmla="*/ 334883 h 759650"/>
                <a:gd name="connsiteX446" fmla="*/ 73991 w 549933"/>
                <a:gd name="connsiteY446" fmla="*/ 338785 h 759650"/>
                <a:gd name="connsiteX447" fmla="*/ 73856 w 549933"/>
                <a:gd name="connsiteY447" fmla="*/ 340299 h 759650"/>
                <a:gd name="connsiteX448" fmla="*/ 75101 w 549933"/>
                <a:gd name="connsiteY448" fmla="*/ 343326 h 759650"/>
                <a:gd name="connsiteX449" fmla="*/ 75101 w 549933"/>
                <a:gd name="connsiteY449" fmla="*/ 346791 h 759650"/>
                <a:gd name="connsiteX450" fmla="*/ 76246 w 549933"/>
                <a:gd name="connsiteY450" fmla="*/ 348103 h 759650"/>
                <a:gd name="connsiteX451" fmla="*/ 77390 w 549933"/>
                <a:gd name="connsiteY451" fmla="*/ 350727 h 759650"/>
                <a:gd name="connsiteX452" fmla="*/ 81159 w 549933"/>
                <a:gd name="connsiteY452" fmla="*/ 352308 h 759650"/>
                <a:gd name="connsiteX453" fmla="*/ 82472 w 549933"/>
                <a:gd name="connsiteY453" fmla="*/ 352443 h 759650"/>
                <a:gd name="connsiteX454" fmla="*/ 83784 w 549933"/>
                <a:gd name="connsiteY454" fmla="*/ 354326 h 759650"/>
                <a:gd name="connsiteX455" fmla="*/ 85803 w 549933"/>
                <a:gd name="connsiteY455" fmla="*/ 356647 h 759650"/>
                <a:gd name="connsiteX456" fmla="*/ 86106 w 549933"/>
                <a:gd name="connsiteY456" fmla="*/ 358834 h 759650"/>
                <a:gd name="connsiteX457" fmla="*/ 86981 w 549933"/>
                <a:gd name="connsiteY457" fmla="*/ 362030 h 759650"/>
                <a:gd name="connsiteX458" fmla="*/ 86409 w 549933"/>
                <a:gd name="connsiteY458" fmla="*/ 366369 h 759650"/>
                <a:gd name="connsiteX459" fmla="*/ 86275 w 549933"/>
                <a:gd name="connsiteY459" fmla="*/ 367984 h 759650"/>
                <a:gd name="connsiteX460" fmla="*/ 85265 w 549933"/>
                <a:gd name="connsiteY460" fmla="*/ 370574 h 759650"/>
                <a:gd name="connsiteX461" fmla="*/ 83515 w 549933"/>
                <a:gd name="connsiteY461" fmla="*/ 376091 h 759650"/>
                <a:gd name="connsiteX462" fmla="*/ 82068 w 549933"/>
                <a:gd name="connsiteY462" fmla="*/ 376966 h 759650"/>
                <a:gd name="connsiteX463" fmla="*/ 79611 w 549933"/>
                <a:gd name="connsiteY463" fmla="*/ 377975 h 759650"/>
                <a:gd name="connsiteX464" fmla="*/ 79174 w 549933"/>
                <a:gd name="connsiteY464" fmla="*/ 380733 h 759650"/>
                <a:gd name="connsiteX465" fmla="*/ 80486 w 549933"/>
                <a:gd name="connsiteY465" fmla="*/ 383357 h 759650"/>
                <a:gd name="connsiteX466" fmla="*/ 81058 w 549933"/>
                <a:gd name="connsiteY466" fmla="*/ 385376 h 759650"/>
                <a:gd name="connsiteX467" fmla="*/ 80351 w 549933"/>
                <a:gd name="connsiteY467" fmla="*/ 387260 h 759650"/>
                <a:gd name="connsiteX468" fmla="*/ 78332 w 549933"/>
                <a:gd name="connsiteY468" fmla="*/ 388571 h 759650"/>
                <a:gd name="connsiteX469" fmla="*/ 77625 w 549933"/>
                <a:gd name="connsiteY469" fmla="*/ 389143 h 759650"/>
                <a:gd name="connsiteX470" fmla="*/ 79207 w 549933"/>
                <a:gd name="connsiteY470" fmla="*/ 393214 h 759650"/>
                <a:gd name="connsiteX471" fmla="*/ 80890 w 549933"/>
                <a:gd name="connsiteY471" fmla="*/ 397116 h 759650"/>
                <a:gd name="connsiteX472" fmla="*/ 83851 w 549933"/>
                <a:gd name="connsiteY472" fmla="*/ 400581 h 759650"/>
                <a:gd name="connsiteX473" fmla="*/ 83851 w 549933"/>
                <a:gd name="connsiteY473" fmla="*/ 402397 h 759650"/>
                <a:gd name="connsiteX474" fmla="*/ 82102 w 549933"/>
                <a:gd name="connsiteY474" fmla="*/ 402498 h 759650"/>
                <a:gd name="connsiteX475" fmla="*/ 77625 w 549933"/>
                <a:gd name="connsiteY475" fmla="*/ 404651 h 759650"/>
                <a:gd name="connsiteX476" fmla="*/ 75168 w 549933"/>
                <a:gd name="connsiteY476" fmla="*/ 405660 h 759650"/>
                <a:gd name="connsiteX477" fmla="*/ 71264 w 549933"/>
                <a:gd name="connsiteY477" fmla="*/ 407847 h 759650"/>
                <a:gd name="connsiteX478" fmla="*/ 68236 w 549933"/>
                <a:gd name="connsiteY478" fmla="*/ 411043 h 759650"/>
                <a:gd name="connsiteX479" fmla="*/ 65644 w 549933"/>
                <a:gd name="connsiteY479" fmla="*/ 413061 h 759650"/>
                <a:gd name="connsiteX480" fmla="*/ 62009 w 549933"/>
                <a:gd name="connsiteY480" fmla="*/ 414070 h 759650"/>
                <a:gd name="connsiteX481" fmla="*/ 59250 w 549933"/>
                <a:gd name="connsiteY481" fmla="*/ 417098 h 759650"/>
                <a:gd name="connsiteX482" fmla="*/ 56793 w 549933"/>
                <a:gd name="connsiteY482" fmla="*/ 417098 h 759650"/>
                <a:gd name="connsiteX483" fmla="*/ 50702 w 549933"/>
                <a:gd name="connsiteY483" fmla="*/ 410874 h 759650"/>
                <a:gd name="connsiteX484" fmla="*/ 47067 w 549933"/>
                <a:gd name="connsiteY484" fmla="*/ 407679 h 759650"/>
                <a:gd name="connsiteX485" fmla="*/ 42995 w 549933"/>
                <a:gd name="connsiteY485" fmla="*/ 407242 h 759650"/>
                <a:gd name="connsiteX486" fmla="*/ 38956 w 549933"/>
                <a:gd name="connsiteY486" fmla="*/ 409697 h 759650"/>
                <a:gd name="connsiteX487" fmla="*/ 33740 w 549933"/>
                <a:gd name="connsiteY487" fmla="*/ 413162 h 759650"/>
                <a:gd name="connsiteX488" fmla="*/ 32999 w 549933"/>
                <a:gd name="connsiteY488" fmla="*/ 415483 h 759650"/>
                <a:gd name="connsiteX489" fmla="*/ 31148 w 549933"/>
                <a:gd name="connsiteY489" fmla="*/ 416526 h 759650"/>
                <a:gd name="connsiteX490" fmla="*/ 30408 w 549933"/>
                <a:gd name="connsiteY490" fmla="*/ 416930 h 759650"/>
                <a:gd name="connsiteX491" fmla="*/ 26638 w 549933"/>
                <a:gd name="connsiteY491" fmla="*/ 418040 h 759650"/>
                <a:gd name="connsiteX492" fmla="*/ 25461 w 549933"/>
                <a:gd name="connsiteY492" fmla="*/ 420697 h 759650"/>
                <a:gd name="connsiteX493" fmla="*/ 21691 w 549933"/>
                <a:gd name="connsiteY493" fmla="*/ 424465 h 759650"/>
                <a:gd name="connsiteX494" fmla="*/ 19235 w 549933"/>
                <a:gd name="connsiteY494" fmla="*/ 426921 h 759650"/>
                <a:gd name="connsiteX495" fmla="*/ 19975 w 549933"/>
                <a:gd name="connsiteY495" fmla="*/ 430116 h 759650"/>
                <a:gd name="connsiteX496" fmla="*/ 22163 w 549933"/>
                <a:gd name="connsiteY496" fmla="*/ 433447 h 759650"/>
                <a:gd name="connsiteX497" fmla="*/ 24485 w 549933"/>
                <a:gd name="connsiteY497" fmla="*/ 436340 h 759650"/>
                <a:gd name="connsiteX498" fmla="*/ 27244 w 549933"/>
                <a:gd name="connsiteY498" fmla="*/ 438964 h 759650"/>
                <a:gd name="connsiteX499" fmla="*/ 30004 w 549933"/>
                <a:gd name="connsiteY499" fmla="*/ 442731 h 759650"/>
                <a:gd name="connsiteX500" fmla="*/ 30307 w 549933"/>
                <a:gd name="connsiteY500" fmla="*/ 445052 h 759650"/>
                <a:gd name="connsiteX501" fmla="*/ 29432 w 549933"/>
                <a:gd name="connsiteY501" fmla="*/ 448248 h 759650"/>
                <a:gd name="connsiteX502" fmla="*/ 28288 w 549933"/>
                <a:gd name="connsiteY502" fmla="*/ 453462 h 759650"/>
                <a:gd name="connsiteX503" fmla="*/ 24215 w 549933"/>
                <a:gd name="connsiteY503" fmla="*/ 456355 h 759650"/>
                <a:gd name="connsiteX504" fmla="*/ 18562 w 549933"/>
                <a:gd name="connsiteY504" fmla="*/ 459551 h 759650"/>
                <a:gd name="connsiteX505" fmla="*/ 17552 w 549933"/>
                <a:gd name="connsiteY505" fmla="*/ 462444 h 759650"/>
                <a:gd name="connsiteX506" fmla="*/ 16812 w 549933"/>
                <a:gd name="connsiteY506" fmla="*/ 464463 h 759650"/>
                <a:gd name="connsiteX507" fmla="*/ 12335 w 549933"/>
                <a:gd name="connsiteY507" fmla="*/ 465606 h 759650"/>
                <a:gd name="connsiteX508" fmla="*/ 9441 w 549933"/>
                <a:gd name="connsiteY508" fmla="*/ 466615 h 759650"/>
                <a:gd name="connsiteX509" fmla="*/ 4797 w 549933"/>
                <a:gd name="connsiteY509" fmla="*/ 469340 h 759650"/>
                <a:gd name="connsiteX510" fmla="*/ 2980 w 549933"/>
                <a:gd name="connsiteY510" fmla="*/ 472233 h 759650"/>
                <a:gd name="connsiteX511" fmla="*/ 2172 w 549933"/>
                <a:gd name="connsiteY511" fmla="*/ 476304 h 759650"/>
                <a:gd name="connsiteX512" fmla="*/ 2172 w 549933"/>
                <a:gd name="connsiteY512" fmla="*/ 480643 h 759650"/>
                <a:gd name="connsiteX513" fmla="*/ 2912 w 549933"/>
                <a:gd name="connsiteY513" fmla="*/ 486732 h 759650"/>
                <a:gd name="connsiteX514" fmla="*/ 3787 w 549933"/>
                <a:gd name="connsiteY514" fmla="*/ 490769 h 759650"/>
                <a:gd name="connsiteX515" fmla="*/ 4056 w 549933"/>
                <a:gd name="connsiteY515" fmla="*/ 493527 h 759650"/>
                <a:gd name="connsiteX516" fmla="*/ 3047 w 549933"/>
                <a:gd name="connsiteY516" fmla="*/ 496555 h 759650"/>
                <a:gd name="connsiteX517" fmla="*/ 18 w 549933"/>
                <a:gd name="connsiteY517" fmla="*/ 500322 h 759650"/>
                <a:gd name="connsiteX518" fmla="*/ 3350 w 549933"/>
                <a:gd name="connsiteY518" fmla="*/ 505234 h 759650"/>
                <a:gd name="connsiteX519" fmla="*/ 4662 w 549933"/>
                <a:gd name="connsiteY519" fmla="*/ 508261 h 759650"/>
                <a:gd name="connsiteX520" fmla="*/ 7994 w 549933"/>
                <a:gd name="connsiteY520" fmla="*/ 510448 h 759650"/>
                <a:gd name="connsiteX521" fmla="*/ 11191 w 549933"/>
                <a:gd name="connsiteY521" fmla="*/ 512769 h 759650"/>
                <a:gd name="connsiteX522" fmla="*/ 14826 w 549933"/>
                <a:gd name="connsiteY522" fmla="*/ 513778 h 759650"/>
                <a:gd name="connsiteX523" fmla="*/ 18158 w 549933"/>
                <a:gd name="connsiteY523" fmla="*/ 512769 h 759650"/>
                <a:gd name="connsiteX524" fmla="*/ 18730 w 549933"/>
                <a:gd name="connsiteY524" fmla="*/ 512769 h 759650"/>
                <a:gd name="connsiteX525" fmla="*/ 21624 w 549933"/>
                <a:gd name="connsiteY525" fmla="*/ 512971 h 759650"/>
                <a:gd name="connsiteX526" fmla="*/ 25696 w 549933"/>
                <a:gd name="connsiteY526" fmla="*/ 517983 h 759650"/>
                <a:gd name="connsiteX527" fmla="*/ 29163 w 549933"/>
                <a:gd name="connsiteY527" fmla="*/ 517983 h 759650"/>
                <a:gd name="connsiteX528" fmla="*/ 31653 w 549933"/>
                <a:gd name="connsiteY528" fmla="*/ 517445 h 759650"/>
                <a:gd name="connsiteX529" fmla="*/ 33504 w 549933"/>
                <a:gd name="connsiteY529" fmla="*/ 517983 h 759650"/>
                <a:gd name="connsiteX530" fmla="*/ 33504 w 549933"/>
                <a:gd name="connsiteY530" fmla="*/ 520607 h 759650"/>
                <a:gd name="connsiteX531" fmla="*/ 33067 w 549933"/>
                <a:gd name="connsiteY531" fmla="*/ 523870 h 759650"/>
                <a:gd name="connsiteX532" fmla="*/ 32427 w 549933"/>
                <a:gd name="connsiteY532" fmla="*/ 525485 h 759650"/>
                <a:gd name="connsiteX533" fmla="*/ 31889 w 549933"/>
                <a:gd name="connsiteY533" fmla="*/ 528109 h 759650"/>
                <a:gd name="connsiteX534" fmla="*/ 31990 w 549933"/>
                <a:gd name="connsiteY534" fmla="*/ 530834 h 759650"/>
                <a:gd name="connsiteX535" fmla="*/ 34278 w 549933"/>
                <a:gd name="connsiteY535" fmla="*/ 534298 h 759650"/>
                <a:gd name="connsiteX536" fmla="*/ 36836 w 549933"/>
                <a:gd name="connsiteY536" fmla="*/ 536350 h 759650"/>
                <a:gd name="connsiteX537" fmla="*/ 37004 w 549933"/>
                <a:gd name="connsiteY537" fmla="*/ 539513 h 759650"/>
                <a:gd name="connsiteX538" fmla="*/ 37004 w 549933"/>
                <a:gd name="connsiteY538" fmla="*/ 543213 h 759650"/>
                <a:gd name="connsiteX539" fmla="*/ 38418 w 549933"/>
                <a:gd name="connsiteY539" fmla="*/ 545601 h 759650"/>
                <a:gd name="connsiteX540" fmla="*/ 40605 w 549933"/>
                <a:gd name="connsiteY540" fmla="*/ 548091 h 759650"/>
                <a:gd name="connsiteX541" fmla="*/ 42456 w 549933"/>
                <a:gd name="connsiteY541" fmla="*/ 550143 h 759650"/>
                <a:gd name="connsiteX542" fmla="*/ 43870 w 549933"/>
                <a:gd name="connsiteY542" fmla="*/ 551656 h 759650"/>
                <a:gd name="connsiteX543" fmla="*/ 46057 w 549933"/>
                <a:gd name="connsiteY543" fmla="*/ 553944 h 759650"/>
                <a:gd name="connsiteX544" fmla="*/ 48346 w 549933"/>
                <a:gd name="connsiteY544" fmla="*/ 557207 h 759650"/>
                <a:gd name="connsiteX545" fmla="*/ 48682 w 549933"/>
                <a:gd name="connsiteY545" fmla="*/ 559495 h 759650"/>
                <a:gd name="connsiteX546" fmla="*/ 49658 w 549933"/>
                <a:gd name="connsiteY546" fmla="*/ 560806 h 759650"/>
                <a:gd name="connsiteX547" fmla="*/ 49355 w 549933"/>
                <a:gd name="connsiteY547" fmla="*/ 563060 h 759650"/>
                <a:gd name="connsiteX548" fmla="*/ 49490 w 549933"/>
                <a:gd name="connsiteY548" fmla="*/ 565314 h 759650"/>
                <a:gd name="connsiteX549" fmla="*/ 52384 w 549933"/>
                <a:gd name="connsiteY549" fmla="*/ 566693 h 759650"/>
                <a:gd name="connsiteX550" fmla="*/ 53529 w 549933"/>
                <a:gd name="connsiteY550" fmla="*/ 566693 h 759650"/>
                <a:gd name="connsiteX551" fmla="*/ 56423 w 549933"/>
                <a:gd name="connsiteY551" fmla="*/ 568443 h 759650"/>
                <a:gd name="connsiteX552" fmla="*/ 59183 w 549933"/>
                <a:gd name="connsiteY552" fmla="*/ 570461 h 759650"/>
                <a:gd name="connsiteX553" fmla="*/ 61505 w 549933"/>
                <a:gd name="connsiteY553" fmla="*/ 573219 h 759650"/>
                <a:gd name="connsiteX554" fmla="*/ 61505 w 549933"/>
                <a:gd name="connsiteY554" fmla="*/ 575238 h 759650"/>
                <a:gd name="connsiteX555" fmla="*/ 60933 w 549933"/>
                <a:gd name="connsiteY555" fmla="*/ 578131 h 759650"/>
                <a:gd name="connsiteX556" fmla="*/ 60360 w 549933"/>
                <a:gd name="connsiteY556" fmla="*/ 581327 h 759650"/>
                <a:gd name="connsiteX557" fmla="*/ 59048 w 549933"/>
                <a:gd name="connsiteY557" fmla="*/ 587113 h 759650"/>
                <a:gd name="connsiteX558" fmla="*/ 56726 w 549933"/>
                <a:gd name="connsiteY558" fmla="*/ 590746 h 759650"/>
                <a:gd name="connsiteX559" fmla="*/ 55144 w 549933"/>
                <a:gd name="connsiteY559" fmla="*/ 595253 h 759650"/>
                <a:gd name="connsiteX560" fmla="*/ 53832 w 549933"/>
                <a:gd name="connsiteY560" fmla="*/ 598146 h 759650"/>
                <a:gd name="connsiteX561" fmla="*/ 51644 w 549933"/>
                <a:gd name="connsiteY561" fmla="*/ 599593 h 759650"/>
                <a:gd name="connsiteX562" fmla="*/ 49187 w 549933"/>
                <a:gd name="connsiteY562" fmla="*/ 602183 h 759650"/>
                <a:gd name="connsiteX563" fmla="*/ 46158 w 549933"/>
                <a:gd name="connsiteY563" fmla="*/ 604504 h 759650"/>
                <a:gd name="connsiteX564" fmla="*/ 44139 w 549933"/>
                <a:gd name="connsiteY564" fmla="*/ 607532 h 759650"/>
                <a:gd name="connsiteX565" fmla="*/ 44442 w 549933"/>
                <a:gd name="connsiteY565" fmla="*/ 610559 h 759650"/>
                <a:gd name="connsiteX566" fmla="*/ 48514 w 549933"/>
                <a:gd name="connsiteY566" fmla="*/ 614462 h 759650"/>
                <a:gd name="connsiteX567" fmla="*/ 46932 w 549933"/>
                <a:gd name="connsiteY567" fmla="*/ 616648 h 759650"/>
                <a:gd name="connsiteX568" fmla="*/ 43029 w 549933"/>
                <a:gd name="connsiteY568" fmla="*/ 618532 h 759650"/>
                <a:gd name="connsiteX569" fmla="*/ 38822 w 549933"/>
                <a:gd name="connsiteY569" fmla="*/ 622602 h 759650"/>
                <a:gd name="connsiteX570" fmla="*/ 36870 w 549933"/>
                <a:gd name="connsiteY570" fmla="*/ 628187 h 759650"/>
                <a:gd name="connsiteX571" fmla="*/ 34043 w 549933"/>
                <a:gd name="connsiteY571" fmla="*/ 633401 h 759650"/>
                <a:gd name="connsiteX572" fmla="*/ 30341 w 549933"/>
                <a:gd name="connsiteY572" fmla="*/ 637303 h 759650"/>
                <a:gd name="connsiteX573" fmla="*/ 28826 w 549933"/>
                <a:gd name="connsiteY573" fmla="*/ 641003 h 759650"/>
                <a:gd name="connsiteX574" fmla="*/ 28624 w 549933"/>
                <a:gd name="connsiteY574" fmla="*/ 646419 h 759650"/>
                <a:gd name="connsiteX575" fmla="*/ 29264 w 549933"/>
                <a:gd name="connsiteY575" fmla="*/ 652071 h 759650"/>
                <a:gd name="connsiteX576" fmla="*/ 31653 w 549933"/>
                <a:gd name="connsiteY576" fmla="*/ 653585 h 759650"/>
                <a:gd name="connsiteX577" fmla="*/ 29701 w 549933"/>
                <a:gd name="connsiteY577" fmla="*/ 659673 h 759650"/>
                <a:gd name="connsiteX578" fmla="*/ 30576 w 549933"/>
                <a:gd name="connsiteY578" fmla="*/ 664248 h 759650"/>
                <a:gd name="connsiteX579" fmla="*/ 30341 w 549933"/>
                <a:gd name="connsiteY579" fmla="*/ 667074 h 759650"/>
                <a:gd name="connsiteX580" fmla="*/ 28591 w 549933"/>
                <a:gd name="connsiteY580" fmla="*/ 667074 h 759650"/>
                <a:gd name="connsiteX581" fmla="*/ 25966 w 549933"/>
                <a:gd name="connsiteY581" fmla="*/ 667074 h 759650"/>
                <a:gd name="connsiteX582" fmla="*/ 22061 w 549933"/>
                <a:gd name="connsiteY582" fmla="*/ 668386 h 759650"/>
                <a:gd name="connsiteX583" fmla="*/ 17720 w 549933"/>
                <a:gd name="connsiteY583" fmla="*/ 669462 h 759650"/>
                <a:gd name="connsiteX584" fmla="*/ 18360 w 549933"/>
                <a:gd name="connsiteY584" fmla="*/ 672053 h 759650"/>
                <a:gd name="connsiteX585" fmla="*/ 19437 w 549933"/>
                <a:gd name="connsiteY585" fmla="*/ 674004 h 759650"/>
                <a:gd name="connsiteX586" fmla="*/ 16609 w 549933"/>
                <a:gd name="connsiteY586" fmla="*/ 677906 h 759650"/>
                <a:gd name="connsiteX587" fmla="*/ 11831 w 549933"/>
                <a:gd name="connsiteY587" fmla="*/ 677906 h 759650"/>
                <a:gd name="connsiteX588" fmla="*/ 8566 w 549933"/>
                <a:gd name="connsiteY588" fmla="*/ 680294 h 759650"/>
                <a:gd name="connsiteX589" fmla="*/ 4427 w 549933"/>
                <a:gd name="connsiteY589" fmla="*/ 682044 h 759650"/>
                <a:gd name="connsiteX590" fmla="*/ 3787 w 549933"/>
                <a:gd name="connsiteY590" fmla="*/ 685508 h 759650"/>
                <a:gd name="connsiteX591" fmla="*/ 9643 w 549933"/>
                <a:gd name="connsiteY591" fmla="*/ 688973 h 759650"/>
                <a:gd name="connsiteX592" fmla="*/ 9879 w 549933"/>
                <a:gd name="connsiteY592" fmla="*/ 690050 h 759650"/>
                <a:gd name="connsiteX593" fmla="*/ 4225 w 549933"/>
                <a:gd name="connsiteY593" fmla="*/ 692001 h 759650"/>
                <a:gd name="connsiteX594" fmla="*/ 4864 w 549933"/>
                <a:gd name="connsiteY594" fmla="*/ 695264 h 759650"/>
                <a:gd name="connsiteX595" fmla="*/ 8768 w 549933"/>
                <a:gd name="connsiteY595" fmla="*/ 698964 h 759650"/>
                <a:gd name="connsiteX596" fmla="*/ 12470 w 549933"/>
                <a:gd name="connsiteY596" fmla="*/ 703304 h 759650"/>
                <a:gd name="connsiteX597" fmla="*/ 14422 w 549933"/>
                <a:gd name="connsiteY597" fmla="*/ 705490 h 759650"/>
                <a:gd name="connsiteX598" fmla="*/ 14422 w 549933"/>
                <a:gd name="connsiteY598" fmla="*/ 709393 h 759650"/>
                <a:gd name="connsiteX599" fmla="*/ 14422 w 549933"/>
                <a:gd name="connsiteY599" fmla="*/ 713530 h 759650"/>
                <a:gd name="connsiteX600" fmla="*/ 19201 w 549933"/>
                <a:gd name="connsiteY600" fmla="*/ 717668 h 759650"/>
                <a:gd name="connsiteX601" fmla="*/ 26369 w 549933"/>
                <a:gd name="connsiteY601" fmla="*/ 723319 h 759650"/>
                <a:gd name="connsiteX602" fmla="*/ 30946 w 549933"/>
                <a:gd name="connsiteY602" fmla="*/ 724833 h 759650"/>
                <a:gd name="connsiteX603" fmla="*/ 31250 w 549933"/>
                <a:gd name="connsiteY603" fmla="*/ 729913 h 759650"/>
                <a:gd name="connsiteX604" fmla="*/ 34581 w 549933"/>
                <a:gd name="connsiteY604" fmla="*/ 728164 h 759650"/>
                <a:gd name="connsiteX605" fmla="*/ 36600 w 549933"/>
                <a:gd name="connsiteY605" fmla="*/ 727289 h 759650"/>
                <a:gd name="connsiteX606" fmla="*/ 39226 w 549933"/>
                <a:gd name="connsiteY606" fmla="*/ 726717 h 759650"/>
                <a:gd name="connsiteX607" fmla="*/ 41379 w 549933"/>
                <a:gd name="connsiteY607" fmla="*/ 726717 h 759650"/>
                <a:gd name="connsiteX608" fmla="*/ 42995 w 549933"/>
                <a:gd name="connsiteY608" fmla="*/ 728164 h 759650"/>
                <a:gd name="connsiteX609" fmla="*/ 46899 w 549933"/>
                <a:gd name="connsiteY609" fmla="*/ 728736 h 759650"/>
                <a:gd name="connsiteX610" fmla="*/ 50534 w 549933"/>
                <a:gd name="connsiteY610" fmla="*/ 729610 h 759650"/>
                <a:gd name="connsiteX611" fmla="*/ 54303 w 549933"/>
                <a:gd name="connsiteY611" fmla="*/ 728164 h 759650"/>
                <a:gd name="connsiteX612" fmla="*/ 56760 w 549933"/>
                <a:gd name="connsiteY612" fmla="*/ 726246 h 759650"/>
                <a:gd name="connsiteX613" fmla="*/ 58913 w 549933"/>
                <a:gd name="connsiteY613" fmla="*/ 724833 h 759650"/>
                <a:gd name="connsiteX614" fmla="*/ 60495 w 549933"/>
                <a:gd name="connsiteY614" fmla="*/ 724833 h 759650"/>
                <a:gd name="connsiteX615" fmla="*/ 62380 w 549933"/>
                <a:gd name="connsiteY615" fmla="*/ 725842 h 759650"/>
                <a:gd name="connsiteX616" fmla="*/ 63120 w 549933"/>
                <a:gd name="connsiteY616" fmla="*/ 729038 h 759650"/>
                <a:gd name="connsiteX617" fmla="*/ 63120 w 549933"/>
                <a:gd name="connsiteY617" fmla="*/ 730922 h 759650"/>
                <a:gd name="connsiteX618" fmla="*/ 67899 w 549933"/>
                <a:gd name="connsiteY618" fmla="*/ 732066 h 759650"/>
                <a:gd name="connsiteX619" fmla="*/ 70221 w 549933"/>
                <a:gd name="connsiteY619" fmla="*/ 733209 h 759650"/>
                <a:gd name="connsiteX620" fmla="*/ 73418 w 549933"/>
                <a:gd name="connsiteY620" fmla="*/ 734219 h 759650"/>
                <a:gd name="connsiteX621" fmla="*/ 77188 w 549933"/>
                <a:gd name="connsiteY621" fmla="*/ 734791 h 759650"/>
                <a:gd name="connsiteX622" fmla="*/ 80519 w 549933"/>
                <a:gd name="connsiteY622" fmla="*/ 735228 h 759650"/>
                <a:gd name="connsiteX623" fmla="*/ 84424 w 549933"/>
                <a:gd name="connsiteY623" fmla="*/ 735968 h 759650"/>
                <a:gd name="connsiteX624" fmla="*/ 87318 w 549933"/>
                <a:gd name="connsiteY624" fmla="*/ 736843 h 759650"/>
                <a:gd name="connsiteX625" fmla="*/ 90919 w 549933"/>
                <a:gd name="connsiteY625" fmla="*/ 739298 h 759650"/>
                <a:gd name="connsiteX626" fmla="*/ 91794 w 549933"/>
                <a:gd name="connsiteY626" fmla="*/ 739601 h 759650"/>
                <a:gd name="connsiteX627" fmla="*/ 93544 w 549933"/>
                <a:gd name="connsiteY627" fmla="*/ 741922 h 759650"/>
                <a:gd name="connsiteX628" fmla="*/ 97885 w 549933"/>
                <a:gd name="connsiteY628" fmla="*/ 743941 h 759650"/>
                <a:gd name="connsiteX629" fmla="*/ 102092 w 549933"/>
                <a:gd name="connsiteY629" fmla="*/ 745522 h 759650"/>
                <a:gd name="connsiteX630" fmla="*/ 108049 w 549933"/>
                <a:gd name="connsiteY630" fmla="*/ 747405 h 759650"/>
                <a:gd name="connsiteX631" fmla="*/ 110237 w 549933"/>
                <a:gd name="connsiteY631" fmla="*/ 747708 h 759650"/>
                <a:gd name="connsiteX632" fmla="*/ 116900 w 549933"/>
                <a:gd name="connsiteY632" fmla="*/ 747002 h 759650"/>
                <a:gd name="connsiteX633" fmla="*/ 118650 w 549933"/>
                <a:gd name="connsiteY633" fmla="*/ 746127 h 759650"/>
                <a:gd name="connsiteX634" fmla="*/ 120266 w 549933"/>
                <a:gd name="connsiteY634" fmla="*/ 745992 h 759650"/>
                <a:gd name="connsiteX635" fmla="*/ 124607 w 549933"/>
                <a:gd name="connsiteY635" fmla="*/ 748314 h 759650"/>
                <a:gd name="connsiteX636" fmla="*/ 129252 w 549933"/>
                <a:gd name="connsiteY636" fmla="*/ 748886 h 759650"/>
                <a:gd name="connsiteX637" fmla="*/ 133593 w 549933"/>
                <a:gd name="connsiteY637" fmla="*/ 747574 h 759650"/>
                <a:gd name="connsiteX638" fmla="*/ 137228 w 549933"/>
                <a:gd name="connsiteY638" fmla="*/ 746833 h 759650"/>
                <a:gd name="connsiteX639" fmla="*/ 140189 w 549933"/>
                <a:gd name="connsiteY639" fmla="*/ 749861 h 759650"/>
                <a:gd name="connsiteX640" fmla="*/ 143151 w 549933"/>
                <a:gd name="connsiteY640" fmla="*/ 752922 h 759650"/>
                <a:gd name="connsiteX641" fmla="*/ 143151 w 549933"/>
                <a:gd name="connsiteY641" fmla="*/ 755243 h 759650"/>
                <a:gd name="connsiteX642" fmla="*/ 143151 w 549933"/>
                <a:gd name="connsiteY642" fmla="*/ 758708 h 759650"/>
                <a:gd name="connsiteX643" fmla="*/ 147492 w 549933"/>
                <a:gd name="connsiteY643" fmla="*/ 756084 h 759650"/>
                <a:gd name="connsiteX644" fmla="*/ 150084 w 549933"/>
                <a:gd name="connsiteY644" fmla="*/ 750870 h 759650"/>
                <a:gd name="connsiteX645" fmla="*/ 150084 w 549933"/>
                <a:gd name="connsiteY645" fmla="*/ 749996 h 759650"/>
                <a:gd name="connsiteX646" fmla="*/ 151665 w 549933"/>
                <a:gd name="connsiteY646" fmla="*/ 745084 h 759650"/>
                <a:gd name="connsiteX647" fmla="*/ 153550 w 549933"/>
                <a:gd name="connsiteY647" fmla="*/ 742898 h 759650"/>
                <a:gd name="connsiteX648" fmla="*/ 156007 w 549933"/>
                <a:gd name="connsiteY648" fmla="*/ 741014 h 759650"/>
                <a:gd name="connsiteX649" fmla="*/ 158329 w 549933"/>
                <a:gd name="connsiteY649" fmla="*/ 738121 h 759650"/>
                <a:gd name="connsiteX650" fmla="*/ 160651 w 549933"/>
                <a:gd name="connsiteY650" fmla="*/ 736674 h 759650"/>
                <a:gd name="connsiteX651" fmla="*/ 162973 w 549933"/>
                <a:gd name="connsiteY651" fmla="*/ 737549 h 759650"/>
                <a:gd name="connsiteX652" fmla="*/ 165565 w 549933"/>
                <a:gd name="connsiteY652" fmla="*/ 738424 h 759650"/>
                <a:gd name="connsiteX653" fmla="*/ 167450 w 549933"/>
                <a:gd name="connsiteY653" fmla="*/ 738726 h 759650"/>
                <a:gd name="connsiteX654" fmla="*/ 173541 w 549933"/>
                <a:gd name="connsiteY654" fmla="*/ 742360 h 759650"/>
                <a:gd name="connsiteX655" fmla="*/ 175123 w 549933"/>
                <a:gd name="connsiteY655" fmla="*/ 748011 h 759650"/>
                <a:gd name="connsiteX656" fmla="*/ 176132 w 549933"/>
                <a:gd name="connsiteY656" fmla="*/ 750029 h 759650"/>
                <a:gd name="connsiteX657" fmla="*/ 176132 w 549933"/>
                <a:gd name="connsiteY657" fmla="*/ 753494 h 759650"/>
                <a:gd name="connsiteX658" fmla="*/ 176132 w 549933"/>
                <a:gd name="connsiteY658" fmla="*/ 756959 h 759650"/>
                <a:gd name="connsiteX659" fmla="*/ 176873 w 549933"/>
                <a:gd name="connsiteY659" fmla="*/ 759011 h 759650"/>
                <a:gd name="connsiteX660" fmla="*/ 178084 w 549933"/>
                <a:gd name="connsiteY660" fmla="*/ 759650 h 759650"/>
                <a:gd name="connsiteX661" fmla="*/ 183301 w 549933"/>
                <a:gd name="connsiteY661" fmla="*/ 758877 h 759650"/>
                <a:gd name="connsiteX662" fmla="*/ 186330 w 549933"/>
                <a:gd name="connsiteY662" fmla="*/ 755614 h 759650"/>
                <a:gd name="connsiteX663" fmla="*/ 188517 w 549933"/>
                <a:gd name="connsiteY663" fmla="*/ 751913 h 759650"/>
                <a:gd name="connsiteX664" fmla="*/ 190705 w 549933"/>
                <a:gd name="connsiteY664" fmla="*/ 745185 h 759650"/>
                <a:gd name="connsiteX665" fmla="*/ 191142 w 549933"/>
                <a:gd name="connsiteY665" fmla="*/ 738659 h 759650"/>
                <a:gd name="connsiteX666" fmla="*/ 188315 w 549933"/>
                <a:gd name="connsiteY666" fmla="*/ 732806 h 759650"/>
                <a:gd name="connsiteX667" fmla="*/ 183974 w 549933"/>
                <a:gd name="connsiteY667" fmla="*/ 725842 h 759650"/>
                <a:gd name="connsiteX668" fmla="*/ 177445 w 549933"/>
                <a:gd name="connsiteY668" fmla="*/ 719989 h 759650"/>
                <a:gd name="connsiteX669" fmla="*/ 173541 w 549933"/>
                <a:gd name="connsiteY669" fmla="*/ 716087 h 759650"/>
                <a:gd name="connsiteX670" fmla="*/ 172026 w 549933"/>
                <a:gd name="connsiteY670" fmla="*/ 707845 h 759650"/>
                <a:gd name="connsiteX671" fmla="*/ 172228 w 549933"/>
                <a:gd name="connsiteY671" fmla="*/ 695230 h 759650"/>
                <a:gd name="connsiteX672" fmla="*/ 177882 w 549933"/>
                <a:gd name="connsiteY672" fmla="*/ 687830 h 759650"/>
                <a:gd name="connsiteX673" fmla="*/ 182123 w 549933"/>
                <a:gd name="connsiteY673" fmla="*/ 685004 h 759650"/>
                <a:gd name="connsiteX674" fmla="*/ 183099 w 549933"/>
                <a:gd name="connsiteY674" fmla="*/ 681976 h 759650"/>
                <a:gd name="connsiteX675" fmla="*/ 183099 w 549933"/>
                <a:gd name="connsiteY675" fmla="*/ 675248 h 759650"/>
                <a:gd name="connsiteX676" fmla="*/ 184613 w 549933"/>
                <a:gd name="connsiteY676" fmla="*/ 673196 h 759650"/>
                <a:gd name="connsiteX677" fmla="*/ 190907 w 549933"/>
                <a:gd name="connsiteY677" fmla="*/ 670909 h 759650"/>
                <a:gd name="connsiteX678" fmla="*/ 196123 w 549933"/>
                <a:gd name="connsiteY678" fmla="*/ 670909 h 759650"/>
                <a:gd name="connsiteX679" fmla="*/ 197873 w 549933"/>
                <a:gd name="connsiteY679" fmla="*/ 669833 h 759650"/>
                <a:gd name="connsiteX680" fmla="*/ 201138 w 549933"/>
                <a:gd name="connsiteY680" fmla="*/ 666569 h 759650"/>
                <a:gd name="connsiteX681" fmla="*/ 208744 w 549933"/>
                <a:gd name="connsiteY681" fmla="*/ 656141 h 759650"/>
                <a:gd name="connsiteX682" fmla="*/ 209821 w 549933"/>
                <a:gd name="connsiteY682" fmla="*/ 648101 h 759650"/>
                <a:gd name="connsiteX683" fmla="*/ 215273 w 549933"/>
                <a:gd name="connsiteY683" fmla="*/ 641138 h 759650"/>
                <a:gd name="connsiteX684" fmla="*/ 221128 w 549933"/>
                <a:gd name="connsiteY684" fmla="*/ 634612 h 759650"/>
                <a:gd name="connsiteX685" fmla="*/ 224157 w 549933"/>
                <a:gd name="connsiteY685" fmla="*/ 629633 h 759650"/>
                <a:gd name="connsiteX686" fmla="*/ 226547 w 549933"/>
                <a:gd name="connsiteY686" fmla="*/ 622232 h 759650"/>
                <a:gd name="connsiteX687" fmla="*/ 226783 w 549933"/>
                <a:gd name="connsiteY687" fmla="*/ 611804 h 759650"/>
                <a:gd name="connsiteX688" fmla="*/ 227220 w 549933"/>
                <a:gd name="connsiteY688" fmla="*/ 606825 h 759650"/>
                <a:gd name="connsiteX689" fmla="*/ 229172 w 549933"/>
                <a:gd name="connsiteY689" fmla="*/ 601611 h 759650"/>
                <a:gd name="connsiteX690" fmla="*/ 234389 w 549933"/>
                <a:gd name="connsiteY690" fmla="*/ 596633 h 759650"/>
                <a:gd name="connsiteX691" fmla="*/ 239403 w 549933"/>
                <a:gd name="connsiteY691" fmla="*/ 595119 h 759650"/>
                <a:gd name="connsiteX692" fmla="*/ 243744 w 549933"/>
                <a:gd name="connsiteY692" fmla="*/ 593807 h 759650"/>
                <a:gd name="connsiteX693" fmla="*/ 248961 w 549933"/>
                <a:gd name="connsiteY693" fmla="*/ 585128 h 759650"/>
                <a:gd name="connsiteX694" fmla="*/ 251350 w 549933"/>
                <a:gd name="connsiteY694" fmla="*/ 581226 h 759650"/>
                <a:gd name="connsiteX695" fmla="*/ 260908 w 549933"/>
                <a:gd name="connsiteY695" fmla="*/ 569284 h 759650"/>
                <a:gd name="connsiteX696" fmla="*/ 266562 w 549933"/>
                <a:gd name="connsiteY696" fmla="*/ 568207 h 759650"/>
                <a:gd name="connsiteX697" fmla="*/ 271577 w 549933"/>
                <a:gd name="connsiteY697" fmla="*/ 569721 h 759650"/>
                <a:gd name="connsiteX698" fmla="*/ 280563 w 549933"/>
                <a:gd name="connsiteY698" fmla="*/ 571235 h 759650"/>
                <a:gd name="connsiteX699" fmla="*/ 286789 w 549933"/>
                <a:gd name="connsiteY699" fmla="*/ 563632 h 759650"/>
                <a:gd name="connsiteX700" fmla="*/ 291332 w 549933"/>
                <a:gd name="connsiteY700" fmla="*/ 556904 h 759650"/>
                <a:gd name="connsiteX701" fmla="*/ 294597 w 549933"/>
                <a:gd name="connsiteY701" fmla="*/ 550614 h 759650"/>
                <a:gd name="connsiteX702" fmla="*/ 300015 w 549933"/>
                <a:gd name="connsiteY702" fmla="*/ 544626 h 759650"/>
                <a:gd name="connsiteX703" fmla="*/ 304794 w 549933"/>
                <a:gd name="connsiteY703" fmla="*/ 542338 h 759650"/>
                <a:gd name="connsiteX704" fmla="*/ 312635 w 549933"/>
                <a:gd name="connsiteY704" fmla="*/ 542338 h 759650"/>
                <a:gd name="connsiteX705" fmla="*/ 319602 w 549933"/>
                <a:gd name="connsiteY705" fmla="*/ 542338 h 759650"/>
                <a:gd name="connsiteX706" fmla="*/ 325693 w 549933"/>
                <a:gd name="connsiteY706" fmla="*/ 542540 h 759650"/>
                <a:gd name="connsiteX707" fmla="*/ 335924 w 549933"/>
                <a:gd name="connsiteY707" fmla="*/ 538840 h 759650"/>
                <a:gd name="connsiteX708" fmla="*/ 340501 w 549933"/>
                <a:gd name="connsiteY708" fmla="*/ 538840 h 759650"/>
                <a:gd name="connsiteX709" fmla="*/ 347872 w 549933"/>
                <a:gd name="connsiteY709" fmla="*/ 537528 h 759650"/>
                <a:gd name="connsiteX710" fmla="*/ 355040 w 549933"/>
                <a:gd name="connsiteY710" fmla="*/ 534265 h 759650"/>
                <a:gd name="connsiteX711" fmla="*/ 360896 w 549933"/>
                <a:gd name="connsiteY711" fmla="*/ 530127 h 759650"/>
                <a:gd name="connsiteX712" fmla="*/ 361973 w 549933"/>
                <a:gd name="connsiteY712" fmla="*/ 525552 h 759650"/>
                <a:gd name="connsiteX713" fmla="*/ 363723 w 549933"/>
                <a:gd name="connsiteY713" fmla="*/ 519901 h 759650"/>
                <a:gd name="connsiteX714" fmla="*/ 365675 w 549933"/>
                <a:gd name="connsiteY714" fmla="*/ 516873 h 759650"/>
                <a:gd name="connsiteX715" fmla="*/ 365675 w 549933"/>
                <a:gd name="connsiteY715" fmla="*/ 508396 h 759650"/>
                <a:gd name="connsiteX716" fmla="*/ 370690 w 549933"/>
                <a:gd name="connsiteY716" fmla="*/ 506882 h 759650"/>
                <a:gd name="connsiteX717" fmla="*/ 376983 w 549933"/>
                <a:gd name="connsiteY717" fmla="*/ 505806 h 759650"/>
                <a:gd name="connsiteX718" fmla="*/ 380483 w 549933"/>
                <a:gd name="connsiteY718" fmla="*/ 505806 h 759650"/>
                <a:gd name="connsiteX719" fmla="*/ 383074 w 549933"/>
                <a:gd name="connsiteY719" fmla="*/ 503417 h 759650"/>
                <a:gd name="connsiteX720" fmla="*/ 384690 w 549933"/>
                <a:gd name="connsiteY720" fmla="*/ 500793 h 759650"/>
                <a:gd name="connsiteX721" fmla="*/ 386541 w 549933"/>
                <a:gd name="connsiteY721" fmla="*/ 496656 h 759650"/>
                <a:gd name="connsiteX722" fmla="*/ 386541 w 549933"/>
                <a:gd name="connsiteY722" fmla="*/ 494469 h 759650"/>
                <a:gd name="connsiteX723" fmla="*/ 387618 w 549933"/>
                <a:gd name="connsiteY723" fmla="*/ 493594 h 759650"/>
                <a:gd name="connsiteX724" fmla="*/ 383041 w 549933"/>
                <a:gd name="connsiteY724" fmla="*/ 485790 h 759650"/>
                <a:gd name="connsiteX725" fmla="*/ 378464 w 549933"/>
                <a:gd name="connsiteY725" fmla="*/ 481451 h 759650"/>
                <a:gd name="connsiteX726" fmla="*/ 373887 w 549933"/>
                <a:gd name="connsiteY726" fmla="*/ 473209 h 759650"/>
                <a:gd name="connsiteX727" fmla="*/ 367795 w 549933"/>
                <a:gd name="connsiteY727" fmla="*/ 464092 h 759650"/>
                <a:gd name="connsiteX728" fmla="*/ 364430 w 549933"/>
                <a:gd name="connsiteY728" fmla="*/ 459517 h 759650"/>
                <a:gd name="connsiteX729" fmla="*/ 360391 w 549933"/>
                <a:gd name="connsiteY729" fmla="*/ 456490 h 759650"/>
                <a:gd name="connsiteX730" fmla="*/ 360391 w 549933"/>
                <a:gd name="connsiteY730" fmla="*/ 450468 h 759650"/>
                <a:gd name="connsiteX731" fmla="*/ 357901 w 549933"/>
                <a:gd name="connsiteY731" fmla="*/ 452352 h 759650"/>
                <a:gd name="connsiteX732" fmla="*/ 356151 w 549933"/>
                <a:gd name="connsiteY732" fmla="*/ 452689 h 759650"/>
                <a:gd name="connsiteX733" fmla="*/ 352011 w 549933"/>
                <a:gd name="connsiteY733" fmla="*/ 454337 h 759650"/>
                <a:gd name="connsiteX734" fmla="*/ 348848 w 549933"/>
                <a:gd name="connsiteY734" fmla="*/ 456086 h 759650"/>
                <a:gd name="connsiteX735" fmla="*/ 347198 w 549933"/>
                <a:gd name="connsiteY735" fmla="*/ 456725 h 759650"/>
                <a:gd name="connsiteX736" fmla="*/ 343194 w 549933"/>
                <a:gd name="connsiteY736" fmla="*/ 454774 h 759650"/>
                <a:gd name="connsiteX737" fmla="*/ 341982 w 549933"/>
                <a:gd name="connsiteY737" fmla="*/ 455312 h 759650"/>
                <a:gd name="connsiteX738" fmla="*/ 340400 w 549933"/>
                <a:gd name="connsiteY738" fmla="*/ 457398 h 759650"/>
                <a:gd name="connsiteX739" fmla="*/ 338078 w 549933"/>
                <a:gd name="connsiteY739" fmla="*/ 458205 h 759650"/>
                <a:gd name="connsiteX740" fmla="*/ 335689 w 549933"/>
                <a:gd name="connsiteY740" fmla="*/ 458172 h 759650"/>
                <a:gd name="connsiteX741" fmla="*/ 332121 w 549933"/>
                <a:gd name="connsiteY741" fmla="*/ 458172 h 759650"/>
                <a:gd name="connsiteX742" fmla="*/ 330035 w 549933"/>
                <a:gd name="connsiteY742" fmla="*/ 457533 h 759650"/>
                <a:gd name="connsiteX743" fmla="*/ 329934 w 549933"/>
                <a:gd name="connsiteY743" fmla="*/ 456759 h 759650"/>
                <a:gd name="connsiteX744" fmla="*/ 331684 w 549933"/>
                <a:gd name="connsiteY744" fmla="*/ 455851 h 759650"/>
                <a:gd name="connsiteX745" fmla="*/ 333535 w 549933"/>
                <a:gd name="connsiteY745" fmla="*/ 454135 h 759650"/>
                <a:gd name="connsiteX746" fmla="*/ 333198 w 549933"/>
                <a:gd name="connsiteY746" fmla="*/ 452083 h 759650"/>
                <a:gd name="connsiteX747" fmla="*/ 331145 w 549933"/>
                <a:gd name="connsiteY747" fmla="*/ 450569 h 759650"/>
                <a:gd name="connsiteX748" fmla="*/ 328857 w 549933"/>
                <a:gd name="connsiteY748" fmla="*/ 450771 h 759650"/>
                <a:gd name="connsiteX749" fmla="*/ 327645 w 549933"/>
                <a:gd name="connsiteY749" fmla="*/ 452520 h 759650"/>
                <a:gd name="connsiteX750" fmla="*/ 327006 w 549933"/>
                <a:gd name="connsiteY750" fmla="*/ 453597 h 759650"/>
                <a:gd name="connsiteX751" fmla="*/ 322765 w 549933"/>
                <a:gd name="connsiteY751" fmla="*/ 454909 h 759650"/>
                <a:gd name="connsiteX752" fmla="*/ 321284 w 549933"/>
                <a:gd name="connsiteY752" fmla="*/ 455851 h 759650"/>
                <a:gd name="connsiteX753" fmla="*/ 318121 w 549933"/>
                <a:gd name="connsiteY753" fmla="*/ 454505 h 759650"/>
                <a:gd name="connsiteX754" fmla="*/ 317010 w 549933"/>
                <a:gd name="connsiteY754" fmla="*/ 454000 h 759650"/>
                <a:gd name="connsiteX755" fmla="*/ 316169 w 549933"/>
                <a:gd name="connsiteY755" fmla="*/ 452991 h 759650"/>
                <a:gd name="connsiteX756" fmla="*/ 316909 w 549933"/>
                <a:gd name="connsiteY756" fmla="*/ 451108 h 759650"/>
                <a:gd name="connsiteX757" fmla="*/ 316909 w 549933"/>
                <a:gd name="connsiteY757" fmla="*/ 451040 h 759650"/>
                <a:gd name="connsiteX758" fmla="*/ 316909 w 549933"/>
                <a:gd name="connsiteY758" fmla="*/ 449358 h 759650"/>
                <a:gd name="connsiteX759" fmla="*/ 316909 w 549933"/>
                <a:gd name="connsiteY759" fmla="*/ 447542 h 759650"/>
                <a:gd name="connsiteX760" fmla="*/ 316472 w 549933"/>
                <a:gd name="connsiteY760" fmla="*/ 446129 h 759650"/>
                <a:gd name="connsiteX761" fmla="*/ 314183 w 549933"/>
                <a:gd name="connsiteY761" fmla="*/ 444245 h 759650"/>
                <a:gd name="connsiteX762" fmla="*/ 313443 w 549933"/>
                <a:gd name="connsiteY762" fmla="*/ 444346 h 759650"/>
                <a:gd name="connsiteX763" fmla="*/ 312131 w 549933"/>
                <a:gd name="connsiteY763" fmla="*/ 444985 h 759650"/>
                <a:gd name="connsiteX764" fmla="*/ 310414 w 549933"/>
                <a:gd name="connsiteY764" fmla="*/ 445961 h 759650"/>
                <a:gd name="connsiteX765" fmla="*/ 307318 w 549933"/>
                <a:gd name="connsiteY765" fmla="*/ 446734 h 759650"/>
                <a:gd name="connsiteX766" fmla="*/ 302102 w 549933"/>
                <a:gd name="connsiteY766" fmla="*/ 446734 h 759650"/>
                <a:gd name="connsiteX767" fmla="*/ 298837 w 549933"/>
                <a:gd name="connsiteY767" fmla="*/ 446734 h 759650"/>
                <a:gd name="connsiteX768" fmla="*/ 296010 w 549933"/>
                <a:gd name="connsiteY768" fmla="*/ 445221 h 759650"/>
                <a:gd name="connsiteX769" fmla="*/ 290019 w 549933"/>
                <a:gd name="connsiteY769" fmla="*/ 440343 h 759650"/>
                <a:gd name="connsiteX770" fmla="*/ 287293 w 549933"/>
                <a:gd name="connsiteY770" fmla="*/ 438392 h 759650"/>
                <a:gd name="connsiteX771" fmla="*/ 283827 w 549933"/>
                <a:gd name="connsiteY771" fmla="*/ 435129 h 759650"/>
                <a:gd name="connsiteX772" fmla="*/ 281740 w 549933"/>
                <a:gd name="connsiteY772" fmla="*/ 431327 h 759650"/>
                <a:gd name="connsiteX773" fmla="*/ 281101 w 549933"/>
                <a:gd name="connsiteY773" fmla="*/ 425575 h 759650"/>
                <a:gd name="connsiteX774" fmla="*/ 280360 w 549933"/>
                <a:gd name="connsiteY774" fmla="*/ 421572 h 759650"/>
                <a:gd name="connsiteX775" fmla="*/ 280360 w 549933"/>
                <a:gd name="connsiteY775" fmla="*/ 415719 h 759650"/>
                <a:gd name="connsiteX776" fmla="*/ 281942 w 549933"/>
                <a:gd name="connsiteY776" fmla="*/ 413768 h 759650"/>
                <a:gd name="connsiteX777" fmla="*/ 286991 w 549933"/>
                <a:gd name="connsiteY777" fmla="*/ 410168 h 759650"/>
                <a:gd name="connsiteX778" fmla="*/ 291568 w 549933"/>
                <a:gd name="connsiteY778" fmla="*/ 408755 h 759650"/>
                <a:gd name="connsiteX779" fmla="*/ 294731 w 549933"/>
                <a:gd name="connsiteY779" fmla="*/ 406468 h 759650"/>
                <a:gd name="connsiteX780" fmla="*/ 298332 w 549933"/>
                <a:gd name="connsiteY780" fmla="*/ 404281 h 759650"/>
                <a:gd name="connsiteX781" fmla="*/ 301260 w 549933"/>
                <a:gd name="connsiteY781" fmla="*/ 402095 h 759650"/>
                <a:gd name="connsiteX782" fmla="*/ 303885 w 549933"/>
                <a:gd name="connsiteY782" fmla="*/ 399370 h 759650"/>
                <a:gd name="connsiteX783" fmla="*/ 303111 w 549933"/>
                <a:gd name="connsiteY783" fmla="*/ 397082 h 759650"/>
                <a:gd name="connsiteX784" fmla="*/ 300183 w 549933"/>
                <a:gd name="connsiteY784" fmla="*/ 395871 h 759650"/>
                <a:gd name="connsiteX785" fmla="*/ 294092 w 549933"/>
                <a:gd name="connsiteY785" fmla="*/ 392844 h 759650"/>
                <a:gd name="connsiteX786" fmla="*/ 290289 w 549933"/>
                <a:gd name="connsiteY786" fmla="*/ 389143 h 759650"/>
                <a:gd name="connsiteX787" fmla="*/ 289851 w 549933"/>
                <a:gd name="connsiteY787" fmla="*/ 385107 h 759650"/>
                <a:gd name="connsiteX788" fmla="*/ 291601 w 549933"/>
                <a:gd name="connsiteY788" fmla="*/ 382079 h 759650"/>
                <a:gd name="connsiteX789" fmla="*/ 292779 w 549933"/>
                <a:gd name="connsiteY789" fmla="*/ 378614 h 759650"/>
                <a:gd name="connsiteX790" fmla="*/ 290625 w 549933"/>
                <a:gd name="connsiteY790" fmla="*/ 375452 h 759650"/>
                <a:gd name="connsiteX791" fmla="*/ 284971 w 549933"/>
                <a:gd name="connsiteY791" fmla="*/ 371752 h 759650"/>
                <a:gd name="connsiteX792" fmla="*/ 284971 w 549933"/>
                <a:gd name="connsiteY792" fmla="*/ 368287 h 759650"/>
                <a:gd name="connsiteX793" fmla="*/ 287226 w 549933"/>
                <a:gd name="connsiteY793" fmla="*/ 365898 h 759650"/>
                <a:gd name="connsiteX794" fmla="*/ 291063 w 549933"/>
                <a:gd name="connsiteY794" fmla="*/ 362299 h 759650"/>
                <a:gd name="connsiteX795" fmla="*/ 290524 w 549933"/>
                <a:gd name="connsiteY795" fmla="*/ 357623 h 759650"/>
                <a:gd name="connsiteX796" fmla="*/ 288505 w 549933"/>
                <a:gd name="connsiteY796" fmla="*/ 354696 h 759650"/>
                <a:gd name="connsiteX797" fmla="*/ 287361 w 549933"/>
                <a:gd name="connsiteY797" fmla="*/ 352510 h 759650"/>
                <a:gd name="connsiteX798" fmla="*/ 287361 w 549933"/>
                <a:gd name="connsiteY798" fmla="*/ 350222 h 759650"/>
                <a:gd name="connsiteX799" fmla="*/ 287361 w 549933"/>
                <a:gd name="connsiteY799" fmla="*/ 347565 h 759650"/>
                <a:gd name="connsiteX800" fmla="*/ 287866 w 549933"/>
                <a:gd name="connsiteY800" fmla="*/ 344100 h 759650"/>
                <a:gd name="connsiteX801" fmla="*/ 289077 w 549933"/>
                <a:gd name="connsiteY801" fmla="*/ 341913 h 759650"/>
                <a:gd name="connsiteX802" fmla="*/ 290962 w 549933"/>
                <a:gd name="connsiteY802" fmla="*/ 338717 h 759650"/>
                <a:gd name="connsiteX803" fmla="*/ 292914 w 549933"/>
                <a:gd name="connsiteY803" fmla="*/ 337473 h 759650"/>
                <a:gd name="connsiteX804" fmla="*/ 294496 w 549933"/>
                <a:gd name="connsiteY804" fmla="*/ 335118 h 759650"/>
                <a:gd name="connsiteX805" fmla="*/ 295539 w 549933"/>
                <a:gd name="connsiteY805" fmla="*/ 333503 h 759650"/>
                <a:gd name="connsiteX806" fmla="*/ 296246 w 549933"/>
                <a:gd name="connsiteY806" fmla="*/ 331317 h 759650"/>
                <a:gd name="connsiteX807" fmla="*/ 296246 w 549933"/>
                <a:gd name="connsiteY807" fmla="*/ 329534 h 759650"/>
                <a:gd name="connsiteX808" fmla="*/ 296414 w 549933"/>
                <a:gd name="connsiteY808" fmla="*/ 327919 h 759650"/>
                <a:gd name="connsiteX809" fmla="*/ 296447 w 549933"/>
                <a:gd name="connsiteY809" fmla="*/ 326809 h 759650"/>
                <a:gd name="connsiteX810" fmla="*/ 296279 w 549933"/>
                <a:gd name="connsiteY810" fmla="*/ 325531 h 759650"/>
                <a:gd name="connsiteX811" fmla="*/ 296279 w 549933"/>
                <a:gd name="connsiteY811" fmla="*/ 324252 h 759650"/>
                <a:gd name="connsiteX812" fmla="*/ 297188 w 549933"/>
                <a:gd name="connsiteY812" fmla="*/ 323748 h 759650"/>
                <a:gd name="connsiteX813" fmla="*/ 298635 w 549933"/>
                <a:gd name="connsiteY813" fmla="*/ 323311 h 759650"/>
                <a:gd name="connsiteX814" fmla="*/ 300284 w 549933"/>
                <a:gd name="connsiteY814" fmla="*/ 323311 h 759650"/>
                <a:gd name="connsiteX815" fmla="*/ 301563 w 549933"/>
                <a:gd name="connsiteY815" fmla="*/ 324252 h 759650"/>
                <a:gd name="connsiteX816" fmla="*/ 303044 w 549933"/>
                <a:gd name="connsiteY816" fmla="*/ 325295 h 759650"/>
                <a:gd name="connsiteX817" fmla="*/ 303347 w 549933"/>
                <a:gd name="connsiteY817" fmla="*/ 326675 h 759650"/>
                <a:gd name="connsiteX818" fmla="*/ 303077 w 549933"/>
                <a:gd name="connsiteY818" fmla="*/ 328861 h 759650"/>
                <a:gd name="connsiteX819" fmla="*/ 302438 w 549933"/>
                <a:gd name="connsiteY819" fmla="*/ 331485 h 759650"/>
                <a:gd name="connsiteX820" fmla="*/ 301226 w 549933"/>
                <a:gd name="connsiteY820" fmla="*/ 333234 h 759650"/>
                <a:gd name="connsiteX821" fmla="*/ 300688 w 549933"/>
                <a:gd name="connsiteY821" fmla="*/ 335320 h 759650"/>
                <a:gd name="connsiteX822" fmla="*/ 301765 w 549933"/>
                <a:gd name="connsiteY822" fmla="*/ 336733 h 759650"/>
                <a:gd name="connsiteX823" fmla="*/ 305905 w 549933"/>
                <a:gd name="connsiteY823" fmla="*/ 338146 h 759650"/>
                <a:gd name="connsiteX824" fmla="*/ 309505 w 549933"/>
                <a:gd name="connsiteY824" fmla="*/ 337944 h 759650"/>
                <a:gd name="connsiteX825" fmla="*/ 312871 w 549933"/>
                <a:gd name="connsiteY825" fmla="*/ 340534 h 759650"/>
                <a:gd name="connsiteX826" fmla="*/ 315900 w 549933"/>
                <a:gd name="connsiteY826" fmla="*/ 341947 h 759650"/>
                <a:gd name="connsiteX827" fmla="*/ 318828 w 549933"/>
                <a:gd name="connsiteY827" fmla="*/ 340736 h 759650"/>
                <a:gd name="connsiteX828" fmla="*/ 319703 w 549933"/>
                <a:gd name="connsiteY828" fmla="*/ 337809 h 759650"/>
                <a:gd name="connsiteX829" fmla="*/ 320679 w 549933"/>
                <a:gd name="connsiteY829" fmla="*/ 333571 h 759650"/>
                <a:gd name="connsiteX830" fmla="*/ 319804 w 549933"/>
                <a:gd name="connsiteY830" fmla="*/ 329870 h 759650"/>
                <a:gd name="connsiteX831" fmla="*/ 318390 w 549933"/>
                <a:gd name="connsiteY831" fmla="*/ 328457 h 759650"/>
                <a:gd name="connsiteX832" fmla="*/ 315126 w 549933"/>
                <a:gd name="connsiteY832" fmla="*/ 328020 h 759650"/>
                <a:gd name="connsiteX833" fmla="*/ 311659 w 549933"/>
                <a:gd name="connsiteY833" fmla="*/ 326271 h 759650"/>
                <a:gd name="connsiteX834" fmla="*/ 313712 w 549933"/>
                <a:gd name="connsiteY834" fmla="*/ 323445 h 759650"/>
                <a:gd name="connsiteX835" fmla="*/ 316001 w 549933"/>
                <a:gd name="connsiteY835" fmla="*/ 320586 h 759650"/>
                <a:gd name="connsiteX836" fmla="*/ 318054 w 549933"/>
                <a:gd name="connsiteY836" fmla="*/ 319644 h 759650"/>
                <a:gd name="connsiteX837" fmla="*/ 321116 w 549933"/>
                <a:gd name="connsiteY837" fmla="*/ 319307 h 759650"/>
                <a:gd name="connsiteX838" fmla="*/ 323068 w 549933"/>
                <a:gd name="connsiteY838" fmla="*/ 317895 h 759650"/>
                <a:gd name="connsiteX839" fmla="*/ 322967 w 549933"/>
                <a:gd name="connsiteY839" fmla="*/ 315708 h 759650"/>
                <a:gd name="connsiteX840" fmla="*/ 321116 w 549933"/>
                <a:gd name="connsiteY840" fmla="*/ 313118 h 759650"/>
                <a:gd name="connsiteX841" fmla="*/ 319164 w 549933"/>
                <a:gd name="connsiteY841" fmla="*/ 312344 h 759650"/>
                <a:gd name="connsiteX842" fmla="*/ 315361 w 549933"/>
                <a:gd name="connsiteY842" fmla="*/ 311469 h 759650"/>
                <a:gd name="connsiteX843" fmla="*/ 314385 w 549933"/>
                <a:gd name="connsiteY843" fmla="*/ 308206 h 759650"/>
                <a:gd name="connsiteX844" fmla="*/ 312534 w 549933"/>
                <a:gd name="connsiteY844" fmla="*/ 302118 h 759650"/>
                <a:gd name="connsiteX845" fmla="*/ 313174 w 549933"/>
                <a:gd name="connsiteY845" fmla="*/ 298215 h 759650"/>
                <a:gd name="connsiteX846" fmla="*/ 314049 w 549933"/>
                <a:gd name="connsiteY846" fmla="*/ 293539 h 759650"/>
                <a:gd name="connsiteX847" fmla="*/ 315462 w 549933"/>
                <a:gd name="connsiteY847" fmla="*/ 291689 h 759650"/>
                <a:gd name="connsiteX848" fmla="*/ 319501 w 549933"/>
                <a:gd name="connsiteY848" fmla="*/ 291588 h 759650"/>
                <a:gd name="connsiteX849" fmla="*/ 321015 w 549933"/>
                <a:gd name="connsiteY849" fmla="*/ 290949 h 759650"/>
                <a:gd name="connsiteX850" fmla="*/ 322092 w 549933"/>
                <a:gd name="connsiteY850" fmla="*/ 287720 h 759650"/>
                <a:gd name="connsiteX851" fmla="*/ 322092 w 549933"/>
                <a:gd name="connsiteY851" fmla="*/ 286509 h 759650"/>
                <a:gd name="connsiteX852" fmla="*/ 322597 w 549933"/>
                <a:gd name="connsiteY852" fmla="*/ 284457 h 759650"/>
                <a:gd name="connsiteX853" fmla="*/ 323304 w 549933"/>
                <a:gd name="connsiteY853" fmla="*/ 283380 h 759650"/>
                <a:gd name="connsiteX854" fmla="*/ 325693 w 549933"/>
                <a:gd name="connsiteY854" fmla="*/ 282405 h 759650"/>
                <a:gd name="connsiteX855" fmla="*/ 327342 w 549933"/>
                <a:gd name="connsiteY855" fmla="*/ 280218 h 759650"/>
                <a:gd name="connsiteX856" fmla="*/ 329934 w 549933"/>
                <a:gd name="connsiteY856" fmla="*/ 277493 h 759650"/>
                <a:gd name="connsiteX857" fmla="*/ 332559 w 549933"/>
                <a:gd name="connsiteY857" fmla="*/ 273894 h 759650"/>
                <a:gd name="connsiteX858" fmla="*/ 332559 w 549933"/>
                <a:gd name="connsiteY858" fmla="*/ 269857 h 759650"/>
                <a:gd name="connsiteX859" fmla="*/ 337136 w 549933"/>
                <a:gd name="connsiteY859" fmla="*/ 267570 h 759650"/>
                <a:gd name="connsiteX860" fmla="*/ 341040 w 549933"/>
                <a:gd name="connsiteY860" fmla="*/ 264408 h 759650"/>
                <a:gd name="connsiteX861" fmla="*/ 348208 w 549933"/>
                <a:gd name="connsiteY861" fmla="*/ 266998 h 759650"/>
                <a:gd name="connsiteX862" fmla="*/ 349622 w 549933"/>
                <a:gd name="connsiteY862" fmla="*/ 268310 h 759650"/>
                <a:gd name="connsiteX863" fmla="*/ 352180 w 549933"/>
                <a:gd name="connsiteY863" fmla="*/ 269655 h 759650"/>
                <a:gd name="connsiteX864" fmla="*/ 353929 w 549933"/>
                <a:gd name="connsiteY864" fmla="*/ 274062 h 759650"/>
                <a:gd name="connsiteX865" fmla="*/ 356992 w 549933"/>
                <a:gd name="connsiteY865" fmla="*/ 276383 h 759650"/>
                <a:gd name="connsiteX866" fmla="*/ 358742 w 549933"/>
                <a:gd name="connsiteY866" fmla="*/ 275845 h 759650"/>
                <a:gd name="connsiteX867" fmla="*/ 361603 w 549933"/>
                <a:gd name="connsiteY867" fmla="*/ 272582 h 759650"/>
                <a:gd name="connsiteX868" fmla="*/ 366281 w 549933"/>
                <a:gd name="connsiteY868" fmla="*/ 272582 h 759650"/>
                <a:gd name="connsiteX869" fmla="*/ 368232 w 549933"/>
                <a:gd name="connsiteY869" fmla="*/ 274264 h 759650"/>
                <a:gd name="connsiteX870" fmla="*/ 368838 w 549933"/>
                <a:gd name="connsiteY870" fmla="*/ 276316 h 759650"/>
                <a:gd name="connsiteX871" fmla="*/ 368300 w 549933"/>
                <a:gd name="connsiteY871" fmla="*/ 281261 h 759650"/>
                <a:gd name="connsiteX872" fmla="*/ 365204 w 549933"/>
                <a:gd name="connsiteY872" fmla="*/ 281631 h 759650"/>
                <a:gd name="connsiteX873" fmla="*/ 362579 w 549933"/>
                <a:gd name="connsiteY873" fmla="*/ 283414 h 759650"/>
                <a:gd name="connsiteX874" fmla="*/ 361872 w 549933"/>
                <a:gd name="connsiteY874" fmla="*/ 285029 h 759650"/>
                <a:gd name="connsiteX875" fmla="*/ 364733 w 549933"/>
                <a:gd name="connsiteY875" fmla="*/ 286711 h 759650"/>
                <a:gd name="connsiteX876" fmla="*/ 366045 w 549933"/>
                <a:gd name="connsiteY876" fmla="*/ 286711 h 759650"/>
                <a:gd name="connsiteX877" fmla="*/ 369209 w 549933"/>
                <a:gd name="connsiteY877" fmla="*/ 287148 h 759650"/>
                <a:gd name="connsiteX878" fmla="*/ 369983 w 549933"/>
                <a:gd name="connsiteY878" fmla="*/ 288224 h 759650"/>
                <a:gd name="connsiteX879" fmla="*/ 368906 w 549933"/>
                <a:gd name="connsiteY879" fmla="*/ 289402 h 759650"/>
                <a:gd name="connsiteX880" fmla="*/ 368266 w 549933"/>
                <a:gd name="connsiteY880" fmla="*/ 290747 h 759650"/>
                <a:gd name="connsiteX881" fmla="*/ 368973 w 549933"/>
                <a:gd name="connsiteY881" fmla="*/ 292059 h 759650"/>
                <a:gd name="connsiteX882" fmla="*/ 370555 w 549933"/>
                <a:gd name="connsiteY882" fmla="*/ 292934 h 759650"/>
                <a:gd name="connsiteX883" fmla="*/ 372305 w 549933"/>
                <a:gd name="connsiteY883" fmla="*/ 294010 h 759650"/>
                <a:gd name="connsiteX884" fmla="*/ 372944 w 549933"/>
                <a:gd name="connsiteY884" fmla="*/ 296231 h 759650"/>
                <a:gd name="connsiteX885" fmla="*/ 372170 w 549933"/>
                <a:gd name="connsiteY885" fmla="*/ 297879 h 759650"/>
                <a:gd name="connsiteX886" fmla="*/ 371497 w 549933"/>
                <a:gd name="connsiteY886" fmla="*/ 298585 h 759650"/>
                <a:gd name="connsiteX887" fmla="*/ 370420 w 549933"/>
                <a:gd name="connsiteY887" fmla="*/ 299292 h 759650"/>
                <a:gd name="connsiteX888" fmla="*/ 368232 w 549933"/>
                <a:gd name="connsiteY888" fmla="*/ 299090 h 759650"/>
                <a:gd name="connsiteX889" fmla="*/ 367862 w 549933"/>
                <a:gd name="connsiteY889" fmla="*/ 297711 h 759650"/>
                <a:gd name="connsiteX890" fmla="*/ 366483 w 549933"/>
                <a:gd name="connsiteY890" fmla="*/ 297139 h 759650"/>
                <a:gd name="connsiteX891" fmla="*/ 364665 w 549933"/>
                <a:gd name="connsiteY891" fmla="*/ 297139 h 759650"/>
                <a:gd name="connsiteX892" fmla="*/ 362780 w 549933"/>
                <a:gd name="connsiteY892" fmla="*/ 297004 h 759650"/>
                <a:gd name="connsiteX893" fmla="*/ 362209 w 549933"/>
                <a:gd name="connsiteY893" fmla="*/ 298148 h 759650"/>
                <a:gd name="connsiteX894" fmla="*/ 361131 w 549933"/>
                <a:gd name="connsiteY894" fmla="*/ 299157 h 759650"/>
                <a:gd name="connsiteX895" fmla="*/ 358439 w 549933"/>
                <a:gd name="connsiteY895" fmla="*/ 299292 h 759650"/>
                <a:gd name="connsiteX896" fmla="*/ 356554 w 549933"/>
                <a:gd name="connsiteY896" fmla="*/ 298552 h 759650"/>
                <a:gd name="connsiteX897" fmla="*/ 354804 w 549933"/>
                <a:gd name="connsiteY897" fmla="*/ 298047 h 759650"/>
                <a:gd name="connsiteX898" fmla="*/ 353929 w 549933"/>
                <a:gd name="connsiteY898" fmla="*/ 297408 h 759650"/>
                <a:gd name="connsiteX899" fmla="*/ 352112 w 549933"/>
                <a:gd name="connsiteY899" fmla="*/ 296096 h 759650"/>
                <a:gd name="connsiteX900" fmla="*/ 350800 w 549933"/>
                <a:gd name="connsiteY900" fmla="*/ 295356 h 759650"/>
                <a:gd name="connsiteX901" fmla="*/ 350295 w 549933"/>
                <a:gd name="connsiteY901" fmla="*/ 295356 h 759650"/>
                <a:gd name="connsiteX902" fmla="*/ 349050 w 549933"/>
                <a:gd name="connsiteY902" fmla="*/ 296062 h 759650"/>
                <a:gd name="connsiteX903" fmla="*/ 348107 w 549933"/>
                <a:gd name="connsiteY903" fmla="*/ 296836 h 759650"/>
                <a:gd name="connsiteX904" fmla="*/ 348174 w 549933"/>
                <a:gd name="connsiteY904" fmla="*/ 297980 h 759650"/>
                <a:gd name="connsiteX905" fmla="*/ 348174 w 549933"/>
                <a:gd name="connsiteY905" fmla="*/ 299359 h 759650"/>
                <a:gd name="connsiteX906" fmla="*/ 347905 w 549933"/>
                <a:gd name="connsiteY906" fmla="*/ 301041 h 759650"/>
                <a:gd name="connsiteX907" fmla="*/ 347535 w 549933"/>
                <a:gd name="connsiteY907" fmla="*/ 304304 h 759650"/>
                <a:gd name="connsiteX908" fmla="*/ 347535 w 549933"/>
                <a:gd name="connsiteY908" fmla="*/ 306053 h 759650"/>
                <a:gd name="connsiteX909" fmla="*/ 349487 w 549933"/>
                <a:gd name="connsiteY909" fmla="*/ 308442 h 759650"/>
                <a:gd name="connsiteX910" fmla="*/ 351675 w 549933"/>
                <a:gd name="connsiteY910" fmla="*/ 310191 h 759650"/>
                <a:gd name="connsiteX911" fmla="*/ 351675 w 549933"/>
                <a:gd name="connsiteY911" fmla="*/ 315405 h 759650"/>
                <a:gd name="connsiteX912" fmla="*/ 351675 w 549933"/>
                <a:gd name="connsiteY912" fmla="*/ 316919 h 759650"/>
                <a:gd name="connsiteX913" fmla="*/ 355141 w 549933"/>
                <a:gd name="connsiteY913" fmla="*/ 320619 h 759650"/>
                <a:gd name="connsiteX914" fmla="*/ 355141 w 549933"/>
                <a:gd name="connsiteY914" fmla="*/ 324522 h 759650"/>
                <a:gd name="connsiteX915" fmla="*/ 356218 w 549933"/>
                <a:gd name="connsiteY915" fmla="*/ 328155 h 759650"/>
                <a:gd name="connsiteX916" fmla="*/ 361064 w 549933"/>
                <a:gd name="connsiteY916" fmla="*/ 328155 h 759650"/>
                <a:gd name="connsiteX917" fmla="*/ 361636 w 549933"/>
                <a:gd name="connsiteY917" fmla="*/ 330913 h 759650"/>
                <a:gd name="connsiteX918" fmla="*/ 361064 w 549933"/>
                <a:gd name="connsiteY918" fmla="*/ 334378 h 759650"/>
                <a:gd name="connsiteX919" fmla="*/ 360357 w 549933"/>
                <a:gd name="connsiteY919" fmla="*/ 334513 h 759650"/>
                <a:gd name="connsiteX920" fmla="*/ 360357 w 549933"/>
                <a:gd name="connsiteY920" fmla="*/ 339861 h 759650"/>
                <a:gd name="connsiteX921" fmla="*/ 361737 w 549933"/>
                <a:gd name="connsiteY921" fmla="*/ 342317 h 759650"/>
                <a:gd name="connsiteX922" fmla="*/ 363858 w 549933"/>
                <a:gd name="connsiteY922" fmla="*/ 343461 h 759650"/>
                <a:gd name="connsiteX923" fmla="*/ 365608 w 549933"/>
                <a:gd name="connsiteY923" fmla="*/ 343158 h 759650"/>
                <a:gd name="connsiteX924" fmla="*/ 365608 w 549933"/>
                <a:gd name="connsiteY924" fmla="*/ 341140 h 759650"/>
                <a:gd name="connsiteX925" fmla="*/ 368502 w 549933"/>
                <a:gd name="connsiteY925" fmla="*/ 338818 h 759650"/>
                <a:gd name="connsiteX926" fmla="*/ 372137 w 549933"/>
                <a:gd name="connsiteY926" fmla="*/ 335051 h 759650"/>
                <a:gd name="connsiteX927" fmla="*/ 376209 w 549933"/>
                <a:gd name="connsiteY927" fmla="*/ 334344 h 759650"/>
                <a:gd name="connsiteX928" fmla="*/ 383007 w 549933"/>
                <a:gd name="connsiteY928" fmla="*/ 335791 h 759650"/>
                <a:gd name="connsiteX929" fmla="*/ 384454 w 549933"/>
                <a:gd name="connsiteY929" fmla="*/ 337977 h 759650"/>
                <a:gd name="connsiteX930" fmla="*/ 386642 w 549933"/>
                <a:gd name="connsiteY930" fmla="*/ 340870 h 759650"/>
                <a:gd name="connsiteX931" fmla="*/ 386339 w 549933"/>
                <a:gd name="connsiteY931" fmla="*/ 345345 h 759650"/>
                <a:gd name="connsiteX932" fmla="*/ 385464 w 549933"/>
                <a:gd name="connsiteY932" fmla="*/ 347666 h 759650"/>
                <a:gd name="connsiteX933" fmla="*/ 386372 w 549933"/>
                <a:gd name="connsiteY933" fmla="*/ 349819 h 759650"/>
                <a:gd name="connsiteX934" fmla="*/ 385497 w 549933"/>
                <a:gd name="connsiteY934" fmla="*/ 351770 h 759650"/>
                <a:gd name="connsiteX935" fmla="*/ 384959 w 549933"/>
                <a:gd name="connsiteY935" fmla="*/ 353822 h 759650"/>
                <a:gd name="connsiteX936" fmla="*/ 383007 w 549933"/>
                <a:gd name="connsiteY936" fmla="*/ 355335 h 759650"/>
                <a:gd name="connsiteX937" fmla="*/ 383007 w 549933"/>
                <a:gd name="connsiteY937" fmla="*/ 359675 h 759650"/>
                <a:gd name="connsiteX938" fmla="*/ 386036 w 549933"/>
                <a:gd name="connsiteY938" fmla="*/ 360651 h 759650"/>
                <a:gd name="connsiteX939" fmla="*/ 388863 w 549933"/>
                <a:gd name="connsiteY939" fmla="*/ 360112 h 759650"/>
                <a:gd name="connsiteX940" fmla="*/ 391017 w 549933"/>
                <a:gd name="connsiteY940" fmla="*/ 358901 h 759650"/>
                <a:gd name="connsiteX941" fmla="*/ 394281 w 549933"/>
                <a:gd name="connsiteY941" fmla="*/ 359675 h 759650"/>
                <a:gd name="connsiteX942" fmla="*/ 394281 w 549933"/>
                <a:gd name="connsiteY942" fmla="*/ 361525 h 759650"/>
                <a:gd name="connsiteX943" fmla="*/ 394281 w 549933"/>
                <a:gd name="connsiteY943" fmla="*/ 363174 h 759650"/>
                <a:gd name="connsiteX944" fmla="*/ 396570 w 549933"/>
                <a:gd name="connsiteY944" fmla="*/ 363174 h 759650"/>
                <a:gd name="connsiteX945" fmla="*/ 398522 w 549933"/>
                <a:gd name="connsiteY945" fmla="*/ 364485 h 759650"/>
                <a:gd name="connsiteX946" fmla="*/ 400373 w 549933"/>
                <a:gd name="connsiteY946" fmla="*/ 366773 h 759650"/>
                <a:gd name="connsiteX947" fmla="*/ 400373 w 549933"/>
                <a:gd name="connsiteY947" fmla="*/ 369262 h 759650"/>
                <a:gd name="connsiteX948" fmla="*/ 400373 w 549933"/>
                <a:gd name="connsiteY948" fmla="*/ 373030 h 759650"/>
                <a:gd name="connsiteX949" fmla="*/ 398926 w 549933"/>
                <a:gd name="connsiteY949" fmla="*/ 376461 h 759650"/>
                <a:gd name="connsiteX950" fmla="*/ 398219 w 549933"/>
                <a:gd name="connsiteY950" fmla="*/ 377470 h 759650"/>
                <a:gd name="connsiteX951" fmla="*/ 396200 w 549933"/>
                <a:gd name="connsiteY951" fmla="*/ 378715 h 759650"/>
                <a:gd name="connsiteX952" fmla="*/ 391757 w 549933"/>
                <a:gd name="connsiteY952" fmla="*/ 379287 h 759650"/>
                <a:gd name="connsiteX953" fmla="*/ 390310 w 549933"/>
                <a:gd name="connsiteY953" fmla="*/ 381473 h 759650"/>
                <a:gd name="connsiteX954" fmla="*/ 389940 w 549933"/>
                <a:gd name="connsiteY954" fmla="*/ 382012 h 759650"/>
                <a:gd name="connsiteX955" fmla="*/ 395459 w 549933"/>
                <a:gd name="connsiteY955" fmla="*/ 382718 h 759650"/>
                <a:gd name="connsiteX956" fmla="*/ 401551 w 549933"/>
                <a:gd name="connsiteY956" fmla="*/ 377134 h 759650"/>
                <a:gd name="connsiteX957" fmla="*/ 406464 w 549933"/>
                <a:gd name="connsiteY957" fmla="*/ 377134 h 759650"/>
                <a:gd name="connsiteX958" fmla="*/ 410099 w 549933"/>
                <a:gd name="connsiteY958" fmla="*/ 381339 h 759650"/>
                <a:gd name="connsiteX959" fmla="*/ 411412 w 549933"/>
                <a:gd name="connsiteY959" fmla="*/ 389446 h 759650"/>
                <a:gd name="connsiteX960" fmla="*/ 417368 w 549933"/>
                <a:gd name="connsiteY960" fmla="*/ 394223 h 759650"/>
                <a:gd name="connsiteX961" fmla="*/ 423022 w 549933"/>
                <a:gd name="connsiteY961" fmla="*/ 395972 h 759650"/>
                <a:gd name="connsiteX962" fmla="*/ 427499 w 549933"/>
                <a:gd name="connsiteY962" fmla="*/ 394828 h 759650"/>
                <a:gd name="connsiteX963" fmla="*/ 430830 w 549933"/>
                <a:gd name="connsiteY963" fmla="*/ 393079 h 759650"/>
                <a:gd name="connsiteX964" fmla="*/ 434902 w 549933"/>
                <a:gd name="connsiteY964" fmla="*/ 388874 h 759650"/>
                <a:gd name="connsiteX965" fmla="*/ 438672 w 549933"/>
                <a:gd name="connsiteY965" fmla="*/ 385409 h 759650"/>
                <a:gd name="connsiteX966" fmla="*/ 442306 w 549933"/>
                <a:gd name="connsiteY966" fmla="*/ 383525 h 759650"/>
                <a:gd name="connsiteX967" fmla="*/ 447658 w 549933"/>
                <a:gd name="connsiteY967" fmla="*/ 380195 h 759650"/>
                <a:gd name="connsiteX968" fmla="*/ 454893 w 549933"/>
                <a:gd name="connsiteY968" fmla="*/ 380498 h 759650"/>
                <a:gd name="connsiteX969" fmla="*/ 463004 w 549933"/>
                <a:gd name="connsiteY969" fmla="*/ 380632 h 759650"/>
                <a:gd name="connsiteX970" fmla="*/ 467345 w 549933"/>
                <a:gd name="connsiteY970" fmla="*/ 380632 h 759650"/>
                <a:gd name="connsiteX971" fmla="*/ 470980 w 549933"/>
                <a:gd name="connsiteY971" fmla="*/ 378311 h 759650"/>
                <a:gd name="connsiteX972" fmla="*/ 473673 w 549933"/>
                <a:gd name="connsiteY972" fmla="*/ 377874 h 759650"/>
                <a:gd name="connsiteX973" fmla="*/ 475187 w 549933"/>
                <a:gd name="connsiteY973" fmla="*/ 380632 h 759650"/>
                <a:gd name="connsiteX974" fmla="*/ 475187 w 549933"/>
                <a:gd name="connsiteY974" fmla="*/ 383223 h 759650"/>
                <a:gd name="connsiteX975" fmla="*/ 473571 w 549933"/>
                <a:gd name="connsiteY975" fmla="*/ 384669 h 759650"/>
                <a:gd name="connsiteX976" fmla="*/ 475187 w 549933"/>
                <a:gd name="connsiteY976" fmla="*/ 385107 h 759650"/>
                <a:gd name="connsiteX977" fmla="*/ 478384 w 549933"/>
                <a:gd name="connsiteY977" fmla="*/ 384535 h 759650"/>
                <a:gd name="connsiteX978" fmla="*/ 480269 w 549933"/>
                <a:gd name="connsiteY978" fmla="*/ 381507 h 759650"/>
                <a:gd name="connsiteX979" fmla="*/ 481278 w 549933"/>
                <a:gd name="connsiteY979" fmla="*/ 379186 h 759650"/>
                <a:gd name="connsiteX980" fmla="*/ 482288 w 549933"/>
                <a:gd name="connsiteY980" fmla="*/ 377168 h 759650"/>
                <a:gd name="connsiteX981" fmla="*/ 483163 w 549933"/>
                <a:gd name="connsiteY981" fmla="*/ 375149 h 759650"/>
                <a:gd name="connsiteX982" fmla="*/ 484307 w 549933"/>
                <a:gd name="connsiteY982" fmla="*/ 372828 h 759650"/>
                <a:gd name="connsiteX983" fmla="*/ 485317 w 549933"/>
                <a:gd name="connsiteY983" fmla="*/ 370070 h 759650"/>
                <a:gd name="connsiteX984" fmla="*/ 485889 w 549933"/>
                <a:gd name="connsiteY984" fmla="*/ 367311 h 759650"/>
                <a:gd name="connsiteX985" fmla="*/ 486764 w 549933"/>
                <a:gd name="connsiteY985" fmla="*/ 365293 h 759650"/>
                <a:gd name="connsiteX986" fmla="*/ 488514 w 549933"/>
                <a:gd name="connsiteY986" fmla="*/ 363846 h 759650"/>
                <a:gd name="connsiteX987" fmla="*/ 491274 w 549933"/>
                <a:gd name="connsiteY987" fmla="*/ 359372 h 759650"/>
                <a:gd name="connsiteX988" fmla="*/ 493024 w 549933"/>
                <a:gd name="connsiteY988" fmla="*/ 356008 h 759650"/>
                <a:gd name="connsiteX989" fmla="*/ 493966 w 549933"/>
                <a:gd name="connsiteY989" fmla="*/ 353586 h 759650"/>
                <a:gd name="connsiteX990" fmla="*/ 496053 w 549933"/>
                <a:gd name="connsiteY990" fmla="*/ 349516 h 759650"/>
                <a:gd name="connsiteX991" fmla="*/ 496053 w 549933"/>
                <a:gd name="connsiteY991" fmla="*/ 346757 h 759650"/>
                <a:gd name="connsiteX992" fmla="*/ 496928 w 549933"/>
                <a:gd name="connsiteY992" fmla="*/ 341409 h 759650"/>
                <a:gd name="connsiteX993" fmla="*/ 495918 w 549933"/>
                <a:gd name="connsiteY993" fmla="*/ 335892 h 759650"/>
                <a:gd name="connsiteX994" fmla="*/ 493293 w 549933"/>
                <a:gd name="connsiteY994" fmla="*/ 332999 h 759650"/>
                <a:gd name="connsiteX995" fmla="*/ 492553 w 549933"/>
                <a:gd name="connsiteY995" fmla="*/ 330106 h 759650"/>
                <a:gd name="connsiteX996" fmla="*/ 494875 w 549933"/>
                <a:gd name="connsiteY996" fmla="*/ 327919 h 759650"/>
                <a:gd name="connsiteX997" fmla="*/ 499519 w 549933"/>
                <a:gd name="connsiteY997" fmla="*/ 324454 h 759650"/>
                <a:gd name="connsiteX998" fmla="*/ 501707 w 549933"/>
                <a:gd name="connsiteY998" fmla="*/ 320384 h 759650"/>
                <a:gd name="connsiteX999" fmla="*/ 502582 w 549933"/>
                <a:gd name="connsiteY999" fmla="*/ 316347 h 759650"/>
                <a:gd name="connsiteX1000" fmla="*/ 504601 w 549933"/>
                <a:gd name="connsiteY1000" fmla="*/ 313454 h 759650"/>
                <a:gd name="connsiteX1001" fmla="*/ 506755 w 549933"/>
                <a:gd name="connsiteY1001" fmla="*/ 311268 h 759650"/>
                <a:gd name="connsiteX1002" fmla="*/ 509212 w 549933"/>
                <a:gd name="connsiteY1002" fmla="*/ 309081 h 759650"/>
                <a:gd name="connsiteX1003" fmla="*/ 512409 w 549933"/>
                <a:gd name="connsiteY1003" fmla="*/ 307769 h 759650"/>
                <a:gd name="connsiteX1004" fmla="*/ 515034 w 549933"/>
                <a:gd name="connsiteY1004" fmla="*/ 302858 h 759650"/>
                <a:gd name="connsiteX1005" fmla="*/ 517221 w 549933"/>
                <a:gd name="connsiteY1005" fmla="*/ 300099 h 759650"/>
                <a:gd name="connsiteX1006" fmla="*/ 520688 w 549933"/>
                <a:gd name="connsiteY1006" fmla="*/ 295020 h 759650"/>
                <a:gd name="connsiteX1007" fmla="*/ 523448 w 549933"/>
                <a:gd name="connsiteY1007" fmla="*/ 293573 h 759650"/>
                <a:gd name="connsiteX1008" fmla="*/ 526780 w 549933"/>
                <a:gd name="connsiteY1008" fmla="*/ 291992 h 759650"/>
                <a:gd name="connsiteX1009" fmla="*/ 529404 w 549933"/>
                <a:gd name="connsiteY1009" fmla="*/ 290983 h 759650"/>
                <a:gd name="connsiteX1010" fmla="*/ 533881 w 549933"/>
                <a:gd name="connsiteY1010" fmla="*/ 287653 h 759650"/>
                <a:gd name="connsiteX1011" fmla="*/ 539232 w 549933"/>
                <a:gd name="connsiteY1011" fmla="*/ 285197 h 759650"/>
                <a:gd name="connsiteX1012" fmla="*/ 543136 w 549933"/>
                <a:gd name="connsiteY1012" fmla="*/ 280992 h 759650"/>
                <a:gd name="connsiteX1013" fmla="*/ 547847 w 549933"/>
                <a:gd name="connsiteY1013" fmla="*/ 277796 h 759650"/>
                <a:gd name="connsiteX1014" fmla="*/ 549934 w 549933"/>
                <a:gd name="connsiteY1014" fmla="*/ 276484 h 759650"/>
                <a:gd name="connsiteX1015" fmla="*/ 549934 w 549933"/>
                <a:gd name="connsiteY1015" fmla="*/ 273726 h 759650"/>
                <a:gd name="connsiteX1016" fmla="*/ 547410 w 549933"/>
                <a:gd name="connsiteY1016" fmla="*/ 270059 h 759650"/>
                <a:gd name="connsiteX1017" fmla="*/ 340299 w 549933"/>
                <a:gd name="connsiteY1017" fmla="*/ 224645 h 759650"/>
                <a:gd name="connsiteX1018" fmla="*/ 338718 w 549933"/>
                <a:gd name="connsiteY1018" fmla="*/ 226025 h 759650"/>
                <a:gd name="connsiteX1019" fmla="*/ 337270 w 549933"/>
                <a:gd name="connsiteY1019" fmla="*/ 226462 h 759650"/>
                <a:gd name="connsiteX1020" fmla="*/ 335621 w 549933"/>
                <a:gd name="connsiteY1020" fmla="*/ 226159 h 759650"/>
                <a:gd name="connsiteX1021" fmla="*/ 333905 w 549933"/>
                <a:gd name="connsiteY1021" fmla="*/ 225957 h 759650"/>
                <a:gd name="connsiteX1022" fmla="*/ 332761 w 549933"/>
                <a:gd name="connsiteY1022" fmla="*/ 226832 h 759650"/>
                <a:gd name="connsiteX1023" fmla="*/ 332761 w 549933"/>
                <a:gd name="connsiteY1023" fmla="*/ 229961 h 759650"/>
                <a:gd name="connsiteX1024" fmla="*/ 332963 w 549933"/>
                <a:gd name="connsiteY1024" fmla="*/ 230970 h 759650"/>
                <a:gd name="connsiteX1025" fmla="*/ 332189 w 549933"/>
                <a:gd name="connsiteY1025" fmla="*/ 232416 h 759650"/>
                <a:gd name="connsiteX1026" fmla="*/ 329799 w 549933"/>
                <a:gd name="connsiteY1026" fmla="*/ 232921 h 759650"/>
                <a:gd name="connsiteX1027" fmla="*/ 328116 w 549933"/>
                <a:gd name="connsiteY1027" fmla="*/ 232349 h 759650"/>
                <a:gd name="connsiteX1028" fmla="*/ 325087 w 549933"/>
                <a:gd name="connsiteY1028" fmla="*/ 232046 h 759650"/>
                <a:gd name="connsiteX1029" fmla="*/ 322698 w 549933"/>
                <a:gd name="connsiteY1029" fmla="*/ 230364 h 759650"/>
                <a:gd name="connsiteX1030" fmla="*/ 319232 w 549933"/>
                <a:gd name="connsiteY1030" fmla="*/ 231104 h 759650"/>
                <a:gd name="connsiteX1031" fmla="*/ 317280 w 549933"/>
                <a:gd name="connsiteY1031" fmla="*/ 233997 h 759650"/>
                <a:gd name="connsiteX1032" fmla="*/ 314957 w 549933"/>
                <a:gd name="connsiteY1032" fmla="*/ 238404 h 759650"/>
                <a:gd name="connsiteX1033" fmla="*/ 316337 w 549933"/>
                <a:gd name="connsiteY1033" fmla="*/ 240927 h 759650"/>
                <a:gd name="connsiteX1034" fmla="*/ 319972 w 549933"/>
                <a:gd name="connsiteY1034" fmla="*/ 243383 h 759650"/>
                <a:gd name="connsiteX1035" fmla="*/ 320039 w 549933"/>
                <a:gd name="connsiteY1035" fmla="*/ 244627 h 759650"/>
                <a:gd name="connsiteX1036" fmla="*/ 316977 w 549933"/>
                <a:gd name="connsiteY1036" fmla="*/ 246881 h 759650"/>
                <a:gd name="connsiteX1037" fmla="*/ 316102 w 549933"/>
                <a:gd name="connsiteY1037" fmla="*/ 249270 h 759650"/>
                <a:gd name="connsiteX1038" fmla="*/ 316977 w 549933"/>
                <a:gd name="connsiteY1038" fmla="*/ 251961 h 759650"/>
                <a:gd name="connsiteX1039" fmla="*/ 318996 w 549933"/>
                <a:gd name="connsiteY1039" fmla="*/ 253475 h 759650"/>
                <a:gd name="connsiteX1040" fmla="*/ 320679 w 549933"/>
                <a:gd name="connsiteY1040" fmla="*/ 255056 h 759650"/>
                <a:gd name="connsiteX1041" fmla="*/ 320712 w 549933"/>
                <a:gd name="connsiteY1041" fmla="*/ 255998 h 759650"/>
                <a:gd name="connsiteX1042" fmla="*/ 320612 w 549933"/>
                <a:gd name="connsiteY1042" fmla="*/ 257074 h 759650"/>
                <a:gd name="connsiteX1043" fmla="*/ 320612 w 549933"/>
                <a:gd name="connsiteY1043" fmla="*/ 259463 h 759650"/>
                <a:gd name="connsiteX1044" fmla="*/ 321756 w 549933"/>
                <a:gd name="connsiteY1044" fmla="*/ 260270 h 759650"/>
                <a:gd name="connsiteX1045" fmla="*/ 323438 w 549933"/>
                <a:gd name="connsiteY1045" fmla="*/ 262288 h 759650"/>
                <a:gd name="connsiteX1046" fmla="*/ 325189 w 549933"/>
                <a:gd name="connsiteY1046" fmla="*/ 263735 h 759650"/>
                <a:gd name="connsiteX1047" fmla="*/ 326703 w 549933"/>
                <a:gd name="connsiteY1047" fmla="*/ 265316 h 759650"/>
                <a:gd name="connsiteX1048" fmla="*/ 327746 w 549933"/>
                <a:gd name="connsiteY1048" fmla="*/ 267772 h 759650"/>
                <a:gd name="connsiteX1049" fmla="*/ 328352 w 549933"/>
                <a:gd name="connsiteY1049" fmla="*/ 269386 h 759650"/>
                <a:gd name="connsiteX1050" fmla="*/ 328419 w 549933"/>
                <a:gd name="connsiteY1050" fmla="*/ 271573 h 759650"/>
                <a:gd name="connsiteX1051" fmla="*/ 328487 w 549933"/>
                <a:gd name="connsiteY1051" fmla="*/ 273860 h 759650"/>
                <a:gd name="connsiteX1052" fmla="*/ 326905 w 549933"/>
                <a:gd name="connsiteY1052" fmla="*/ 276148 h 759650"/>
                <a:gd name="connsiteX1053" fmla="*/ 324852 w 549933"/>
                <a:gd name="connsiteY1053" fmla="*/ 278435 h 759650"/>
                <a:gd name="connsiteX1054" fmla="*/ 323203 w 549933"/>
                <a:gd name="connsiteY1054" fmla="*/ 279680 h 759650"/>
                <a:gd name="connsiteX1055" fmla="*/ 320140 w 549933"/>
                <a:gd name="connsiteY1055" fmla="*/ 281295 h 759650"/>
                <a:gd name="connsiteX1056" fmla="*/ 318289 w 549933"/>
                <a:gd name="connsiteY1056" fmla="*/ 282438 h 759650"/>
                <a:gd name="connsiteX1057" fmla="*/ 316876 w 549933"/>
                <a:gd name="connsiteY1057" fmla="*/ 282943 h 759650"/>
                <a:gd name="connsiteX1058" fmla="*/ 314520 w 549933"/>
                <a:gd name="connsiteY1058" fmla="*/ 282943 h 759650"/>
                <a:gd name="connsiteX1059" fmla="*/ 312198 w 549933"/>
                <a:gd name="connsiteY1059" fmla="*/ 283279 h 759650"/>
                <a:gd name="connsiteX1060" fmla="*/ 309304 w 549933"/>
                <a:gd name="connsiteY1060" fmla="*/ 283246 h 759650"/>
                <a:gd name="connsiteX1061" fmla="*/ 305837 w 549933"/>
                <a:gd name="connsiteY1061" fmla="*/ 282539 h 759650"/>
                <a:gd name="connsiteX1062" fmla="*/ 301933 w 549933"/>
                <a:gd name="connsiteY1062" fmla="*/ 283952 h 759650"/>
                <a:gd name="connsiteX1063" fmla="*/ 298332 w 549933"/>
                <a:gd name="connsiteY1063" fmla="*/ 284827 h 759650"/>
                <a:gd name="connsiteX1064" fmla="*/ 295942 w 549933"/>
                <a:gd name="connsiteY1064" fmla="*/ 285600 h 759650"/>
                <a:gd name="connsiteX1065" fmla="*/ 292779 w 549933"/>
                <a:gd name="connsiteY1065" fmla="*/ 284827 h 759650"/>
                <a:gd name="connsiteX1066" fmla="*/ 289952 w 549933"/>
                <a:gd name="connsiteY1066" fmla="*/ 282977 h 759650"/>
                <a:gd name="connsiteX1067" fmla="*/ 286385 w 549933"/>
                <a:gd name="connsiteY1067" fmla="*/ 282102 h 759650"/>
                <a:gd name="connsiteX1068" fmla="*/ 281370 w 549933"/>
                <a:gd name="connsiteY1068" fmla="*/ 282539 h 759650"/>
                <a:gd name="connsiteX1069" fmla="*/ 278543 w 549933"/>
                <a:gd name="connsiteY1069" fmla="*/ 286677 h 759650"/>
                <a:gd name="connsiteX1070" fmla="*/ 277130 w 549933"/>
                <a:gd name="connsiteY1070" fmla="*/ 291555 h 759650"/>
                <a:gd name="connsiteX1071" fmla="*/ 277130 w 549933"/>
                <a:gd name="connsiteY1071" fmla="*/ 295995 h 759650"/>
                <a:gd name="connsiteX1072" fmla="*/ 276356 w 549933"/>
                <a:gd name="connsiteY1072" fmla="*/ 301748 h 759650"/>
                <a:gd name="connsiteX1073" fmla="*/ 276894 w 549933"/>
                <a:gd name="connsiteY1073" fmla="*/ 305112 h 759650"/>
                <a:gd name="connsiteX1074" fmla="*/ 280697 w 549933"/>
                <a:gd name="connsiteY1074" fmla="*/ 310662 h 759650"/>
                <a:gd name="connsiteX1075" fmla="*/ 282313 w 549933"/>
                <a:gd name="connsiteY1075" fmla="*/ 314127 h 759650"/>
                <a:gd name="connsiteX1076" fmla="*/ 285241 w 549933"/>
                <a:gd name="connsiteY1076" fmla="*/ 314497 h 759650"/>
                <a:gd name="connsiteX1077" fmla="*/ 288168 w 549933"/>
                <a:gd name="connsiteY1077" fmla="*/ 312479 h 759650"/>
                <a:gd name="connsiteX1078" fmla="*/ 288370 w 549933"/>
                <a:gd name="connsiteY1078" fmla="*/ 312479 h 759650"/>
                <a:gd name="connsiteX1079" fmla="*/ 290861 w 549933"/>
                <a:gd name="connsiteY1079" fmla="*/ 314430 h 759650"/>
                <a:gd name="connsiteX1080" fmla="*/ 293149 w 549933"/>
                <a:gd name="connsiteY1080" fmla="*/ 318029 h 759650"/>
                <a:gd name="connsiteX1081" fmla="*/ 293688 w 549933"/>
                <a:gd name="connsiteY1081" fmla="*/ 320216 h 759650"/>
                <a:gd name="connsiteX1082" fmla="*/ 291837 w 549933"/>
                <a:gd name="connsiteY1082" fmla="*/ 324219 h 759650"/>
                <a:gd name="connsiteX1083" fmla="*/ 292039 w 549933"/>
                <a:gd name="connsiteY1083" fmla="*/ 327886 h 759650"/>
                <a:gd name="connsiteX1084" fmla="*/ 293452 w 549933"/>
                <a:gd name="connsiteY1084" fmla="*/ 329231 h 759650"/>
                <a:gd name="connsiteX1085" fmla="*/ 293452 w 549933"/>
                <a:gd name="connsiteY1085" fmla="*/ 330106 h 759650"/>
                <a:gd name="connsiteX1086" fmla="*/ 290625 w 549933"/>
                <a:gd name="connsiteY1086" fmla="*/ 332494 h 759650"/>
                <a:gd name="connsiteX1087" fmla="*/ 289212 w 549933"/>
                <a:gd name="connsiteY1087" fmla="*/ 333806 h 759650"/>
                <a:gd name="connsiteX1088" fmla="*/ 284971 w 549933"/>
                <a:gd name="connsiteY1088" fmla="*/ 336195 h 759650"/>
                <a:gd name="connsiteX1089" fmla="*/ 282784 w 549933"/>
                <a:gd name="connsiteY1089" fmla="*/ 340332 h 759650"/>
                <a:gd name="connsiteX1090" fmla="*/ 279620 w 549933"/>
                <a:gd name="connsiteY1090" fmla="*/ 340332 h 759650"/>
                <a:gd name="connsiteX1091" fmla="*/ 276457 w 549933"/>
                <a:gd name="connsiteY1091" fmla="*/ 340332 h 759650"/>
                <a:gd name="connsiteX1092" fmla="*/ 272654 w 549933"/>
                <a:gd name="connsiteY1092" fmla="*/ 340332 h 759650"/>
                <a:gd name="connsiteX1093" fmla="*/ 268413 w 549933"/>
                <a:gd name="connsiteY1093" fmla="*/ 336329 h 759650"/>
                <a:gd name="connsiteX1094" fmla="*/ 263634 w 549933"/>
                <a:gd name="connsiteY1094" fmla="*/ 335656 h 759650"/>
                <a:gd name="connsiteX1095" fmla="*/ 262221 w 549933"/>
                <a:gd name="connsiteY1095" fmla="*/ 336867 h 759650"/>
                <a:gd name="connsiteX1096" fmla="*/ 261548 w 549933"/>
                <a:gd name="connsiteY1096" fmla="*/ 337843 h 759650"/>
                <a:gd name="connsiteX1097" fmla="*/ 261009 w 549933"/>
                <a:gd name="connsiteY1097" fmla="*/ 339693 h 759650"/>
                <a:gd name="connsiteX1098" fmla="*/ 260471 w 549933"/>
                <a:gd name="connsiteY1098" fmla="*/ 341644 h 759650"/>
                <a:gd name="connsiteX1099" fmla="*/ 260571 w 549933"/>
                <a:gd name="connsiteY1099" fmla="*/ 344033 h 759650"/>
                <a:gd name="connsiteX1100" fmla="*/ 260235 w 549933"/>
                <a:gd name="connsiteY1100" fmla="*/ 345883 h 759650"/>
                <a:gd name="connsiteX1101" fmla="*/ 259562 w 549933"/>
                <a:gd name="connsiteY1101" fmla="*/ 347195 h 759650"/>
                <a:gd name="connsiteX1102" fmla="*/ 258047 w 549933"/>
                <a:gd name="connsiteY1102" fmla="*/ 348944 h 759650"/>
                <a:gd name="connsiteX1103" fmla="*/ 254447 w 549933"/>
                <a:gd name="connsiteY1103" fmla="*/ 350592 h 759650"/>
                <a:gd name="connsiteX1104" fmla="*/ 251821 w 549933"/>
                <a:gd name="connsiteY1104" fmla="*/ 351231 h 759650"/>
                <a:gd name="connsiteX1105" fmla="*/ 249432 w 549933"/>
                <a:gd name="connsiteY1105" fmla="*/ 352005 h 759650"/>
                <a:gd name="connsiteX1106" fmla="*/ 247783 w 549933"/>
                <a:gd name="connsiteY1106" fmla="*/ 352005 h 759650"/>
                <a:gd name="connsiteX1107" fmla="*/ 245730 w 549933"/>
                <a:gd name="connsiteY1107" fmla="*/ 352039 h 759650"/>
                <a:gd name="connsiteX1108" fmla="*/ 241490 w 549933"/>
                <a:gd name="connsiteY1108" fmla="*/ 348978 h 759650"/>
                <a:gd name="connsiteX1109" fmla="*/ 238999 w 549933"/>
                <a:gd name="connsiteY1109" fmla="*/ 345950 h 759650"/>
                <a:gd name="connsiteX1110" fmla="*/ 236710 w 549933"/>
                <a:gd name="connsiteY1110" fmla="*/ 343663 h 759650"/>
                <a:gd name="connsiteX1111" fmla="*/ 234321 w 549933"/>
                <a:gd name="connsiteY1111" fmla="*/ 343562 h 759650"/>
                <a:gd name="connsiteX1112" fmla="*/ 230417 w 549933"/>
                <a:gd name="connsiteY1112" fmla="*/ 343663 h 759650"/>
                <a:gd name="connsiteX1113" fmla="*/ 227153 w 549933"/>
                <a:gd name="connsiteY1113" fmla="*/ 345176 h 759650"/>
                <a:gd name="connsiteX1114" fmla="*/ 225302 w 549933"/>
                <a:gd name="connsiteY1114" fmla="*/ 346690 h 759650"/>
                <a:gd name="connsiteX1115" fmla="*/ 220624 w 549933"/>
                <a:gd name="connsiteY1115" fmla="*/ 349079 h 759650"/>
                <a:gd name="connsiteX1116" fmla="*/ 216148 w 549933"/>
                <a:gd name="connsiteY1116" fmla="*/ 350390 h 759650"/>
                <a:gd name="connsiteX1117" fmla="*/ 212345 w 549933"/>
                <a:gd name="connsiteY1117" fmla="*/ 350491 h 759650"/>
                <a:gd name="connsiteX1118" fmla="*/ 206926 w 549933"/>
                <a:gd name="connsiteY1118" fmla="*/ 349079 h 759650"/>
                <a:gd name="connsiteX1119" fmla="*/ 204436 w 549933"/>
                <a:gd name="connsiteY1119" fmla="*/ 349079 h 759650"/>
                <a:gd name="connsiteX1120" fmla="*/ 202147 w 549933"/>
                <a:gd name="connsiteY1120" fmla="*/ 350929 h 759650"/>
                <a:gd name="connsiteX1121" fmla="*/ 201171 w 549933"/>
                <a:gd name="connsiteY1121" fmla="*/ 355066 h 759650"/>
                <a:gd name="connsiteX1122" fmla="*/ 199657 w 549933"/>
                <a:gd name="connsiteY1122" fmla="*/ 355706 h 759650"/>
                <a:gd name="connsiteX1123" fmla="*/ 194878 w 549933"/>
                <a:gd name="connsiteY1123" fmla="*/ 355066 h 759650"/>
                <a:gd name="connsiteX1124" fmla="*/ 192589 w 549933"/>
                <a:gd name="connsiteY1124" fmla="*/ 353654 h 759650"/>
                <a:gd name="connsiteX1125" fmla="*/ 189863 w 549933"/>
                <a:gd name="connsiteY1125" fmla="*/ 348978 h 759650"/>
                <a:gd name="connsiteX1126" fmla="*/ 188989 w 549933"/>
                <a:gd name="connsiteY1126" fmla="*/ 345950 h 759650"/>
                <a:gd name="connsiteX1127" fmla="*/ 186262 w 549933"/>
                <a:gd name="connsiteY1127" fmla="*/ 343999 h 759650"/>
                <a:gd name="connsiteX1128" fmla="*/ 182459 w 549933"/>
                <a:gd name="connsiteY1128" fmla="*/ 343562 h 759650"/>
                <a:gd name="connsiteX1129" fmla="*/ 179531 w 549933"/>
                <a:gd name="connsiteY1129" fmla="*/ 343360 h 759650"/>
                <a:gd name="connsiteX1130" fmla="*/ 175829 w 549933"/>
                <a:gd name="connsiteY1130" fmla="*/ 342048 h 759650"/>
                <a:gd name="connsiteX1131" fmla="*/ 175156 w 549933"/>
                <a:gd name="connsiteY1131" fmla="*/ 337708 h 759650"/>
                <a:gd name="connsiteX1132" fmla="*/ 172565 w 549933"/>
                <a:gd name="connsiteY1132" fmla="*/ 336834 h 759650"/>
                <a:gd name="connsiteX1133" fmla="*/ 167887 w 549933"/>
                <a:gd name="connsiteY1133" fmla="*/ 335959 h 759650"/>
                <a:gd name="connsiteX1134" fmla="*/ 167416 w 549933"/>
                <a:gd name="connsiteY1134" fmla="*/ 334445 h 759650"/>
                <a:gd name="connsiteX1135" fmla="*/ 165598 w 549933"/>
                <a:gd name="connsiteY1135" fmla="*/ 331418 h 759650"/>
                <a:gd name="connsiteX1136" fmla="*/ 165598 w 549933"/>
                <a:gd name="connsiteY1136" fmla="*/ 329130 h 759650"/>
                <a:gd name="connsiteX1137" fmla="*/ 166911 w 549933"/>
                <a:gd name="connsiteY1137" fmla="*/ 327953 h 759650"/>
                <a:gd name="connsiteX1138" fmla="*/ 169839 w 549933"/>
                <a:gd name="connsiteY1138" fmla="*/ 328054 h 759650"/>
                <a:gd name="connsiteX1139" fmla="*/ 172128 w 549933"/>
                <a:gd name="connsiteY1139" fmla="*/ 328928 h 759650"/>
                <a:gd name="connsiteX1140" fmla="*/ 173642 w 549933"/>
                <a:gd name="connsiteY1140" fmla="*/ 329366 h 759650"/>
                <a:gd name="connsiteX1141" fmla="*/ 176031 w 549933"/>
                <a:gd name="connsiteY1141" fmla="*/ 329803 h 759650"/>
                <a:gd name="connsiteX1142" fmla="*/ 177479 w 549933"/>
                <a:gd name="connsiteY1142" fmla="*/ 328727 h 759650"/>
                <a:gd name="connsiteX1143" fmla="*/ 178387 w 549933"/>
                <a:gd name="connsiteY1143" fmla="*/ 327179 h 759650"/>
                <a:gd name="connsiteX1144" fmla="*/ 178791 w 549933"/>
                <a:gd name="connsiteY1144" fmla="*/ 325463 h 759650"/>
                <a:gd name="connsiteX1145" fmla="*/ 177748 w 549933"/>
                <a:gd name="connsiteY1145" fmla="*/ 323849 h 759650"/>
                <a:gd name="connsiteX1146" fmla="*/ 174584 w 549933"/>
                <a:gd name="connsiteY1146" fmla="*/ 320720 h 759650"/>
                <a:gd name="connsiteX1147" fmla="*/ 173103 w 549933"/>
                <a:gd name="connsiteY1147" fmla="*/ 318567 h 759650"/>
                <a:gd name="connsiteX1148" fmla="*/ 169974 w 549933"/>
                <a:gd name="connsiteY1148" fmla="*/ 315271 h 759650"/>
                <a:gd name="connsiteX1149" fmla="*/ 167651 w 549933"/>
                <a:gd name="connsiteY1149" fmla="*/ 313454 h 759650"/>
                <a:gd name="connsiteX1150" fmla="*/ 165397 w 549933"/>
                <a:gd name="connsiteY1150" fmla="*/ 310998 h 759650"/>
                <a:gd name="connsiteX1151" fmla="*/ 164387 w 549933"/>
                <a:gd name="connsiteY1151" fmla="*/ 308038 h 759650"/>
                <a:gd name="connsiteX1152" fmla="*/ 164151 w 549933"/>
                <a:gd name="connsiteY1152" fmla="*/ 305448 h 759650"/>
                <a:gd name="connsiteX1153" fmla="*/ 163882 w 549933"/>
                <a:gd name="connsiteY1153" fmla="*/ 301613 h 759650"/>
                <a:gd name="connsiteX1154" fmla="*/ 163882 w 549933"/>
                <a:gd name="connsiteY1154" fmla="*/ 299662 h 759650"/>
                <a:gd name="connsiteX1155" fmla="*/ 167517 w 549933"/>
                <a:gd name="connsiteY1155" fmla="*/ 298787 h 759650"/>
                <a:gd name="connsiteX1156" fmla="*/ 168257 w 549933"/>
                <a:gd name="connsiteY1156" fmla="*/ 298787 h 759650"/>
                <a:gd name="connsiteX1157" fmla="*/ 170007 w 549933"/>
                <a:gd name="connsiteY1157" fmla="*/ 298787 h 759650"/>
                <a:gd name="connsiteX1158" fmla="*/ 171757 w 549933"/>
                <a:gd name="connsiteY1158" fmla="*/ 298787 h 759650"/>
                <a:gd name="connsiteX1159" fmla="*/ 173473 w 549933"/>
                <a:gd name="connsiteY1159" fmla="*/ 298787 h 759650"/>
                <a:gd name="connsiteX1160" fmla="*/ 174214 w 549933"/>
                <a:gd name="connsiteY1160" fmla="*/ 298283 h 759650"/>
                <a:gd name="connsiteX1161" fmla="*/ 176166 w 549933"/>
                <a:gd name="connsiteY1161" fmla="*/ 296769 h 759650"/>
                <a:gd name="connsiteX1162" fmla="*/ 177680 w 549933"/>
                <a:gd name="connsiteY1162" fmla="*/ 293506 h 759650"/>
                <a:gd name="connsiteX1163" fmla="*/ 180575 w 549933"/>
                <a:gd name="connsiteY1163" fmla="*/ 290916 h 759650"/>
                <a:gd name="connsiteX1164" fmla="*/ 182392 w 549933"/>
                <a:gd name="connsiteY1164" fmla="*/ 290041 h 759650"/>
                <a:gd name="connsiteX1165" fmla="*/ 185724 w 549933"/>
                <a:gd name="connsiteY1165" fmla="*/ 287350 h 759650"/>
                <a:gd name="connsiteX1166" fmla="*/ 187911 w 549933"/>
                <a:gd name="connsiteY1166" fmla="*/ 286711 h 759650"/>
                <a:gd name="connsiteX1167" fmla="*/ 190234 w 549933"/>
                <a:gd name="connsiteY1167" fmla="*/ 286711 h 759650"/>
                <a:gd name="connsiteX1168" fmla="*/ 193128 w 549933"/>
                <a:gd name="connsiteY1168" fmla="*/ 286677 h 759650"/>
                <a:gd name="connsiteX1169" fmla="*/ 195753 w 549933"/>
                <a:gd name="connsiteY1169" fmla="*/ 286071 h 759650"/>
                <a:gd name="connsiteX1170" fmla="*/ 197638 w 549933"/>
                <a:gd name="connsiteY1170" fmla="*/ 285500 h 759650"/>
                <a:gd name="connsiteX1171" fmla="*/ 200027 w 549933"/>
                <a:gd name="connsiteY1171" fmla="*/ 283549 h 759650"/>
                <a:gd name="connsiteX1172" fmla="*/ 200835 w 549933"/>
                <a:gd name="connsiteY1172" fmla="*/ 282607 h 759650"/>
                <a:gd name="connsiteX1173" fmla="*/ 202215 w 549933"/>
                <a:gd name="connsiteY1173" fmla="*/ 281026 h 759650"/>
                <a:gd name="connsiteX1174" fmla="*/ 203729 w 549933"/>
                <a:gd name="connsiteY1174" fmla="*/ 280084 h 759650"/>
                <a:gd name="connsiteX1175" fmla="*/ 206119 w 549933"/>
                <a:gd name="connsiteY1175" fmla="*/ 278133 h 759650"/>
                <a:gd name="connsiteX1176" fmla="*/ 207633 w 549933"/>
                <a:gd name="connsiteY1176" fmla="*/ 276619 h 759650"/>
                <a:gd name="connsiteX1177" fmla="*/ 209148 w 549933"/>
                <a:gd name="connsiteY1177" fmla="*/ 274298 h 759650"/>
                <a:gd name="connsiteX1178" fmla="*/ 209148 w 549933"/>
                <a:gd name="connsiteY1178" fmla="*/ 270160 h 759650"/>
                <a:gd name="connsiteX1179" fmla="*/ 205816 w 549933"/>
                <a:gd name="connsiteY1179" fmla="*/ 266964 h 759650"/>
                <a:gd name="connsiteX1180" fmla="*/ 205109 w 549933"/>
                <a:gd name="connsiteY1180" fmla="*/ 263701 h 759650"/>
                <a:gd name="connsiteX1181" fmla="*/ 201037 w 549933"/>
                <a:gd name="connsiteY1181" fmla="*/ 260573 h 759650"/>
                <a:gd name="connsiteX1182" fmla="*/ 199589 w 549933"/>
                <a:gd name="connsiteY1182" fmla="*/ 260573 h 759650"/>
                <a:gd name="connsiteX1183" fmla="*/ 197840 w 549933"/>
                <a:gd name="connsiteY1183" fmla="*/ 260573 h 759650"/>
                <a:gd name="connsiteX1184" fmla="*/ 195820 w 549933"/>
                <a:gd name="connsiteY1184" fmla="*/ 259429 h 759650"/>
                <a:gd name="connsiteX1185" fmla="*/ 194945 w 549933"/>
                <a:gd name="connsiteY1185" fmla="*/ 257848 h 759650"/>
                <a:gd name="connsiteX1186" fmla="*/ 195349 w 549933"/>
                <a:gd name="connsiteY1186" fmla="*/ 256637 h 759650"/>
                <a:gd name="connsiteX1187" fmla="*/ 194205 w 549933"/>
                <a:gd name="connsiteY1187" fmla="*/ 254719 h 759650"/>
                <a:gd name="connsiteX1188" fmla="*/ 193397 w 549933"/>
                <a:gd name="connsiteY1188" fmla="*/ 253138 h 759650"/>
                <a:gd name="connsiteX1189" fmla="*/ 192152 w 549933"/>
                <a:gd name="connsiteY1189" fmla="*/ 252365 h 759650"/>
                <a:gd name="connsiteX1190" fmla="*/ 189695 w 549933"/>
                <a:gd name="connsiteY1190" fmla="*/ 250413 h 759650"/>
                <a:gd name="connsiteX1191" fmla="*/ 188585 w 549933"/>
                <a:gd name="connsiteY1191" fmla="*/ 248126 h 759650"/>
                <a:gd name="connsiteX1192" fmla="*/ 188282 w 549933"/>
                <a:gd name="connsiteY1192" fmla="*/ 246377 h 759650"/>
                <a:gd name="connsiteX1193" fmla="*/ 188282 w 549933"/>
                <a:gd name="connsiteY1193" fmla="*/ 245771 h 759650"/>
                <a:gd name="connsiteX1194" fmla="*/ 187911 w 549933"/>
                <a:gd name="connsiteY1194" fmla="*/ 243753 h 759650"/>
                <a:gd name="connsiteX1195" fmla="*/ 188282 w 549933"/>
                <a:gd name="connsiteY1195" fmla="*/ 242441 h 759650"/>
                <a:gd name="connsiteX1196" fmla="*/ 189157 w 549933"/>
                <a:gd name="connsiteY1196" fmla="*/ 241230 h 759650"/>
                <a:gd name="connsiteX1197" fmla="*/ 190907 w 549933"/>
                <a:gd name="connsiteY1197" fmla="*/ 239716 h 759650"/>
                <a:gd name="connsiteX1198" fmla="*/ 192522 w 549933"/>
                <a:gd name="connsiteY1198" fmla="*/ 239279 h 759650"/>
                <a:gd name="connsiteX1199" fmla="*/ 193734 w 549933"/>
                <a:gd name="connsiteY1199" fmla="*/ 239279 h 759650"/>
                <a:gd name="connsiteX1200" fmla="*/ 195955 w 549933"/>
                <a:gd name="connsiteY1200" fmla="*/ 238135 h 759650"/>
                <a:gd name="connsiteX1201" fmla="*/ 198782 w 549933"/>
                <a:gd name="connsiteY1201" fmla="*/ 236117 h 759650"/>
                <a:gd name="connsiteX1202" fmla="*/ 199859 w 549933"/>
                <a:gd name="connsiteY1202" fmla="*/ 235309 h 759650"/>
                <a:gd name="connsiteX1203" fmla="*/ 201104 w 549933"/>
                <a:gd name="connsiteY1203" fmla="*/ 234939 h 759650"/>
                <a:gd name="connsiteX1204" fmla="*/ 203325 w 549933"/>
                <a:gd name="connsiteY1204" fmla="*/ 234939 h 759650"/>
                <a:gd name="connsiteX1205" fmla="*/ 205244 w 549933"/>
                <a:gd name="connsiteY1205" fmla="*/ 234939 h 759650"/>
                <a:gd name="connsiteX1206" fmla="*/ 207128 w 549933"/>
                <a:gd name="connsiteY1206" fmla="*/ 234906 h 759650"/>
                <a:gd name="connsiteX1207" fmla="*/ 209955 w 549933"/>
                <a:gd name="connsiteY1207" fmla="*/ 234872 h 759650"/>
                <a:gd name="connsiteX1208" fmla="*/ 211840 w 549933"/>
                <a:gd name="connsiteY1208" fmla="*/ 234872 h 759650"/>
                <a:gd name="connsiteX1209" fmla="*/ 214027 w 549933"/>
                <a:gd name="connsiteY1209" fmla="*/ 234872 h 759650"/>
                <a:gd name="connsiteX1210" fmla="*/ 217460 w 549933"/>
                <a:gd name="connsiteY1210" fmla="*/ 234065 h 759650"/>
                <a:gd name="connsiteX1211" fmla="*/ 218638 w 549933"/>
                <a:gd name="connsiteY1211" fmla="*/ 231474 h 759650"/>
                <a:gd name="connsiteX1212" fmla="*/ 220927 w 549933"/>
                <a:gd name="connsiteY1212" fmla="*/ 228279 h 759650"/>
                <a:gd name="connsiteX1213" fmla="*/ 221566 w 549933"/>
                <a:gd name="connsiteY1213" fmla="*/ 225285 h 759650"/>
                <a:gd name="connsiteX1214" fmla="*/ 222206 w 549933"/>
                <a:gd name="connsiteY1214" fmla="*/ 222997 h 759650"/>
                <a:gd name="connsiteX1215" fmla="*/ 223855 w 549933"/>
                <a:gd name="connsiteY1215" fmla="*/ 220710 h 759650"/>
                <a:gd name="connsiteX1216" fmla="*/ 224662 w 549933"/>
                <a:gd name="connsiteY1216" fmla="*/ 219734 h 759650"/>
                <a:gd name="connsiteX1217" fmla="*/ 226009 w 549933"/>
                <a:gd name="connsiteY1217" fmla="*/ 218220 h 759650"/>
                <a:gd name="connsiteX1218" fmla="*/ 227927 w 549933"/>
                <a:gd name="connsiteY1218" fmla="*/ 216437 h 759650"/>
                <a:gd name="connsiteX1219" fmla="*/ 230586 w 549933"/>
                <a:gd name="connsiteY1219" fmla="*/ 215529 h 759650"/>
                <a:gd name="connsiteX1220" fmla="*/ 232638 w 549933"/>
                <a:gd name="connsiteY1220" fmla="*/ 215395 h 759650"/>
                <a:gd name="connsiteX1221" fmla="*/ 234321 w 549933"/>
                <a:gd name="connsiteY1221" fmla="*/ 215395 h 759650"/>
                <a:gd name="connsiteX1222" fmla="*/ 236441 w 549933"/>
                <a:gd name="connsiteY1222" fmla="*/ 215058 h 759650"/>
                <a:gd name="connsiteX1223" fmla="*/ 238192 w 549933"/>
                <a:gd name="connsiteY1223" fmla="*/ 214419 h 759650"/>
                <a:gd name="connsiteX1224" fmla="*/ 239605 w 549933"/>
                <a:gd name="connsiteY1224" fmla="*/ 213174 h 759650"/>
                <a:gd name="connsiteX1225" fmla="*/ 240648 w 549933"/>
                <a:gd name="connsiteY1225" fmla="*/ 212132 h 759650"/>
                <a:gd name="connsiteX1226" fmla="*/ 242398 w 549933"/>
                <a:gd name="connsiteY1226" fmla="*/ 212132 h 759650"/>
                <a:gd name="connsiteX1227" fmla="*/ 243206 w 549933"/>
                <a:gd name="connsiteY1227" fmla="*/ 213444 h 759650"/>
                <a:gd name="connsiteX1228" fmla="*/ 243710 w 549933"/>
                <a:gd name="connsiteY1228" fmla="*/ 214621 h 759650"/>
                <a:gd name="connsiteX1229" fmla="*/ 246100 w 549933"/>
                <a:gd name="connsiteY1229" fmla="*/ 215126 h 759650"/>
                <a:gd name="connsiteX1230" fmla="*/ 247884 w 549933"/>
                <a:gd name="connsiteY1230" fmla="*/ 214957 h 759650"/>
                <a:gd name="connsiteX1231" fmla="*/ 248759 w 549933"/>
                <a:gd name="connsiteY1231" fmla="*/ 213444 h 759650"/>
                <a:gd name="connsiteX1232" fmla="*/ 247884 w 549933"/>
                <a:gd name="connsiteY1232" fmla="*/ 211257 h 759650"/>
                <a:gd name="connsiteX1233" fmla="*/ 246100 w 549933"/>
                <a:gd name="connsiteY1233" fmla="*/ 210214 h 759650"/>
                <a:gd name="connsiteX1234" fmla="*/ 243610 w 549933"/>
                <a:gd name="connsiteY1234" fmla="*/ 208801 h 759650"/>
                <a:gd name="connsiteX1235" fmla="*/ 240581 w 549933"/>
                <a:gd name="connsiteY1235" fmla="*/ 206514 h 759650"/>
                <a:gd name="connsiteX1236" fmla="*/ 239504 w 549933"/>
                <a:gd name="connsiteY1236" fmla="*/ 204495 h 759650"/>
                <a:gd name="connsiteX1237" fmla="*/ 237989 w 549933"/>
                <a:gd name="connsiteY1237" fmla="*/ 202208 h 759650"/>
                <a:gd name="connsiteX1238" fmla="*/ 236744 w 549933"/>
                <a:gd name="connsiteY1238" fmla="*/ 199752 h 759650"/>
                <a:gd name="connsiteX1239" fmla="*/ 236475 w 549933"/>
                <a:gd name="connsiteY1239" fmla="*/ 198070 h 759650"/>
                <a:gd name="connsiteX1240" fmla="*/ 237384 w 549933"/>
                <a:gd name="connsiteY1240" fmla="*/ 196926 h 759650"/>
                <a:gd name="connsiteX1241" fmla="*/ 239134 w 549933"/>
                <a:gd name="connsiteY1241" fmla="*/ 196388 h 759650"/>
                <a:gd name="connsiteX1242" fmla="*/ 241287 w 549933"/>
                <a:gd name="connsiteY1242" fmla="*/ 196725 h 759650"/>
                <a:gd name="connsiteX1243" fmla="*/ 243610 w 549933"/>
                <a:gd name="connsiteY1243" fmla="*/ 198037 h 759650"/>
                <a:gd name="connsiteX1244" fmla="*/ 244821 w 549933"/>
                <a:gd name="connsiteY1244" fmla="*/ 199113 h 759650"/>
                <a:gd name="connsiteX1245" fmla="*/ 248254 w 549933"/>
                <a:gd name="connsiteY1245" fmla="*/ 200425 h 759650"/>
                <a:gd name="connsiteX1246" fmla="*/ 249331 w 549933"/>
                <a:gd name="connsiteY1246" fmla="*/ 199349 h 759650"/>
                <a:gd name="connsiteX1247" fmla="*/ 248826 w 549933"/>
                <a:gd name="connsiteY1247" fmla="*/ 197767 h 759650"/>
                <a:gd name="connsiteX1248" fmla="*/ 248658 w 549933"/>
                <a:gd name="connsiteY1248" fmla="*/ 195715 h 759650"/>
                <a:gd name="connsiteX1249" fmla="*/ 247009 w 549933"/>
                <a:gd name="connsiteY1249" fmla="*/ 193764 h 759650"/>
                <a:gd name="connsiteX1250" fmla="*/ 245663 w 549933"/>
                <a:gd name="connsiteY1250" fmla="*/ 192621 h 759650"/>
                <a:gd name="connsiteX1251" fmla="*/ 244687 w 549933"/>
                <a:gd name="connsiteY1251" fmla="*/ 190770 h 759650"/>
                <a:gd name="connsiteX1252" fmla="*/ 244687 w 549933"/>
                <a:gd name="connsiteY1252" fmla="*/ 189358 h 759650"/>
                <a:gd name="connsiteX1253" fmla="*/ 246706 w 549933"/>
                <a:gd name="connsiteY1253" fmla="*/ 188752 h 759650"/>
                <a:gd name="connsiteX1254" fmla="*/ 249331 w 549933"/>
                <a:gd name="connsiteY1254" fmla="*/ 188416 h 759650"/>
                <a:gd name="connsiteX1255" fmla="*/ 253336 w 549933"/>
                <a:gd name="connsiteY1255" fmla="*/ 189660 h 759650"/>
                <a:gd name="connsiteX1256" fmla="*/ 255961 w 549933"/>
                <a:gd name="connsiteY1256" fmla="*/ 187743 h 759650"/>
                <a:gd name="connsiteX1257" fmla="*/ 258351 w 549933"/>
                <a:gd name="connsiteY1257" fmla="*/ 186296 h 759650"/>
                <a:gd name="connsiteX1258" fmla="*/ 258653 w 549933"/>
                <a:gd name="connsiteY1258" fmla="*/ 183168 h 759650"/>
                <a:gd name="connsiteX1259" fmla="*/ 258653 w 549933"/>
                <a:gd name="connsiteY1259" fmla="*/ 180645 h 759650"/>
                <a:gd name="connsiteX1260" fmla="*/ 259730 w 549933"/>
                <a:gd name="connsiteY1260" fmla="*/ 178626 h 759650"/>
                <a:gd name="connsiteX1261" fmla="*/ 260875 w 549933"/>
                <a:gd name="connsiteY1261" fmla="*/ 176945 h 759650"/>
                <a:gd name="connsiteX1262" fmla="*/ 263264 w 549933"/>
                <a:gd name="connsiteY1262" fmla="*/ 175633 h 759650"/>
                <a:gd name="connsiteX1263" fmla="*/ 265452 w 549933"/>
                <a:gd name="connsiteY1263" fmla="*/ 175633 h 759650"/>
                <a:gd name="connsiteX1264" fmla="*/ 266764 w 549933"/>
                <a:gd name="connsiteY1264" fmla="*/ 176137 h 759650"/>
                <a:gd name="connsiteX1265" fmla="*/ 267639 w 549933"/>
                <a:gd name="connsiteY1265" fmla="*/ 178660 h 759650"/>
                <a:gd name="connsiteX1266" fmla="*/ 267639 w 549933"/>
                <a:gd name="connsiteY1266" fmla="*/ 181620 h 759650"/>
                <a:gd name="connsiteX1267" fmla="*/ 267673 w 549933"/>
                <a:gd name="connsiteY1267" fmla="*/ 184076 h 759650"/>
                <a:gd name="connsiteX1268" fmla="*/ 267673 w 549933"/>
                <a:gd name="connsiteY1268" fmla="*/ 187205 h 759650"/>
                <a:gd name="connsiteX1269" fmla="*/ 268077 w 549933"/>
                <a:gd name="connsiteY1269" fmla="*/ 189526 h 759650"/>
                <a:gd name="connsiteX1270" fmla="*/ 269894 w 549933"/>
                <a:gd name="connsiteY1270" fmla="*/ 192419 h 759650"/>
                <a:gd name="connsiteX1271" fmla="*/ 271206 w 549933"/>
                <a:gd name="connsiteY1271" fmla="*/ 195379 h 759650"/>
                <a:gd name="connsiteX1272" fmla="*/ 273596 w 549933"/>
                <a:gd name="connsiteY1272" fmla="*/ 198003 h 759650"/>
                <a:gd name="connsiteX1273" fmla="*/ 277130 w 549933"/>
                <a:gd name="connsiteY1273" fmla="*/ 200694 h 759650"/>
                <a:gd name="connsiteX1274" fmla="*/ 281269 w 549933"/>
                <a:gd name="connsiteY1274" fmla="*/ 203284 h 759650"/>
                <a:gd name="connsiteX1275" fmla="*/ 283423 w 549933"/>
                <a:gd name="connsiteY1275" fmla="*/ 204664 h 759650"/>
                <a:gd name="connsiteX1276" fmla="*/ 287899 w 549933"/>
                <a:gd name="connsiteY1276" fmla="*/ 210685 h 759650"/>
                <a:gd name="connsiteX1277" fmla="*/ 291231 w 549933"/>
                <a:gd name="connsiteY1277" fmla="*/ 214217 h 759650"/>
                <a:gd name="connsiteX1278" fmla="*/ 293755 w 549933"/>
                <a:gd name="connsiteY1278" fmla="*/ 216606 h 759650"/>
                <a:gd name="connsiteX1279" fmla="*/ 299847 w 549933"/>
                <a:gd name="connsiteY1279" fmla="*/ 219129 h 759650"/>
                <a:gd name="connsiteX1280" fmla="*/ 305938 w 549933"/>
                <a:gd name="connsiteY1280" fmla="*/ 217548 h 759650"/>
                <a:gd name="connsiteX1281" fmla="*/ 310583 w 549933"/>
                <a:gd name="connsiteY1281" fmla="*/ 216673 h 759650"/>
                <a:gd name="connsiteX1282" fmla="*/ 321756 w 549933"/>
                <a:gd name="connsiteY1282" fmla="*/ 217043 h 759650"/>
                <a:gd name="connsiteX1283" fmla="*/ 325087 w 549933"/>
                <a:gd name="connsiteY1283" fmla="*/ 217043 h 759650"/>
                <a:gd name="connsiteX1284" fmla="*/ 329294 w 549933"/>
                <a:gd name="connsiteY1284" fmla="*/ 218792 h 759650"/>
                <a:gd name="connsiteX1285" fmla="*/ 335218 w 549933"/>
                <a:gd name="connsiteY1285" fmla="*/ 218792 h 759650"/>
                <a:gd name="connsiteX1286" fmla="*/ 338415 w 549933"/>
                <a:gd name="connsiteY1286" fmla="*/ 218355 h 759650"/>
                <a:gd name="connsiteX1287" fmla="*/ 340299 w 549933"/>
                <a:gd name="connsiteY1287" fmla="*/ 221046 h 759650"/>
                <a:gd name="connsiteX1288" fmla="*/ 341107 w 549933"/>
                <a:gd name="connsiteY1288" fmla="*/ 222560 h 759650"/>
                <a:gd name="connsiteX1289" fmla="*/ 340299 w 549933"/>
                <a:gd name="connsiteY1289" fmla="*/ 224645 h 75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</a:cxnLst>
              <a:rect l="l" t="t" r="r" b="b"/>
              <a:pathLst>
                <a:path w="549933" h="759650">
                  <a:moveTo>
                    <a:pt x="547410" y="270059"/>
                  </a:moveTo>
                  <a:lnTo>
                    <a:pt x="544078" y="266729"/>
                  </a:lnTo>
                  <a:lnTo>
                    <a:pt x="542328" y="262591"/>
                  </a:lnTo>
                  <a:lnTo>
                    <a:pt x="542462" y="256872"/>
                  </a:lnTo>
                  <a:lnTo>
                    <a:pt x="542328" y="256872"/>
                  </a:lnTo>
                  <a:lnTo>
                    <a:pt x="535361" y="254282"/>
                  </a:lnTo>
                  <a:cubicBezTo>
                    <a:pt x="535361" y="254282"/>
                    <a:pt x="531457" y="251389"/>
                    <a:pt x="530717" y="250952"/>
                  </a:cubicBezTo>
                  <a:cubicBezTo>
                    <a:pt x="529977" y="250514"/>
                    <a:pt x="523885" y="247184"/>
                    <a:pt x="523885" y="247184"/>
                  </a:cubicBezTo>
                  <a:cubicBezTo>
                    <a:pt x="523885" y="247184"/>
                    <a:pt x="522640" y="243854"/>
                    <a:pt x="522505" y="243282"/>
                  </a:cubicBezTo>
                  <a:cubicBezTo>
                    <a:pt x="522371" y="242710"/>
                    <a:pt x="522303" y="241398"/>
                    <a:pt x="522303" y="239380"/>
                  </a:cubicBezTo>
                  <a:cubicBezTo>
                    <a:pt x="522303" y="237361"/>
                    <a:pt x="522303" y="233425"/>
                    <a:pt x="522303" y="233425"/>
                  </a:cubicBezTo>
                  <a:lnTo>
                    <a:pt x="522000" y="229221"/>
                  </a:lnTo>
                  <a:cubicBezTo>
                    <a:pt x="522000" y="229221"/>
                    <a:pt x="519678" y="225318"/>
                    <a:pt x="519241" y="225016"/>
                  </a:cubicBezTo>
                  <a:cubicBezTo>
                    <a:pt x="518803" y="224713"/>
                    <a:pt x="515034" y="220676"/>
                    <a:pt x="514462" y="220541"/>
                  </a:cubicBezTo>
                  <a:cubicBezTo>
                    <a:pt x="513890" y="220407"/>
                    <a:pt x="510390" y="218220"/>
                    <a:pt x="510390" y="218220"/>
                  </a:cubicBezTo>
                  <a:cubicBezTo>
                    <a:pt x="510390" y="218220"/>
                    <a:pt x="507058" y="218086"/>
                    <a:pt x="505913" y="218220"/>
                  </a:cubicBezTo>
                  <a:cubicBezTo>
                    <a:pt x="504736" y="218355"/>
                    <a:pt x="501404" y="219600"/>
                    <a:pt x="501404" y="219600"/>
                  </a:cubicBezTo>
                  <a:lnTo>
                    <a:pt x="500091" y="220407"/>
                  </a:lnTo>
                  <a:lnTo>
                    <a:pt x="497029" y="220407"/>
                  </a:lnTo>
                  <a:cubicBezTo>
                    <a:pt x="497029" y="220407"/>
                    <a:pt x="491678" y="219700"/>
                    <a:pt x="490803" y="219700"/>
                  </a:cubicBezTo>
                  <a:cubicBezTo>
                    <a:pt x="489928" y="219700"/>
                    <a:pt x="488177" y="219129"/>
                    <a:pt x="488177" y="219129"/>
                  </a:cubicBezTo>
                  <a:cubicBezTo>
                    <a:pt x="488177" y="219129"/>
                    <a:pt x="486731" y="215495"/>
                    <a:pt x="486293" y="214655"/>
                  </a:cubicBezTo>
                  <a:cubicBezTo>
                    <a:pt x="485855" y="213780"/>
                    <a:pt x="482961" y="209642"/>
                    <a:pt x="482961" y="209642"/>
                  </a:cubicBezTo>
                  <a:lnTo>
                    <a:pt x="482524" y="204798"/>
                  </a:lnTo>
                  <a:lnTo>
                    <a:pt x="477879" y="204798"/>
                  </a:lnTo>
                  <a:lnTo>
                    <a:pt x="473403" y="205538"/>
                  </a:lnTo>
                  <a:lnTo>
                    <a:pt x="469937" y="204092"/>
                  </a:lnTo>
                  <a:cubicBezTo>
                    <a:pt x="469937" y="204092"/>
                    <a:pt x="466874" y="201333"/>
                    <a:pt x="465461" y="200459"/>
                  </a:cubicBezTo>
                  <a:cubicBezTo>
                    <a:pt x="464047" y="199584"/>
                    <a:pt x="458797" y="196826"/>
                    <a:pt x="458663" y="196422"/>
                  </a:cubicBezTo>
                  <a:cubicBezTo>
                    <a:pt x="458528" y="195985"/>
                    <a:pt x="453715" y="191645"/>
                    <a:pt x="453715" y="191645"/>
                  </a:cubicBezTo>
                  <a:lnTo>
                    <a:pt x="450383" y="188012"/>
                  </a:lnTo>
                  <a:cubicBezTo>
                    <a:pt x="450383" y="188012"/>
                    <a:pt x="451258" y="183235"/>
                    <a:pt x="451696" y="182798"/>
                  </a:cubicBezTo>
                  <a:cubicBezTo>
                    <a:pt x="452134" y="182361"/>
                    <a:pt x="458932" y="175431"/>
                    <a:pt x="458932" y="175431"/>
                  </a:cubicBezTo>
                  <a:cubicBezTo>
                    <a:pt x="458932" y="175431"/>
                    <a:pt x="460682" y="173412"/>
                    <a:pt x="461119" y="173412"/>
                  </a:cubicBezTo>
                  <a:cubicBezTo>
                    <a:pt x="461557" y="173412"/>
                    <a:pt x="462870" y="170957"/>
                    <a:pt x="462870" y="170957"/>
                  </a:cubicBezTo>
                  <a:lnTo>
                    <a:pt x="463576" y="168636"/>
                  </a:lnTo>
                  <a:lnTo>
                    <a:pt x="459537" y="166617"/>
                  </a:lnTo>
                  <a:cubicBezTo>
                    <a:pt x="459537" y="166617"/>
                    <a:pt x="457788" y="165608"/>
                    <a:pt x="457788" y="165171"/>
                  </a:cubicBezTo>
                  <a:cubicBezTo>
                    <a:pt x="457788" y="164733"/>
                    <a:pt x="458494" y="162143"/>
                    <a:pt x="459235" y="161975"/>
                  </a:cubicBezTo>
                  <a:cubicBezTo>
                    <a:pt x="459941" y="161840"/>
                    <a:pt x="462870" y="159788"/>
                    <a:pt x="463307" y="159654"/>
                  </a:cubicBezTo>
                  <a:cubicBezTo>
                    <a:pt x="463744" y="159519"/>
                    <a:pt x="464451" y="158073"/>
                    <a:pt x="466201" y="157770"/>
                  </a:cubicBezTo>
                  <a:cubicBezTo>
                    <a:pt x="467951" y="157467"/>
                    <a:pt x="471418" y="155752"/>
                    <a:pt x="471990" y="155583"/>
                  </a:cubicBezTo>
                  <a:cubicBezTo>
                    <a:pt x="472562" y="155449"/>
                    <a:pt x="476634" y="150941"/>
                    <a:pt x="476634" y="150941"/>
                  </a:cubicBezTo>
                  <a:lnTo>
                    <a:pt x="478822" y="146871"/>
                  </a:lnTo>
                  <a:lnTo>
                    <a:pt x="478822" y="143103"/>
                  </a:lnTo>
                  <a:cubicBezTo>
                    <a:pt x="478822" y="143103"/>
                    <a:pt x="478956" y="139907"/>
                    <a:pt x="479394" y="139033"/>
                  </a:cubicBezTo>
                  <a:cubicBezTo>
                    <a:pt x="479831" y="138158"/>
                    <a:pt x="481144" y="137149"/>
                    <a:pt x="482288" y="136846"/>
                  </a:cubicBezTo>
                  <a:cubicBezTo>
                    <a:pt x="483432" y="136543"/>
                    <a:pt x="483600" y="136712"/>
                    <a:pt x="485048" y="136274"/>
                  </a:cubicBezTo>
                  <a:cubicBezTo>
                    <a:pt x="486495" y="135837"/>
                    <a:pt x="488245" y="134828"/>
                    <a:pt x="488380" y="134256"/>
                  </a:cubicBezTo>
                  <a:cubicBezTo>
                    <a:pt x="488514" y="133684"/>
                    <a:pt x="489086" y="131228"/>
                    <a:pt x="488514" y="131060"/>
                  </a:cubicBezTo>
                  <a:cubicBezTo>
                    <a:pt x="487942" y="130926"/>
                    <a:pt x="482995" y="131363"/>
                    <a:pt x="481985" y="131060"/>
                  </a:cubicBezTo>
                  <a:cubicBezTo>
                    <a:pt x="480975" y="130757"/>
                    <a:pt x="478351" y="131026"/>
                    <a:pt x="478351" y="131026"/>
                  </a:cubicBezTo>
                  <a:lnTo>
                    <a:pt x="475456" y="132641"/>
                  </a:lnTo>
                  <a:lnTo>
                    <a:pt x="470812" y="134828"/>
                  </a:lnTo>
                  <a:lnTo>
                    <a:pt x="465595" y="135568"/>
                  </a:lnTo>
                  <a:lnTo>
                    <a:pt x="463273" y="134828"/>
                  </a:lnTo>
                  <a:lnTo>
                    <a:pt x="461086" y="132809"/>
                  </a:lnTo>
                  <a:cubicBezTo>
                    <a:pt x="461086" y="132809"/>
                    <a:pt x="458898" y="133112"/>
                    <a:pt x="458191" y="133381"/>
                  </a:cubicBezTo>
                  <a:cubicBezTo>
                    <a:pt x="457484" y="133684"/>
                    <a:pt x="456172" y="135971"/>
                    <a:pt x="456172" y="135971"/>
                  </a:cubicBezTo>
                  <a:cubicBezTo>
                    <a:pt x="456172" y="135971"/>
                    <a:pt x="454590" y="137283"/>
                    <a:pt x="454153" y="137418"/>
                  </a:cubicBezTo>
                  <a:cubicBezTo>
                    <a:pt x="453715" y="137553"/>
                    <a:pt x="450686" y="134962"/>
                    <a:pt x="449812" y="134390"/>
                  </a:cubicBezTo>
                  <a:cubicBezTo>
                    <a:pt x="448936" y="133818"/>
                    <a:pt x="447792" y="132641"/>
                    <a:pt x="447186" y="132372"/>
                  </a:cubicBezTo>
                  <a:cubicBezTo>
                    <a:pt x="446614" y="132069"/>
                    <a:pt x="444426" y="130926"/>
                    <a:pt x="444426" y="130926"/>
                  </a:cubicBezTo>
                  <a:lnTo>
                    <a:pt x="439648" y="133247"/>
                  </a:lnTo>
                  <a:lnTo>
                    <a:pt x="434296" y="134121"/>
                  </a:lnTo>
                  <a:cubicBezTo>
                    <a:pt x="434296" y="134121"/>
                    <a:pt x="431402" y="135299"/>
                    <a:pt x="431268" y="134861"/>
                  </a:cubicBezTo>
                  <a:cubicBezTo>
                    <a:pt x="431133" y="134424"/>
                    <a:pt x="429686" y="132103"/>
                    <a:pt x="429686" y="132103"/>
                  </a:cubicBezTo>
                  <a:lnTo>
                    <a:pt x="427499" y="132237"/>
                  </a:lnTo>
                  <a:cubicBezTo>
                    <a:pt x="427499" y="132237"/>
                    <a:pt x="424032" y="129614"/>
                    <a:pt x="423594" y="129479"/>
                  </a:cubicBezTo>
                  <a:cubicBezTo>
                    <a:pt x="423157" y="129344"/>
                    <a:pt x="421710" y="131363"/>
                    <a:pt x="421575" y="131935"/>
                  </a:cubicBezTo>
                  <a:cubicBezTo>
                    <a:pt x="421441" y="132507"/>
                    <a:pt x="419825" y="135130"/>
                    <a:pt x="419825" y="135130"/>
                  </a:cubicBezTo>
                  <a:cubicBezTo>
                    <a:pt x="419825" y="135130"/>
                    <a:pt x="418513" y="136274"/>
                    <a:pt x="417065" y="136712"/>
                  </a:cubicBezTo>
                  <a:cubicBezTo>
                    <a:pt x="415618" y="137149"/>
                    <a:pt x="414037" y="137452"/>
                    <a:pt x="414037" y="137452"/>
                  </a:cubicBezTo>
                  <a:lnTo>
                    <a:pt x="411714" y="138595"/>
                  </a:lnTo>
                  <a:cubicBezTo>
                    <a:pt x="411714" y="138595"/>
                    <a:pt x="406801" y="135400"/>
                    <a:pt x="406195" y="135265"/>
                  </a:cubicBezTo>
                  <a:cubicBezTo>
                    <a:pt x="405623" y="135130"/>
                    <a:pt x="404748" y="135130"/>
                    <a:pt x="404445" y="134559"/>
                  </a:cubicBezTo>
                  <a:cubicBezTo>
                    <a:pt x="404176" y="133987"/>
                    <a:pt x="403873" y="130926"/>
                    <a:pt x="403873" y="130926"/>
                  </a:cubicBezTo>
                  <a:lnTo>
                    <a:pt x="402291" y="126855"/>
                  </a:lnTo>
                  <a:cubicBezTo>
                    <a:pt x="402291" y="126855"/>
                    <a:pt x="401147" y="124971"/>
                    <a:pt x="401147" y="124534"/>
                  </a:cubicBezTo>
                  <a:cubicBezTo>
                    <a:pt x="401147" y="124097"/>
                    <a:pt x="400272" y="122953"/>
                    <a:pt x="400272" y="122516"/>
                  </a:cubicBezTo>
                  <a:cubicBezTo>
                    <a:pt x="400272" y="122078"/>
                    <a:pt x="399834" y="121372"/>
                    <a:pt x="400709" y="120766"/>
                  </a:cubicBezTo>
                  <a:cubicBezTo>
                    <a:pt x="401584" y="120194"/>
                    <a:pt x="402291" y="119320"/>
                    <a:pt x="402291" y="118748"/>
                  </a:cubicBezTo>
                  <a:cubicBezTo>
                    <a:pt x="402291" y="118176"/>
                    <a:pt x="402291" y="113534"/>
                    <a:pt x="402291" y="113534"/>
                  </a:cubicBezTo>
                  <a:lnTo>
                    <a:pt x="401416" y="112659"/>
                  </a:lnTo>
                  <a:lnTo>
                    <a:pt x="394315" y="111650"/>
                  </a:lnTo>
                  <a:lnTo>
                    <a:pt x="393137" y="108622"/>
                  </a:lnTo>
                  <a:lnTo>
                    <a:pt x="396772" y="106604"/>
                  </a:lnTo>
                  <a:cubicBezTo>
                    <a:pt x="396772" y="106604"/>
                    <a:pt x="394450" y="103408"/>
                    <a:pt x="393878" y="103139"/>
                  </a:cubicBezTo>
                  <a:cubicBezTo>
                    <a:pt x="393305" y="102836"/>
                    <a:pt x="390983" y="102567"/>
                    <a:pt x="390545" y="102264"/>
                  </a:cubicBezTo>
                  <a:cubicBezTo>
                    <a:pt x="390108" y="101962"/>
                    <a:pt x="389805" y="101121"/>
                    <a:pt x="389401" y="100515"/>
                  </a:cubicBezTo>
                  <a:cubicBezTo>
                    <a:pt x="388964" y="99943"/>
                    <a:pt x="387214" y="97622"/>
                    <a:pt x="386945" y="96748"/>
                  </a:cubicBezTo>
                  <a:cubicBezTo>
                    <a:pt x="386676" y="95873"/>
                    <a:pt x="385800" y="93855"/>
                    <a:pt x="385800" y="93855"/>
                  </a:cubicBezTo>
                  <a:cubicBezTo>
                    <a:pt x="385800" y="93855"/>
                    <a:pt x="385363" y="92274"/>
                    <a:pt x="385800" y="91668"/>
                  </a:cubicBezTo>
                  <a:cubicBezTo>
                    <a:pt x="386238" y="91096"/>
                    <a:pt x="387820" y="87699"/>
                    <a:pt x="387820" y="87699"/>
                  </a:cubicBezTo>
                  <a:lnTo>
                    <a:pt x="388695" y="86622"/>
                  </a:lnTo>
                  <a:lnTo>
                    <a:pt x="389267" y="86622"/>
                  </a:lnTo>
                  <a:cubicBezTo>
                    <a:pt x="389267" y="86622"/>
                    <a:pt x="388964" y="86185"/>
                    <a:pt x="390849" y="86622"/>
                  </a:cubicBezTo>
                  <a:cubicBezTo>
                    <a:pt x="392733" y="87059"/>
                    <a:pt x="394046" y="87497"/>
                    <a:pt x="394046" y="87497"/>
                  </a:cubicBezTo>
                  <a:cubicBezTo>
                    <a:pt x="394046" y="87497"/>
                    <a:pt x="396940" y="89246"/>
                    <a:pt x="397243" y="89818"/>
                  </a:cubicBezTo>
                  <a:cubicBezTo>
                    <a:pt x="397546" y="90390"/>
                    <a:pt x="398690" y="91836"/>
                    <a:pt x="400440" y="91130"/>
                  </a:cubicBezTo>
                  <a:cubicBezTo>
                    <a:pt x="402190" y="90423"/>
                    <a:pt x="403637" y="87497"/>
                    <a:pt x="403637" y="87497"/>
                  </a:cubicBezTo>
                  <a:cubicBezTo>
                    <a:pt x="403637" y="87497"/>
                    <a:pt x="403503" y="82854"/>
                    <a:pt x="402931" y="81845"/>
                  </a:cubicBezTo>
                  <a:cubicBezTo>
                    <a:pt x="402358" y="80836"/>
                    <a:pt x="400474" y="78212"/>
                    <a:pt x="400474" y="78212"/>
                  </a:cubicBezTo>
                  <a:lnTo>
                    <a:pt x="399599" y="74747"/>
                  </a:lnTo>
                  <a:lnTo>
                    <a:pt x="396267" y="71417"/>
                  </a:lnTo>
                  <a:cubicBezTo>
                    <a:pt x="396267" y="71417"/>
                    <a:pt x="395829" y="70408"/>
                    <a:pt x="396839" y="69533"/>
                  </a:cubicBezTo>
                  <a:cubicBezTo>
                    <a:pt x="397849" y="68659"/>
                    <a:pt x="399868" y="66640"/>
                    <a:pt x="400305" y="66640"/>
                  </a:cubicBezTo>
                  <a:cubicBezTo>
                    <a:pt x="400743" y="66640"/>
                    <a:pt x="401887" y="64050"/>
                    <a:pt x="400878" y="64050"/>
                  </a:cubicBezTo>
                  <a:cubicBezTo>
                    <a:pt x="399868" y="64050"/>
                    <a:pt x="396536" y="63310"/>
                    <a:pt x="396536" y="63310"/>
                  </a:cubicBezTo>
                  <a:cubicBezTo>
                    <a:pt x="396536" y="63310"/>
                    <a:pt x="394214" y="62570"/>
                    <a:pt x="394079" y="61729"/>
                  </a:cubicBezTo>
                  <a:cubicBezTo>
                    <a:pt x="393945" y="60854"/>
                    <a:pt x="395661" y="59408"/>
                    <a:pt x="395661" y="59408"/>
                  </a:cubicBezTo>
                  <a:lnTo>
                    <a:pt x="396233" y="57658"/>
                  </a:lnTo>
                  <a:lnTo>
                    <a:pt x="395527" y="55337"/>
                  </a:lnTo>
                  <a:lnTo>
                    <a:pt x="394517" y="55337"/>
                  </a:lnTo>
                  <a:cubicBezTo>
                    <a:pt x="394517" y="55337"/>
                    <a:pt x="392363" y="53588"/>
                    <a:pt x="391757" y="53588"/>
                  </a:cubicBezTo>
                  <a:cubicBezTo>
                    <a:pt x="391185" y="53588"/>
                    <a:pt x="390007" y="54025"/>
                    <a:pt x="389570" y="54328"/>
                  </a:cubicBezTo>
                  <a:cubicBezTo>
                    <a:pt x="389132" y="54631"/>
                    <a:pt x="388695" y="55640"/>
                    <a:pt x="388392" y="56212"/>
                  </a:cubicBezTo>
                  <a:cubicBezTo>
                    <a:pt x="388122" y="56784"/>
                    <a:pt x="387247" y="58096"/>
                    <a:pt x="387247" y="58096"/>
                  </a:cubicBezTo>
                  <a:cubicBezTo>
                    <a:pt x="387247" y="58096"/>
                    <a:pt x="385699" y="59542"/>
                    <a:pt x="385598" y="59542"/>
                  </a:cubicBezTo>
                  <a:cubicBezTo>
                    <a:pt x="385497" y="59542"/>
                    <a:pt x="383781" y="59408"/>
                    <a:pt x="383781" y="59408"/>
                  </a:cubicBezTo>
                  <a:cubicBezTo>
                    <a:pt x="383781" y="59408"/>
                    <a:pt x="382839" y="58533"/>
                    <a:pt x="382569" y="57961"/>
                  </a:cubicBezTo>
                  <a:cubicBezTo>
                    <a:pt x="382267" y="57389"/>
                    <a:pt x="381459" y="56515"/>
                    <a:pt x="381459" y="56515"/>
                  </a:cubicBezTo>
                  <a:lnTo>
                    <a:pt x="381459" y="54496"/>
                  </a:lnTo>
                  <a:lnTo>
                    <a:pt x="384252" y="53285"/>
                  </a:lnTo>
                  <a:lnTo>
                    <a:pt x="383579" y="51603"/>
                  </a:lnTo>
                  <a:lnTo>
                    <a:pt x="382873" y="50426"/>
                  </a:lnTo>
                  <a:lnTo>
                    <a:pt x="380012" y="48307"/>
                  </a:lnTo>
                  <a:lnTo>
                    <a:pt x="377892" y="49719"/>
                  </a:lnTo>
                  <a:cubicBezTo>
                    <a:pt x="377892" y="49719"/>
                    <a:pt x="377252" y="49484"/>
                    <a:pt x="377252" y="49349"/>
                  </a:cubicBezTo>
                  <a:cubicBezTo>
                    <a:pt x="377252" y="49181"/>
                    <a:pt x="377084" y="47163"/>
                    <a:pt x="377252" y="46692"/>
                  </a:cubicBezTo>
                  <a:cubicBezTo>
                    <a:pt x="377420" y="46187"/>
                    <a:pt x="377858" y="44842"/>
                    <a:pt x="377858" y="44842"/>
                  </a:cubicBezTo>
                  <a:cubicBezTo>
                    <a:pt x="377858" y="44842"/>
                    <a:pt x="377286" y="43799"/>
                    <a:pt x="377185" y="43698"/>
                  </a:cubicBezTo>
                  <a:cubicBezTo>
                    <a:pt x="377084" y="43597"/>
                    <a:pt x="372844" y="40939"/>
                    <a:pt x="372844" y="40939"/>
                  </a:cubicBezTo>
                  <a:lnTo>
                    <a:pt x="371430" y="37845"/>
                  </a:lnTo>
                  <a:cubicBezTo>
                    <a:pt x="371430" y="37845"/>
                    <a:pt x="370622" y="35389"/>
                    <a:pt x="370622" y="35086"/>
                  </a:cubicBezTo>
                  <a:cubicBezTo>
                    <a:pt x="370622" y="34783"/>
                    <a:pt x="372877" y="32563"/>
                    <a:pt x="372877" y="32563"/>
                  </a:cubicBezTo>
                  <a:lnTo>
                    <a:pt x="373146" y="32193"/>
                  </a:lnTo>
                  <a:lnTo>
                    <a:pt x="374593" y="30040"/>
                  </a:lnTo>
                  <a:lnTo>
                    <a:pt x="374089" y="27652"/>
                  </a:lnTo>
                  <a:cubicBezTo>
                    <a:pt x="374089" y="27652"/>
                    <a:pt x="372910" y="26273"/>
                    <a:pt x="372844" y="26071"/>
                  </a:cubicBezTo>
                  <a:cubicBezTo>
                    <a:pt x="372776" y="25835"/>
                    <a:pt x="371598" y="24389"/>
                    <a:pt x="371598" y="24389"/>
                  </a:cubicBezTo>
                  <a:cubicBezTo>
                    <a:pt x="371598" y="24389"/>
                    <a:pt x="370521" y="22370"/>
                    <a:pt x="370589" y="22068"/>
                  </a:cubicBezTo>
                  <a:cubicBezTo>
                    <a:pt x="370656" y="21765"/>
                    <a:pt x="369915" y="20184"/>
                    <a:pt x="369915" y="20184"/>
                  </a:cubicBezTo>
                  <a:lnTo>
                    <a:pt x="367458" y="18300"/>
                  </a:lnTo>
                  <a:lnTo>
                    <a:pt x="362949" y="13893"/>
                  </a:lnTo>
                  <a:lnTo>
                    <a:pt x="357093" y="10630"/>
                  </a:lnTo>
                  <a:lnTo>
                    <a:pt x="355780" y="7165"/>
                  </a:lnTo>
                  <a:cubicBezTo>
                    <a:pt x="355780" y="7165"/>
                    <a:pt x="356420" y="5416"/>
                    <a:pt x="355780" y="5214"/>
                  </a:cubicBezTo>
                  <a:cubicBezTo>
                    <a:pt x="355141" y="5012"/>
                    <a:pt x="352516" y="1749"/>
                    <a:pt x="352516" y="1749"/>
                  </a:cubicBezTo>
                  <a:lnTo>
                    <a:pt x="347098" y="0"/>
                  </a:lnTo>
                  <a:lnTo>
                    <a:pt x="343900" y="639"/>
                  </a:lnTo>
                  <a:lnTo>
                    <a:pt x="340266" y="1379"/>
                  </a:lnTo>
                  <a:lnTo>
                    <a:pt x="337506" y="2388"/>
                  </a:lnTo>
                  <a:lnTo>
                    <a:pt x="335487" y="5147"/>
                  </a:lnTo>
                  <a:cubicBezTo>
                    <a:pt x="335487" y="5147"/>
                    <a:pt x="333737" y="6728"/>
                    <a:pt x="333333" y="6896"/>
                  </a:cubicBezTo>
                  <a:cubicBezTo>
                    <a:pt x="332895" y="7031"/>
                    <a:pt x="329833" y="5887"/>
                    <a:pt x="329833" y="5887"/>
                  </a:cubicBezTo>
                  <a:lnTo>
                    <a:pt x="327814" y="4440"/>
                  </a:lnTo>
                  <a:cubicBezTo>
                    <a:pt x="327814" y="4440"/>
                    <a:pt x="327814" y="4003"/>
                    <a:pt x="326939" y="3869"/>
                  </a:cubicBezTo>
                  <a:cubicBezTo>
                    <a:pt x="326064" y="3734"/>
                    <a:pt x="324313" y="3869"/>
                    <a:pt x="323910" y="4306"/>
                  </a:cubicBezTo>
                  <a:cubicBezTo>
                    <a:pt x="323472" y="4743"/>
                    <a:pt x="322732" y="6055"/>
                    <a:pt x="322462" y="6627"/>
                  </a:cubicBezTo>
                  <a:cubicBezTo>
                    <a:pt x="322193" y="7199"/>
                    <a:pt x="321587" y="8343"/>
                    <a:pt x="321587" y="8343"/>
                  </a:cubicBezTo>
                  <a:lnTo>
                    <a:pt x="320578" y="10664"/>
                  </a:lnTo>
                  <a:lnTo>
                    <a:pt x="320578" y="12850"/>
                  </a:lnTo>
                  <a:lnTo>
                    <a:pt x="317684" y="16046"/>
                  </a:lnTo>
                  <a:cubicBezTo>
                    <a:pt x="317684" y="16046"/>
                    <a:pt x="318559" y="16248"/>
                    <a:pt x="316943" y="16551"/>
                  </a:cubicBezTo>
                  <a:cubicBezTo>
                    <a:pt x="315361" y="16853"/>
                    <a:pt x="314318" y="17190"/>
                    <a:pt x="314318" y="17190"/>
                  </a:cubicBezTo>
                  <a:lnTo>
                    <a:pt x="310986" y="17190"/>
                  </a:lnTo>
                  <a:lnTo>
                    <a:pt x="309236" y="16315"/>
                  </a:lnTo>
                  <a:lnTo>
                    <a:pt x="305601" y="14297"/>
                  </a:lnTo>
                  <a:cubicBezTo>
                    <a:pt x="305601" y="14297"/>
                    <a:pt x="304592" y="13288"/>
                    <a:pt x="304020" y="13288"/>
                  </a:cubicBezTo>
                  <a:cubicBezTo>
                    <a:pt x="303447" y="13288"/>
                    <a:pt x="300688" y="15172"/>
                    <a:pt x="300688" y="15172"/>
                  </a:cubicBezTo>
                  <a:lnTo>
                    <a:pt x="299375" y="17358"/>
                  </a:lnTo>
                  <a:cubicBezTo>
                    <a:pt x="299375" y="17358"/>
                    <a:pt x="297356" y="17661"/>
                    <a:pt x="295741" y="17661"/>
                  </a:cubicBezTo>
                  <a:cubicBezTo>
                    <a:pt x="294159" y="17661"/>
                    <a:pt x="290390" y="17358"/>
                    <a:pt x="290390" y="17358"/>
                  </a:cubicBezTo>
                  <a:cubicBezTo>
                    <a:pt x="290390" y="17358"/>
                    <a:pt x="288067" y="17223"/>
                    <a:pt x="287495" y="17493"/>
                  </a:cubicBezTo>
                  <a:cubicBezTo>
                    <a:pt x="286923" y="17762"/>
                    <a:pt x="283861" y="18636"/>
                    <a:pt x="283861" y="18636"/>
                  </a:cubicBezTo>
                  <a:cubicBezTo>
                    <a:pt x="283861" y="18636"/>
                    <a:pt x="281539" y="19074"/>
                    <a:pt x="280966" y="19343"/>
                  </a:cubicBezTo>
                  <a:cubicBezTo>
                    <a:pt x="280394" y="19646"/>
                    <a:pt x="278779" y="19646"/>
                    <a:pt x="278510" y="20083"/>
                  </a:cubicBezTo>
                  <a:cubicBezTo>
                    <a:pt x="278206" y="20520"/>
                    <a:pt x="279317" y="24288"/>
                    <a:pt x="278577" y="24422"/>
                  </a:cubicBezTo>
                  <a:cubicBezTo>
                    <a:pt x="277870" y="24557"/>
                    <a:pt x="271846" y="25566"/>
                    <a:pt x="271846" y="25566"/>
                  </a:cubicBezTo>
                  <a:lnTo>
                    <a:pt x="271846" y="28459"/>
                  </a:lnTo>
                  <a:lnTo>
                    <a:pt x="272855" y="29468"/>
                  </a:lnTo>
                  <a:cubicBezTo>
                    <a:pt x="272855" y="29468"/>
                    <a:pt x="273563" y="30646"/>
                    <a:pt x="273731" y="31218"/>
                  </a:cubicBezTo>
                  <a:cubicBezTo>
                    <a:pt x="273865" y="31789"/>
                    <a:pt x="274168" y="32967"/>
                    <a:pt x="274168" y="32967"/>
                  </a:cubicBezTo>
                  <a:lnTo>
                    <a:pt x="274875" y="34716"/>
                  </a:lnTo>
                  <a:lnTo>
                    <a:pt x="275178" y="37912"/>
                  </a:lnTo>
                  <a:lnTo>
                    <a:pt x="275312" y="39796"/>
                  </a:lnTo>
                  <a:lnTo>
                    <a:pt x="277332" y="44001"/>
                  </a:lnTo>
                  <a:lnTo>
                    <a:pt x="276187" y="47768"/>
                  </a:lnTo>
                  <a:cubicBezTo>
                    <a:pt x="276187" y="47768"/>
                    <a:pt x="274740" y="48071"/>
                    <a:pt x="273293" y="48475"/>
                  </a:cubicBezTo>
                  <a:cubicBezTo>
                    <a:pt x="271846" y="48912"/>
                    <a:pt x="267067" y="50224"/>
                    <a:pt x="267067" y="50224"/>
                  </a:cubicBezTo>
                  <a:cubicBezTo>
                    <a:pt x="267067" y="51973"/>
                    <a:pt x="270096" y="55304"/>
                    <a:pt x="270096" y="55304"/>
                  </a:cubicBezTo>
                  <a:lnTo>
                    <a:pt x="274000" y="57187"/>
                  </a:lnTo>
                  <a:lnTo>
                    <a:pt x="276154" y="58499"/>
                  </a:lnTo>
                  <a:lnTo>
                    <a:pt x="277163" y="60383"/>
                  </a:lnTo>
                  <a:lnTo>
                    <a:pt x="276591" y="62704"/>
                  </a:lnTo>
                  <a:cubicBezTo>
                    <a:pt x="276591" y="62704"/>
                    <a:pt x="275716" y="66169"/>
                    <a:pt x="275716" y="66775"/>
                  </a:cubicBezTo>
                  <a:cubicBezTo>
                    <a:pt x="275716" y="67347"/>
                    <a:pt x="275144" y="70408"/>
                    <a:pt x="275009" y="70845"/>
                  </a:cubicBezTo>
                  <a:cubicBezTo>
                    <a:pt x="274875" y="71282"/>
                    <a:pt x="274437" y="72493"/>
                    <a:pt x="274000" y="72662"/>
                  </a:cubicBezTo>
                  <a:cubicBezTo>
                    <a:pt x="273563" y="72796"/>
                    <a:pt x="272553" y="72863"/>
                    <a:pt x="271980" y="72863"/>
                  </a:cubicBezTo>
                  <a:cubicBezTo>
                    <a:pt x="271409" y="72863"/>
                    <a:pt x="269221" y="72863"/>
                    <a:pt x="269221" y="72863"/>
                  </a:cubicBezTo>
                  <a:lnTo>
                    <a:pt x="266327" y="73166"/>
                  </a:lnTo>
                  <a:cubicBezTo>
                    <a:pt x="266327" y="73166"/>
                    <a:pt x="265182" y="73301"/>
                    <a:pt x="264745" y="74747"/>
                  </a:cubicBezTo>
                  <a:cubicBezTo>
                    <a:pt x="264308" y="76194"/>
                    <a:pt x="264038" y="78649"/>
                    <a:pt x="263735" y="79255"/>
                  </a:cubicBezTo>
                  <a:cubicBezTo>
                    <a:pt x="263432" y="79827"/>
                    <a:pt x="263163" y="80130"/>
                    <a:pt x="262591" y="80399"/>
                  </a:cubicBezTo>
                  <a:cubicBezTo>
                    <a:pt x="262019" y="80702"/>
                    <a:pt x="256802" y="80836"/>
                    <a:pt x="256802" y="80836"/>
                  </a:cubicBezTo>
                  <a:cubicBezTo>
                    <a:pt x="256802" y="80836"/>
                    <a:pt x="252023" y="81139"/>
                    <a:pt x="251014" y="81139"/>
                  </a:cubicBezTo>
                  <a:cubicBezTo>
                    <a:pt x="250004" y="81139"/>
                    <a:pt x="247513" y="79827"/>
                    <a:pt x="247513" y="79827"/>
                  </a:cubicBezTo>
                  <a:lnTo>
                    <a:pt x="244451" y="76564"/>
                  </a:lnTo>
                  <a:lnTo>
                    <a:pt x="242869" y="74613"/>
                  </a:lnTo>
                  <a:lnTo>
                    <a:pt x="239672" y="74613"/>
                  </a:lnTo>
                  <a:lnTo>
                    <a:pt x="238225" y="77808"/>
                  </a:lnTo>
                  <a:cubicBezTo>
                    <a:pt x="238225" y="77808"/>
                    <a:pt x="235768" y="78952"/>
                    <a:pt x="235465" y="78549"/>
                  </a:cubicBezTo>
                  <a:cubicBezTo>
                    <a:pt x="235196" y="78111"/>
                    <a:pt x="235465" y="76799"/>
                    <a:pt x="235768" y="76227"/>
                  </a:cubicBezTo>
                  <a:cubicBezTo>
                    <a:pt x="236071" y="75656"/>
                    <a:pt x="237081" y="75353"/>
                    <a:pt x="237081" y="74646"/>
                  </a:cubicBezTo>
                  <a:cubicBezTo>
                    <a:pt x="237081" y="73906"/>
                    <a:pt x="237081" y="72056"/>
                    <a:pt x="237081" y="72056"/>
                  </a:cubicBezTo>
                  <a:cubicBezTo>
                    <a:pt x="237081" y="72056"/>
                    <a:pt x="234624" y="71047"/>
                    <a:pt x="233884" y="71047"/>
                  </a:cubicBezTo>
                  <a:cubicBezTo>
                    <a:pt x="233143" y="71047"/>
                    <a:pt x="230855" y="72191"/>
                    <a:pt x="230855" y="72191"/>
                  </a:cubicBezTo>
                  <a:lnTo>
                    <a:pt x="228835" y="74075"/>
                  </a:lnTo>
                  <a:lnTo>
                    <a:pt x="226648" y="77270"/>
                  </a:lnTo>
                  <a:lnTo>
                    <a:pt x="226648" y="79020"/>
                  </a:lnTo>
                  <a:lnTo>
                    <a:pt x="224898" y="81038"/>
                  </a:lnTo>
                  <a:lnTo>
                    <a:pt x="224898" y="82484"/>
                  </a:lnTo>
                  <a:lnTo>
                    <a:pt x="221970" y="85411"/>
                  </a:lnTo>
                  <a:lnTo>
                    <a:pt x="220220" y="87362"/>
                  </a:lnTo>
                  <a:lnTo>
                    <a:pt x="217830" y="89011"/>
                  </a:lnTo>
                  <a:lnTo>
                    <a:pt x="216080" y="89784"/>
                  </a:lnTo>
                  <a:cubicBezTo>
                    <a:pt x="216080" y="89784"/>
                    <a:pt x="214229" y="90558"/>
                    <a:pt x="213792" y="90659"/>
                  </a:cubicBezTo>
                  <a:cubicBezTo>
                    <a:pt x="213354" y="90760"/>
                    <a:pt x="212277" y="91197"/>
                    <a:pt x="212277" y="91197"/>
                  </a:cubicBezTo>
                  <a:lnTo>
                    <a:pt x="210662" y="92711"/>
                  </a:lnTo>
                  <a:lnTo>
                    <a:pt x="209248" y="95436"/>
                  </a:lnTo>
                  <a:lnTo>
                    <a:pt x="209248" y="98161"/>
                  </a:lnTo>
                  <a:lnTo>
                    <a:pt x="209248" y="101625"/>
                  </a:lnTo>
                  <a:cubicBezTo>
                    <a:pt x="208474" y="101962"/>
                    <a:pt x="206320" y="100986"/>
                    <a:pt x="205345" y="99674"/>
                  </a:cubicBezTo>
                  <a:cubicBezTo>
                    <a:pt x="204368" y="98362"/>
                    <a:pt x="203830" y="97723"/>
                    <a:pt x="203830" y="97387"/>
                  </a:cubicBezTo>
                  <a:cubicBezTo>
                    <a:pt x="203830" y="97050"/>
                    <a:pt x="202753" y="90659"/>
                    <a:pt x="202753" y="90659"/>
                  </a:cubicBezTo>
                  <a:lnTo>
                    <a:pt x="201542" y="88472"/>
                  </a:lnTo>
                  <a:lnTo>
                    <a:pt x="198916" y="86858"/>
                  </a:lnTo>
                  <a:lnTo>
                    <a:pt x="196527" y="84267"/>
                  </a:lnTo>
                  <a:cubicBezTo>
                    <a:pt x="196527" y="84267"/>
                    <a:pt x="195215" y="82215"/>
                    <a:pt x="193902" y="82215"/>
                  </a:cubicBezTo>
                  <a:cubicBezTo>
                    <a:pt x="192589" y="82215"/>
                    <a:pt x="189661" y="83090"/>
                    <a:pt x="189661" y="83090"/>
                  </a:cubicBezTo>
                  <a:cubicBezTo>
                    <a:pt x="189661" y="83090"/>
                    <a:pt x="188484" y="83292"/>
                    <a:pt x="188248" y="83628"/>
                  </a:cubicBezTo>
                  <a:cubicBezTo>
                    <a:pt x="188046" y="83965"/>
                    <a:pt x="185522" y="85478"/>
                    <a:pt x="185219" y="85680"/>
                  </a:cubicBezTo>
                  <a:cubicBezTo>
                    <a:pt x="184882" y="85916"/>
                    <a:pt x="181618" y="88405"/>
                    <a:pt x="181517" y="88741"/>
                  </a:cubicBezTo>
                  <a:cubicBezTo>
                    <a:pt x="181383" y="89078"/>
                    <a:pt x="173036" y="95570"/>
                    <a:pt x="173036" y="95570"/>
                  </a:cubicBezTo>
                  <a:lnTo>
                    <a:pt x="169771" y="98295"/>
                  </a:lnTo>
                  <a:lnTo>
                    <a:pt x="161627" y="103610"/>
                  </a:lnTo>
                  <a:lnTo>
                    <a:pt x="158800" y="105561"/>
                  </a:lnTo>
                  <a:lnTo>
                    <a:pt x="157387" y="108286"/>
                  </a:lnTo>
                  <a:cubicBezTo>
                    <a:pt x="157387" y="108286"/>
                    <a:pt x="160315" y="111650"/>
                    <a:pt x="155637" y="110473"/>
                  </a:cubicBezTo>
                  <a:cubicBezTo>
                    <a:pt x="150959" y="109295"/>
                    <a:pt x="148805" y="106469"/>
                    <a:pt x="148805" y="106469"/>
                  </a:cubicBezTo>
                  <a:cubicBezTo>
                    <a:pt x="148805" y="106469"/>
                    <a:pt x="148166" y="106032"/>
                    <a:pt x="146853" y="106469"/>
                  </a:cubicBezTo>
                  <a:cubicBezTo>
                    <a:pt x="145540" y="106907"/>
                    <a:pt x="144261" y="108757"/>
                    <a:pt x="144026" y="109194"/>
                  </a:cubicBezTo>
                  <a:cubicBezTo>
                    <a:pt x="143790" y="109632"/>
                    <a:pt x="143050" y="111818"/>
                    <a:pt x="143252" y="112255"/>
                  </a:cubicBezTo>
                  <a:cubicBezTo>
                    <a:pt x="143454" y="112693"/>
                    <a:pt x="146516" y="116393"/>
                    <a:pt x="146954" y="116696"/>
                  </a:cubicBezTo>
                  <a:cubicBezTo>
                    <a:pt x="147391" y="117032"/>
                    <a:pt x="149882" y="118748"/>
                    <a:pt x="149882" y="118748"/>
                  </a:cubicBezTo>
                  <a:lnTo>
                    <a:pt x="151733" y="120497"/>
                  </a:lnTo>
                  <a:cubicBezTo>
                    <a:pt x="151733" y="120497"/>
                    <a:pt x="151935" y="121372"/>
                    <a:pt x="151632" y="122011"/>
                  </a:cubicBezTo>
                  <a:cubicBezTo>
                    <a:pt x="151295" y="122650"/>
                    <a:pt x="151867" y="123525"/>
                    <a:pt x="150016" y="123760"/>
                  </a:cubicBezTo>
                  <a:cubicBezTo>
                    <a:pt x="148166" y="123962"/>
                    <a:pt x="146415" y="123962"/>
                    <a:pt x="145002" y="123962"/>
                  </a:cubicBezTo>
                  <a:cubicBezTo>
                    <a:pt x="143588" y="123962"/>
                    <a:pt x="145540" y="123962"/>
                    <a:pt x="142713" y="124063"/>
                  </a:cubicBezTo>
                  <a:cubicBezTo>
                    <a:pt x="139886" y="124164"/>
                    <a:pt x="139011" y="123827"/>
                    <a:pt x="137800" y="123827"/>
                  </a:cubicBezTo>
                  <a:cubicBezTo>
                    <a:pt x="136588" y="123827"/>
                    <a:pt x="135208" y="123727"/>
                    <a:pt x="133761" y="123727"/>
                  </a:cubicBezTo>
                  <a:cubicBezTo>
                    <a:pt x="132348" y="123727"/>
                    <a:pt x="132011" y="120901"/>
                    <a:pt x="130295" y="120901"/>
                  </a:cubicBezTo>
                  <a:cubicBezTo>
                    <a:pt x="128545" y="120901"/>
                    <a:pt x="127030" y="121103"/>
                    <a:pt x="126155" y="121675"/>
                  </a:cubicBezTo>
                  <a:cubicBezTo>
                    <a:pt x="125280" y="122213"/>
                    <a:pt x="124203" y="123861"/>
                    <a:pt x="123867" y="124399"/>
                  </a:cubicBezTo>
                  <a:cubicBezTo>
                    <a:pt x="123530" y="124938"/>
                    <a:pt x="122891" y="125375"/>
                    <a:pt x="120939" y="125375"/>
                  </a:cubicBezTo>
                  <a:cubicBezTo>
                    <a:pt x="118987" y="125375"/>
                    <a:pt x="117674" y="124837"/>
                    <a:pt x="117674" y="124837"/>
                  </a:cubicBezTo>
                  <a:lnTo>
                    <a:pt x="115285" y="124063"/>
                  </a:lnTo>
                  <a:lnTo>
                    <a:pt x="112021" y="125139"/>
                  </a:lnTo>
                  <a:lnTo>
                    <a:pt x="110371" y="126451"/>
                  </a:lnTo>
                  <a:lnTo>
                    <a:pt x="105155" y="126889"/>
                  </a:lnTo>
                  <a:cubicBezTo>
                    <a:pt x="105155" y="126889"/>
                    <a:pt x="103943" y="126350"/>
                    <a:pt x="105155" y="126014"/>
                  </a:cubicBezTo>
                  <a:cubicBezTo>
                    <a:pt x="106366" y="125678"/>
                    <a:pt x="107107" y="124601"/>
                    <a:pt x="107208" y="124164"/>
                  </a:cubicBezTo>
                  <a:cubicBezTo>
                    <a:pt x="107309" y="123727"/>
                    <a:pt x="108184" y="122852"/>
                    <a:pt x="108284" y="122415"/>
                  </a:cubicBezTo>
                  <a:cubicBezTo>
                    <a:pt x="108386" y="121977"/>
                    <a:pt x="109059" y="120127"/>
                    <a:pt x="109059" y="119690"/>
                  </a:cubicBezTo>
                  <a:cubicBezTo>
                    <a:pt x="109059" y="119253"/>
                    <a:pt x="109496" y="116326"/>
                    <a:pt x="109496" y="115889"/>
                  </a:cubicBezTo>
                  <a:cubicBezTo>
                    <a:pt x="109496" y="115451"/>
                    <a:pt x="108857" y="113265"/>
                    <a:pt x="108857" y="113265"/>
                  </a:cubicBezTo>
                  <a:cubicBezTo>
                    <a:pt x="108857" y="113265"/>
                    <a:pt x="107982" y="111515"/>
                    <a:pt x="107881" y="111213"/>
                  </a:cubicBezTo>
                  <a:cubicBezTo>
                    <a:pt x="107780" y="110876"/>
                    <a:pt x="107107" y="109026"/>
                    <a:pt x="107107" y="108723"/>
                  </a:cubicBezTo>
                  <a:cubicBezTo>
                    <a:pt x="107107" y="108387"/>
                    <a:pt x="107544" y="106234"/>
                    <a:pt x="107544" y="106234"/>
                  </a:cubicBezTo>
                  <a:cubicBezTo>
                    <a:pt x="107544" y="106234"/>
                    <a:pt x="108520" y="105023"/>
                    <a:pt x="108857" y="104922"/>
                  </a:cubicBezTo>
                  <a:cubicBezTo>
                    <a:pt x="109193" y="104821"/>
                    <a:pt x="109934" y="103509"/>
                    <a:pt x="109934" y="103509"/>
                  </a:cubicBezTo>
                  <a:cubicBezTo>
                    <a:pt x="109934" y="103509"/>
                    <a:pt x="109395" y="100684"/>
                    <a:pt x="109395" y="100347"/>
                  </a:cubicBezTo>
                  <a:cubicBezTo>
                    <a:pt x="109395" y="100011"/>
                    <a:pt x="110809" y="97757"/>
                    <a:pt x="110809" y="97757"/>
                  </a:cubicBezTo>
                  <a:lnTo>
                    <a:pt x="111785" y="96546"/>
                  </a:lnTo>
                  <a:lnTo>
                    <a:pt x="111145" y="89280"/>
                  </a:lnTo>
                  <a:cubicBezTo>
                    <a:pt x="111145" y="89280"/>
                    <a:pt x="112559" y="86353"/>
                    <a:pt x="112222" y="86117"/>
                  </a:cubicBezTo>
                  <a:cubicBezTo>
                    <a:pt x="111886" y="85882"/>
                    <a:pt x="106905" y="80802"/>
                    <a:pt x="106905" y="80802"/>
                  </a:cubicBezTo>
                  <a:cubicBezTo>
                    <a:pt x="106905" y="80802"/>
                    <a:pt x="105693" y="79188"/>
                    <a:pt x="105592" y="78750"/>
                  </a:cubicBezTo>
                  <a:cubicBezTo>
                    <a:pt x="105491" y="78313"/>
                    <a:pt x="103001" y="77338"/>
                    <a:pt x="103640" y="76160"/>
                  </a:cubicBezTo>
                  <a:cubicBezTo>
                    <a:pt x="104280" y="74983"/>
                    <a:pt x="106467" y="73772"/>
                    <a:pt x="106467" y="73772"/>
                  </a:cubicBezTo>
                  <a:cubicBezTo>
                    <a:pt x="106467" y="73772"/>
                    <a:pt x="108318" y="73974"/>
                    <a:pt x="107342" y="72258"/>
                  </a:cubicBezTo>
                  <a:cubicBezTo>
                    <a:pt x="106366" y="70509"/>
                    <a:pt x="106164" y="68120"/>
                    <a:pt x="105390" y="68019"/>
                  </a:cubicBezTo>
                  <a:cubicBezTo>
                    <a:pt x="104650" y="67918"/>
                    <a:pt x="103741" y="67582"/>
                    <a:pt x="103539" y="66169"/>
                  </a:cubicBezTo>
                  <a:cubicBezTo>
                    <a:pt x="103337" y="64756"/>
                    <a:pt x="103203" y="62570"/>
                    <a:pt x="102126" y="62570"/>
                  </a:cubicBezTo>
                  <a:cubicBezTo>
                    <a:pt x="101049" y="62570"/>
                    <a:pt x="98760" y="62570"/>
                    <a:pt x="98760" y="62570"/>
                  </a:cubicBezTo>
                  <a:lnTo>
                    <a:pt x="97986" y="63343"/>
                  </a:lnTo>
                  <a:lnTo>
                    <a:pt x="96573" y="66270"/>
                  </a:lnTo>
                  <a:lnTo>
                    <a:pt x="95496" y="67683"/>
                  </a:lnTo>
                  <a:lnTo>
                    <a:pt x="93308" y="68558"/>
                  </a:lnTo>
                  <a:lnTo>
                    <a:pt x="90683" y="68019"/>
                  </a:lnTo>
                  <a:lnTo>
                    <a:pt x="90044" y="65194"/>
                  </a:lnTo>
                  <a:lnTo>
                    <a:pt x="87654" y="63444"/>
                  </a:lnTo>
                  <a:lnTo>
                    <a:pt x="85467" y="66371"/>
                  </a:lnTo>
                  <a:lnTo>
                    <a:pt x="84491" y="67784"/>
                  </a:lnTo>
                  <a:lnTo>
                    <a:pt x="82000" y="65833"/>
                  </a:lnTo>
                  <a:cubicBezTo>
                    <a:pt x="82000" y="65833"/>
                    <a:pt x="81361" y="64319"/>
                    <a:pt x="81024" y="64319"/>
                  </a:cubicBezTo>
                  <a:cubicBezTo>
                    <a:pt x="80688" y="64319"/>
                    <a:pt x="80049" y="64117"/>
                    <a:pt x="79611" y="64117"/>
                  </a:cubicBezTo>
                  <a:cubicBezTo>
                    <a:pt x="79174" y="64117"/>
                    <a:pt x="76784" y="64319"/>
                    <a:pt x="76683" y="64756"/>
                  </a:cubicBezTo>
                  <a:cubicBezTo>
                    <a:pt x="76582" y="65194"/>
                    <a:pt x="75707" y="66808"/>
                    <a:pt x="75707" y="66808"/>
                  </a:cubicBezTo>
                  <a:lnTo>
                    <a:pt x="75168" y="68995"/>
                  </a:lnTo>
                  <a:lnTo>
                    <a:pt x="74092" y="70744"/>
                  </a:lnTo>
                  <a:cubicBezTo>
                    <a:pt x="74092" y="70744"/>
                    <a:pt x="72140" y="71282"/>
                    <a:pt x="71803" y="71619"/>
                  </a:cubicBezTo>
                  <a:cubicBezTo>
                    <a:pt x="71500" y="71955"/>
                    <a:pt x="70053" y="72931"/>
                    <a:pt x="70053" y="72931"/>
                  </a:cubicBezTo>
                  <a:lnTo>
                    <a:pt x="70053" y="75656"/>
                  </a:lnTo>
                  <a:lnTo>
                    <a:pt x="71467" y="77708"/>
                  </a:lnTo>
                  <a:lnTo>
                    <a:pt x="72106" y="78919"/>
                  </a:lnTo>
                  <a:cubicBezTo>
                    <a:pt x="72106" y="78919"/>
                    <a:pt x="73082" y="79120"/>
                    <a:pt x="73418" y="79894"/>
                  </a:cubicBezTo>
                  <a:cubicBezTo>
                    <a:pt x="73755" y="80668"/>
                    <a:pt x="74395" y="81744"/>
                    <a:pt x="74395" y="81744"/>
                  </a:cubicBezTo>
                  <a:lnTo>
                    <a:pt x="74192" y="84234"/>
                  </a:lnTo>
                  <a:lnTo>
                    <a:pt x="73856" y="85310"/>
                  </a:lnTo>
                  <a:cubicBezTo>
                    <a:pt x="73856" y="85310"/>
                    <a:pt x="72981" y="86723"/>
                    <a:pt x="72543" y="86824"/>
                  </a:cubicBezTo>
                  <a:cubicBezTo>
                    <a:pt x="72106" y="86925"/>
                    <a:pt x="71467" y="87026"/>
                    <a:pt x="71029" y="87026"/>
                  </a:cubicBezTo>
                  <a:cubicBezTo>
                    <a:pt x="70592" y="87026"/>
                    <a:pt x="68202" y="86925"/>
                    <a:pt x="67765" y="86925"/>
                  </a:cubicBezTo>
                  <a:cubicBezTo>
                    <a:pt x="67327" y="86925"/>
                    <a:pt x="65812" y="86824"/>
                    <a:pt x="64937" y="87026"/>
                  </a:cubicBezTo>
                  <a:cubicBezTo>
                    <a:pt x="64063" y="87261"/>
                    <a:pt x="61909" y="86925"/>
                    <a:pt x="61134" y="87261"/>
                  </a:cubicBezTo>
                  <a:cubicBezTo>
                    <a:pt x="60360" y="87598"/>
                    <a:pt x="58745" y="88035"/>
                    <a:pt x="58409" y="88136"/>
                  </a:cubicBezTo>
                  <a:cubicBezTo>
                    <a:pt x="58072" y="88237"/>
                    <a:pt x="56457" y="88910"/>
                    <a:pt x="55918" y="89347"/>
                  </a:cubicBezTo>
                  <a:cubicBezTo>
                    <a:pt x="55380" y="89784"/>
                    <a:pt x="53731" y="92173"/>
                    <a:pt x="53731" y="92173"/>
                  </a:cubicBezTo>
                  <a:cubicBezTo>
                    <a:pt x="53731" y="92173"/>
                    <a:pt x="51678" y="94225"/>
                    <a:pt x="51678" y="94561"/>
                  </a:cubicBezTo>
                  <a:cubicBezTo>
                    <a:pt x="51678" y="94897"/>
                    <a:pt x="49826" y="97488"/>
                    <a:pt x="49826" y="97488"/>
                  </a:cubicBezTo>
                  <a:lnTo>
                    <a:pt x="48177" y="101087"/>
                  </a:lnTo>
                  <a:lnTo>
                    <a:pt x="48581" y="104115"/>
                  </a:lnTo>
                  <a:lnTo>
                    <a:pt x="47403" y="106503"/>
                  </a:lnTo>
                  <a:lnTo>
                    <a:pt x="47403" y="108656"/>
                  </a:lnTo>
                  <a:lnTo>
                    <a:pt x="48951" y="110708"/>
                  </a:lnTo>
                  <a:lnTo>
                    <a:pt x="48548" y="112289"/>
                  </a:lnTo>
                  <a:cubicBezTo>
                    <a:pt x="48548" y="112289"/>
                    <a:pt x="47807" y="114341"/>
                    <a:pt x="47807" y="114577"/>
                  </a:cubicBezTo>
                  <a:cubicBezTo>
                    <a:pt x="47807" y="114778"/>
                    <a:pt x="48884" y="117571"/>
                    <a:pt x="48884" y="117571"/>
                  </a:cubicBezTo>
                  <a:lnTo>
                    <a:pt x="49557" y="119959"/>
                  </a:lnTo>
                  <a:cubicBezTo>
                    <a:pt x="49557" y="119959"/>
                    <a:pt x="50534" y="123861"/>
                    <a:pt x="50534" y="124097"/>
                  </a:cubicBezTo>
                  <a:cubicBezTo>
                    <a:pt x="50534" y="124298"/>
                    <a:pt x="50702" y="126317"/>
                    <a:pt x="50735" y="126552"/>
                  </a:cubicBezTo>
                  <a:cubicBezTo>
                    <a:pt x="50803" y="126754"/>
                    <a:pt x="51173" y="130791"/>
                    <a:pt x="51173" y="130791"/>
                  </a:cubicBezTo>
                  <a:lnTo>
                    <a:pt x="52048" y="133886"/>
                  </a:lnTo>
                  <a:cubicBezTo>
                    <a:pt x="52048" y="133886"/>
                    <a:pt x="51980" y="134962"/>
                    <a:pt x="51139" y="135097"/>
                  </a:cubicBezTo>
                  <a:cubicBezTo>
                    <a:pt x="50264" y="135198"/>
                    <a:pt x="49288" y="134996"/>
                    <a:pt x="48481" y="134760"/>
                  </a:cubicBezTo>
                  <a:cubicBezTo>
                    <a:pt x="47673" y="134525"/>
                    <a:pt x="44846" y="132372"/>
                    <a:pt x="44678" y="132305"/>
                  </a:cubicBezTo>
                  <a:cubicBezTo>
                    <a:pt x="44509" y="132237"/>
                    <a:pt x="39831" y="134088"/>
                    <a:pt x="39831" y="134088"/>
                  </a:cubicBezTo>
                  <a:lnTo>
                    <a:pt x="34413" y="133448"/>
                  </a:lnTo>
                  <a:lnTo>
                    <a:pt x="31788" y="134962"/>
                  </a:lnTo>
                  <a:lnTo>
                    <a:pt x="28321" y="137788"/>
                  </a:lnTo>
                  <a:lnTo>
                    <a:pt x="22432" y="143439"/>
                  </a:lnTo>
                  <a:lnTo>
                    <a:pt x="21119" y="145626"/>
                  </a:lnTo>
                  <a:lnTo>
                    <a:pt x="20042" y="148014"/>
                  </a:lnTo>
                  <a:lnTo>
                    <a:pt x="21792" y="150201"/>
                  </a:lnTo>
                  <a:lnTo>
                    <a:pt x="22869" y="150840"/>
                  </a:lnTo>
                  <a:lnTo>
                    <a:pt x="26773" y="151042"/>
                  </a:lnTo>
                  <a:lnTo>
                    <a:pt x="29937" y="152556"/>
                  </a:lnTo>
                  <a:lnTo>
                    <a:pt x="31788" y="156054"/>
                  </a:lnTo>
                  <a:lnTo>
                    <a:pt x="31788" y="160831"/>
                  </a:lnTo>
                  <a:lnTo>
                    <a:pt x="28961" y="162345"/>
                  </a:lnTo>
                  <a:lnTo>
                    <a:pt x="29836" y="166045"/>
                  </a:lnTo>
                  <a:lnTo>
                    <a:pt x="31586" y="166281"/>
                  </a:lnTo>
                  <a:lnTo>
                    <a:pt x="34211" y="166483"/>
                  </a:lnTo>
                  <a:lnTo>
                    <a:pt x="35826" y="167795"/>
                  </a:lnTo>
                  <a:lnTo>
                    <a:pt x="37038" y="170385"/>
                  </a:lnTo>
                  <a:lnTo>
                    <a:pt x="37038" y="173009"/>
                  </a:lnTo>
                  <a:lnTo>
                    <a:pt x="34009" y="175868"/>
                  </a:lnTo>
                  <a:cubicBezTo>
                    <a:pt x="34009" y="175868"/>
                    <a:pt x="33134" y="176911"/>
                    <a:pt x="31821" y="177146"/>
                  </a:cubicBezTo>
                  <a:cubicBezTo>
                    <a:pt x="30509" y="177348"/>
                    <a:pt x="29634" y="177584"/>
                    <a:pt x="28557" y="178223"/>
                  </a:cubicBezTo>
                  <a:cubicBezTo>
                    <a:pt x="27480" y="178862"/>
                    <a:pt x="27480" y="178862"/>
                    <a:pt x="27480" y="178862"/>
                  </a:cubicBezTo>
                  <a:lnTo>
                    <a:pt x="25090" y="180174"/>
                  </a:lnTo>
                  <a:cubicBezTo>
                    <a:pt x="25090" y="180174"/>
                    <a:pt x="23576" y="181486"/>
                    <a:pt x="23576" y="182125"/>
                  </a:cubicBezTo>
                  <a:cubicBezTo>
                    <a:pt x="23576" y="182764"/>
                    <a:pt x="21759" y="185758"/>
                    <a:pt x="21759" y="185758"/>
                  </a:cubicBezTo>
                  <a:lnTo>
                    <a:pt x="21389" y="187945"/>
                  </a:lnTo>
                  <a:lnTo>
                    <a:pt x="21389" y="190400"/>
                  </a:lnTo>
                  <a:lnTo>
                    <a:pt x="23273" y="190972"/>
                  </a:lnTo>
                  <a:lnTo>
                    <a:pt x="26033" y="192419"/>
                  </a:lnTo>
                  <a:lnTo>
                    <a:pt x="27615" y="193428"/>
                  </a:lnTo>
                  <a:lnTo>
                    <a:pt x="28490" y="194605"/>
                  </a:lnTo>
                  <a:lnTo>
                    <a:pt x="29365" y="196926"/>
                  </a:lnTo>
                  <a:cubicBezTo>
                    <a:pt x="29365" y="196926"/>
                    <a:pt x="31081" y="198508"/>
                    <a:pt x="31250" y="198945"/>
                  </a:cubicBezTo>
                  <a:cubicBezTo>
                    <a:pt x="31384" y="199382"/>
                    <a:pt x="33841" y="201569"/>
                    <a:pt x="34413" y="201703"/>
                  </a:cubicBezTo>
                  <a:cubicBezTo>
                    <a:pt x="34985" y="201838"/>
                    <a:pt x="37139" y="205605"/>
                    <a:pt x="37139" y="205605"/>
                  </a:cubicBezTo>
                  <a:lnTo>
                    <a:pt x="40067" y="209743"/>
                  </a:lnTo>
                  <a:lnTo>
                    <a:pt x="41043" y="213107"/>
                  </a:lnTo>
                  <a:lnTo>
                    <a:pt x="42120" y="217009"/>
                  </a:lnTo>
                  <a:lnTo>
                    <a:pt x="43634" y="221450"/>
                  </a:lnTo>
                  <a:lnTo>
                    <a:pt x="45148" y="223838"/>
                  </a:lnTo>
                  <a:lnTo>
                    <a:pt x="46125" y="227539"/>
                  </a:lnTo>
                  <a:lnTo>
                    <a:pt x="46865" y="229927"/>
                  </a:lnTo>
                  <a:lnTo>
                    <a:pt x="50466" y="232954"/>
                  </a:lnTo>
                  <a:cubicBezTo>
                    <a:pt x="50466" y="232954"/>
                    <a:pt x="52957" y="235141"/>
                    <a:pt x="53832" y="235780"/>
                  </a:cubicBezTo>
                  <a:cubicBezTo>
                    <a:pt x="54707" y="236419"/>
                    <a:pt x="56322" y="237630"/>
                    <a:pt x="56658" y="237832"/>
                  </a:cubicBezTo>
                  <a:cubicBezTo>
                    <a:pt x="56995" y="238034"/>
                    <a:pt x="59923" y="240994"/>
                    <a:pt x="60024" y="241297"/>
                  </a:cubicBezTo>
                  <a:cubicBezTo>
                    <a:pt x="60125" y="241634"/>
                    <a:pt x="61000" y="243686"/>
                    <a:pt x="61101" y="244022"/>
                  </a:cubicBezTo>
                  <a:cubicBezTo>
                    <a:pt x="61202" y="244358"/>
                    <a:pt x="61539" y="245536"/>
                    <a:pt x="61438" y="245973"/>
                  </a:cubicBezTo>
                  <a:cubicBezTo>
                    <a:pt x="61337" y="246410"/>
                    <a:pt x="61438" y="247588"/>
                    <a:pt x="61438" y="248698"/>
                  </a:cubicBezTo>
                  <a:cubicBezTo>
                    <a:pt x="61438" y="249774"/>
                    <a:pt x="62077" y="251860"/>
                    <a:pt x="62077" y="251860"/>
                  </a:cubicBezTo>
                  <a:lnTo>
                    <a:pt x="62615" y="257612"/>
                  </a:lnTo>
                  <a:lnTo>
                    <a:pt x="63692" y="262187"/>
                  </a:lnTo>
                  <a:lnTo>
                    <a:pt x="62481" y="265955"/>
                  </a:lnTo>
                  <a:lnTo>
                    <a:pt x="64433" y="269891"/>
                  </a:lnTo>
                  <a:cubicBezTo>
                    <a:pt x="64433" y="269891"/>
                    <a:pt x="65846" y="269454"/>
                    <a:pt x="66721" y="269655"/>
                  </a:cubicBezTo>
                  <a:cubicBezTo>
                    <a:pt x="67596" y="269891"/>
                    <a:pt x="69447" y="269756"/>
                    <a:pt x="69447" y="269756"/>
                  </a:cubicBezTo>
                  <a:lnTo>
                    <a:pt x="74226" y="270294"/>
                  </a:lnTo>
                  <a:cubicBezTo>
                    <a:pt x="74226" y="270294"/>
                    <a:pt x="76515" y="271001"/>
                    <a:pt x="76952" y="271001"/>
                  </a:cubicBezTo>
                  <a:cubicBezTo>
                    <a:pt x="77390" y="271001"/>
                    <a:pt x="79880" y="271169"/>
                    <a:pt x="80755" y="271169"/>
                  </a:cubicBezTo>
                  <a:cubicBezTo>
                    <a:pt x="81058" y="271169"/>
                    <a:pt x="81226" y="271169"/>
                    <a:pt x="81294" y="271169"/>
                  </a:cubicBezTo>
                  <a:lnTo>
                    <a:pt x="82707" y="273221"/>
                  </a:lnTo>
                  <a:lnTo>
                    <a:pt x="82472" y="273995"/>
                  </a:lnTo>
                  <a:lnTo>
                    <a:pt x="79308" y="275071"/>
                  </a:lnTo>
                  <a:cubicBezTo>
                    <a:pt x="79308" y="275071"/>
                    <a:pt x="78332" y="277359"/>
                    <a:pt x="77558" y="277561"/>
                  </a:cubicBezTo>
                  <a:cubicBezTo>
                    <a:pt x="76784" y="277762"/>
                    <a:pt x="76246" y="278099"/>
                    <a:pt x="75371" y="278536"/>
                  </a:cubicBezTo>
                  <a:cubicBezTo>
                    <a:pt x="74496" y="278974"/>
                    <a:pt x="72981" y="279747"/>
                    <a:pt x="72981" y="279747"/>
                  </a:cubicBezTo>
                  <a:lnTo>
                    <a:pt x="65139" y="283347"/>
                  </a:lnTo>
                  <a:lnTo>
                    <a:pt x="57534" y="284423"/>
                  </a:lnTo>
                  <a:lnTo>
                    <a:pt x="55346" y="285836"/>
                  </a:lnTo>
                  <a:lnTo>
                    <a:pt x="51846" y="288561"/>
                  </a:lnTo>
                  <a:lnTo>
                    <a:pt x="42928" y="288561"/>
                  </a:lnTo>
                  <a:lnTo>
                    <a:pt x="43567" y="294010"/>
                  </a:lnTo>
                  <a:lnTo>
                    <a:pt x="44004" y="298585"/>
                  </a:lnTo>
                  <a:cubicBezTo>
                    <a:pt x="44004" y="298585"/>
                    <a:pt x="44879" y="299662"/>
                    <a:pt x="42692" y="299662"/>
                  </a:cubicBezTo>
                  <a:cubicBezTo>
                    <a:pt x="40505" y="299662"/>
                    <a:pt x="38351" y="299023"/>
                    <a:pt x="38351" y="299023"/>
                  </a:cubicBezTo>
                  <a:lnTo>
                    <a:pt x="35725" y="298585"/>
                  </a:lnTo>
                  <a:cubicBezTo>
                    <a:pt x="35725" y="298585"/>
                    <a:pt x="34413" y="299023"/>
                    <a:pt x="33774" y="299897"/>
                  </a:cubicBezTo>
                  <a:cubicBezTo>
                    <a:pt x="33134" y="300772"/>
                    <a:pt x="31586" y="305986"/>
                    <a:pt x="31586" y="305986"/>
                  </a:cubicBezTo>
                  <a:cubicBezTo>
                    <a:pt x="31586" y="305986"/>
                    <a:pt x="32259" y="310124"/>
                    <a:pt x="32899" y="310763"/>
                  </a:cubicBezTo>
                  <a:cubicBezTo>
                    <a:pt x="33538" y="311402"/>
                    <a:pt x="36163" y="313791"/>
                    <a:pt x="37038" y="314026"/>
                  </a:cubicBezTo>
                  <a:cubicBezTo>
                    <a:pt x="37913" y="314228"/>
                    <a:pt x="39865" y="314665"/>
                    <a:pt x="40505" y="314665"/>
                  </a:cubicBezTo>
                  <a:cubicBezTo>
                    <a:pt x="41144" y="314665"/>
                    <a:pt x="42894" y="314665"/>
                    <a:pt x="42894" y="314665"/>
                  </a:cubicBezTo>
                  <a:lnTo>
                    <a:pt x="44644" y="316616"/>
                  </a:lnTo>
                  <a:cubicBezTo>
                    <a:pt x="44644" y="316616"/>
                    <a:pt x="45081" y="317928"/>
                    <a:pt x="45721" y="318366"/>
                  </a:cubicBezTo>
                  <a:cubicBezTo>
                    <a:pt x="46360" y="318803"/>
                    <a:pt x="51610" y="320956"/>
                    <a:pt x="51610" y="320956"/>
                  </a:cubicBezTo>
                  <a:cubicBezTo>
                    <a:pt x="51610" y="320956"/>
                    <a:pt x="54437" y="322470"/>
                    <a:pt x="55952" y="322470"/>
                  </a:cubicBezTo>
                  <a:cubicBezTo>
                    <a:pt x="57500" y="322470"/>
                    <a:pt x="62043" y="322907"/>
                    <a:pt x="62043" y="322907"/>
                  </a:cubicBezTo>
                  <a:lnTo>
                    <a:pt x="65947" y="323445"/>
                  </a:lnTo>
                  <a:lnTo>
                    <a:pt x="70962" y="323344"/>
                  </a:lnTo>
                  <a:lnTo>
                    <a:pt x="74226" y="323344"/>
                  </a:lnTo>
                  <a:cubicBezTo>
                    <a:pt x="74226" y="323344"/>
                    <a:pt x="74664" y="323142"/>
                    <a:pt x="75303" y="323781"/>
                  </a:cubicBezTo>
                  <a:cubicBezTo>
                    <a:pt x="75942" y="324421"/>
                    <a:pt x="76178" y="325531"/>
                    <a:pt x="76178" y="325531"/>
                  </a:cubicBezTo>
                  <a:lnTo>
                    <a:pt x="78130" y="328357"/>
                  </a:lnTo>
                  <a:cubicBezTo>
                    <a:pt x="78130" y="328357"/>
                    <a:pt x="78130" y="330308"/>
                    <a:pt x="77895" y="331182"/>
                  </a:cubicBezTo>
                  <a:cubicBezTo>
                    <a:pt x="77693" y="332057"/>
                    <a:pt x="77457" y="333133"/>
                    <a:pt x="76818" y="334008"/>
                  </a:cubicBezTo>
                  <a:cubicBezTo>
                    <a:pt x="76178" y="334883"/>
                    <a:pt x="77457" y="333571"/>
                    <a:pt x="76178" y="334883"/>
                  </a:cubicBezTo>
                  <a:cubicBezTo>
                    <a:pt x="74866" y="336195"/>
                    <a:pt x="73991" y="338785"/>
                    <a:pt x="73991" y="338785"/>
                  </a:cubicBezTo>
                  <a:lnTo>
                    <a:pt x="73856" y="340299"/>
                  </a:lnTo>
                  <a:lnTo>
                    <a:pt x="75101" y="343326"/>
                  </a:lnTo>
                  <a:lnTo>
                    <a:pt x="75101" y="346791"/>
                  </a:lnTo>
                  <a:lnTo>
                    <a:pt x="76246" y="348103"/>
                  </a:lnTo>
                  <a:lnTo>
                    <a:pt x="77390" y="350727"/>
                  </a:lnTo>
                  <a:lnTo>
                    <a:pt x="81159" y="352308"/>
                  </a:lnTo>
                  <a:lnTo>
                    <a:pt x="82472" y="352443"/>
                  </a:lnTo>
                  <a:cubicBezTo>
                    <a:pt x="82472" y="352443"/>
                    <a:pt x="83481" y="353754"/>
                    <a:pt x="83784" y="354326"/>
                  </a:cubicBezTo>
                  <a:cubicBezTo>
                    <a:pt x="84087" y="354898"/>
                    <a:pt x="85803" y="356647"/>
                    <a:pt x="85803" y="356647"/>
                  </a:cubicBezTo>
                  <a:lnTo>
                    <a:pt x="86106" y="358834"/>
                  </a:lnTo>
                  <a:lnTo>
                    <a:pt x="86981" y="362030"/>
                  </a:lnTo>
                  <a:lnTo>
                    <a:pt x="86409" y="366369"/>
                  </a:lnTo>
                  <a:lnTo>
                    <a:pt x="86275" y="367984"/>
                  </a:lnTo>
                  <a:lnTo>
                    <a:pt x="85265" y="370574"/>
                  </a:lnTo>
                  <a:lnTo>
                    <a:pt x="83515" y="376091"/>
                  </a:lnTo>
                  <a:lnTo>
                    <a:pt x="82068" y="376966"/>
                  </a:lnTo>
                  <a:lnTo>
                    <a:pt x="79611" y="377975"/>
                  </a:lnTo>
                  <a:cubicBezTo>
                    <a:pt x="79611" y="377975"/>
                    <a:pt x="79174" y="379993"/>
                    <a:pt x="79174" y="380733"/>
                  </a:cubicBezTo>
                  <a:cubicBezTo>
                    <a:pt x="79174" y="381440"/>
                    <a:pt x="80486" y="383357"/>
                    <a:pt x="80486" y="383357"/>
                  </a:cubicBezTo>
                  <a:cubicBezTo>
                    <a:pt x="80486" y="383357"/>
                    <a:pt x="81226" y="384938"/>
                    <a:pt x="81058" y="385376"/>
                  </a:cubicBezTo>
                  <a:cubicBezTo>
                    <a:pt x="80923" y="385813"/>
                    <a:pt x="80755" y="387125"/>
                    <a:pt x="80351" y="387260"/>
                  </a:cubicBezTo>
                  <a:cubicBezTo>
                    <a:pt x="79914" y="387394"/>
                    <a:pt x="78904" y="388571"/>
                    <a:pt x="78332" y="388571"/>
                  </a:cubicBezTo>
                  <a:cubicBezTo>
                    <a:pt x="77760" y="388571"/>
                    <a:pt x="77760" y="388437"/>
                    <a:pt x="77625" y="389143"/>
                  </a:cubicBezTo>
                  <a:cubicBezTo>
                    <a:pt x="77457" y="389850"/>
                    <a:pt x="78635" y="392339"/>
                    <a:pt x="79207" y="393214"/>
                  </a:cubicBezTo>
                  <a:cubicBezTo>
                    <a:pt x="79779" y="394088"/>
                    <a:pt x="80890" y="396544"/>
                    <a:pt x="80890" y="397116"/>
                  </a:cubicBezTo>
                  <a:cubicBezTo>
                    <a:pt x="80890" y="397688"/>
                    <a:pt x="83851" y="400581"/>
                    <a:pt x="83851" y="400581"/>
                  </a:cubicBezTo>
                  <a:lnTo>
                    <a:pt x="83851" y="402397"/>
                  </a:lnTo>
                  <a:cubicBezTo>
                    <a:pt x="83818" y="402296"/>
                    <a:pt x="83515" y="402196"/>
                    <a:pt x="82102" y="402498"/>
                  </a:cubicBezTo>
                  <a:cubicBezTo>
                    <a:pt x="80082" y="402936"/>
                    <a:pt x="78467" y="404248"/>
                    <a:pt x="77625" y="404651"/>
                  </a:cubicBezTo>
                  <a:cubicBezTo>
                    <a:pt x="76750" y="405089"/>
                    <a:pt x="76885" y="404954"/>
                    <a:pt x="75168" y="405660"/>
                  </a:cubicBezTo>
                  <a:cubicBezTo>
                    <a:pt x="73418" y="406401"/>
                    <a:pt x="72847" y="406804"/>
                    <a:pt x="71264" y="407847"/>
                  </a:cubicBezTo>
                  <a:cubicBezTo>
                    <a:pt x="69683" y="408856"/>
                    <a:pt x="68808" y="410605"/>
                    <a:pt x="68236" y="411043"/>
                  </a:cubicBezTo>
                  <a:cubicBezTo>
                    <a:pt x="67664" y="411480"/>
                    <a:pt x="65644" y="413061"/>
                    <a:pt x="65644" y="413061"/>
                  </a:cubicBezTo>
                  <a:cubicBezTo>
                    <a:pt x="65644" y="413061"/>
                    <a:pt x="62750" y="412927"/>
                    <a:pt x="62009" y="414070"/>
                  </a:cubicBezTo>
                  <a:cubicBezTo>
                    <a:pt x="61269" y="415248"/>
                    <a:pt x="60260" y="417098"/>
                    <a:pt x="59250" y="417098"/>
                  </a:cubicBezTo>
                  <a:cubicBezTo>
                    <a:pt x="58240" y="417098"/>
                    <a:pt x="58947" y="419284"/>
                    <a:pt x="56793" y="417098"/>
                  </a:cubicBezTo>
                  <a:cubicBezTo>
                    <a:pt x="54639" y="414911"/>
                    <a:pt x="52721" y="411749"/>
                    <a:pt x="50702" y="410874"/>
                  </a:cubicBezTo>
                  <a:cubicBezTo>
                    <a:pt x="48682" y="410000"/>
                    <a:pt x="48514" y="407981"/>
                    <a:pt x="47067" y="407679"/>
                  </a:cubicBezTo>
                  <a:cubicBezTo>
                    <a:pt x="45620" y="407376"/>
                    <a:pt x="42995" y="407242"/>
                    <a:pt x="42995" y="407242"/>
                  </a:cubicBezTo>
                  <a:lnTo>
                    <a:pt x="38956" y="409697"/>
                  </a:lnTo>
                  <a:lnTo>
                    <a:pt x="33740" y="413162"/>
                  </a:lnTo>
                  <a:lnTo>
                    <a:pt x="32999" y="415483"/>
                  </a:lnTo>
                  <a:lnTo>
                    <a:pt x="31148" y="416526"/>
                  </a:lnTo>
                  <a:lnTo>
                    <a:pt x="30408" y="416930"/>
                  </a:lnTo>
                  <a:lnTo>
                    <a:pt x="26638" y="418040"/>
                  </a:lnTo>
                  <a:lnTo>
                    <a:pt x="25461" y="420697"/>
                  </a:lnTo>
                  <a:lnTo>
                    <a:pt x="21691" y="424465"/>
                  </a:lnTo>
                  <a:lnTo>
                    <a:pt x="19235" y="426921"/>
                  </a:lnTo>
                  <a:lnTo>
                    <a:pt x="19975" y="430116"/>
                  </a:lnTo>
                  <a:lnTo>
                    <a:pt x="22163" y="433447"/>
                  </a:lnTo>
                  <a:lnTo>
                    <a:pt x="24485" y="436340"/>
                  </a:lnTo>
                  <a:lnTo>
                    <a:pt x="27244" y="438964"/>
                  </a:lnTo>
                  <a:lnTo>
                    <a:pt x="30004" y="442731"/>
                  </a:lnTo>
                  <a:lnTo>
                    <a:pt x="30307" y="445052"/>
                  </a:lnTo>
                  <a:cubicBezTo>
                    <a:pt x="30307" y="445052"/>
                    <a:pt x="29567" y="447643"/>
                    <a:pt x="29432" y="448248"/>
                  </a:cubicBezTo>
                  <a:cubicBezTo>
                    <a:pt x="29297" y="448820"/>
                    <a:pt x="28288" y="453462"/>
                    <a:pt x="28288" y="453462"/>
                  </a:cubicBezTo>
                  <a:lnTo>
                    <a:pt x="24215" y="456355"/>
                  </a:lnTo>
                  <a:lnTo>
                    <a:pt x="18562" y="459551"/>
                  </a:lnTo>
                  <a:lnTo>
                    <a:pt x="17552" y="462444"/>
                  </a:lnTo>
                  <a:cubicBezTo>
                    <a:pt x="17552" y="462444"/>
                    <a:pt x="16980" y="464025"/>
                    <a:pt x="16812" y="464463"/>
                  </a:cubicBezTo>
                  <a:cubicBezTo>
                    <a:pt x="16677" y="464900"/>
                    <a:pt x="12335" y="465606"/>
                    <a:pt x="12335" y="465606"/>
                  </a:cubicBezTo>
                  <a:cubicBezTo>
                    <a:pt x="12335" y="465606"/>
                    <a:pt x="9879" y="466313"/>
                    <a:pt x="9441" y="466615"/>
                  </a:cubicBezTo>
                  <a:cubicBezTo>
                    <a:pt x="9003" y="466918"/>
                    <a:pt x="4797" y="469340"/>
                    <a:pt x="4797" y="469340"/>
                  </a:cubicBezTo>
                  <a:lnTo>
                    <a:pt x="2980" y="472233"/>
                  </a:lnTo>
                  <a:lnTo>
                    <a:pt x="2172" y="476304"/>
                  </a:lnTo>
                  <a:lnTo>
                    <a:pt x="2172" y="480643"/>
                  </a:lnTo>
                  <a:cubicBezTo>
                    <a:pt x="2172" y="480643"/>
                    <a:pt x="2912" y="486160"/>
                    <a:pt x="2912" y="486732"/>
                  </a:cubicBezTo>
                  <a:cubicBezTo>
                    <a:pt x="2912" y="487304"/>
                    <a:pt x="3787" y="490769"/>
                    <a:pt x="3787" y="490769"/>
                  </a:cubicBezTo>
                  <a:cubicBezTo>
                    <a:pt x="3787" y="490769"/>
                    <a:pt x="4056" y="492955"/>
                    <a:pt x="4056" y="493527"/>
                  </a:cubicBezTo>
                  <a:cubicBezTo>
                    <a:pt x="4056" y="494099"/>
                    <a:pt x="4359" y="495276"/>
                    <a:pt x="3047" y="496555"/>
                  </a:cubicBezTo>
                  <a:cubicBezTo>
                    <a:pt x="1734" y="497867"/>
                    <a:pt x="287" y="499751"/>
                    <a:pt x="18" y="500322"/>
                  </a:cubicBezTo>
                  <a:cubicBezTo>
                    <a:pt x="-285" y="500894"/>
                    <a:pt x="3350" y="505234"/>
                    <a:pt x="3350" y="505234"/>
                  </a:cubicBezTo>
                  <a:lnTo>
                    <a:pt x="4662" y="508261"/>
                  </a:lnTo>
                  <a:cubicBezTo>
                    <a:pt x="4662" y="508261"/>
                    <a:pt x="7557" y="510145"/>
                    <a:pt x="7994" y="510448"/>
                  </a:cubicBezTo>
                  <a:cubicBezTo>
                    <a:pt x="8432" y="510751"/>
                    <a:pt x="11191" y="512769"/>
                    <a:pt x="11191" y="512769"/>
                  </a:cubicBezTo>
                  <a:cubicBezTo>
                    <a:pt x="11191" y="512769"/>
                    <a:pt x="14220" y="513913"/>
                    <a:pt x="14826" y="513778"/>
                  </a:cubicBezTo>
                  <a:cubicBezTo>
                    <a:pt x="15398" y="513644"/>
                    <a:pt x="18158" y="512769"/>
                    <a:pt x="18158" y="512769"/>
                  </a:cubicBezTo>
                  <a:lnTo>
                    <a:pt x="18730" y="512769"/>
                  </a:lnTo>
                  <a:cubicBezTo>
                    <a:pt x="18730" y="512769"/>
                    <a:pt x="21186" y="512836"/>
                    <a:pt x="21624" y="512971"/>
                  </a:cubicBezTo>
                  <a:cubicBezTo>
                    <a:pt x="22061" y="513105"/>
                    <a:pt x="25696" y="517983"/>
                    <a:pt x="25696" y="517983"/>
                  </a:cubicBezTo>
                  <a:lnTo>
                    <a:pt x="29163" y="517983"/>
                  </a:lnTo>
                  <a:lnTo>
                    <a:pt x="31653" y="517445"/>
                  </a:lnTo>
                  <a:lnTo>
                    <a:pt x="33504" y="517983"/>
                  </a:lnTo>
                  <a:lnTo>
                    <a:pt x="33504" y="520607"/>
                  </a:lnTo>
                  <a:lnTo>
                    <a:pt x="33067" y="523870"/>
                  </a:lnTo>
                  <a:lnTo>
                    <a:pt x="32427" y="525485"/>
                  </a:lnTo>
                  <a:cubicBezTo>
                    <a:pt x="32427" y="525485"/>
                    <a:pt x="31889" y="527537"/>
                    <a:pt x="31889" y="528109"/>
                  </a:cubicBezTo>
                  <a:cubicBezTo>
                    <a:pt x="31889" y="528647"/>
                    <a:pt x="31451" y="529623"/>
                    <a:pt x="31990" y="530834"/>
                  </a:cubicBezTo>
                  <a:cubicBezTo>
                    <a:pt x="32528" y="532044"/>
                    <a:pt x="33740" y="533861"/>
                    <a:pt x="34278" y="534298"/>
                  </a:cubicBezTo>
                  <a:cubicBezTo>
                    <a:pt x="34817" y="534736"/>
                    <a:pt x="36702" y="536048"/>
                    <a:pt x="36836" y="536350"/>
                  </a:cubicBezTo>
                  <a:cubicBezTo>
                    <a:pt x="36937" y="536687"/>
                    <a:pt x="37004" y="539075"/>
                    <a:pt x="37004" y="539513"/>
                  </a:cubicBezTo>
                  <a:cubicBezTo>
                    <a:pt x="37004" y="539950"/>
                    <a:pt x="37004" y="543213"/>
                    <a:pt x="37004" y="543213"/>
                  </a:cubicBezTo>
                  <a:lnTo>
                    <a:pt x="38418" y="545601"/>
                  </a:lnTo>
                  <a:lnTo>
                    <a:pt x="40605" y="548091"/>
                  </a:lnTo>
                  <a:cubicBezTo>
                    <a:pt x="40605" y="548091"/>
                    <a:pt x="42120" y="549941"/>
                    <a:pt x="42456" y="550143"/>
                  </a:cubicBezTo>
                  <a:cubicBezTo>
                    <a:pt x="42793" y="550344"/>
                    <a:pt x="43870" y="551656"/>
                    <a:pt x="43870" y="551656"/>
                  </a:cubicBezTo>
                  <a:lnTo>
                    <a:pt x="46057" y="553944"/>
                  </a:lnTo>
                  <a:lnTo>
                    <a:pt x="48346" y="557207"/>
                  </a:lnTo>
                  <a:cubicBezTo>
                    <a:pt x="48346" y="557207"/>
                    <a:pt x="48447" y="558956"/>
                    <a:pt x="48682" y="559495"/>
                  </a:cubicBezTo>
                  <a:cubicBezTo>
                    <a:pt x="48884" y="560033"/>
                    <a:pt x="49658" y="560806"/>
                    <a:pt x="49658" y="560806"/>
                  </a:cubicBezTo>
                  <a:lnTo>
                    <a:pt x="49355" y="563060"/>
                  </a:lnTo>
                  <a:lnTo>
                    <a:pt x="49490" y="565314"/>
                  </a:lnTo>
                  <a:lnTo>
                    <a:pt x="52384" y="566693"/>
                  </a:lnTo>
                  <a:lnTo>
                    <a:pt x="53529" y="566693"/>
                  </a:lnTo>
                  <a:lnTo>
                    <a:pt x="56423" y="568443"/>
                  </a:lnTo>
                  <a:cubicBezTo>
                    <a:pt x="56423" y="568443"/>
                    <a:pt x="58745" y="570192"/>
                    <a:pt x="59183" y="570461"/>
                  </a:cubicBezTo>
                  <a:cubicBezTo>
                    <a:pt x="59620" y="570764"/>
                    <a:pt x="61505" y="573219"/>
                    <a:pt x="61505" y="573219"/>
                  </a:cubicBezTo>
                  <a:cubicBezTo>
                    <a:pt x="61505" y="573219"/>
                    <a:pt x="61639" y="574801"/>
                    <a:pt x="61505" y="575238"/>
                  </a:cubicBezTo>
                  <a:cubicBezTo>
                    <a:pt x="61370" y="575675"/>
                    <a:pt x="60933" y="577424"/>
                    <a:pt x="60933" y="578131"/>
                  </a:cubicBezTo>
                  <a:cubicBezTo>
                    <a:pt x="60933" y="578871"/>
                    <a:pt x="60664" y="579443"/>
                    <a:pt x="60360" y="581327"/>
                  </a:cubicBezTo>
                  <a:cubicBezTo>
                    <a:pt x="60058" y="583210"/>
                    <a:pt x="59351" y="586541"/>
                    <a:pt x="59048" y="587113"/>
                  </a:cubicBezTo>
                  <a:cubicBezTo>
                    <a:pt x="58745" y="587684"/>
                    <a:pt x="56726" y="590746"/>
                    <a:pt x="56726" y="590746"/>
                  </a:cubicBezTo>
                  <a:lnTo>
                    <a:pt x="55144" y="595253"/>
                  </a:lnTo>
                  <a:cubicBezTo>
                    <a:pt x="55144" y="595253"/>
                    <a:pt x="54437" y="597709"/>
                    <a:pt x="53832" y="598146"/>
                  </a:cubicBezTo>
                  <a:cubicBezTo>
                    <a:pt x="53259" y="598584"/>
                    <a:pt x="52822" y="598853"/>
                    <a:pt x="51644" y="599593"/>
                  </a:cubicBezTo>
                  <a:cubicBezTo>
                    <a:pt x="50500" y="600299"/>
                    <a:pt x="49760" y="602049"/>
                    <a:pt x="49187" y="602183"/>
                  </a:cubicBezTo>
                  <a:cubicBezTo>
                    <a:pt x="48615" y="602318"/>
                    <a:pt x="47168" y="603764"/>
                    <a:pt x="46158" y="604504"/>
                  </a:cubicBezTo>
                  <a:cubicBezTo>
                    <a:pt x="45148" y="605211"/>
                    <a:pt x="44408" y="606657"/>
                    <a:pt x="44139" y="607532"/>
                  </a:cubicBezTo>
                  <a:cubicBezTo>
                    <a:pt x="43870" y="608407"/>
                    <a:pt x="44442" y="610559"/>
                    <a:pt x="44442" y="610559"/>
                  </a:cubicBezTo>
                  <a:lnTo>
                    <a:pt x="48514" y="614462"/>
                  </a:lnTo>
                  <a:cubicBezTo>
                    <a:pt x="48514" y="614462"/>
                    <a:pt x="47505" y="616345"/>
                    <a:pt x="46932" y="616648"/>
                  </a:cubicBezTo>
                  <a:cubicBezTo>
                    <a:pt x="46360" y="616951"/>
                    <a:pt x="44173" y="618397"/>
                    <a:pt x="43029" y="618532"/>
                  </a:cubicBezTo>
                  <a:cubicBezTo>
                    <a:pt x="41850" y="618667"/>
                    <a:pt x="38822" y="622602"/>
                    <a:pt x="38822" y="622602"/>
                  </a:cubicBezTo>
                  <a:lnTo>
                    <a:pt x="36870" y="628187"/>
                  </a:lnTo>
                  <a:lnTo>
                    <a:pt x="34043" y="633401"/>
                  </a:lnTo>
                  <a:lnTo>
                    <a:pt x="30341" y="637303"/>
                  </a:lnTo>
                  <a:lnTo>
                    <a:pt x="28826" y="641003"/>
                  </a:lnTo>
                  <a:lnTo>
                    <a:pt x="28624" y="646419"/>
                  </a:lnTo>
                  <a:lnTo>
                    <a:pt x="29264" y="652071"/>
                  </a:lnTo>
                  <a:lnTo>
                    <a:pt x="31653" y="653585"/>
                  </a:lnTo>
                  <a:lnTo>
                    <a:pt x="29701" y="659673"/>
                  </a:lnTo>
                  <a:lnTo>
                    <a:pt x="30576" y="664248"/>
                  </a:lnTo>
                  <a:lnTo>
                    <a:pt x="30341" y="667074"/>
                  </a:lnTo>
                  <a:cubicBezTo>
                    <a:pt x="30341" y="667074"/>
                    <a:pt x="29903" y="666872"/>
                    <a:pt x="28591" y="667074"/>
                  </a:cubicBezTo>
                  <a:cubicBezTo>
                    <a:pt x="27278" y="667310"/>
                    <a:pt x="26841" y="666872"/>
                    <a:pt x="25966" y="667074"/>
                  </a:cubicBezTo>
                  <a:cubicBezTo>
                    <a:pt x="25090" y="667310"/>
                    <a:pt x="22061" y="668386"/>
                    <a:pt x="22061" y="668386"/>
                  </a:cubicBezTo>
                  <a:lnTo>
                    <a:pt x="17720" y="669462"/>
                  </a:lnTo>
                  <a:lnTo>
                    <a:pt x="18360" y="672053"/>
                  </a:lnTo>
                  <a:lnTo>
                    <a:pt x="19437" y="674004"/>
                  </a:lnTo>
                  <a:lnTo>
                    <a:pt x="16609" y="677906"/>
                  </a:lnTo>
                  <a:lnTo>
                    <a:pt x="11831" y="677906"/>
                  </a:lnTo>
                  <a:lnTo>
                    <a:pt x="8566" y="680294"/>
                  </a:lnTo>
                  <a:lnTo>
                    <a:pt x="4427" y="682044"/>
                  </a:lnTo>
                  <a:lnTo>
                    <a:pt x="3787" y="685508"/>
                  </a:lnTo>
                  <a:lnTo>
                    <a:pt x="9643" y="688973"/>
                  </a:lnTo>
                  <a:cubicBezTo>
                    <a:pt x="9643" y="688973"/>
                    <a:pt x="13345" y="689613"/>
                    <a:pt x="9879" y="690050"/>
                  </a:cubicBezTo>
                  <a:cubicBezTo>
                    <a:pt x="6412" y="690487"/>
                    <a:pt x="4225" y="692001"/>
                    <a:pt x="4225" y="692001"/>
                  </a:cubicBezTo>
                  <a:cubicBezTo>
                    <a:pt x="4225" y="692001"/>
                    <a:pt x="3585" y="694188"/>
                    <a:pt x="4864" y="695264"/>
                  </a:cubicBezTo>
                  <a:cubicBezTo>
                    <a:pt x="6177" y="696341"/>
                    <a:pt x="7893" y="698292"/>
                    <a:pt x="8768" y="698964"/>
                  </a:cubicBezTo>
                  <a:cubicBezTo>
                    <a:pt x="9643" y="699603"/>
                    <a:pt x="12470" y="703304"/>
                    <a:pt x="12470" y="703304"/>
                  </a:cubicBezTo>
                  <a:lnTo>
                    <a:pt x="14422" y="705490"/>
                  </a:lnTo>
                  <a:cubicBezTo>
                    <a:pt x="14422" y="705490"/>
                    <a:pt x="14658" y="708518"/>
                    <a:pt x="14422" y="709393"/>
                  </a:cubicBezTo>
                  <a:cubicBezTo>
                    <a:pt x="14220" y="710267"/>
                    <a:pt x="14422" y="713530"/>
                    <a:pt x="14422" y="713530"/>
                  </a:cubicBezTo>
                  <a:lnTo>
                    <a:pt x="19201" y="717668"/>
                  </a:lnTo>
                  <a:cubicBezTo>
                    <a:pt x="19201" y="717668"/>
                    <a:pt x="25057" y="722680"/>
                    <a:pt x="26369" y="723319"/>
                  </a:cubicBezTo>
                  <a:cubicBezTo>
                    <a:pt x="27682" y="723959"/>
                    <a:pt x="30946" y="724833"/>
                    <a:pt x="30946" y="724833"/>
                  </a:cubicBezTo>
                  <a:lnTo>
                    <a:pt x="31250" y="729913"/>
                  </a:lnTo>
                  <a:cubicBezTo>
                    <a:pt x="31687" y="729610"/>
                    <a:pt x="34144" y="728332"/>
                    <a:pt x="34581" y="728164"/>
                  </a:cubicBezTo>
                  <a:cubicBezTo>
                    <a:pt x="35019" y="728029"/>
                    <a:pt x="36600" y="727289"/>
                    <a:pt x="36600" y="727289"/>
                  </a:cubicBezTo>
                  <a:cubicBezTo>
                    <a:pt x="36600" y="727289"/>
                    <a:pt x="38620" y="726717"/>
                    <a:pt x="39226" y="726717"/>
                  </a:cubicBezTo>
                  <a:cubicBezTo>
                    <a:pt x="39797" y="726717"/>
                    <a:pt x="41110" y="725977"/>
                    <a:pt x="41379" y="726717"/>
                  </a:cubicBezTo>
                  <a:cubicBezTo>
                    <a:pt x="41682" y="727424"/>
                    <a:pt x="42995" y="728164"/>
                    <a:pt x="42995" y="728164"/>
                  </a:cubicBezTo>
                  <a:lnTo>
                    <a:pt x="46899" y="728736"/>
                  </a:lnTo>
                  <a:lnTo>
                    <a:pt x="50534" y="729610"/>
                  </a:lnTo>
                  <a:cubicBezTo>
                    <a:pt x="50534" y="729610"/>
                    <a:pt x="53731" y="728736"/>
                    <a:pt x="54303" y="728164"/>
                  </a:cubicBezTo>
                  <a:cubicBezTo>
                    <a:pt x="54875" y="727592"/>
                    <a:pt x="56187" y="726784"/>
                    <a:pt x="56760" y="726246"/>
                  </a:cubicBezTo>
                  <a:cubicBezTo>
                    <a:pt x="57332" y="725708"/>
                    <a:pt x="58341" y="724833"/>
                    <a:pt x="58913" y="724833"/>
                  </a:cubicBezTo>
                  <a:cubicBezTo>
                    <a:pt x="59485" y="724833"/>
                    <a:pt x="60495" y="724833"/>
                    <a:pt x="60495" y="724833"/>
                  </a:cubicBezTo>
                  <a:cubicBezTo>
                    <a:pt x="60495" y="724833"/>
                    <a:pt x="62245" y="725271"/>
                    <a:pt x="62380" y="725842"/>
                  </a:cubicBezTo>
                  <a:cubicBezTo>
                    <a:pt x="62514" y="726414"/>
                    <a:pt x="63120" y="729038"/>
                    <a:pt x="63120" y="729038"/>
                  </a:cubicBezTo>
                  <a:lnTo>
                    <a:pt x="63120" y="730922"/>
                  </a:lnTo>
                  <a:cubicBezTo>
                    <a:pt x="63120" y="730922"/>
                    <a:pt x="67461" y="731931"/>
                    <a:pt x="67899" y="732066"/>
                  </a:cubicBezTo>
                  <a:cubicBezTo>
                    <a:pt x="68337" y="732200"/>
                    <a:pt x="69649" y="733209"/>
                    <a:pt x="70221" y="733209"/>
                  </a:cubicBezTo>
                  <a:cubicBezTo>
                    <a:pt x="70794" y="733209"/>
                    <a:pt x="73418" y="734219"/>
                    <a:pt x="73418" y="734219"/>
                  </a:cubicBezTo>
                  <a:cubicBezTo>
                    <a:pt x="73418" y="734219"/>
                    <a:pt x="76616" y="734791"/>
                    <a:pt x="77188" y="734791"/>
                  </a:cubicBezTo>
                  <a:cubicBezTo>
                    <a:pt x="77760" y="734791"/>
                    <a:pt x="79073" y="735228"/>
                    <a:pt x="80519" y="735228"/>
                  </a:cubicBezTo>
                  <a:cubicBezTo>
                    <a:pt x="81967" y="735228"/>
                    <a:pt x="83279" y="735800"/>
                    <a:pt x="84424" y="735968"/>
                  </a:cubicBezTo>
                  <a:cubicBezTo>
                    <a:pt x="85601" y="736103"/>
                    <a:pt x="87049" y="736405"/>
                    <a:pt x="87318" y="736843"/>
                  </a:cubicBezTo>
                  <a:cubicBezTo>
                    <a:pt x="87587" y="737280"/>
                    <a:pt x="90078" y="739029"/>
                    <a:pt x="90919" y="739298"/>
                  </a:cubicBezTo>
                  <a:cubicBezTo>
                    <a:pt x="91794" y="739601"/>
                    <a:pt x="91053" y="738861"/>
                    <a:pt x="91794" y="739601"/>
                  </a:cubicBezTo>
                  <a:cubicBezTo>
                    <a:pt x="92534" y="740308"/>
                    <a:pt x="93544" y="741922"/>
                    <a:pt x="93544" y="741922"/>
                  </a:cubicBezTo>
                  <a:lnTo>
                    <a:pt x="97885" y="743941"/>
                  </a:lnTo>
                  <a:lnTo>
                    <a:pt x="102092" y="745522"/>
                  </a:lnTo>
                  <a:lnTo>
                    <a:pt x="108049" y="747405"/>
                  </a:lnTo>
                  <a:lnTo>
                    <a:pt x="110237" y="747708"/>
                  </a:lnTo>
                  <a:lnTo>
                    <a:pt x="116900" y="747002"/>
                  </a:lnTo>
                  <a:lnTo>
                    <a:pt x="118650" y="746127"/>
                  </a:lnTo>
                  <a:cubicBezTo>
                    <a:pt x="118650" y="746127"/>
                    <a:pt x="119828" y="746127"/>
                    <a:pt x="120266" y="745992"/>
                  </a:cubicBezTo>
                  <a:cubicBezTo>
                    <a:pt x="120703" y="745858"/>
                    <a:pt x="124607" y="748314"/>
                    <a:pt x="124607" y="748314"/>
                  </a:cubicBezTo>
                  <a:lnTo>
                    <a:pt x="129252" y="748886"/>
                  </a:lnTo>
                  <a:cubicBezTo>
                    <a:pt x="129252" y="748886"/>
                    <a:pt x="133021" y="747574"/>
                    <a:pt x="133593" y="747574"/>
                  </a:cubicBezTo>
                  <a:cubicBezTo>
                    <a:pt x="134165" y="747574"/>
                    <a:pt x="137228" y="746833"/>
                    <a:pt x="137228" y="746833"/>
                  </a:cubicBezTo>
                  <a:lnTo>
                    <a:pt x="140189" y="749861"/>
                  </a:lnTo>
                  <a:lnTo>
                    <a:pt x="143151" y="752922"/>
                  </a:lnTo>
                  <a:lnTo>
                    <a:pt x="143151" y="755243"/>
                  </a:lnTo>
                  <a:lnTo>
                    <a:pt x="143151" y="758708"/>
                  </a:lnTo>
                  <a:lnTo>
                    <a:pt x="147492" y="756084"/>
                  </a:lnTo>
                  <a:lnTo>
                    <a:pt x="150084" y="750870"/>
                  </a:lnTo>
                  <a:lnTo>
                    <a:pt x="150084" y="749996"/>
                  </a:lnTo>
                  <a:cubicBezTo>
                    <a:pt x="150084" y="749996"/>
                    <a:pt x="151093" y="745522"/>
                    <a:pt x="151665" y="745084"/>
                  </a:cubicBezTo>
                  <a:cubicBezTo>
                    <a:pt x="152238" y="744647"/>
                    <a:pt x="152978" y="742898"/>
                    <a:pt x="153550" y="742898"/>
                  </a:cubicBezTo>
                  <a:cubicBezTo>
                    <a:pt x="154122" y="742898"/>
                    <a:pt x="155738" y="741451"/>
                    <a:pt x="156007" y="741014"/>
                  </a:cubicBezTo>
                  <a:cubicBezTo>
                    <a:pt x="156276" y="740577"/>
                    <a:pt x="157891" y="738121"/>
                    <a:pt x="158329" y="738121"/>
                  </a:cubicBezTo>
                  <a:cubicBezTo>
                    <a:pt x="158766" y="738121"/>
                    <a:pt x="160651" y="736674"/>
                    <a:pt x="160651" y="736674"/>
                  </a:cubicBezTo>
                  <a:cubicBezTo>
                    <a:pt x="160651" y="736674"/>
                    <a:pt x="162536" y="737414"/>
                    <a:pt x="162973" y="737549"/>
                  </a:cubicBezTo>
                  <a:cubicBezTo>
                    <a:pt x="163411" y="737684"/>
                    <a:pt x="164858" y="738289"/>
                    <a:pt x="165565" y="738424"/>
                  </a:cubicBezTo>
                  <a:cubicBezTo>
                    <a:pt x="166305" y="738558"/>
                    <a:pt x="167450" y="738726"/>
                    <a:pt x="167450" y="738726"/>
                  </a:cubicBezTo>
                  <a:lnTo>
                    <a:pt x="173541" y="742360"/>
                  </a:lnTo>
                  <a:lnTo>
                    <a:pt x="175123" y="748011"/>
                  </a:lnTo>
                  <a:lnTo>
                    <a:pt x="176132" y="750029"/>
                  </a:lnTo>
                  <a:lnTo>
                    <a:pt x="176132" y="753494"/>
                  </a:lnTo>
                  <a:lnTo>
                    <a:pt x="176132" y="756959"/>
                  </a:lnTo>
                  <a:lnTo>
                    <a:pt x="176873" y="759011"/>
                  </a:lnTo>
                  <a:lnTo>
                    <a:pt x="178084" y="759650"/>
                  </a:lnTo>
                  <a:lnTo>
                    <a:pt x="183301" y="758877"/>
                  </a:lnTo>
                  <a:cubicBezTo>
                    <a:pt x="183974" y="758675"/>
                    <a:pt x="186128" y="756253"/>
                    <a:pt x="186330" y="755614"/>
                  </a:cubicBezTo>
                  <a:cubicBezTo>
                    <a:pt x="186565" y="754974"/>
                    <a:pt x="188517" y="751913"/>
                    <a:pt x="188517" y="751913"/>
                  </a:cubicBezTo>
                  <a:lnTo>
                    <a:pt x="190705" y="745185"/>
                  </a:lnTo>
                  <a:lnTo>
                    <a:pt x="191142" y="738659"/>
                  </a:lnTo>
                  <a:lnTo>
                    <a:pt x="188315" y="732806"/>
                  </a:lnTo>
                  <a:lnTo>
                    <a:pt x="183974" y="725842"/>
                  </a:lnTo>
                  <a:lnTo>
                    <a:pt x="177445" y="719989"/>
                  </a:lnTo>
                  <a:lnTo>
                    <a:pt x="173541" y="716087"/>
                  </a:lnTo>
                  <a:lnTo>
                    <a:pt x="172026" y="707845"/>
                  </a:lnTo>
                  <a:lnTo>
                    <a:pt x="172228" y="695230"/>
                  </a:lnTo>
                  <a:lnTo>
                    <a:pt x="177882" y="687830"/>
                  </a:lnTo>
                  <a:lnTo>
                    <a:pt x="182123" y="685004"/>
                  </a:lnTo>
                  <a:lnTo>
                    <a:pt x="183099" y="681976"/>
                  </a:lnTo>
                  <a:lnTo>
                    <a:pt x="183099" y="675248"/>
                  </a:lnTo>
                  <a:cubicBezTo>
                    <a:pt x="183099" y="675248"/>
                    <a:pt x="183974" y="673398"/>
                    <a:pt x="184613" y="673196"/>
                  </a:cubicBezTo>
                  <a:cubicBezTo>
                    <a:pt x="185253" y="672995"/>
                    <a:pt x="190907" y="670909"/>
                    <a:pt x="190907" y="670909"/>
                  </a:cubicBezTo>
                  <a:lnTo>
                    <a:pt x="196123" y="670909"/>
                  </a:lnTo>
                  <a:lnTo>
                    <a:pt x="197873" y="669833"/>
                  </a:lnTo>
                  <a:lnTo>
                    <a:pt x="201138" y="666569"/>
                  </a:lnTo>
                  <a:lnTo>
                    <a:pt x="208744" y="656141"/>
                  </a:lnTo>
                  <a:cubicBezTo>
                    <a:pt x="208744" y="656141"/>
                    <a:pt x="209383" y="648976"/>
                    <a:pt x="209821" y="648101"/>
                  </a:cubicBezTo>
                  <a:cubicBezTo>
                    <a:pt x="210258" y="647227"/>
                    <a:pt x="215273" y="641138"/>
                    <a:pt x="215273" y="641138"/>
                  </a:cubicBezTo>
                  <a:lnTo>
                    <a:pt x="221128" y="634612"/>
                  </a:lnTo>
                  <a:lnTo>
                    <a:pt x="224157" y="629633"/>
                  </a:lnTo>
                  <a:lnTo>
                    <a:pt x="226547" y="622232"/>
                  </a:lnTo>
                  <a:lnTo>
                    <a:pt x="226783" y="611804"/>
                  </a:lnTo>
                  <a:lnTo>
                    <a:pt x="227220" y="606825"/>
                  </a:lnTo>
                  <a:cubicBezTo>
                    <a:pt x="227220" y="606825"/>
                    <a:pt x="227455" y="602688"/>
                    <a:pt x="229172" y="601611"/>
                  </a:cubicBezTo>
                  <a:cubicBezTo>
                    <a:pt x="230922" y="600535"/>
                    <a:pt x="234389" y="596633"/>
                    <a:pt x="234389" y="596633"/>
                  </a:cubicBezTo>
                  <a:lnTo>
                    <a:pt x="239403" y="595119"/>
                  </a:lnTo>
                  <a:lnTo>
                    <a:pt x="243744" y="593807"/>
                  </a:lnTo>
                  <a:lnTo>
                    <a:pt x="248961" y="585128"/>
                  </a:lnTo>
                  <a:lnTo>
                    <a:pt x="251350" y="581226"/>
                  </a:lnTo>
                  <a:lnTo>
                    <a:pt x="260908" y="569284"/>
                  </a:lnTo>
                  <a:lnTo>
                    <a:pt x="266562" y="568207"/>
                  </a:lnTo>
                  <a:lnTo>
                    <a:pt x="271577" y="569721"/>
                  </a:lnTo>
                  <a:cubicBezTo>
                    <a:pt x="271577" y="569721"/>
                    <a:pt x="279317" y="571672"/>
                    <a:pt x="280563" y="571235"/>
                  </a:cubicBezTo>
                  <a:cubicBezTo>
                    <a:pt x="281808" y="570797"/>
                    <a:pt x="286149" y="564271"/>
                    <a:pt x="286789" y="563632"/>
                  </a:cubicBezTo>
                  <a:cubicBezTo>
                    <a:pt x="287428" y="562993"/>
                    <a:pt x="290693" y="557779"/>
                    <a:pt x="291332" y="556904"/>
                  </a:cubicBezTo>
                  <a:cubicBezTo>
                    <a:pt x="292005" y="556030"/>
                    <a:pt x="293082" y="552565"/>
                    <a:pt x="294597" y="550614"/>
                  </a:cubicBezTo>
                  <a:cubicBezTo>
                    <a:pt x="296111" y="548662"/>
                    <a:pt x="299611" y="545500"/>
                    <a:pt x="300015" y="544626"/>
                  </a:cubicBezTo>
                  <a:cubicBezTo>
                    <a:pt x="300452" y="543751"/>
                    <a:pt x="300217" y="542338"/>
                    <a:pt x="304794" y="542338"/>
                  </a:cubicBezTo>
                  <a:cubicBezTo>
                    <a:pt x="309371" y="542338"/>
                    <a:pt x="312635" y="542338"/>
                    <a:pt x="312635" y="542338"/>
                  </a:cubicBezTo>
                  <a:cubicBezTo>
                    <a:pt x="312635" y="542338"/>
                    <a:pt x="318727" y="542540"/>
                    <a:pt x="319602" y="542338"/>
                  </a:cubicBezTo>
                  <a:cubicBezTo>
                    <a:pt x="320477" y="542103"/>
                    <a:pt x="323068" y="542977"/>
                    <a:pt x="325693" y="542540"/>
                  </a:cubicBezTo>
                  <a:cubicBezTo>
                    <a:pt x="328284" y="542103"/>
                    <a:pt x="335924" y="538840"/>
                    <a:pt x="335924" y="538840"/>
                  </a:cubicBezTo>
                  <a:lnTo>
                    <a:pt x="340501" y="538840"/>
                  </a:lnTo>
                  <a:lnTo>
                    <a:pt x="347872" y="537528"/>
                  </a:lnTo>
                  <a:lnTo>
                    <a:pt x="355040" y="534265"/>
                  </a:lnTo>
                  <a:lnTo>
                    <a:pt x="360896" y="530127"/>
                  </a:lnTo>
                  <a:lnTo>
                    <a:pt x="361973" y="525552"/>
                  </a:lnTo>
                  <a:lnTo>
                    <a:pt x="363723" y="519901"/>
                  </a:lnTo>
                  <a:lnTo>
                    <a:pt x="365675" y="516873"/>
                  </a:lnTo>
                  <a:lnTo>
                    <a:pt x="365675" y="508396"/>
                  </a:lnTo>
                  <a:lnTo>
                    <a:pt x="370690" y="506882"/>
                  </a:lnTo>
                  <a:cubicBezTo>
                    <a:pt x="370690" y="506882"/>
                    <a:pt x="376108" y="505806"/>
                    <a:pt x="376983" y="505806"/>
                  </a:cubicBezTo>
                  <a:cubicBezTo>
                    <a:pt x="377858" y="505806"/>
                    <a:pt x="380483" y="505806"/>
                    <a:pt x="380483" y="505806"/>
                  </a:cubicBezTo>
                  <a:lnTo>
                    <a:pt x="383074" y="503417"/>
                  </a:lnTo>
                  <a:lnTo>
                    <a:pt x="384690" y="500793"/>
                  </a:lnTo>
                  <a:lnTo>
                    <a:pt x="386541" y="496656"/>
                  </a:lnTo>
                  <a:lnTo>
                    <a:pt x="386541" y="494469"/>
                  </a:lnTo>
                  <a:lnTo>
                    <a:pt x="387618" y="493594"/>
                  </a:lnTo>
                  <a:lnTo>
                    <a:pt x="383041" y="485790"/>
                  </a:lnTo>
                  <a:lnTo>
                    <a:pt x="378464" y="481451"/>
                  </a:lnTo>
                  <a:lnTo>
                    <a:pt x="373887" y="473209"/>
                  </a:lnTo>
                  <a:lnTo>
                    <a:pt x="367795" y="464092"/>
                  </a:lnTo>
                  <a:lnTo>
                    <a:pt x="364430" y="459517"/>
                  </a:lnTo>
                  <a:cubicBezTo>
                    <a:pt x="364430" y="459517"/>
                    <a:pt x="360391" y="457331"/>
                    <a:pt x="360391" y="456490"/>
                  </a:cubicBezTo>
                  <a:cubicBezTo>
                    <a:pt x="360391" y="455851"/>
                    <a:pt x="360391" y="452319"/>
                    <a:pt x="360391" y="450468"/>
                  </a:cubicBezTo>
                  <a:lnTo>
                    <a:pt x="357901" y="452352"/>
                  </a:lnTo>
                  <a:cubicBezTo>
                    <a:pt x="357901" y="452352"/>
                    <a:pt x="356588" y="452689"/>
                    <a:pt x="356151" y="452689"/>
                  </a:cubicBezTo>
                  <a:cubicBezTo>
                    <a:pt x="355713" y="452689"/>
                    <a:pt x="352449" y="454202"/>
                    <a:pt x="352011" y="454337"/>
                  </a:cubicBezTo>
                  <a:cubicBezTo>
                    <a:pt x="351574" y="454438"/>
                    <a:pt x="349521" y="455851"/>
                    <a:pt x="348848" y="456086"/>
                  </a:cubicBezTo>
                  <a:cubicBezTo>
                    <a:pt x="348174" y="456288"/>
                    <a:pt x="347198" y="456725"/>
                    <a:pt x="347198" y="456725"/>
                  </a:cubicBezTo>
                  <a:cubicBezTo>
                    <a:pt x="347198" y="456725"/>
                    <a:pt x="343496" y="454673"/>
                    <a:pt x="343194" y="454774"/>
                  </a:cubicBezTo>
                  <a:cubicBezTo>
                    <a:pt x="342857" y="454875"/>
                    <a:pt x="342319" y="454976"/>
                    <a:pt x="341982" y="455312"/>
                  </a:cubicBezTo>
                  <a:cubicBezTo>
                    <a:pt x="341646" y="455649"/>
                    <a:pt x="340400" y="457398"/>
                    <a:pt x="340400" y="457398"/>
                  </a:cubicBezTo>
                  <a:lnTo>
                    <a:pt x="338078" y="458205"/>
                  </a:lnTo>
                  <a:cubicBezTo>
                    <a:pt x="338078" y="458205"/>
                    <a:pt x="336126" y="458037"/>
                    <a:pt x="335689" y="458172"/>
                  </a:cubicBezTo>
                  <a:cubicBezTo>
                    <a:pt x="335251" y="458273"/>
                    <a:pt x="333501" y="458037"/>
                    <a:pt x="332121" y="458172"/>
                  </a:cubicBezTo>
                  <a:cubicBezTo>
                    <a:pt x="330708" y="458273"/>
                    <a:pt x="330371" y="457533"/>
                    <a:pt x="330035" y="457533"/>
                  </a:cubicBezTo>
                  <a:cubicBezTo>
                    <a:pt x="329698" y="457533"/>
                    <a:pt x="329934" y="456759"/>
                    <a:pt x="329934" y="456759"/>
                  </a:cubicBezTo>
                  <a:cubicBezTo>
                    <a:pt x="329934" y="456759"/>
                    <a:pt x="331246" y="455682"/>
                    <a:pt x="331684" y="455851"/>
                  </a:cubicBezTo>
                  <a:cubicBezTo>
                    <a:pt x="332121" y="456019"/>
                    <a:pt x="333299" y="454471"/>
                    <a:pt x="333535" y="454135"/>
                  </a:cubicBezTo>
                  <a:cubicBezTo>
                    <a:pt x="333737" y="453799"/>
                    <a:pt x="333198" y="452083"/>
                    <a:pt x="333198" y="452083"/>
                  </a:cubicBezTo>
                  <a:lnTo>
                    <a:pt x="331145" y="450569"/>
                  </a:lnTo>
                  <a:cubicBezTo>
                    <a:pt x="331145" y="450569"/>
                    <a:pt x="329294" y="450771"/>
                    <a:pt x="328857" y="450771"/>
                  </a:cubicBezTo>
                  <a:cubicBezTo>
                    <a:pt x="328419" y="450771"/>
                    <a:pt x="327645" y="452520"/>
                    <a:pt x="327645" y="452520"/>
                  </a:cubicBezTo>
                  <a:lnTo>
                    <a:pt x="327006" y="453597"/>
                  </a:lnTo>
                  <a:lnTo>
                    <a:pt x="322765" y="454909"/>
                  </a:lnTo>
                  <a:lnTo>
                    <a:pt x="321284" y="455851"/>
                  </a:lnTo>
                  <a:cubicBezTo>
                    <a:pt x="321284" y="455851"/>
                    <a:pt x="320174" y="455312"/>
                    <a:pt x="318121" y="454505"/>
                  </a:cubicBezTo>
                  <a:cubicBezTo>
                    <a:pt x="316102" y="453698"/>
                    <a:pt x="317616" y="454202"/>
                    <a:pt x="317010" y="454000"/>
                  </a:cubicBezTo>
                  <a:cubicBezTo>
                    <a:pt x="316405" y="453799"/>
                    <a:pt x="316169" y="453126"/>
                    <a:pt x="316169" y="452991"/>
                  </a:cubicBezTo>
                  <a:cubicBezTo>
                    <a:pt x="316169" y="452857"/>
                    <a:pt x="316909" y="451108"/>
                    <a:pt x="316909" y="451108"/>
                  </a:cubicBezTo>
                  <a:lnTo>
                    <a:pt x="316909" y="451040"/>
                  </a:lnTo>
                  <a:lnTo>
                    <a:pt x="316909" y="449358"/>
                  </a:lnTo>
                  <a:lnTo>
                    <a:pt x="316909" y="447542"/>
                  </a:lnTo>
                  <a:lnTo>
                    <a:pt x="316472" y="446129"/>
                  </a:lnTo>
                  <a:cubicBezTo>
                    <a:pt x="316472" y="446129"/>
                    <a:pt x="314486" y="444312"/>
                    <a:pt x="314183" y="444245"/>
                  </a:cubicBezTo>
                  <a:cubicBezTo>
                    <a:pt x="313881" y="444178"/>
                    <a:pt x="313679" y="444279"/>
                    <a:pt x="313443" y="444346"/>
                  </a:cubicBezTo>
                  <a:cubicBezTo>
                    <a:pt x="313241" y="444413"/>
                    <a:pt x="312131" y="444985"/>
                    <a:pt x="312131" y="444985"/>
                  </a:cubicBezTo>
                  <a:lnTo>
                    <a:pt x="310414" y="445961"/>
                  </a:lnTo>
                  <a:cubicBezTo>
                    <a:pt x="310414" y="445961"/>
                    <a:pt x="309270" y="446600"/>
                    <a:pt x="307318" y="446734"/>
                  </a:cubicBezTo>
                  <a:cubicBezTo>
                    <a:pt x="305366" y="446835"/>
                    <a:pt x="302102" y="446734"/>
                    <a:pt x="302102" y="446734"/>
                  </a:cubicBezTo>
                  <a:cubicBezTo>
                    <a:pt x="302102" y="446734"/>
                    <a:pt x="299914" y="446734"/>
                    <a:pt x="298837" y="446734"/>
                  </a:cubicBezTo>
                  <a:cubicBezTo>
                    <a:pt x="297760" y="446734"/>
                    <a:pt x="296313" y="445523"/>
                    <a:pt x="296010" y="445221"/>
                  </a:cubicBezTo>
                  <a:cubicBezTo>
                    <a:pt x="295673" y="444884"/>
                    <a:pt x="290995" y="440881"/>
                    <a:pt x="290019" y="440343"/>
                  </a:cubicBezTo>
                  <a:cubicBezTo>
                    <a:pt x="289044" y="439805"/>
                    <a:pt x="287731" y="438728"/>
                    <a:pt x="287293" y="438392"/>
                  </a:cubicBezTo>
                  <a:cubicBezTo>
                    <a:pt x="286856" y="438055"/>
                    <a:pt x="283827" y="435129"/>
                    <a:pt x="283827" y="435129"/>
                  </a:cubicBezTo>
                  <a:cubicBezTo>
                    <a:pt x="283827" y="435129"/>
                    <a:pt x="281740" y="431866"/>
                    <a:pt x="281740" y="431327"/>
                  </a:cubicBezTo>
                  <a:cubicBezTo>
                    <a:pt x="281740" y="430789"/>
                    <a:pt x="281101" y="426012"/>
                    <a:pt x="281101" y="425575"/>
                  </a:cubicBezTo>
                  <a:cubicBezTo>
                    <a:pt x="281101" y="425138"/>
                    <a:pt x="280360" y="421572"/>
                    <a:pt x="280360" y="421572"/>
                  </a:cubicBezTo>
                  <a:lnTo>
                    <a:pt x="280360" y="415719"/>
                  </a:lnTo>
                  <a:lnTo>
                    <a:pt x="281942" y="413768"/>
                  </a:lnTo>
                  <a:lnTo>
                    <a:pt x="286991" y="410168"/>
                  </a:lnTo>
                  <a:cubicBezTo>
                    <a:pt x="286991" y="410168"/>
                    <a:pt x="290356" y="409293"/>
                    <a:pt x="291568" y="408755"/>
                  </a:cubicBezTo>
                  <a:cubicBezTo>
                    <a:pt x="292745" y="408217"/>
                    <a:pt x="294058" y="407242"/>
                    <a:pt x="294731" y="406468"/>
                  </a:cubicBezTo>
                  <a:cubicBezTo>
                    <a:pt x="295371" y="405694"/>
                    <a:pt x="297995" y="404618"/>
                    <a:pt x="298332" y="404281"/>
                  </a:cubicBezTo>
                  <a:cubicBezTo>
                    <a:pt x="298669" y="403945"/>
                    <a:pt x="300923" y="402431"/>
                    <a:pt x="301260" y="402095"/>
                  </a:cubicBezTo>
                  <a:cubicBezTo>
                    <a:pt x="301597" y="401758"/>
                    <a:pt x="303885" y="399370"/>
                    <a:pt x="303885" y="399370"/>
                  </a:cubicBezTo>
                  <a:lnTo>
                    <a:pt x="303111" y="397082"/>
                  </a:lnTo>
                  <a:cubicBezTo>
                    <a:pt x="303111" y="397082"/>
                    <a:pt x="300823" y="396006"/>
                    <a:pt x="300183" y="395871"/>
                  </a:cubicBezTo>
                  <a:cubicBezTo>
                    <a:pt x="299544" y="395770"/>
                    <a:pt x="294428" y="393147"/>
                    <a:pt x="294092" y="392844"/>
                  </a:cubicBezTo>
                  <a:cubicBezTo>
                    <a:pt x="293755" y="392507"/>
                    <a:pt x="290928" y="389783"/>
                    <a:pt x="290289" y="389143"/>
                  </a:cubicBezTo>
                  <a:cubicBezTo>
                    <a:pt x="289649" y="388504"/>
                    <a:pt x="289414" y="385779"/>
                    <a:pt x="289851" y="385107"/>
                  </a:cubicBezTo>
                  <a:cubicBezTo>
                    <a:pt x="290289" y="384467"/>
                    <a:pt x="291029" y="382516"/>
                    <a:pt x="291601" y="382079"/>
                  </a:cubicBezTo>
                  <a:cubicBezTo>
                    <a:pt x="292139" y="381642"/>
                    <a:pt x="292779" y="378614"/>
                    <a:pt x="292779" y="378614"/>
                  </a:cubicBezTo>
                  <a:cubicBezTo>
                    <a:pt x="292779" y="378614"/>
                    <a:pt x="291029" y="375452"/>
                    <a:pt x="290625" y="375452"/>
                  </a:cubicBezTo>
                  <a:cubicBezTo>
                    <a:pt x="290188" y="375452"/>
                    <a:pt x="286486" y="372424"/>
                    <a:pt x="284971" y="371752"/>
                  </a:cubicBezTo>
                  <a:cubicBezTo>
                    <a:pt x="283457" y="371112"/>
                    <a:pt x="284769" y="368825"/>
                    <a:pt x="284971" y="368287"/>
                  </a:cubicBezTo>
                  <a:cubicBezTo>
                    <a:pt x="285207" y="367749"/>
                    <a:pt x="286923" y="366134"/>
                    <a:pt x="287226" y="365898"/>
                  </a:cubicBezTo>
                  <a:cubicBezTo>
                    <a:pt x="287495" y="365663"/>
                    <a:pt x="291063" y="362736"/>
                    <a:pt x="291063" y="362299"/>
                  </a:cubicBezTo>
                  <a:cubicBezTo>
                    <a:pt x="291063" y="361862"/>
                    <a:pt x="290524" y="357623"/>
                    <a:pt x="290524" y="357623"/>
                  </a:cubicBezTo>
                  <a:lnTo>
                    <a:pt x="288505" y="354696"/>
                  </a:lnTo>
                  <a:cubicBezTo>
                    <a:pt x="288505" y="354696"/>
                    <a:pt x="287697" y="352846"/>
                    <a:pt x="287361" y="352510"/>
                  </a:cubicBezTo>
                  <a:cubicBezTo>
                    <a:pt x="287024" y="352173"/>
                    <a:pt x="287361" y="350222"/>
                    <a:pt x="287361" y="350222"/>
                  </a:cubicBezTo>
                  <a:lnTo>
                    <a:pt x="287361" y="347565"/>
                  </a:lnTo>
                  <a:cubicBezTo>
                    <a:pt x="287361" y="347565"/>
                    <a:pt x="287697" y="344470"/>
                    <a:pt x="287866" y="344100"/>
                  </a:cubicBezTo>
                  <a:cubicBezTo>
                    <a:pt x="288034" y="343730"/>
                    <a:pt x="289077" y="341913"/>
                    <a:pt x="289077" y="341913"/>
                  </a:cubicBezTo>
                  <a:lnTo>
                    <a:pt x="290962" y="338717"/>
                  </a:lnTo>
                  <a:lnTo>
                    <a:pt x="292914" y="337473"/>
                  </a:lnTo>
                  <a:lnTo>
                    <a:pt x="294496" y="335118"/>
                  </a:lnTo>
                  <a:cubicBezTo>
                    <a:pt x="294496" y="335118"/>
                    <a:pt x="295505" y="333604"/>
                    <a:pt x="295539" y="333503"/>
                  </a:cubicBezTo>
                  <a:cubicBezTo>
                    <a:pt x="295572" y="333402"/>
                    <a:pt x="296246" y="331552"/>
                    <a:pt x="296246" y="331317"/>
                  </a:cubicBezTo>
                  <a:cubicBezTo>
                    <a:pt x="296246" y="331115"/>
                    <a:pt x="296246" y="329534"/>
                    <a:pt x="296246" y="329534"/>
                  </a:cubicBezTo>
                  <a:cubicBezTo>
                    <a:pt x="296246" y="329534"/>
                    <a:pt x="296414" y="328121"/>
                    <a:pt x="296414" y="327919"/>
                  </a:cubicBezTo>
                  <a:cubicBezTo>
                    <a:pt x="296414" y="327717"/>
                    <a:pt x="296447" y="326809"/>
                    <a:pt x="296447" y="326809"/>
                  </a:cubicBezTo>
                  <a:cubicBezTo>
                    <a:pt x="296447" y="326809"/>
                    <a:pt x="296346" y="325632"/>
                    <a:pt x="296279" y="325531"/>
                  </a:cubicBezTo>
                  <a:cubicBezTo>
                    <a:pt x="296246" y="325430"/>
                    <a:pt x="296279" y="324252"/>
                    <a:pt x="296279" y="324252"/>
                  </a:cubicBezTo>
                  <a:cubicBezTo>
                    <a:pt x="296279" y="324252"/>
                    <a:pt x="297087" y="323748"/>
                    <a:pt x="297188" y="323748"/>
                  </a:cubicBezTo>
                  <a:cubicBezTo>
                    <a:pt x="297255" y="323748"/>
                    <a:pt x="298635" y="323311"/>
                    <a:pt x="298635" y="323311"/>
                  </a:cubicBezTo>
                  <a:cubicBezTo>
                    <a:pt x="298635" y="323311"/>
                    <a:pt x="300217" y="323311"/>
                    <a:pt x="300284" y="323311"/>
                  </a:cubicBezTo>
                  <a:cubicBezTo>
                    <a:pt x="300351" y="323311"/>
                    <a:pt x="301462" y="324219"/>
                    <a:pt x="301563" y="324252"/>
                  </a:cubicBezTo>
                  <a:cubicBezTo>
                    <a:pt x="301664" y="324286"/>
                    <a:pt x="303044" y="325194"/>
                    <a:pt x="303044" y="325295"/>
                  </a:cubicBezTo>
                  <a:cubicBezTo>
                    <a:pt x="303077" y="325363"/>
                    <a:pt x="303347" y="326675"/>
                    <a:pt x="303347" y="326675"/>
                  </a:cubicBezTo>
                  <a:cubicBezTo>
                    <a:pt x="303347" y="326675"/>
                    <a:pt x="303077" y="328424"/>
                    <a:pt x="303077" y="328861"/>
                  </a:cubicBezTo>
                  <a:cubicBezTo>
                    <a:pt x="303077" y="329298"/>
                    <a:pt x="302741" y="330274"/>
                    <a:pt x="302438" y="331485"/>
                  </a:cubicBezTo>
                  <a:cubicBezTo>
                    <a:pt x="302102" y="332696"/>
                    <a:pt x="301698" y="332898"/>
                    <a:pt x="301226" y="333234"/>
                  </a:cubicBezTo>
                  <a:cubicBezTo>
                    <a:pt x="300789" y="333571"/>
                    <a:pt x="300587" y="334883"/>
                    <a:pt x="300688" y="335320"/>
                  </a:cubicBezTo>
                  <a:cubicBezTo>
                    <a:pt x="300789" y="335757"/>
                    <a:pt x="301765" y="336733"/>
                    <a:pt x="301765" y="336733"/>
                  </a:cubicBezTo>
                  <a:lnTo>
                    <a:pt x="305905" y="338146"/>
                  </a:lnTo>
                  <a:lnTo>
                    <a:pt x="309505" y="337944"/>
                  </a:lnTo>
                  <a:cubicBezTo>
                    <a:pt x="309505" y="337944"/>
                    <a:pt x="312433" y="340433"/>
                    <a:pt x="312871" y="340534"/>
                  </a:cubicBezTo>
                  <a:cubicBezTo>
                    <a:pt x="313308" y="340635"/>
                    <a:pt x="315496" y="341947"/>
                    <a:pt x="315900" y="341947"/>
                  </a:cubicBezTo>
                  <a:cubicBezTo>
                    <a:pt x="316337" y="341947"/>
                    <a:pt x="318828" y="340736"/>
                    <a:pt x="318828" y="340736"/>
                  </a:cubicBezTo>
                  <a:lnTo>
                    <a:pt x="319703" y="337809"/>
                  </a:lnTo>
                  <a:lnTo>
                    <a:pt x="320679" y="333571"/>
                  </a:lnTo>
                  <a:cubicBezTo>
                    <a:pt x="320679" y="333571"/>
                    <a:pt x="320140" y="330106"/>
                    <a:pt x="319804" y="329870"/>
                  </a:cubicBezTo>
                  <a:cubicBezTo>
                    <a:pt x="319467" y="329635"/>
                    <a:pt x="318390" y="328457"/>
                    <a:pt x="318390" y="328457"/>
                  </a:cubicBezTo>
                  <a:lnTo>
                    <a:pt x="315126" y="328020"/>
                  </a:lnTo>
                  <a:lnTo>
                    <a:pt x="311659" y="326271"/>
                  </a:lnTo>
                  <a:lnTo>
                    <a:pt x="313712" y="323445"/>
                  </a:lnTo>
                  <a:lnTo>
                    <a:pt x="316001" y="320586"/>
                  </a:lnTo>
                  <a:cubicBezTo>
                    <a:pt x="316001" y="320586"/>
                    <a:pt x="317717" y="319947"/>
                    <a:pt x="318054" y="319644"/>
                  </a:cubicBezTo>
                  <a:cubicBezTo>
                    <a:pt x="318390" y="319307"/>
                    <a:pt x="321116" y="319307"/>
                    <a:pt x="321116" y="319307"/>
                  </a:cubicBezTo>
                  <a:lnTo>
                    <a:pt x="323068" y="317895"/>
                  </a:lnTo>
                  <a:lnTo>
                    <a:pt x="322967" y="315708"/>
                  </a:lnTo>
                  <a:cubicBezTo>
                    <a:pt x="322967" y="315708"/>
                    <a:pt x="321554" y="313320"/>
                    <a:pt x="321116" y="313118"/>
                  </a:cubicBezTo>
                  <a:cubicBezTo>
                    <a:pt x="320679" y="312882"/>
                    <a:pt x="319164" y="312344"/>
                    <a:pt x="319164" y="312344"/>
                  </a:cubicBezTo>
                  <a:lnTo>
                    <a:pt x="315361" y="311469"/>
                  </a:lnTo>
                  <a:lnTo>
                    <a:pt x="314385" y="308206"/>
                  </a:lnTo>
                  <a:lnTo>
                    <a:pt x="312534" y="302118"/>
                  </a:lnTo>
                  <a:lnTo>
                    <a:pt x="313174" y="298215"/>
                  </a:lnTo>
                  <a:lnTo>
                    <a:pt x="314049" y="293539"/>
                  </a:lnTo>
                  <a:cubicBezTo>
                    <a:pt x="314049" y="293539"/>
                    <a:pt x="315126" y="291790"/>
                    <a:pt x="315462" y="291689"/>
                  </a:cubicBezTo>
                  <a:cubicBezTo>
                    <a:pt x="315799" y="291588"/>
                    <a:pt x="318491" y="291689"/>
                    <a:pt x="319501" y="291588"/>
                  </a:cubicBezTo>
                  <a:cubicBezTo>
                    <a:pt x="320477" y="291487"/>
                    <a:pt x="321015" y="290949"/>
                    <a:pt x="321015" y="290949"/>
                  </a:cubicBezTo>
                  <a:lnTo>
                    <a:pt x="322092" y="287720"/>
                  </a:lnTo>
                  <a:lnTo>
                    <a:pt x="322092" y="286509"/>
                  </a:lnTo>
                  <a:lnTo>
                    <a:pt x="322597" y="284457"/>
                  </a:lnTo>
                  <a:lnTo>
                    <a:pt x="323304" y="283380"/>
                  </a:lnTo>
                  <a:lnTo>
                    <a:pt x="325693" y="282405"/>
                  </a:lnTo>
                  <a:lnTo>
                    <a:pt x="327342" y="280218"/>
                  </a:lnTo>
                  <a:lnTo>
                    <a:pt x="329934" y="277493"/>
                  </a:lnTo>
                  <a:lnTo>
                    <a:pt x="332559" y="273894"/>
                  </a:lnTo>
                  <a:cubicBezTo>
                    <a:pt x="332559" y="273894"/>
                    <a:pt x="332357" y="270294"/>
                    <a:pt x="332559" y="269857"/>
                  </a:cubicBezTo>
                  <a:cubicBezTo>
                    <a:pt x="332761" y="269420"/>
                    <a:pt x="335823" y="267671"/>
                    <a:pt x="337136" y="267570"/>
                  </a:cubicBezTo>
                  <a:cubicBezTo>
                    <a:pt x="338448" y="267469"/>
                    <a:pt x="341040" y="264408"/>
                    <a:pt x="341040" y="264408"/>
                  </a:cubicBezTo>
                  <a:cubicBezTo>
                    <a:pt x="341040" y="264408"/>
                    <a:pt x="347771" y="266897"/>
                    <a:pt x="348208" y="266998"/>
                  </a:cubicBezTo>
                  <a:cubicBezTo>
                    <a:pt x="348646" y="267099"/>
                    <a:pt x="349622" y="268310"/>
                    <a:pt x="349622" y="268310"/>
                  </a:cubicBezTo>
                  <a:cubicBezTo>
                    <a:pt x="349622" y="268310"/>
                    <a:pt x="351977" y="269252"/>
                    <a:pt x="352180" y="269655"/>
                  </a:cubicBezTo>
                  <a:cubicBezTo>
                    <a:pt x="352381" y="270093"/>
                    <a:pt x="353492" y="273019"/>
                    <a:pt x="353929" y="274062"/>
                  </a:cubicBezTo>
                  <a:cubicBezTo>
                    <a:pt x="354367" y="275105"/>
                    <a:pt x="355679" y="275980"/>
                    <a:pt x="356992" y="276383"/>
                  </a:cubicBezTo>
                  <a:cubicBezTo>
                    <a:pt x="358305" y="276821"/>
                    <a:pt x="358305" y="276181"/>
                    <a:pt x="358742" y="275845"/>
                  </a:cubicBezTo>
                  <a:cubicBezTo>
                    <a:pt x="359180" y="275509"/>
                    <a:pt x="361232" y="272817"/>
                    <a:pt x="361603" y="272582"/>
                  </a:cubicBezTo>
                  <a:cubicBezTo>
                    <a:pt x="361973" y="272380"/>
                    <a:pt x="366281" y="272582"/>
                    <a:pt x="366281" y="272582"/>
                  </a:cubicBezTo>
                  <a:lnTo>
                    <a:pt x="368232" y="274264"/>
                  </a:lnTo>
                  <a:lnTo>
                    <a:pt x="368838" y="276316"/>
                  </a:lnTo>
                  <a:lnTo>
                    <a:pt x="368300" y="281261"/>
                  </a:lnTo>
                  <a:cubicBezTo>
                    <a:pt x="368300" y="281261"/>
                    <a:pt x="365473" y="281530"/>
                    <a:pt x="365204" y="281631"/>
                  </a:cubicBezTo>
                  <a:cubicBezTo>
                    <a:pt x="364934" y="281732"/>
                    <a:pt x="362881" y="283145"/>
                    <a:pt x="362579" y="283414"/>
                  </a:cubicBezTo>
                  <a:cubicBezTo>
                    <a:pt x="362310" y="283683"/>
                    <a:pt x="361872" y="285029"/>
                    <a:pt x="361872" y="285029"/>
                  </a:cubicBezTo>
                  <a:lnTo>
                    <a:pt x="364733" y="286711"/>
                  </a:lnTo>
                  <a:lnTo>
                    <a:pt x="366045" y="286711"/>
                  </a:lnTo>
                  <a:lnTo>
                    <a:pt x="369209" y="287148"/>
                  </a:lnTo>
                  <a:lnTo>
                    <a:pt x="369983" y="288224"/>
                  </a:lnTo>
                  <a:cubicBezTo>
                    <a:pt x="369983" y="288224"/>
                    <a:pt x="369074" y="289200"/>
                    <a:pt x="368906" y="289402"/>
                  </a:cubicBezTo>
                  <a:cubicBezTo>
                    <a:pt x="368737" y="289637"/>
                    <a:pt x="368199" y="290546"/>
                    <a:pt x="368266" y="290747"/>
                  </a:cubicBezTo>
                  <a:cubicBezTo>
                    <a:pt x="368334" y="290983"/>
                    <a:pt x="368973" y="291891"/>
                    <a:pt x="368973" y="292059"/>
                  </a:cubicBezTo>
                  <a:cubicBezTo>
                    <a:pt x="368973" y="292227"/>
                    <a:pt x="370555" y="292934"/>
                    <a:pt x="370555" y="292934"/>
                  </a:cubicBezTo>
                  <a:lnTo>
                    <a:pt x="372305" y="294010"/>
                  </a:lnTo>
                  <a:cubicBezTo>
                    <a:pt x="372305" y="294010"/>
                    <a:pt x="372944" y="295793"/>
                    <a:pt x="372944" y="296231"/>
                  </a:cubicBezTo>
                  <a:cubicBezTo>
                    <a:pt x="372944" y="296668"/>
                    <a:pt x="372238" y="297711"/>
                    <a:pt x="372170" y="297879"/>
                  </a:cubicBezTo>
                  <a:cubicBezTo>
                    <a:pt x="372103" y="298047"/>
                    <a:pt x="371497" y="298585"/>
                    <a:pt x="371497" y="298585"/>
                  </a:cubicBezTo>
                  <a:lnTo>
                    <a:pt x="370420" y="299292"/>
                  </a:lnTo>
                  <a:lnTo>
                    <a:pt x="368232" y="299090"/>
                  </a:lnTo>
                  <a:lnTo>
                    <a:pt x="367862" y="297711"/>
                  </a:lnTo>
                  <a:lnTo>
                    <a:pt x="366483" y="297139"/>
                  </a:lnTo>
                  <a:lnTo>
                    <a:pt x="364665" y="297139"/>
                  </a:lnTo>
                  <a:cubicBezTo>
                    <a:pt x="364665" y="297139"/>
                    <a:pt x="362983" y="297004"/>
                    <a:pt x="362780" y="297004"/>
                  </a:cubicBezTo>
                  <a:cubicBezTo>
                    <a:pt x="362579" y="297004"/>
                    <a:pt x="362511" y="298081"/>
                    <a:pt x="362209" y="298148"/>
                  </a:cubicBezTo>
                  <a:cubicBezTo>
                    <a:pt x="361906" y="298215"/>
                    <a:pt x="361569" y="298888"/>
                    <a:pt x="361131" y="299157"/>
                  </a:cubicBezTo>
                  <a:cubicBezTo>
                    <a:pt x="360694" y="299426"/>
                    <a:pt x="358439" y="299292"/>
                    <a:pt x="358439" y="299292"/>
                  </a:cubicBezTo>
                  <a:lnTo>
                    <a:pt x="356554" y="298552"/>
                  </a:lnTo>
                  <a:lnTo>
                    <a:pt x="354804" y="298047"/>
                  </a:lnTo>
                  <a:cubicBezTo>
                    <a:pt x="354804" y="298047"/>
                    <a:pt x="354165" y="297475"/>
                    <a:pt x="353929" y="297408"/>
                  </a:cubicBezTo>
                  <a:cubicBezTo>
                    <a:pt x="353728" y="297341"/>
                    <a:pt x="352112" y="296096"/>
                    <a:pt x="352112" y="296096"/>
                  </a:cubicBezTo>
                  <a:lnTo>
                    <a:pt x="350800" y="295356"/>
                  </a:lnTo>
                  <a:lnTo>
                    <a:pt x="350295" y="295356"/>
                  </a:lnTo>
                  <a:lnTo>
                    <a:pt x="349050" y="296062"/>
                  </a:lnTo>
                  <a:lnTo>
                    <a:pt x="348107" y="296836"/>
                  </a:lnTo>
                  <a:lnTo>
                    <a:pt x="348174" y="297980"/>
                  </a:lnTo>
                  <a:lnTo>
                    <a:pt x="348174" y="299359"/>
                  </a:lnTo>
                  <a:lnTo>
                    <a:pt x="347905" y="301041"/>
                  </a:lnTo>
                  <a:cubicBezTo>
                    <a:pt x="347905" y="301041"/>
                    <a:pt x="347299" y="303430"/>
                    <a:pt x="347535" y="304304"/>
                  </a:cubicBezTo>
                  <a:cubicBezTo>
                    <a:pt x="347737" y="305179"/>
                    <a:pt x="347535" y="306053"/>
                    <a:pt x="347535" y="306053"/>
                  </a:cubicBezTo>
                  <a:lnTo>
                    <a:pt x="349487" y="308442"/>
                  </a:lnTo>
                  <a:lnTo>
                    <a:pt x="351675" y="310191"/>
                  </a:lnTo>
                  <a:lnTo>
                    <a:pt x="351675" y="315405"/>
                  </a:lnTo>
                  <a:lnTo>
                    <a:pt x="351675" y="316919"/>
                  </a:lnTo>
                  <a:lnTo>
                    <a:pt x="355141" y="320619"/>
                  </a:lnTo>
                  <a:lnTo>
                    <a:pt x="355141" y="324522"/>
                  </a:lnTo>
                  <a:lnTo>
                    <a:pt x="356218" y="328155"/>
                  </a:lnTo>
                  <a:cubicBezTo>
                    <a:pt x="356218" y="328155"/>
                    <a:pt x="360055" y="328020"/>
                    <a:pt x="361064" y="328155"/>
                  </a:cubicBezTo>
                  <a:cubicBezTo>
                    <a:pt x="362074" y="328289"/>
                    <a:pt x="361636" y="330476"/>
                    <a:pt x="361636" y="330913"/>
                  </a:cubicBezTo>
                  <a:cubicBezTo>
                    <a:pt x="361636" y="331350"/>
                    <a:pt x="361064" y="334378"/>
                    <a:pt x="361064" y="334378"/>
                  </a:cubicBezTo>
                  <a:lnTo>
                    <a:pt x="360357" y="334513"/>
                  </a:lnTo>
                  <a:cubicBezTo>
                    <a:pt x="360357" y="334513"/>
                    <a:pt x="360357" y="338146"/>
                    <a:pt x="360357" y="339861"/>
                  </a:cubicBezTo>
                  <a:cubicBezTo>
                    <a:pt x="360357" y="341611"/>
                    <a:pt x="361300" y="341880"/>
                    <a:pt x="361737" y="342317"/>
                  </a:cubicBezTo>
                  <a:cubicBezTo>
                    <a:pt x="362175" y="342754"/>
                    <a:pt x="363117" y="342754"/>
                    <a:pt x="363858" y="343461"/>
                  </a:cubicBezTo>
                  <a:cubicBezTo>
                    <a:pt x="364564" y="344201"/>
                    <a:pt x="365608" y="343158"/>
                    <a:pt x="365608" y="343158"/>
                  </a:cubicBezTo>
                  <a:lnTo>
                    <a:pt x="365608" y="341140"/>
                  </a:lnTo>
                  <a:cubicBezTo>
                    <a:pt x="365608" y="341140"/>
                    <a:pt x="368064" y="338953"/>
                    <a:pt x="368502" y="338818"/>
                  </a:cubicBezTo>
                  <a:cubicBezTo>
                    <a:pt x="368939" y="338684"/>
                    <a:pt x="372137" y="335051"/>
                    <a:pt x="372137" y="335051"/>
                  </a:cubicBezTo>
                  <a:lnTo>
                    <a:pt x="376209" y="334344"/>
                  </a:lnTo>
                  <a:lnTo>
                    <a:pt x="383007" y="335791"/>
                  </a:lnTo>
                  <a:lnTo>
                    <a:pt x="384454" y="337977"/>
                  </a:lnTo>
                  <a:lnTo>
                    <a:pt x="386642" y="340870"/>
                  </a:lnTo>
                  <a:lnTo>
                    <a:pt x="386339" y="345345"/>
                  </a:lnTo>
                  <a:lnTo>
                    <a:pt x="385464" y="347666"/>
                  </a:lnTo>
                  <a:lnTo>
                    <a:pt x="386372" y="349819"/>
                  </a:lnTo>
                  <a:cubicBezTo>
                    <a:pt x="386372" y="349819"/>
                    <a:pt x="385598" y="351433"/>
                    <a:pt x="385497" y="351770"/>
                  </a:cubicBezTo>
                  <a:cubicBezTo>
                    <a:pt x="385397" y="352106"/>
                    <a:pt x="384959" y="353822"/>
                    <a:pt x="384959" y="353822"/>
                  </a:cubicBezTo>
                  <a:lnTo>
                    <a:pt x="383007" y="355335"/>
                  </a:lnTo>
                  <a:cubicBezTo>
                    <a:pt x="383007" y="355335"/>
                    <a:pt x="383007" y="358800"/>
                    <a:pt x="383007" y="359675"/>
                  </a:cubicBezTo>
                  <a:cubicBezTo>
                    <a:pt x="383007" y="360550"/>
                    <a:pt x="385632" y="360987"/>
                    <a:pt x="386036" y="360651"/>
                  </a:cubicBezTo>
                  <a:cubicBezTo>
                    <a:pt x="386473" y="360314"/>
                    <a:pt x="388122" y="360415"/>
                    <a:pt x="388863" y="360112"/>
                  </a:cubicBezTo>
                  <a:cubicBezTo>
                    <a:pt x="389637" y="359776"/>
                    <a:pt x="390815" y="359238"/>
                    <a:pt x="391017" y="358901"/>
                  </a:cubicBezTo>
                  <a:cubicBezTo>
                    <a:pt x="391252" y="358565"/>
                    <a:pt x="393507" y="359238"/>
                    <a:pt x="394281" y="359675"/>
                  </a:cubicBezTo>
                  <a:cubicBezTo>
                    <a:pt x="395055" y="360112"/>
                    <a:pt x="393844" y="360550"/>
                    <a:pt x="394281" y="361525"/>
                  </a:cubicBezTo>
                  <a:cubicBezTo>
                    <a:pt x="394719" y="362501"/>
                    <a:pt x="394281" y="363174"/>
                    <a:pt x="394281" y="363174"/>
                  </a:cubicBezTo>
                  <a:lnTo>
                    <a:pt x="396570" y="363174"/>
                  </a:lnTo>
                  <a:lnTo>
                    <a:pt x="398522" y="364485"/>
                  </a:lnTo>
                  <a:cubicBezTo>
                    <a:pt x="398522" y="364485"/>
                    <a:pt x="400171" y="366437"/>
                    <a:pt x="400373" y="366773"/>
                  </a:cubicBezTo>
                  <a:cubicBezTo>
                    <a:pt x="400575" y="367109"/>
                    <a:pt x="400373" y="369262"/>
                    <a:pt x="400373" y="369262"/>
                  </a:cubicBezTo>
                  <a:lnTo>
                    <a:pt x="400373" y="373030"/>
                  </a:lnTo>
                  <a:lnTo>
                    <a:pt x="398926" y="376461"/>
                  </a:lnTo>
                  <a:lnTo>
                    <a:pt x="398219" y="377470"/>
                  </a:lnTo>
                  <a:lnTo>
                    <a:pt x="396200" y="378715"/>
                  </a:lnTo>
                  <a:lnTo>
                    <a:pt x="391757" y="379287"/>
                  </a:lnTo>
                  <a:lnTo>
                    <a:pt x="390310" y="381473"/>
                  </a:lnTo>
                  <a:lnTo>
                    <a:pt x="389940" y="382012"/>
                  </a:lnTo>
                  <a:lnTo>
                    <a:pt x="395459" y="382718"/>
                  </a:lnTo>
                  <a:lnTo>
                    <a:pt x="401551" y="377134"/>
                  </a:lnTo>
                  <a:lnTo>
                    <a:pt x="406464" y="377134"/>
                  </a:lnTo>
                  <a:lnTo>
                    <a:pt x="410099" y="381339"/>
                  </a:lnTo>
                  <a:cubicBezTo>
                    <a:pt x="410099" y="381339"/>
                    <a:pt x="410974" y="389009"/>
                    <a:pt x="411412" y="389446"/>
                  </a:cubicBezTo>
                  <a:cubicBezTo>
                    <a:pt x="411849" y="389883"/>
                    <a:pt x="416056" y="394088"/>
                    <a:pt x="417368" y="394223"/>
                  </a:cubicBezTo>
                  <a:cubicBezTo>
                    <a:pt x="418681" y="394357"/>
                    <a:pt x="423022" y="395972"/>
                    <a:pt x="423022" y="395972"/>
                  </a:cubicBezTo>
                  <a:lnTo>
                    <a:pt x="427499" y="394828"/>
                  </a:lnTo>
                  <a:cubicBezTo>
                    <a:pt x="427499" y="394828"/>
                    <a:pt x="430393" y="393247"/>
                    <a:pt x="430830" y="393079"/>
                  </a:cubicBezTo>
                  <a:cubicBezTo>
                    <a:pt x="431268" y="392945"/>
                    <a:pt x="434902" y="388874"/>
                    <a:pt x="434902" y="388874"/>
                  </a:cubicBezTo>
                  <a:cubicBezTo>
                    <a:pt x="434902" y="388874"/>
                    <a:pt x="438099" y="385409"/>
                    <a:pt x="438672" y="385409"/>
                  </a:cubicBezTo>
                  <a:cubicBezTo>
                    <a:pt x="439244" y="385409"/>
                    <a:pt x="441263" y="383828"/>
                    <a:pt x="442306" y="383525"/>
                  </a:cubicBezTo>
                  <a:cubicBezTo>
                    <a:pt x="443316" y="383223"/>
                    <a:pt x="447658" y="380195"/>
                    <a:pt x="447658" y="380195"/>
                  </a:cubicBezTo>
                  <a:cubicBezTo>
                    <a:pt x="447658" y="380195"/>
                    <a:pt x="454321" y="380498"/>
                    <a:pt x="454893" y="380498"/>
                  </a:cubicBezTo>
                  <a:cubicBezTo>
                    <a:pt x="455465" y="380498"/>
                    <a:pt x="462432" y="380632"/>
                    <a:pt x="463004" y="380632"/>
                  </a:cubicBezTo>
                  <a:cubicBezTo>
                    <a:pt x="463576" y="380632"/>
                    <a:pt x="467345" y="380632"/>
                    <a:pt x="467345" y="380632"/>
                  </a:cubicBezTo>
                  <a:cubicBezTo>
                    <a:pt x="467345" y="380632"/>
                    <a:pt x="470542" y="378614"/>
                    <a:pt x="470980" y="378311"/>
                  </a:cubicBezTo>
                  <a:cubicBezTo>
                    <a:pt x="471418" y="378009"/>
                    <a:pt x="472663" y="377874"/>
                    <a:pt x="473673" y="377874"/>
                  </a:cubicBezTo>
                  <a:cubicBezTo>
                    <a:pt x="474682" y="377874"/>
                    <a:pt x="475187" y="380632"/>
                    <a:pt x="475187" y="380632"/>
                  </a:cubicBezTo>
                  <a:lnTo>
                    <a:pt x="475187" y="383223"/>
                  </a:lnTo>
                  <a:lnTo>
                    <a:pt x="473571" y="384669"/>
                  </a:lnTo>
                  <a:lnTo>
                    <a:pt x="475187" y="385107"/>
                  </a:lnTo>
                  <a:cubicBezTo>
                    <a:pt x="475187" y="385107"/>
                    <a:pt x="477947" y="384972"/>
                    <a:pt x="478384" y="384535"/>
                  </a:cubicBezTo>
                  <a:cubicBezTo>
                    <a:pt x="478822" y="384097"/>
                    <a:pt x="479966" y="381911"/>
                    <a:pt x="480269" y="381507"/>
                  </a:cubicBezTo>
                  <a:cubicBezTo>
                    <a:pt x="480538" y="381070"/>
                    <a:pt x="481144" y="379623"/>
                    <a:pt x="481278" y="379186"/>
                  </a:cubicBezTo>
                  <a:cubicBezTo>
                    <a:pt x="481413" y="378749"/>
                    <a:pt x="481985" y="378177"/>
                    <a:pt x="482288" y="377168"/>
                  </a:cubicBezTo>
                  <a:cubicBezTo>
                    <a:pt x="482557" y="376158"/>
                    <a:pt x="483163" y="375149"/>
                    <a:pt x="483163" y="375149"/>
                  </a:cubicBezTo>
                  <a:cubicBezTo>
                    <a:pt x="483163" y="375149"/>
                    <a:pt x="484173" y="373265"/>
                    <a:pt x="484307" y="372828"/>
                  </a:cubicBezTo>
                  <a:cubicBezTo>
                    <a:pt x="484442" y="372391"/>
                    <a:pt x="485317" y="370070"/>
                    <a:pt x="485317" y="370070"/>
                  </a:cubicBezTo>
                  <a:lnTo>
                    <a:pt x="485889" y="367311"/>
                  </a:lnTo>
                  <a:cubicBezTo>
                    <a:pt x="485889" y="367311"/>
                    <a:pt x="486327" y="365730"/>
                    <a:pt x="486764" y="365293"/>
                  </a:cubicBezTo>
                  <a:cubicBezTo>
                    <a:pt x="487202" y="364856"/>
                    <a:pt x="488077" y="364284"/>
                    <a:pt x="488514" y="363846"/>
                  </a:cubicBezTo>
                  <a:cubicBezTo>
                    <a:pt x="488952" y="363409"/>
                    <a:pt x="491274" y="359372"/>
                    <a:pt x="491274" y="359372"/>
                  </a:cubicBezTo>
                  <a:lnTo>
                    <a:pt x="493024" y="356008"/>
                  </a:lnTo>
                  <a:lnTo>
                    <a:pt x="493966" y="353586"/>
                  </a:lnTo>
                  <a:lnTo>
                    <a:pt x="496053" y="349516"/>
                  </a:lnTo>
                  <a:lnTo>
                    <a:pt x="496053" y="346757"/>
                  </a:lnTo>
                  <a:lnTo>
                    <a:pt x="496928" y="341409"/>
                  </a:lnTo>
                  <a:lnTo>
                    <a:pt x="495918" y="335892"/>
                  </a:lnTo>
                  <a:lnTo>
                    <a:pt x="493293" y="332999"/>
                  </a:lnTo>
                  <a:lnTo>
                    <a:pt x="492553" y="330106"/>
                  </a:lnTo>
                  <a:lnTo>
                    <a:pt x="494875" y="327919"/>
                  </a:lnTo>
                  <a:lnTo>
                    <a:pt x="499519" y="324454"/>
                  </a:lnTo>
                  <a:lnTo>
                    <a:pt x="501707" y="320384"/>
                  </a:lnTo>
                  <a:lnTo>
                    <a:pt x="502582" y="316347"/>
                  </a:lnTo>
                  <a:lnTo>
                    <a:pt x="504601" y="313454"/>
                  </a:lnTo>
                  <a:cubicBezTo>
                    <a:pt x="504601" y="313454"/>
                    <a:pt x="506183" y="311268"/>
                    <a:pt x="506755" y="311268"/>
                  </a:cubicBezTo>
                  <a:cubicBezTo>
                    <a:pt x="507327" y="311268"/>
                    <a:pt x="509212" y="309081"/>
                    <a:pt x="509212" y="309081"/>
                  </a:cubicBezTo>
                  <a:cubicBezTo>
                    <a:pt x="509212" y="309081"/>
                    <a:pt x="511837" y="308072"/>
                    <a:pt x="512409" y="307769"/>
                  </a:cubicBezTo>
                  <a:cubicBezTo>
                    <a:pt x="512981" y="307466"/>
                    <a:pt x="514428" y="302858"/>
                    <a:pt x="515034" y="302858"/>
                  </a:cubicBezTo>
                  <a:cubicBezTo>
                    <a:pt x="515606" y="302858"/>
                    <a:pt x="516784" y="300402"/>
                    <a:pt x="517221" y="300099"/>
                  </a:cubicBezTo>
                  <a:cubicBezTo>
                    <a:pt x="517659" y="299796"/>
                    <a:pt x="520688" y="295020"/>
                    <a:pt x="520688" y="295020"/>
                  </a:cubicBezTo>
                  <a:cubicBezTo>
                    <a:pt x="520688" y="295020"/>
                    <a:pt x="522876" y="293573"/>
                    <a:pt x="523448" y="293573"/>
                  </a:cubicBezTo>
                  <a:cubicBezTo>
                    <a:pt x="524020" y="293573"/>
                    <a:pt x="526780" y="291992"/>
                    <a:pt x="526780" y="291992"/>
                  </a:cubicBezTo>
                  <a:cubicBezTo>
                    <a:pt x="526780" y="291992"/>
                    <a:pt x="528967" y="290983"/>
                    <a:pt x="529404" y="290983"/>
                  </a:cubicBezTo>
                  <a:cubicBezTo>
                    <a:pt x="529842" y="290983"/>
                    <a:pt x="533881" y="287653"/>
                    <a:pt x="533881" y="287653"/>
                  </a:cubicBezTo>
                  <a:cubicBezTo>
                    <a:pt x="533881" y="287653"/>
                    <a:pt x="538794" y="285197"/>
                    <a:pt x="539232" y="285197"/>
                  </a:cubicBezTo>
                  <a:cubicBezTo>
                    <a:pt x="539669" y="285197"/>
                    <a:pt x="542563" y="281126"/>
                    <a:pt x="543136" y="280992"/>
                  </a:cubicBezTo>
                  <a:cubicBezTo>
                    <a:pt x="543708" y="280857"/>
                    <a:pt x="547847" y="277796"/>
                    <a:pt x="547847" y="277796"/>
                  </a:cubicBezTo>
                  <a:lnTo>
                    <a:pt x="549934" y="276484"/>
                  </a:lnTo>
                  <a:lnTo>
                    <a:pt x="549934" y="273726"/>
                  </a:lnTo>
                  <a:lnTo>
                    <a:pt x="547410" y="270059"/>
                  </a:lnTo>
                  <a:close/>
                  <a:moveTo>
                    <a:pt x="340299" y="224645"/>
                  </a:moveTo>
                  <a:lnTo>
                    <a:pt x="338718" y="226025"/>
                  </a:lnTo>
                  <a:lnTo>
                    <a:pt x="337270" y="226462"/>
                  </a:lnTo>
                  <a:lnTo>
                    <a:pt x="335621" y="226159"/>
                  </a:lnTo>
                  <a:lnTo>
                    <a:pt x="333905" y="225957"/>
                  </a:lnTo>
                  <a:lnTo>
                    <a:pt x="332761" y="226832"/>
                  </a:lnTo>
                  <a:lnTo>
                    <a:pt x="332761" y="229961"/>
                  </a:lnTo>
                  <a:lnTo>
                    <a:pt x="332963" y="230970"/>
                  </a:lnTo>
                  <a:lnTo>
                    <a:pt x="332189" y="232416"/>
                  </a:lnTo>
                  <a:lnTo>
                    <a:pt x="329799" y="232921"/>
                  </a:lnTo>
                  <a:cubicBezTo>
                    <a:pt x="329799" y="232921"/>
                    <a:pt x="328789" y="232349"/>
                    <a:pt x="328116" y="232349"/>
                  </a:cubicBezTo>
                  <a:cubicBezTo>
                    <a:pt x="327443" y="232349"/>
                    <a:pt x="325357" y="232046"/>
                    <a:pt x="325087" y="232046"/>
                  </a:cubicBezTo>
                  <a:cubicBezTo>
                    <a:pt x="324785" y="232046"/>
                    <a:pt x="322967" y="230465"/>
                    <a:pt x="322698" y="230364"/>
                  </a:cubicBezTo>
                  <a:cubicBezTo>
                    <a:pt x="322429" y="230297"/>
                    <a:pt x="319232" y="231104"/>
                    <a:pt x="319232" y="231104"/>
                  </a:cubicBezTo>
                  <a:cubicBezTo>
                    <a:pt x="319232" y="231104"/>
                    <a:pt x="317481" y="233493"/>
                    <a:pt x="317280" y="233997"/>
                  </a:cubicBezTo>
                  <a:cubicBezTo>
                    <a:pt x="317078" y="234502"/>
                    <a:pt x="314957" y="238404"/>
                    <a:pt x="314957" y="238404"/>
                  </a:cubicBezTo>
                  <a:lnTo>
                    <a:pt x="316337" y="240927"/>
                  </a:lnTo>
                  <a:lnTo>
                    <a:pt x="319972" y="243383"/>
                  </a:lnTo>
                  <a:lnTo>
                    <a:pt x="320039" y="244627"/>
                  </a:lnTo>
                  <a:lnTo>
                    <a:pt x="316977" y="246881"/>
                  </a:lnTo>
                  <a:lnTo>
                    <a:pt x="316102" y="249270"/>
                  </a:lnTo>
                  <a:cubicBezTo>
                    <a:pt x="316102" y="249270"/>
                    <a:pt x="316472" y="251524"/>
                    <a:pt x="316977" y="251961"/>
                  </a:cubicBezTo>
                  <a:cubicBezTo>
                    <a:pt x="317481" y="252398"/>
                    <a:pt x="318491" y="253037"/>
                    <a:pt x="318996" y="253475"/>
                  </a:cubicBezTo>
                  <a:cubicBezTo>
                    <a:pt x="319501" y="253912"/>
                    <a:pt x="320443" y="254988"/>
                    <a:pt x="320679" y="255056"/>
                  </a:cubicBezTo>
                  <a:cubicBezTo>
                    <a:pt x="320914" y="255123"/>
                    <a:pt x="320712" y="255998"/>
                    <a:pt x="320712" y="255998"/>
                  </a:cubicBezTo>
                  <a:cubicBezTo>
                    <a:pt x="320712" y="255998"/>
                    <a:pt x="320612" y="256805"/>
                    <a:pt x="320612" y="257074"/>
                  </a:cubicBezTo>
                  <a:cubicBezTo>
                    <a:pt x="320612" y="257377"/>
                    <a:pt x="320612" y="259463"/>
                    <a:pt x="320612" y="259463"/>
                  </a:cubicBezTo>
                  <a:lnTo>
                    <a:pt x="321756" y="260270"/>
                  </a:lnTo>
                  <a:cubicBezTo>
                    <a:pt x="321756" y="260270"/>
                    <a:pt x="323203" y="262019"/>
                    <a:pt x="323438" y="262288"/>
                  </a:cubicBezTo>
                  <a:cubicBezTo>
                    <a:pt x="323640" y="262591"/>
                    <a:pt x="324684" y="263230"/>
                    <a:pt x="325189" y="263735"/>
                  </a:cubicBezTo>
                  <a:cubicBezTo>
                    <a:pt x="325693" y="264239"/>
                    <a:pt x="325828" y="264609"/>
                    <a:pt x="326703" y="265316"/>
                  </a:cubicBezTo>
                  <a:cubicBezTo>
                    <a:pt x="327578" y="266056"/>
                    <a:pt x="327746" y="267772"/>
                    <a:pt x="327746" y="267772"/>
                  </a:cubicBezTo>
                  <a:lnTo>
                    <a:pt x="328352" y="269386"/>
                  </a:lnTo>
                  <a:lnTo>
                    <a:pt x="328419" y="271573"/>
                  </a:lnTo>
                  <a:lnTo>
                    <a:pt x="328487" y="273860"/>
                  </a:lnTo>
                  <a:cubicBezTo>
                    <a:pt x="328487" y="273860"/>
                    <a:pt x="327073" y="276081"/>
                    <a:pt x="326905" y="276148"/>
                  </a:cubicBezTo>
                  <a:cubicBezTo>
                    <a:pt x="326737" y="276215"/>
                    <a:pt x="324852" y="278435"/>
                    <a:pt x="324852" y="278435"/>
                  </a:cubicBezTo>
                  <a:cubicBezTo>
                    <a:pt x="324852" y="278435"/>
                    <a:pt x="323371" y="279579"/>
                    <a:pt x="323203" y="279680"/>
                  </a:cubicBezTo>
                  <a:cubicBezTo>
                    <a:pt x="323035" y="279781"/>
                    <a:pt x="320477" y="281160"/>
                    <a:pt x="320140" y="281295"/>
                  </a:cubicBezTo>
                  <a:cubicBezTo>
                    <a:pt x="319838" y="281463"/>
                    <a:pt x="318525" y="282371"/>
                    <a:pt x="318289" y="282438"/>
                  </a:cubicBezTo>
                  <a:cubicBezTo>
                    <a:pt x="318087" y="282506"/>
                    <a:pt x="317078" y="282943"/>
                    <a:pt x="316876" y="282943"/>
                  </a:cubicBezTo>
                  <a:cubicBezTo>
                    <a:pt x="316674" y="282943"/>
                    <a:pt x="314520" y="282943"/>
                    <a:pt x="314520" y="282943"/>
                  </a:cubicBezTo>
                  <a:cubicBezTo>
                    <a:pt x="314520" y="282943"/>
                    <a:pt x="313006" y="283279"/>
                    <a:pt x="312198" y="283279"/>
                  </a:cubicBezTo>
                  <a:cubicBezTo>
                    <a:pt x="311390" y="283279"/>
                    <a:pt x="309539" y="283246"/>
                    <a:pt x="309304" y="283246"/>
                  </a:cubicBezTo>
                  <a:cubicBezTo>
                    <a:pt x="309102" y="283246"/>
                    <a:pt x="305837" y="282539"/>
                    <a:pt x="305837" y="282539"/>
                  </a:cubicBezTo>
                  <a:lnTo>
                    <a:pt x="301933" y="283952"/>
                  </a:lnTo>
                  <a:lnTo>
                    <a:pt x="298332" y="284827"/>
                  </a:lnTo>
                  <a:lnTo>
                    <a:pt x="295942" y="285600"/>
                  </a:lnTo>
                  <a:lnTo>
                    <a:pt x="292779" y="284827"/>
                  </a:lnTo>
                  <a:lnTo>
                    <a:pt x="289952" y="282977"/>
                  </a:lnTo>
                  <a:lnTo>
                    <a:pt x="286385" y="282102"/>
                  </a:lnTo>
                  <a:lnTo>
                    <a:pt x="281370" y="282539"/>
                  </a:lnTo>
                  <a:lnTo>
                    <a:pt x="278543" y="286677"/>
                  </a:lnTo>
                  <a:lnTo>
                    <a:pt x="277130" y="291555"/>
                  </a:lnTo>
                  <a:lnTo>
                    <a:pt x="277130" y="295995"/>
                  </a:lnTo>
                  <a:lnTo>
                    <a:pt x="276356" y="301748"/>
                  </a:lnTo>
                  <a:lnTo>
                    <a:pt x="276894" y="305112"/>
                  </a:lnTo>
                  <a:lnTo>
                    <a:pt x="280697" y="310662"/>
                  </a:lnTo>
                  <a:lnTo>
                    <a:pt x="282313" y="314127"/>
                  </a:lnTo>
                  <a:lnTo>
                    <a:pt x="285241" y="314497"/>
                  </a:lnTo>
                  <a:lnTo>
                    <a:pt x="288168" y="312479"/>
                  </a:lnTo>
                  <a:lnTo>
                    <a:pt x="288370" y="312479"/>
                  </a:lnTo>
                  <a:lnTo>
                    <a:pt x="290861" y="314430"/>
                  </a:lnTo>
                  <a:lnTo>
                    <a:pt x="293149" y="318029"/>
                  </a:lnTo>
                  <a:lnTo>
                    <a:pt x="293688" y="320216"/>
                  </a:lnTo>
                  <a:lnTo>
                    <a:pt x="291837" y="324219"/>
                  </a:lnTo>
                  <a:lnTo>
                    <a:pt x="292039" y="327886"/>
                  </a:lnTo>
                  <a:lnTo>
                    <a:pt x="293452" y="329231"/>
                  </a:lnTo>
                  <a:cubicBezTo>
                    <a:pt x="293452" y="329231"/>
                    <a:pt x="293553" y="329769"/>
                    <a:pt x="293452" y="330106"/>
                  </a:cubicBezTo>
                  <a:cubicBezTo>
                    <a:pt x="293351" y="330442"/>
                    <a:pt x="290625" y="332494"/>
                    <a:pt x="290625" y="332494"/>
                  </a:cubicBezTo>
                  <a:cubicBezTo>
                    <a:pt x="290625" y="332494"/>
                    <a:pt x="289649" y="333806"/>
                    <a:pt x="289212" y="333806"/>
                  </a:cubicBezTo>
                  <a:cubicBezTo>
                    <a:pt x="288774" y="333806"/>
                    <a:pt x="284971" y="336195"/>
                    <a:pt x="284971" y="336195"/>
                  </a:cubicBezTo>
                  <a:lnTo>
                    <a:pt x="282784" y="340332"/>
                  </a:lnTo>
                  <a:lnTo>
                    <a:pt x="279620" y="340332"/>
                  </a:lnTo>
                  <a:lnTo>
                    <a:pt x="276457" y="340332"/>
                  </a:lnTo>
                  <a:lnTo>
                    <a:pt x="272654" y="340332"/>
                  </a:lnTo>
                  <a:lnTo>
                    <a:pt x="268413" y="336329"/>
                  </a:lnTo>
                  <a:lnTo>
                    <a:pt x="263634" y="335656"/>
                  </a:lnTo>
                  <a:lnTo>
                    <a:pt x="262221" y="336867"/>
                  </a:lnTo>
                  <a:lnTo>
                    <a:pt x="261548" y="337843"/>
                  </a:lnTo>
                  <a:cubicBezTo>
                    <a:pt x="261548" y="337843"/>
                    <a:pt x="261009" y="339256"/>
                    <a:pt x="261009" y="339693"/>
                  </a:cubicBezTo>
                  <a:cubicBezTo>
                    <a:pt x="261009" y="340130"/>
                    <a:pt x="260471" y="341644"/>
                    <a:pt x="260471" y="341644"/>
                  </a:cubicBezTo>
                  <a:lnTo>
                    <a:pt x="260571" y="344033"/>
                  </a:lnTo>
                  <a:lnTo>
                    <a:pt x="260235" y="345883"/>
                  </a:lnTo>
                  <a:cubicBezTo>
                    <a:pt x="260235" y="345883"/>
                    <a:pt x="259797" y="346858"/>
                    <a:pt x="259562" y="347195"/>
                  </a:cubicBezTo>
                  <a:cubicBezTo>
                    <a:pt x="259326" y="347531"/>
                    <a:pt x="258384" y="348608"/>
                    <a:pt x="258047" y="348944"/>
                  </a:cubicBezTo>
                  <a:cubicBezTo>
                    <a:pt x="257711" y="349280"/>
                    <a:pt x="254447" y="350592"/>
                    <a:pt x="254447" y="350592"/>
                  </a:cubicBezTo>
                  <a:lnTo>
                    <a:pt x="251821" y="351231"/>
                  </a:lnTo>
                  <a:cubicBezTo>
                    <a:pt x="251821" y="351231"/>
                    <a:pt x="250071" y="351871"/>
                    <a:pt x="249432" y="352005"/>
                  </a:cubicBezTo>
                  <a:cubicBezTo>
                    <a:pt x="248792" y="352106"/>
                    <a:pt x="248221" y="351904"/>
                    <a:pt x="247783" y="352005"/>
                  </a:cubicBezTo>
                  <a:cubicBezTo>
                    <a:pt x="247345" y="352106"/>
                    <a:pt x="246605" y="352173"/>
                    <a:pt x="245730" y="352039"/>
                  </a:cubicBezTo>
                  <a:cubicBezTo>
                    <a:pt x="244855" y="351904"/>
                    <a:pt x="242701" y="350054"/>
                    <a:pt x="241490" y="348978"/>
                  </a:cubicBezTo>
                  <a:cubicBezTo>
                    <a:pt x="240278" y="347901"/>
                    <a:pt x="239874" y="346488"/>
                    <a:pt x="238999" y="345950"/>
                  </a:cubicBezTo>
                  <a:cubicBezTo>
                    <a:pt x="238124" y="345412"/>
                    <a:pt x="236710" y="343663"/>
                    <a:pt x="236710" y="343663"/>
                  </a:cubicBezTo>
                  <a:cubicBezTo>
                    <a:pt x="236710" y="343663"/>
                    <a:pt x="234759" y="343562"/>
                    <a:pt x="234321" y="343562"/>
                  </a:cubicBezTo>
                  <a:cubicBezTo>
                    <a:pt x="233884" y="343562"/>
                    <a:pt x="230720" y="343663"/>
                    <a:pt x="230417" y="343663"/>
                  </a:cubicBezTo>
                  <a:cubicBezTo>
                    <a:pt x="230081" y="343663"/>
                    <a:pt x="227153" y="345176"/>
                    <a:pt x="227153" y="345176"/>
                  </a:cubicBezTo>
                  <a:lnTo>
                    <a:pt x="225302" y="346690"/>
                  </a:lnTo>
                  <a:lnTo>
                    <a:pt x="220624" y="349079"/>
                  </a:lnTo>
                  <a:lnTo>
                    <a:pt x="216148" y="350390"/>
                  </a:lnTo>
                  <a:cubicBezTo>
                    <a:pt x="216148" y="350390"/>
                    <a:pt x="212782" y="350491"/>
                    <a:pt x="212345" y="350491"/>
                  </a:cubicBezTo>
                  <a:cubicBezTo>
                    <a:pt x="211907" y="350491"/>
                    <a:pt x="208003" y="349079"/>
                    <a:pt x="206926" y="349079"/>
                  </a:cubicBezTo>
                  <a:cubicBezTo>
                    <a:pt x="205816" y="349079"/>
                    <a:pt x="204739" y="348540"/>
                    <a:pt x="204436" y="349079"/>
                  </a:cubicBezTo>
                  <a:cubicBezTo>
                    <a:pt x="204099" y="349617"/>
                    <a:pt x="202821" y="350491"/>
                    <a:pt x="202147" y="350929"/>
                  </a:cubicBezTo>
                  <a:cubicBezTo>
                    <a:pt x="201508" y="351366"/>
                    <a:pt x="201171" y="355066"/>
                    <a:pt x="201171" y="355066"/>
                  </a:cubicBezTo>
                  <a:lnTo>
                    <a:pt x="199657" y="355706"/>
                  </a:lnTo>
                  <a:lnTo>
                    <a:pt x="194878" y="355066"/>
                  </a:lnTo>
                  <a:cubicBezTo>
                    <a:pt x="194878" y="355066"/>
                    <a:pt x="193565" y="354528"/>
                    <a:pt x="192589" y="353654"/>
                  </a:cubicBezTo>
                  <a:cubicBezTo>
                    <a:pt x="191613" y="352779"/>
                    <a:pt x="190200" y="349079"/>
                    <a:pt x="189863" y="348978"/>
                  </a:cubicBezTo>
                  <a:cubicBezTo>
                    <a:pt x="189527" y="348877"/>
                    <a:pt x="189325" y="346253"/>
                    <a:pt x="188989" y="345950"/>
                  </a:cubicBezTo>
                  <a:cubicBezTo>
                    <a:pt x="188652" y="345614"/>
                    <a:pt x="186262" y="343999"/>
                    <a:pt x="186262" y="343999"/>
                  </a:cubicBezTo>
                  <a:cubicBezTo>
                    <a:pt x="186262" y="343999"/>
                    <a:pt x="183435" y="343225"/>
                    <a:pt x="182459" y="343562"/>
                  </a:cubicBezTo>
                  <a:cubicBezTo>
                    <a:pt x="181483" y="343898"/>
                    <a:pt x="180844" y="343562"/>
                    <a:pt x="179531" y="343360"/>
                  </a:cubicBezTo>
                  <a:cubicBezTo>
                    <a:pt x="178219" y="343158"/>
                    <a:pt x="175931" y="342384"/>
                    <a:pt x="175829" y="342048"/>
                  </a:cubicBezTo>
                  <a:cubicBezTo>
                    <a:pt x="175728" y="341711"/>
                    <a:pt x="175156" y="337708"/>
                    <a:pt x="175156" y="337708"/>
                  </a:cubicBezTo>
                  <a:lnTo>
                    <a:pt x="172565" y="336834"/>
                  </a:lnTo>
                  <a:lnTo>
                    <a:pt x="167887" y="335959"/>
                  </a:lnTo>
                  <a:cubicBezTo>
                    <a:pt x="167887" y="335959"/>
                    <a:pt x="167416" y="334883"/>
                    <a:pt x="167416" y="334445"/>
                  </a:cubicBezTo>
                  <a:cubicBezTo>
                    <a:pt x="167416" y="334008"/>
                    <a:pt x="165598" y="331855"/>
                    <a:pt x="165598" y="331418"/>
                  </a:cubicBezTo>
                  <a:cubicBezTo>
                    <a:pt x="165598" y="330980"/>
                    <a:pt x="165598" y="329130"/>
                    <a:pt x="165598" y="329130"/>
                  </a:cubicBezTo>
                  <a:lnTo>
                    <a:pt x="166911" y="327953"/>
                  </a:lnTo>
                  <a:lnTo>
                    <a:pt x="169839" y="328054"/>
                  </a:lnTo>
                  <a:lnTo>
                    <a:pt x="172128" y="328928"/>
                  </a:lnTo>
                  <a:lnTo>
                    <a:pt x="173642" y="329366"/>
                  </a:lnTo>
                  <a:lnTo>
                    <a:pt x="176031" y="329803"/>
                  </a:lnTo>
                  <a:lnTo>
                    <a:pt x="177479" y="328727"/>
                  </a:lnTo>
                  <a:lnTo>
                    <a:pt x="178387" y="327179"/>
                  </a:lnTo>
                  <a:lnTo>
                    <a:pt x="178791" y="325463"/>
                  </a:lnTo>
                  <a:lnTo>
                    <a:pt x="177748" y="323849"/>
                  </a:lnTo>
                  <a:lnTo>
                    <a:pt x="174584" y="320720"/>
                  </a:lnTo>
                  <a:lnTo>
                    <a:pt x="173103" y="318567"/>
                  </a:lnTo>
                  <a:lnTo>
                    <a:pt x="169974" y="315271"/>
                  </a:lnTo>
                  <a:lnTo>
                    <a:pt x="167651" y="313454"/>
                  </a:lnTo>
                  <a:cubicBezTo>
                    <a:pt x="167651" y="313454"/>
                    <a:pt x="165464" y="311200"/>
                    <a:pt x="165397" y="310998"/>
                  </a:cubicBezTo>
                  <a:cubicBezTo>
                    <a:pt x="165329" y="310797"/>
                    <a:pt x="164454" y="308240"/>
                    <a:pt x="164387" y="308038"/>
                  </a:cubicBezTo>
                  <a:cubicBezTo>
                    <a:pt x="164319" y="307836"/>
                    <a:pt x="164151" y="305448"/>
                    <a:pt x="164151" y="305448"/>
                  </a:cubicBezTo>
                  <a:lnTo>
                    <a:pt x="163882" y="301613"/>
                  </a:lnTo>
                  <a:lnTo>
                    <a:pt x="163882" y="299662"/>
                  </a:lnTo>
                  <a:lnTo>
                    <a:pt x="167517" y="298787"/>
                  </a:lnTo>
                  <a:lnTo>
                    <a:pt x="168257" y="298787"/>
                  </a:lnTo>
                  <a:lnTo>
                    <a:pt x="170007" y="298787"/>
                  </a:lnTo>
                  <a:lnTo>
                    <a:pt x="171757" y="298787"/>
                  </a:lnTo>
                  <a:lnTo>
                    <a:pt x="173473" y="298787"/>
                  </a:lnTo>
                  <a:cubicBezTo>
                    <a:pt x="173473" y="298787"/>
                    <a:pt x="173473" y="298855"/>
                    <a:pt x="174214" y="298283"/>
                  </a:cubicBezTo>
                  <a:cubicBezTo>
                    <a:pt x="174954" y="297711"/>
                    <a:pt x="176166" y="296769"/>
                    <a:pt x="176166" y="296769"/>
                  </a:cubicBezTo>
                  <a:lnTo>
                    <a:pt x="177680" y="293506"/>
                  </a:lnTo>
                  <a:lnTo>
                    <a:pt x="180575" y="290916"/>
                  </a:lnTo>
                  <a:cubicBezTo>
                    <a:pt x="180575" y="290916"/>
                    <a:pt x="181954" y="290478"/>
                    <a:pt x="182392" y="290041"/>
                  </a:cubicBezTo>
                  <a:cubicBezTo>
                    <a:pt x="182829" y="289604"/>
                    <a:pt x="185724" y="287350"/>
                    <a:pt x="185724" y="287350"/>
                  </a:cubicBezTo>
                  <a:cubicBezTo>
                    <a:pt x="185724" y="287350"/>
                    <a:pt x="187609" y="286711"/>
                    <a:pt x="187911" y="286711"/>
                  </a:cubicBezTo>
                  <a:cubicBezTo>
                    <a:pt x="188214" y="286711"/>
                    <a:pt x="189426" y="286643"/>
                    <a:pt x="190234" y="286711"/>
                  </a:cubicBezTo>
                  <a:cubicBezTo>
                    <a:pt x="191041" y="286778"/>
                    <a:pt x="192253" y="286576"/>
                    <a:pt x="193128" y="286677"/>
                  </a:cubicBezTo>
                  <a:cubicBezTo>
                    <a:pt x="194003" y="286778"/>
                    <a:pt x="195450" y="286071"/>
                    <a:pt x="195753" y="286071"/>
                  </a:cubicBezTo>
                  <a:cubicBezTo>
                    <a:pt x="196022" y="286071"/>
                    <a:pt x="196897" y="285634"/>
                    <a:pt x="197638" y="285500"/>
                  </a:cubicBezTo>
                  <a:cubicBezTo>
                    <a:pt x="198344" y="285365"/>
                    <a:pt x="200027" y="283549"/>
                    <a:pt x="200027" y="283549"/>
                  </a:cubicBezTo>
                  <a:cubicBezTo>
                    <a:pt x="200027" y="283549"/>
                    <a:pt x="200667" y="282909"/>
                    <a:pt x="200835" y="282607"/>
                  </a:cubicBezTo>
                  <a:cubicBezTo>
                    <a:pt x="200969" y="282338"/>
                    <a:pt x="201979" y="281093"/>
                    <a:pt x="202215" y="281026"/>
                  </a:cubicBezTo>
                  <a:cubicBezTo>
                    <a:pt x="202417" y="280958"/>
                    <a:pt x="203460" y="280084"/>
                    <a:pt x="203729" y="280084"/>
                  </a:cubicBezTo>
                  <a:cubicBezTo>
                    <a:pt x="203998" y="280084"/>
                    <a:pt x="205883" y="278200"/>
                    <a:pt x="206119" y="278133"/>
                  </a:cubicBezTo>
                  <a:cubicBezTo>
                    <a:pt x="206320" y="278065"/>
                    <a:pt x="207364" y="276821"/>
                    <a:pt x="207633" y="276619"/>
                  </a:cubicBezTo>
                  <a:cubicBezTo>
                    <a:pt x="207936" y="276417"/>
                    <a:pt x="209148" y="274600"/>
                    <a:pt x="209148" y="274298"/>
                  </a:cubicBezTo>
                  <a:cubicBezTo>
                    <a:pt x="209148" y="273995"/>
                    <a:pt x="209148" y="270160"/>
                    <a:pt x="209148" y="270160"/>
                  </a:cubicBezTo>
                  <a:lnTo>
                    <a:pt x="205816" y="266964"/>
                  </a:lnTo>
                  <a:lnTo>
                    <a:pt x="205109" y="263701"/>
                  </a:lnTo>
                  <a:lnTo>
                    <a:pt x="201037" y="260573"/>
                  </a:lnTo>
                  <a:lnTo>
                    <a:pt x="199589" y="260573"/>
                  </a:lnTo>
                  <a:lnTo>
                    <a:pt x="197840" y="260573"/>
                  </a:lnTo>
                  <a:lnTo>
                    <a:pt x="195820" y="259429"/>
                  </a:lnTo>
                  <a:lnTo>
                    <a:pt x="194945" y="257848"/>
                  </a:lnTo>
                  <a:lnTo>
                    <a:pt x="195349" y="256637"/>
                  </a:lnTo>
                  <a:lnTo>
                    <a:pt x="194205" y="254719"/>
                  </a:lnTo>
                  <a:lnTo>
                    <a:pt x="193397" y="253138"/>
                  </a:lnTo>
                  <a:lnTo>
                    <a:pt x="192152" y="252365"/>
                  </a:lnTo>
                  <a:cubicBezTo>
                    <a:pt x="192152" y="252365"/>
                    <a:pt x="189830" y="250615"/>
                    <a:pt x="189695" y="250413"/>
                  </a:cubicBezTo>
                  <a:cubicBezTo>
                    <a:pt x="189594" y="250212"/>
                    <a:pt x="188585" y="248126"/>
                    <a:pt x="188585" y="248126"/>
                  </a:cubicBezTo>
                  <a:lnTo>
                    <a:pt x="188282" y="246377"/>
                  </a:lnTo>
                  <a:lnTo>
                    <a:pt x="188282" y="245771"/>
                  </a:lnTo>
                  <a:cubicBezTo>
                    <a:pt x="188282" y="245771"/>
                    <a:pt x="187743" y="243820"/>
                    <a:pt x="187911" y="243753"/>
                  </a:cubicBezTo>
                  <a:cubicBezTo>
                    <a:pt x="188080" y="243686"/>
                    <a:pt x="188282" y="242441"/>
                    <a:pt x="188282" y="242441"/>
                  </a:cubicBezTo>
                  <a:cubicBezTo>
                    <a:pt x="188551" y="242205"/>
                    <a:pt x="189157" y="241230"/>
                    <a:pt x="189157" y="241230"/>
                  </a:cubicBezTo>
                  <a:cubicBezTo>
                    <a:pt x="189157" y="241230"/>
                    <a:pt x="190738" y="239716"/>
                    <a:pt x="190907" y="239716"/>
                  </a:cubicBezTo>
                  <a:cubicBezTo>
                    <a:pt x="191075" y="239716"/>
                    <a:pt x="192320" y="239279"/>
                    <a:pt x="192522" y="239279"/>
                  </a:cubicBezTo>
                  <a:cubicBezTo>
                    <a:pt x="192758" y="239279"/>
                    <a:pt x="193397" y="239380"/>
                    <a:pt x="193734" y="239279"/>
                  </a:cubicBezTo>
                  <a:cubicBezTo>
                    <a:pt x="194070" y="239178"/>
                    <a:pt x="195955" y="238135"/>
                    <a:pt x="195955" y="238135"/>
                  </a:cubicBezTo>
                  <a:lnTo>
                    <a:pt x="198782" y="236117"/>
                  </a:lnTo>
                  <a:lnTo>
                    <a:pt x="199859" y="235309"/>
                  </a:lnTo>
                  <a:cubicBezTo>
                    <a:pt x="199859" y="235309"/>
                    <a:pt x="200902" y="234973"/>
                    <a:pt x="201104" y="234939"/>
                  </a:cubicBezTo>
                  <a:cubicBezTo>
                    <a:pt x="201306" y="234872"/>
                    <a:pt x="203123" y="235107"/>
                    <a:pt x="203325" y="234939"/>
                  </a:cubicBezTo>
                  <a:cubicBezTo>
                    <a:pt x="203527" y="234771"/>
                    <a:pt x="204840" y="235074"/>
                    <a:pt x="205244" y="234939"/>
                  </a:cubicBezTo>
                  <a:cubicBezTo>
                    <a:pt x="205614" y="234771"/>
                    <a:pt x="206590" y="234906"/>
                    <a:pt x="207128" y="234906"/>
                  </a:cubicBezTo>
                  <a:cubicBezTo>
                    <a:pt x="207667" y="234906"/>
                    <a:pt x="209719" y="234838"/>
                    <a:pt x="209955" y="234872"/>
                  </a:cubicBezTo>
                  <a:cubicBezTo>
                    <a:pt x="210157" y="234906"/>
                    <a:pt x="211099" y="234805"/>
                    <a:pt x="211840" y="234872"/>
                  </a:cubicBezTo>
                  <a:cubicBezTo>
                    <a:pt x="212614" y="234906"/>
                    <a:pt x="213489" y="235007"/>
                    <a:pt x="214027" y="234872"/>
                  </a:cubicBezTo>
                  <a:cubicBezTo>
                    <a:pt x="214566" y="234704"/>
                    <a:pt x="217460" y="234065"/>
                    <a:pt x="217460" y="234065"/>
                  </a:cubicBezTo>
                  <a:cubicBezTo>
                    <a:pt x="217460" y="234065"/>
                    <a:pt x="218335" y="231508"/>
                    <a:pt x="218638" y="231474"/>
                  </a:cubicBezTo>
                  <a:cubicBezTo>
                    <a:pt x="218974" y="231407"/>
                    <a:pt x="220927" y="228279"/>
                    <a:pt x="220927" y="228279"/>
                  </a:cubicBezTo>
                  <a:cubicBezTo>
                    <a:pt x="220927" y="228279"/>
                    <a:pt x="221566" y="225453"/>
                    <a:pt x="221566" y="225285"/>
                  </a:cubicBezTo>
                  <a:cubicBezTo>
                    <a:pt x="221566" y="225116"/>
                    <a:pt x="222206" y="222997"/>
                    <a:pt x="222206" y="222997"/>
                  </a:cubicBezTo>
                  <a:lnTo>
                    <a:pt x="223855" y="220710"/>
                  </a:lnTo>
                  <a:lnTo>
                    <a:pt x="224662" y="219734"/>
                  </a:lnTo>
                  <a:lnTo>
                    <a:pt x="226009" y="218220"/>
                  </a:lnTo>
                  <a:cubicBezTo>
                    <a:pt x="226009" y="218220"/>
                    <a:pt x="227691" y="216538"/>
                    <a:pt x="227927" y="216437"/>
                  </a:cubicBezTo>
                  <a:cubicBezTo>
                    <a:pt x="228129" y="216336"/>
                    <a:pt x="230586" y="215529"/>
                    <a:pt x="230586" y="215529"/>
                  </a:cubicBezTo>
                  <a:cubicBezTo>
                    <a:pt x="230586" y="215529"/>
                    <a:pt x="232336" y="215395"/>
                    <a:pt x="232638" y="215395"/>
                  </a:cubicBezTo>
                  <a:cubicBezTo>
                    <a:pt x="232941" y="215395"/>
                    <a:pt x="234321" y="215395"/>
                    <a:pt x="234321" y="215395"/>
                  </a:cubicBezTo>
                  <a:lnTo>
                    <a:pt x="236441" y="215058"/>
                  </a:lnTo>
                  <a:lnTo>
                    <a:pt x="238192" y="214419"/>
                  </a:lnTo>
                  <a:cubicBezTo>
                    <a:pt x="238192" y="214419"/>
                    <a:pt x="239403" y="213174"/>
                    <a:pt x="239605" y="213174"/>
                  </a:cubicBezTo>
                  <a:cubicBezTo>
                    <a:pt x="239807" y="213174"/>
                    <a:pt x="240648" y="212132"/>
                    <a:pt x="240648" y="212132"/>
                  </a:cubicBezTo>
                  <a:cubicBezTo>
                    <a:pt x="240648" y="212132"/>
                    <a:pt x="242163" y="212199"/>
                    <a:pt x="242398" y="212132"/>
                  </a:cubicBezTo>
                  <a:cubicBezTo>
                    <a:pt x="242600" y="212064"/>
                    <a:pt x="243206" y="213444"/>
                    <a:pt x="243206" y="213444"/>
                  </a:cubicBezTo>
                  <a:lnTo>
                    <a:pt x="243710" y="214621"/>
                  </a:lnTo>
                  <a:cubicBezTo>
                    <a:pt x="243710" y="214621"/>
                    <a:pt x="245730" y="215126"/>
                    <a:pt x="246100" y="215126"/>
                  </a:cubicBezTo>
                  <a:cubicBezTo>
                    <a:pt x="246470" y="215126"/>
                    <a:pt x="247884" y="214957"/>
                    <a:pt x="247884" y="214957"/>
                  </a:cubicBezTo>
                  <a:cubicBezTo>
                    <a:pt x="247884" y="214957"/>
                    <a:pt x="248759" y="213612"/>
                    <a:pt x="248759" y="213444"/>
                  </a:cubicBezTo>
                  <a:cubicBezTo>
                    <a:pt x="248759" y="213275"/>
                    <a:pt x="248052" y="211391"/>
                    <a:pt x="247884" y="211257"/>
                  </a:cubicBezTo>
                  <a:cubicBezTo>
                    <a:pt x="247716" y="211156"/>
                    <a:pt x="246268" y="210349"/>
                    <a:pt x="246100" y="210214"/>
                  </a:cubicBezTo>
                  <a:cubicBezTo>
                    <a:pt x="245932" y="210113"/>
                    <a:pt x="243610" y="208801"/>
                    <a:pt x="243610" y="208801"/>
                  </a:cubicBezTo>
                  <a:lnTo>
                    <a:pt x="240581" y="206514"/>
                  </a:lnTo>
                  <a:cubicBezTo>
                    <a:pt x="240581" y="206514"/>
                    <a:pt x="239672" y="204596"/>
                    <a:pt x="239504" y="204495"/>
                  </a:cubicBezTo>
                  <a:cubicBezTo>
                    <a:pt x="239336" y="204394"/>
                    <a:pt x="238090" y="202376"/>
                    <a:pt x="237989" y="202208"/>
                  </a:cubicBezTo>
                  <a:cubicBezTo>
                    <a:pt x="237888" y="202040"/>
                    <a:pt x="236744" y="199988"/>
                    <a:pt x="236744" y="199752"/>
                  </a:cubicBezTo>
                  <a:cubicBezTo>
                    <a:pt x="236744" y="199550"/>
                    <a:pt x="236475" y="198070"/>
                    <a:pt x="236475" y="198070"/>
                  </a:cubicBezTo>
                  <a:cubicBezTo>
                    <a:pt x="236475" y="198070"/>
                    <a:pt x="237249" y="196926"/>
                    <a:pt x="237384" y="196926"/>
                  </a:cubicBezTo>
                  <a:cubicBezTo>
                    <a:pt x="237518" y="196926"/>
                    <a:pt x="239134" y="196388"/>
                    <a:pt x="239134" y="196388"/>
                  </a:cubicBezTo>
                  <a:lnTo>
                    <a:pt x="241287" y="196725"/>
                  </a:lnTo>
                  <a:lnTo>
                    <a:pt x="243610" y="198037"/>
                  </a:lnTo>
                  <a:lnTo>
                    <a:pt x="244821" y="199113"/>
                  </a:lnTo>
                  <a:cubicBezTo>
                    <a:pt x="244821" y="199113"/>
                    <a:pt x="248018" y="200425"/>
                    <a:pt x="248254" y="200425"/>
                  </a:cubicBezTo>
                  <a:cubicBezTo>
                    <a:pt x="248490" y="200425"/>
                    <a:pt x="249466" y="199988"/>
                    <a:pt x="249331" y="199349"/>
                  </a:cubicBezTo>
                  <a:cubicBezTo>
                    <a:pt x="249230" y="198709"/>
                    <a:pt x="248893" y="197936"/>
                    <a:pt x="248826" y="197767"/>
                  </a:cubicBezTo>
                  <a:cubicBezTo>
                    <a:pt x="248759" y="197599"/>
                    <a:pt x="248759" y="195884"/>
                    <a:pt x="248658" y="195715"/>
                  </a:cubicBezTo>
                  <a:cubicBezTo>
                    <a:pt x="248557" y="195547"/>
                    <a:pt x="247009" y="193764"/>
                    <a:pt x="247009" y="193764"/>
                  </a:cubicBezTo>
                  <a:lnTo>
                    <a:pt x="245663" y="192621"/>
                  </a:lnTo>
                  <a:cubicBezTo>
                    <a:pt x="245663" y="192621"/>
                    <a:pt x="244687" y="191309"/>
                    <a:pt x="244687" y="190770"/>
                  </a:cubicBezTo>
                  <a:cubicBezTo>
                    <a:pt x="244687" y="190232"/>
                    <a:pt x="244316" y="189425"/>
                    <a:pt x="244687" y="189358"/>
                  </a:cubicBezTo>
                  <a:cubicBezTo>
                    <a:pt x="245057" y="189290"/>
                    <a:pt x="246033" y="188920"/>
                    <a:pt x="246706" y="188752"/>
                  </a:cubicBezTo>
                  <a:cubicBezTo>
                    <a:pt x="247379" y="188584"/>
                    <a:pt x="248893" y="188416"/>
                    <a:pt x="249331" y="188416"/>
                  </a:cubicBezTo>
                  <a:cubicBezTo>
                    <a:pt x="249768" y="188416"/>
                    <a:pt x="253336" y="189660"/>
                    <a:pt x="253336" y="189660"/>
                  </a:cubicBezTo>
                  <a:cubicBezTo>
                    <a:pt x="253336" y="189660"/>
                    <a:pt x="255759" y="187676"/>
                    <a:pt x="255961" y="187743"/>
                  </a:cubicBezTo>
                  <a:cubicBezTo>
                    <a:pt x="256163" y="187810"/>
                    <a:pt x="257980" y="186734"/>
                    <a:pt x="258351" y="186296"/>
                  </a:cubicBezTo>
                  <a:cubicBezTo>
                    <a:pt x="258721" y="185859"/>
                    <a:pt x="258552" y="184110"/>
                    <a:pt x="258653" y="183168"/>
                  </a:cubicBezTo>
                  <a:cubicBezTo>
                    <a:pt x="258721" y="182226"/>
                    <a:pt x="258519" y="181284"/>
                    <a:pt x="258653" y="180645"/>
                  </a:cubicBezTo>
                  <a:cubicBezTo>
                    <a:pt x="258788" y="180006"/>
                    <a:pt x="259360" y="179064"/>
                    <a:pt x="259730" y="178626"/>
                  </a:cubicBezTo>
                  <a:cubicBezTo>
                    <a:pt x="260101" y="178189"/>
                    <a:pt x="260605" y="177180"/>
                    <a:pt x="260875" y="176945"/>
                  </a:cubicBezTo>
                  <a:cubicBezTo>
                    <a:pt x="261177" y="176709"/>
                    <a:pt x="262995" y="175801"/>
                    <a:pt x="263264" y="175633"/>
                  </a:cubicBezTo>
                  <a:cubicBezTo>
                    <a:pt x="263567" y="175498"/>
                    <a:pt x="264846" y="175767"/>
                    <a:pt x="265452" y="175633"/>
                  </a:cubicBezTo>
                  <a:cubicBezTo>
                    <a:pt x="266024" y="175498"/>
                    <a:pt x="266461" y="175935"/>
                    <a:pt x="266764" y="176137"/>
                  </a:cubicBezTo>
                  <a:cubicBezTo>
                    <a:pt x="267033" y="176339"/>
                    <a:pt x="267505" y="177584"/>
                    <a:pt x="267639" y="178660"/>
                  </a:cubicBezTo>
                  <a:cubicBezTo>
                    <a:pt x="267774" y="179737"/>
                    <a:pt x="267505" y="180544"/>
                    <a:pt x="267639" y="181620"/>
                  </a:cubicBezTo>
                  <a:cubicBezTo>
                    <a:pt x="267774" y="182697"/>
                    <a:pt x="267505" y="183639"/>
                    <a:pt x="267673" y="184076"/>
                  </a:cubicBezTo>
                  <a:cubicBezTo>
                    <a:pt x="267841" y="184513"/>
                    <a:pt x="267673" y="187205"/>
                    <a:pt x="267673" y="187205"/>
                  </a:cubicBezTo>
                  <a:cubicBezTo>
                    <a:pt x="267673" y="187205"/>
                    <a:pt x="267202" y="188651"/>
                    <a:pt x="268077" y="189526"/>
                  </a:cubicBezTo>
                  <a:cubicBezTo>
                    <a:pt x="268951" y="190400"/>
                    <a:pt x="269591" y="191981"/>
                    <a:pt x="269894" y="192419"/>
                  </a:cubicBezTo>
                  <a:cubicBezTo>
                    <a:pt x="270197" y="192856"/>
                    <a:pt x="270971" y="195312"/>
                    <a:pt x="271206" y="195379"/>
                  </a:cubicBezTo>
                  <a:cubicBezTo>
                    <a:pt x="271442" y="195446"/>
                    <a:pt x="272654" y="197633"/>
                    <a:pt x="273596" y="198003"/>
                  </a:cubicBezTo>
                  <a:cubicBezTo>
                    <a:pt x="274538" y="198373"/>
                    <a:pt x="275481" y="199819"/>
                    <a:pt x="277130" y="200694"/>
                  </a:cubicBezTo>
                  <a:cubicBezTo>
                    <a:pt x="278779" y="201569"/>
                    <a:pt x="281269" y="203284"/>
                    <a:pt x="281269" y="203284"/>
                  </a:cubicBezTo>
                  <a:lnTo>
                    <a:pt x="283423" y="204664"/>
                  </a:lnTo>
                  <a:lnTo>
                    <a:pt x="287899" y="210685"/>
                  </a:lnTo>
                  <a:lnTo>
                    <a:pt x="291231" y="214217"/>
                  </a:lnTo>
                  <a:lnTo>
                    <a:pt x="293755" y="216606"/>
                  </a:lnTo>
                  <a:lnTo>
                    <a:pt x="299847" y="219129"/>
                  </a:lnTo>
                  <a:cubicBezTo>
                    <a:pt x="299847" y="219129"/>
                    <a:pt x="305501" y="217682"/>
                    <a:pt x="305938" y="217548"/>
                  </a:cubicBezTo>
                  <a:cubicBezTo>
                    <a:pt x="306376" y="217413"/>
                    <a:pt x="310583" y="216673"/>
                    <a:pt x="310583" y="216673"/>
                  </a:cubicBezTo>
                  <a:lnTo>
                    <a:pt x="321756" y="217043"/>
                  </a:lnTo>
                  <a:lnTo>
                    <a:pt x="325087" y="217043"/>
                  </a:lnTo>
                  <a:lnTo>
                    <a:pt x="329294" y="218792"/>
                  </a:lnTo>
                  <a:lnTo>
                    <a:pt x="335218" y="218792"/>
                  </a:lnTo>
                  <a:cubicBezTo>
                    <a:pt x="335218" y="218792"/>
                    <a:pt x="337809" y="218220"/>
                    <a:pt x="338415" y="218355"/>
                  </a:cubicBezTo>
                  <a:cubicBezTo>
                    <a:pt x="338987" y="218489"/>
                    <a:pt x="340299" y="221046"/>
                    <a:pt x="340299" y="221046"/>
                  </a:cubicBezTo>
                  <a:lnTo>
                    <a:pt x="341107" y="222560"/>
                  </a:lnTo>
                  <a:lnTo>
                    <a:pt x="340299" y="224645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grpSp>
          <p:nvGrpSpPr>
            <p:cNvPr id="635" name="Graphic 11">
              <a:extLst>
                <a:ext uri="{FF2B5EF4-FFF2-40B4-BE49-F238E27FC236}">
                  <a16:creationId xmlns:a16="http://schemas.microsoft.com/office/drawing/2014/main" id="{BE9D61F6-B8A0-79A8-8155-485778EE84C5}"/>
                </a:ext>
              </a:extLst>
            </p:cNvPr>
            <p:cNvGrpSpPr/>
            <p:nvPr/>
          </p:nvGrpSpPr>
          <p:grpSpPr>
            <a:xfrm>
              <a:off x="8145184" y="2281729"/>
              <a:ext cx="310509" cy="293378"/>
              <a:chOff x="5946217" y="1188690"/>
              <a:chExt cx="596146" cy="563255"/>
            </a:xfrm>
            <a:grpFill/>
          </p:grpSpPr>
          <p:sp>
            <p:nvSpPr>
              <p:cNvPr id="657" name="Freeform 923">
                <a:extLst>
                  <a:ext uri="{FF2B5EF4-FFF2-40B4-BE49-F238E27FC236}">
                    <a16:creationId xmlns:a16="http://schemas.microsoft.com/office/drawing/2014/main" id="{2B09BBDF-F58F-5A94-C499-22BC7CDB87D8}"/>
                  </a:ext>
                </a:extLst>
              </p:cNvPr>
              <p:cNvSpPr/>
              <p:nvPr/>
            </p:nvSpPr>
            <p:spPr>
              <a:xfrm>
                <a:off x="5946217" y="1188690"/>
                <a:ext cx="596146" cy="563255"/>
              </a:xfrm>
              <a:custGeom>
                <a:avLst/>
                <a:gdLst>
                  <a:gd name="connsiteX0" fmla="*/ 595888 w 596146"/>
                  <a:gd name="connsiteY0" fmla="*/ 241734 h 563255"/>
                  <a:gd name="connsiteX1" fmla="*/ 594003 w 596146"/>
                  <a:gd name="connsiteY1" fmla="*/ 238101 h 563255"/>
                  <a:gd name="connsiteX2" fmla="*/ 590672 w 596146"/>
                  <a:gd name="connsiteY2" fmla="*/ 233762 h 563255"/>
                  <a:gd name="connsiteX3" fmla="*/ 586330 w 596146"/>
                  <a:gd name="connsiteY3" fmla="*/ 228413 h 563255"/>
                  <a:gd name="connsiteX4" fmla="*/ 585186 w 596146"/>
                  <a:gd name="connsiteY4" fmla="*/ 228110 h 563255"/>
                  <a:gd name="connsiteX5" fmla="*/ 582729 w 596146"/>
                  <a:gd name="connsiteY5" fmla="*/ 228245 h 563255"/>
                  <a:gd name="connsiteX6" fmla="*/ 579263 w 596146"/>
                  <a:gd name="connsiteY6" fmla="*/ 226933 h 563255"/>
                  <a:gd name="connsiteX7" fmla="*/ 578119 w 596146"/>
                  <a:gd name="connsiteY7" fmla="*/ 226798 h 563255"/>
                  <a:gd name="connsiteX8" fmla="*/ 578119 w 596146"/>
                  <a:gd name="connsiteY8" fmla="*/ 223468 h 563255"/>
                  <a:gd name="connsiteX9" fmla="*/ 576301 w 596146"/>
                  <a:gd name="connsiteY9" fmla="*/ 220878 h 563255"/>
                  <a:gd name="connsiteX10" fmla="*/ 573777 w 596146"/>
                  <a:gd name="connsiteY10" fmla="*/ 218994 h 563255"/>
                  <a:gd name="connsiteX11" fmla="*/ 571455 w 596146"/>
                  <a:gd name="connsiteY11" fmla="*/ 215966 h 563255"/>
                  <a:gd name="connsiteX12" fmla="*/ 570142 w 596146"/>
                  <a:gd name="connsiteY12" fmla="*/ 212199 h 563255"/>
                  <a:gd name="connsiteX13" fmla="*/ 569267 w 596146"/>
                  <a:gd name="connsiteY13" fmla="*/ 208431 h 563255"/>
                  <a:gd name="connsiteX14" fmla="*/ 566373 w 596146"/>
                  <a:gd name="connsiteY14" fmla="*/ 202780 h 563255"/>
                  <a:gd name="connsiteX15" fmla="*/ 563041 w 596146"/>
                  <a:gd name="connsiteY15" fmla="*/ 197263 h 563255"/>
                  <a:gd name="connsiteX16" fmla="*/ 561897 w 596146"/>
                  <a:gd name="connsiteY16" fmla="*/ 194942 h 563255"/>
                  <a:gd name="connsiteX17" fmla="*/ 561897 w 596146"/>
                  <a:gd name="connsiteY17" fmla="*/ 192486 h 563255"/>
                  <a:gd name="connsiteX18" fmla="*/ 561156 w 596146"/>
                  <a:gd name="connsiteY18" fmla="*/ 189862 h 563255"/>
                  <a:gd name="connsiteX19" fmla="*/ 559710 w 596146"/>
                  <a:gd name="connsiteY19" fmla="*/ 186094 h 563255"/>
                  <a:gd name="connsiteX20" fmla="*/ 558128 w 596146"/>
                  <a:gd name="connsiteY20" fmla="*/ 184211 h 563255"/>
                  <a:gd name="connsiteX21" fmla="*/ 554661 w 596146"/>
                  <a:gd name="connsiteY21" fmla="*/ 184211 h 563255"/>
                  <a:gd name="connsiteX22" fmla="*/ 550455 w 596146"/>
                  <a:gd name="connsiteY22" fmla="*/ 184413 h 563255"/>
                  <a:gd name="connsiteX23" fmla="*/ 545541 w 596146"/>
                  <a:gd name="connsiteY23" fmla="*/ 183908 h 563255"/>
                  <a:gd name="connsiteX24" fmla="*/ 543959 w 596146"/>
                  <a:gd name="connsiteY24" fmla="*/ 182024 h 563255"/>
                  <a:gd name="connsiteX25" fmla="*/ 543959 w 596146"/>
                  <a:gd name="connsiteY25" fmla="*/ 179871 h 563255"/>
                  <a:gd name="connsiteX26" fmla="*/ 544666 w 596146"/>
                  <a:gd name="connsiteY26" fmla="*/ 177987 h 563255"/>
                  <a:gd name="connsiteX27" fmla="*/ 546551 w 596146"/>
                  <a:gd name="connsiteY27" fmla="*/ 174354 h 563255"/>
                  <a:gd name="connsiteX28" fmla="*/ 548435 w 596146"/>
                  <a:gd name="connsiteY28" fmla="*/ 171024 h 563255"/>
                  <a:gd name="connsiteX29" fmla="*/ 548873 w 596146"/>
                  <a:gd name="connsiteY29" fmla="*/ 168266 h 563255"/>
                  <a:gd name="connsiteX30" fmla="*/ 546853 w 596146"/>
                  <a:gd name="connsiteY30" fmla="*/ 164801 h 563255"/>
                  <a:gd name="connsiteX31" fmla="*/ 543387 w 596146"/>
                  <a:gd name="connsiteY31" fmla="*/ 163051 h 563255"/>
                  <a:gd name="connsiteX32" fmla="*/ 541502 w 596146"/>
                  <a:gd name="connsiteY32" fmla="*/ 161908 h 563255"/>
                  <a:gd name="connsiteX33" fmla="*/ 538036 w 596146"/>
                  <a:gd name="connsiteY33" fmla="*/ 161605 h 563255"/>
                  <a:gd name="connsiteX34" fmla="*/ 536892 w 596146"/>
                  <a:gd name="connsiteY34" fmla="*/ 158712 h 563255"/>
                  <a:gd name="connsiteX35" fmla="*/ 538541 w 596146"/>
                  <a:gd name="connsiteY35" fmla="*/ 156021 h 563255"/>
                  <a:gd name="connsiteX36" fmla="*/ 541435 w 596146"/>
                  <a:gd name="connsiteY36" fmla="*/ 153498 h 563255"/>
                  <a:gd name="connsiteX37" fmla="*/ 545272 w 596146"/>
                  <a:gd name="connsiteY37" fmla="*/ 150975 h 563255"/>
                  <a:gd name="connsiteX38" fmla="*/ 547224 w 596146"/>
                  <a:gd name="connsiteY38" fmla="*/ 147712 h 563255"/>
                  <a:gd name="connsiteX39" fmla="*/ 548637 w 596146"/>
                  <a:gd name="connsiteY39" fmla="*/ 143339 h 563255"/>
                  <a:gd name="connsiteX40" fmla="*/ 549613 w 596146"/>
                  <a:gd name="connsiteY40" fmla="*/ 141757 h 563255"/>
                  <a:gd name="connsiteX41" fmla="*/ 550421 w 596146"/>
                  <a:gd name="connsiteY41" fmla="*/ 140345 h 563255"/>
                  <a:gd name="connsiteX42" fmla="*/ 552104 w 596146"/>
                  <a:gd name="connsiteY42" fmla="*/ 137822 h 563255"/>
                  <a:gd name="connsiteX43" fmla="*/ 553046 w 596146"/>
                  <a:gd name="connsiteY43" fmla="*/ 136510 h 563255"/>
                  <a:gd name="connsiteX44" fmla="*/ 553484 w 596146"/>
                  <a:gd name="connsiteY44" fmla="*/ 135400 h 563255"/>
                  <a:gd name="connsiteX45" fmla="*/ 553080 w 596146"/>
                  <a:gd name="connsiteY45" fmla="*/ 134088 h 563255"/>
                  <a:gd name="connsiteX46" fmla="*/ 551161 w 596146"/>
                  <a:gd name="connsiteY46" fmla="*/ 132910 h 563255"/>
                  <a:gd name="connsiteX47" fmla="*/ 549512 w 596146"/>
                  <a:gd name="connsiteY47" fmla="*/ 132473 h 563255"/>
                  <a:gd name="connsiteX48" fmla="*/ 547055 w 596146"/>
                  <a:gd name="connsiteY48" fmla="*/ 133146 h 563255"/>
                  <a:gd name="connsiteX49" fmla="*/ 546349 w 596146"/>
                  <a:gd name="connsiteY49" fmla="*/ 133684 h 563255"/>
                  <a:gd name="connsiteX50" fmla="*/ 545440 w 596146"/>
                  <a:gd name="connsiteY50" fmla="*/ 134323 h 563255"/>
                  <a:gd name="connsiteX51" fmla="*/ 543488 w 596146"/>
                  <a:gd name="connsiteY51" fmla="*/ 135164 h 563255"/>
                  <a:gd name="connsiteX52" fmla="*/ 541132 w 596146"/>
                  <a:gd name="connsiteY52" fmla="*/ 135702 h 563255"/>
                  <a:gd name="connsiteX53" fmla="*/ 539988 w 596146"/>
                  <a:gd name="connsiteY53" fmla="*/ 134895 h 563255"/>
                  <a:gd name="connsiteX54" fmla="*/ 538541 w 596146"/>
                  <a:gd name="connsiteY54" fmla="*/ 133785 h 563255"/>
                  <a:gd name="connsiteX55" fmla="*/ 537094 w 596146"/>
                  <a:gd name="connsiteY55" fmla="*/ 133146 h 563255"/>
                  <a:gd name="connsiteX56" fmla="*/ 535613 w 596146"/>
                  <a:gd name="connsiteY56" fmla="*/ 131935 h 563255"/>
                  <a:gd name="connsiteX57" fmla="*/ 534368 w 596146"/>
                  <a:gd name="connsiteY57" fmla="*/ 131430 h 563255"/>
                  <a:gd name="connsiteX58" fmla="*/ 532921 w 596146"/>
                  <a:gd name="connsiteY58" fmla="*/ 129479 h 563255"/>
                  <a:gd name="connsiteX59" fmla="*/ 532921 w 596146"/>
                  <a:gd name="connsiteY59" fmla="*/ 127662 h 563255"/>
                  <a:gd name="connsiteX60" fmla="*/ 533459 w 596146"/>
                  <a:gd name="connsiteY60" fmla="*/ 125207 h 563255"/>
                  <a:gd name="connsiteX61" fmla="*/ 534536 w 596146"/>
                  <a:gd name="connsiteY61" fmla="*/ 124130 h 563255"/>
                  <a:gd name="connsiteX62" fmla="*/ 534805 w 596146"/>
                  <a:gd name="connsiteY62" fmla="*/ 121876 h 563255"/>
                  <a:gd name="connsiteX63" fmla="*/ 533459 w 596146"/>
                  <a:gd name="connsiteY63" fmla="*/ 119892 h 563255"/>
                  <a:gd name="connsiteX64" fmla="*/ 532617 w 596146"/>
                  <a:gd name="connsiteY64" fmla="*/ 118916 h 563255"/>
                  <a:gd name="connsiteX65" fmla="*/ 531171 w 596146"/>
                  <a:gd name="connsiteY65" fmla="*/ 117604 h 563255"/>
                  <a:gd name="connsiteX66" fmla="*/ 530228 w 596146"/>
                  <a:gd name="connsiteY66" fmla="*/ 117604 h 563255"/>
                  <a:gd name="connsiteX67" fmla="*/ 528142 w 596146"/>
                  <a:gd name="connsiteY67" fmla="*/ 118243 h 563255"/>
                  <a:gd name="connsiteX68" fmla="*/ 525315 w 596146"/>
                  <a:gd name="connsiteY68" fmla="*/ 118311 h 563255"/>
                  <a:gd name="connsiteX69" fmla="*/ 522690 w 596146"/>
                  <a:gd name="connsiteY69" fmla="*/ 116292 h 563255"/>
                  <a:gd name="connsiteX70" fmla="*/ 522690 w 596146"/>
                  <a:gd name="connsiteY70" fmla="*/ 114274 h 563255"/>
                  <a:gd name="connsiteX71" fmla="*/ 522252 w 596146"/>
                  <a:gd name="connsiteY71" fmla="*/ 111953 h 563255"/>
                  <a:gd name="connsiteX72" fmla="*/ 519358 w 596146"/>
                  <a:gd name="connsiteY72" fmla="*/ 108622 h 563255"/>
                  <a:gd name="connsiteX73" fmla="*/ 518651 w 596146"/>
                  <a:gd name="connsiteY73" fmla="*/ 105528 h 563255"/>
                  <a:gd name="connsiteX74" fmla="*/ 515185 w 596146"/>
                  <a:gd name="connsiteY74" fmla="*/ 101121 h 563255"/>
                  <a:gd name="connsiteX75" fmla="*/ 516766 w 596146"/>
                  <a:gd name="connsiteY75" fmla="*/ 98531 h 563255"/>
                  <a:gd name="connsiteX76" fmla="*/ 519391 w 596146"/>
                  <a:gd name="connsiteY76" fmla="*/ 93014 h 563255"/>
                  <a:gd name="connsiteX77" fmla="*/ 518684 w 596146"/>
                  <a:gd name="connsiteY77" fmla="*/ 91130 h 563255"/>
                  <a:gd name="connsiteX78" fmla="*/ 516160 w 596146"/>
                  <a:gd name="connsiteY78" fmla="*/ 87429 h 563255"/>
                  <a:gd name="connsiteX79" fmla="*/ 513333 w 596146"/>
                  <a:gd name="connsiteY79" fmla="*/ 86353 h 563255"/>
                  <a:gd name="connsiteX80" fmla="*/ 510372 w 596146"/>
                  <a:gd name="connsiteY80" fmla="*/ 87799 h 563255"/>
                  <a:gd name="connsiteX81" fmla="*/ 506367 w 596146"/>
                  <a:gd name="connsiteY81" fmla="*/ 88371 h 563255"/>
                  <a:gd name="connsiteX82" fmla="*/ 502598 w 596146"/>
                  <a:gd name="connsiteY82" fmla="*/ 84604 h 563255"/>
                  <a:gd name="connsiteX83" fmla="*/ 502362 w 596146"/>
                  <a:gd name="connsiteY83" fmla="*/ 82081 h 563255"/>
                  <a:gd name="connsiteX84" fmla="*/ 503002 w 596146"/>
                  <a:gd name="connsiteY84" fmla="*/ 78750 h 563255"/>
                  <a:gd name="connsiteX85" fmla="*/ 503809 w 596146"/>
                  <a:gd name="connsiteY85" fmla="*/ 77237 h 563255"/>
                  <a:gd name="connsiteX86" fmla="*/ 503372 w 596146"/>
                  <a:gd name="connsiteY86" fmla="*/ 75656 h 563255"/>
                  <a:gd name="connsiteX87" fmla="*/ 503372 w 596146"/>
                  <a:gd name="connsiteY87" fmla="*/ 72191 h 563255"/>
                  <a:gd name="connsiteX88" fmla="*/ 502160 w 596146"/>
                  <a:gd name="connsiteY88" fmla="*/ 70240 h 563255"/>
                  <a:gd name="connsiteX89" fmla="*/ 498525 w 596146"/>
                  <a:gd name="connsiteY89" fmla="*/ 69735 h 563255"/>
                  <a:gd name="connsiteX90" fmla="*/ 494117 w 596146"/>
                  <a:gd name="connsiteY90" fmla="*/ 70172 h 563255"/>
                  <a:gd name="connsiteX91" fmla="*/ 491492 w 596146"/>
                  <a:gd name="connsiteY91" fmla="*/ 69365 h 563255"/>
                  <a:gd name="connsiteX92" fmla="*/ 488968 w 596146"/>
                  <a:gd name="connsiteY92" fmla="*/ 64790 h 563255"/>
                  <a:gd name="connsiteX93" fmla="*/ 489035 w 596146"/>
                  <a:gd name="connsiteY93" fmla="*/ 61392 h 563255"/>
                  <a:gd name="connsiteX94" fmla="*/ 489540 w 596146"/>
                  <a:gd name="connsiteY94" fmla="*/ 56111 h 563255"/>
                  <a:gd name="connsiteX95" fmla="*/ 490112 w 596146"/>
                  <a:gd name="connsiteY95" fmla="*/ 51839 h 563255"/>
                  <a:gd name="connsiteX96" fmla="*/ 490549 w 596146"/>
                  <a:gd name="connsiteY96" fmla="*/ 49955 h 563255"/>
                  <a:gd name="connsiteX97" fmla="*/ 491997 w 596146"/>
                  <a:gd name="connsiteY97" fmla="*/ 44808 h 563255"/>
                  <a:gd name="connsiteX98" fmla="*/ 492636 w 596146"/>
                  <a:gd name="connsiteY98" fmla="*/ 42992 h 563255"/>
                  <a:gd name="connsiteX99" fmla="*/ 493343 w 596146"/>
                  <a:gd name="connsiteY99" fmla="*/ 40166 h 563255"/>
                  <a:gd name="connsiteX100" fmla="*/ 495362 w 596146"/>
                  <a:gd name="connsiteY100" fmla="*/ 38787 h 563255"/>
                  <a:gd name="connsiteX101" fmla="*/ 497751 w 596146"/>
                  <a:gd name="connsiteY101" fmla="*/ 37037 h 563255"/>
                  <a:gd name="connsiteX102" fmla="*/ 499131 w 596146"/>
                  <a:gd name="connsiteY102" fmla="*/ 34649 h 563255"/>
                  <a:gd name="connsiteX103" fmla="*/ 497886 w 596146"/>
                  <a:gd name="connsiteY103" fmla="*/ 31621 h 563255"/>
                  <a:gd name="connsiteX104" fmla="*/ 495362 w 596146"/>
                  <a:gd name="connsiteY104" fmla="*/ 28358 h 563255"/>
                  <a:gd name="connsiteX105" fmla="*/ 492905 w 596146"/>
                  <a:gd name="connsiteY105" fmla="*/ 28056 h 563255"/>
                  <a:gd name="connsiteX106" fmla="*/ 489338 w 596146"/>
                  <a:gd name="connsiteY106" fmla="*/ 28796 h 563255"/>
                  <a:gd name="connsiteX107" fmla="*/ 485501 w 596146"/>
                  <a:gd name="connsiteY107" fmla="*/ 31117 h 563255"/>
                  <a:gd name="connsiteX108" fmla="*/ 483213 w 596146"/>
                  <a:gd name="connsiteY108" fmla="*/ 32328 h 563255"/>
                  <a:gd name="connsiteX109" fmla="*/ 482068 w 596146"/>
                  <a:gd name="connsiteY109" fmla="*/ 33673 h 563255"/>
                  <a:gd name="connsiteX110" fmla="*/ 479174 w 596146"/>
                  <a:gd name="connsiteY110" fmla="*/ 36499 h 563255"/>
                  <a:gd name="connsiteX111" fmla="*/ 477458 w 596146"/>
                  <a:gd name="connsiteY111" fmla="*/ 38719 h 563255"/>
                  <a:gd name="connsiteX112" fmla="*/ 474732 w 596146"/>
                  <a:gd name="connsiteY112" fmla="*/ 41040 h 563255"/>
                  <a:gd name="connsiteX113" fmla="*/ 471299 w 596146"/>
                  <a:gd name="connsiteY113" fmla="*/ 42992 h 563255"/>
                  <a:gd name="connsiteX114" fmla="*/ 469616 w 596146"/>
                  <a:gd name="connsiteY114" fmla="*/ 43631 h 563255"/>
                  <a:gd name="connsiteX115" fmla="*/ 469246 w 596146"/>
                  <a:gd name="connsiteY115" fmla="*/ 44943 h 563255"/>
                  <a:gd name="connsiteX116" fmla="*/ 470660 w 596146"/>
                  <a:gd name="connsiteY116" fmla="*/ 46726 h 563255"/>
                  <a:gd name="connsiteX117" fmla="*/ 471299 w 596146"/>
                  <a:gd name="connsiteY117" fmla="*/ 48071 h 563255"/>
                  <a:gd name="connsiteX118" fmla="*/ 470861 w 596146"/>
                  <a:gd name="connsiteY118" fmla="*/ 49753 h 563255"/>
                  <a:gd name="connsiteX119" fmla="*/ 469111 w 596146"/>
                  <a:gd name="connsiteY119" fmla="*/ 51334 h 563255"/>
                  <a:gd name="connsiteX120" fmla="*/ 468304 w 596146"/>
                  <a:gd name="connsiteY120" fmla="*/ 53622 h 563255"/>
                  <a:gd name="connsiteX121" fmla="*/ 467530 w 596146"/>
                  <a:gd name="connsiteY121" fmla="*/ 56010 h 563255"/>
                  <a:gd name="connsiteX122" fmla="*/ 466991 w 596146"/>
                  <a:gd name="connsiteY122" fmla="*/ 57793 h 563255"/>
                  <a:gd name="connsiteX123" fmla="*/ 465510 w 596146"/>
                  <a:gd name="connsiteY123" fmla="*/ 60181 h 563255"/>
                  <a:gd name="connsiteX124" fmla="*/ 464265 w 596146"/>
                  <a:gd name="connsiteY124" fmla="*/ 62637 h 563255"/>
                  <a:gd name="connsiteX125" fmla="*/ 462515 w 596146"/>
                  <a:gd name="connsiteY125" fmla="*/ 67145 h 563255"/>
                  <a:gd name="connsiteX126" fmla="*/ 458813 w 596146"/>
                  <a:gd name="connsiteY126" fmla="*/ 66707 h 563255"/>
                  <a:gd name="connsiteX127" fmla="*/ 456087 w 596146"/>
                  <a:gd name="connsiteY127" fmla="*/ 66506 h 563255"/>
                  <a:gd name="connsiteX128" fmla="*/ 454337 w 596146"/>
                  <a:gd name="connsiteY128" fmla="*/ 66169 h 563255"/>
                  <a:gd name="connsiteX129" fmla="*/ 451948 w 596146"/>
                  <a:gd name="connsiteY129" fmla="*/ 62906 h 563255"/>
                  <a:gd name="connsiteX130" fmla="*/ 453159 w 596146"/>
                  <a:gd name="connsiteY130" fmla="*/ 61931 h 563255"/>
                  <a:gd name="connsiteX131" fmla="*/ 453799 w 596146"/>
                  <a:gd name="connsiteY131" fmla="*/ 59105 h 563255"/>
                  <a:gd name="connsiteX132" fmla="*/ 453159 w 596146"/>
                  <a:gd name="connsiteY132" fmla="*/ 55842 h 563255"/>
                  <a:gd name="connsiteX133" fmla="*/ 451544 w 596146"/>
                  <a:gd name="connsiteY133" fmla="*/ 54429 h 563255"/>
                  <a:gd name="connsiteX134" fmla="*/ 451005 w 596146"/>
                  <a:gd name="connsiteY134" fmla="*/ 51603 h 563255"/>
                  <a:gd name="connsiteX135" fmla="*/ 451645 w 596146"/>
                  <a:gd name="connsiteY135" fmla="*/ 50089 h 563255"/>
                  <a:gd name="connsiteX136" fmla="*/ 453159 w 596146"/>
                  <a:gd name="connsiteY136" fmla="*/ 46490 h 563255"/>
                  <a:gd name="connsiteX137" fmla="*/ 452385 w 596146"/>
                  <a:gd name="connsiteY137" fmla="*/ 43328 h 563255"/>
                  <a:gd name="connsiteX138" fmla="*/ 450770 w 596146"/>
                  <a:gd name="connsiteY138" fmla="*/ 41040 h 563255"/>
                  <a:gd name="connsiteX139" fmla="*/ 447943 w 596146"/>
                  <a:gd name="connsiteY139" fmla="*/ 41242 h 563255"/>
                  <a:gd name="connsiteX140" fmla="*/ 445015 w 596146"/>
                  <a:gd name="connsiteY140" fmla="*/ 38753 h 563255"/>
                  <a:gd name="connsiteX141" fmla="*/ 442827 w 596146"/>
                  <a:gd name="connsiteY141" fmla="*/ 35591 h 563255"/>
                  <a:gd name="connsiteX142" fmla="*/ 442188 w 596146"/>
                  <a:gd name="connsiteY142" fmla="*/ 33539 h 563255"/>
                  <a:gd name="connsiteX143" fmla="*/ 440875 w 596146"/>
                  <a:gd name="connsiteY143" fmla="*/ 29738 h 563255"/>
                  <a:gd name="connsiteX144" fmla="*/ 439260 w 596146"/>
                  <a:gd name="connsiteY144" fmla="*/ 29637 h 563255"/>
                  <a:gd name="connsiteX145" fmla="*/ 434380 w 596146"/>
                  <a:gd name="connsiteY145" fmla="*/ 28762 h 563255"/>
                  <a:gd name="connsiteX146" fmla="*/ 433404 w 596146"/>
                  <a:gd name="connsiteY146" fmla="*/ 27349 h 563255"/>
                  <a:gd name="connsiteX147" fmla="*/ 432865 w 596146"/>
                  <a:gd name="connsiteY147" fmla="*/ 26071 h 563255"/>
                  <a:gd name="connsiteX148" fmla="*/ 431890 w 596146"/>
                  <a:gd name="connsiteY148" fmla="*/ 26071 h 563255"/>
                  <a:gd name="connsiteX149" fmla="*/ 429399 w 596146"/>
                  <a:gd name="connsiteY149" fmla="*/ 25802 h 563255"/>
                  <a:gd name="connsiteX150" fmla="*/ 426909 w 596146"/>
                  <a:gd name="connsiteY150" fmla="*/ 24321 h 563255"/>
                  <a:gd name="connsiteX151" fmla="*/ 424418 w 596146"/>
                  <a:gd name="connsiteY151" fmla="*/ 22135 h 563255"/>
                  <a:gd name="connsiteX152" fmla="*/ 422130 w 596146"/>
                  <a:gd name="connsiteY152" fmla="*/ 21361 h 563255"/>
                  <a:gd name="connsiteX153" fmla="*/ 418865 w 596146"/>
                  <a:gd name="connsiteY153" fmla="*/ 22337 h 563255"/>
                  <a:gd name="connsiteX154" fmla="*/ 415029 w 596146"/>
                  <a:gd name="connsiteY154" fmla="*/ 20789 h 563255"/>
                  <a:gd name="connsiteX155" fmla="*/ 413245 w 596146"/>
                  <a:gd name="connsiteY155" fmla="*/ 20352 h 563255"/>
                  <a:gd name="connsiteX156" fmla="*/ 409173 w 596146"/>
                  <a:gd name="connsiteY156" fmla="*/ 17997 h 563255"/>
                  <a:gd name="connsiteX157" fmla="*/ 407153 w 596146"/>
                  <a:gd name="connsiteY157" fmla="*/ 16181 h 563255"/>
                  <a:gd name="connsiteX158" fmla="*/ 405740 w 596146"/>
                  <a:gd name="connsiteY158" fmla="*/ 15945 h 563255"/>
                  <a:gd name="connsiteX159" fmla="*/ 403350 w 596146"/>
                  <a:gd name="connsiteY159" fmla="*/ 15710 h 563255"/>
                  <a:gd name="connsiteX160" fmla="*/ 402139 w 596146"/>
                  <a:gd name="connsiteY160" fmla="*/ 14331 h 563255"/>
                  <a:gd name="connsiteX161" fmla="*/ 402475 w 596146"/>
                  <a:gd name="connsiteY161" fmla="*/ 12985 h 563255"/>
                  <a:gd name="connsiteX162" fmla="*/ 402475 w 596146"/>
                  <a:gd name="connsiteY162" fmla="*/ 11404 h 563255"/>
                  <a:gd name="connsiteX163" fmla="*/ 399918 w 596146"/>
                  <a:gd name="connsiteY163" fmla="*/ 9789 h 563255"/>
                  <a:gd name="connsiteX164" fmla="*/ 397965 w 596146"/>
                  <a:gd name="connsiteY164" fmla="*/ 7737 h 563255"/>
                  <a:gd name="connsiteX165" fmla="*/ 397225 w 596146"/>
                  <a:gd name="connsiteY165" fmla="*/ 6089 h 563255"/>
                  <a:gd name="connsiteX166" fmla="*/ 397225 w 596146"/>
                  <a:gd name="connsiteY166" fmla="*/ 4541 h 563255"/>
                  <a:gd name="connsiteX167" fmla="*/ 396316 w 596146"/>
                  <a:gd name="connsiteY167" fmla="*/ 2355 h 563255"/>
                  <a:gd name="connsiteX168" fmla="*/ 394634 w 596146"/>
                  <a:gd name="connsiteY168" fmla="*/ 0 h 563255"/>
                  <a:gd name="connsiteX169" fmla="*/ 391840 w 596146"/>
                  <a:gd name="connsiteY169" fmla="*/ 0 h 563255"/>
                  <a:gd name="connsiteX170" fmla="*/ 389821 w 596146"/>
                  <a:gd name="connsiteY170" fmla="*/ 807 h 563255"/>
                  <a:gd name="connsiteX171" fmla="*/ 388475 w 596146"/>
                  <a:gd name="connsiteY171" fmla="*/ 2288 h 563255"/>
                  <a:gd name="connsiteX172" fmla="*/ 389215 w 596146"/>
                  <a:gd name="connsiteY172" fmla="*/ 3734 h 563255"/>
                  <a:gd name="connsiteX173" fmla="*/ 389788 w 596146"/>
                  <a:gd name="connsiteY173" fmla="*/ 6257 h 563255"/>
                  <a:gd name="connsiteX174" fmla="*/ 389518 w 596146"/>
                  <a:gd name="connsiteY174" fmla="*/ 8982 h 563255"/>
                  <a:gd name="connsiteX175" fmla="*/ 386927 w 596146"/>
                  <a:gd name="connsiteY175" fmla="*/ 9688 h 563255"/>
                  <a:gd name="connsiteX176" fmla="*/ 384302 w 596146"/>
                  <a:gd name="connsiteY176" fmla="*/ 11875 h 563255"/>
                  <a:gd name="connsiteX177" fmla="*/ 383864 w 596146"/>
                  <a:gd name="connsiteY177" fmla="*/ 12951 h 563255"/>
                  <a:gd name="connsiteX178" fmla="*/ 384807 w 596146"/>
                  <a:gd name="connsiteY178" fmla="*/ 15037 h 563255"/>
                  <a:gd name="connsiteX179" fmla="*/ 385682 w 596146"/>
                  <a:gd name="connsiteY179" fmla="*/ 17224 h 563255"/>
                  <a:gd name="connsiteX180" fmla="*/ 385985 w 596146"/>
                  <a:gd name="connsiteY180" fmla="*/ 20857 h 563255"/>
                  <a:gd name="connsiteX181" fmla="*/ 386422 w 596146"/>
                  <a:gd name="connsiteY181" fmla="*/ 23615 h 563255"/>
                  <a:gd name="connsiteX182" fmla="*/ 389518 w 596146"/>
                  <a:gd name="connsiteY182" fmla="*/ 25566 h 563255"/>
                  <a:gd name="connsiteX183" fmla="*/ 387835 w 596146"/>
                  <a:gd name="connsiteY183" fmla="*/ 29334 h 563255"/>
                  <a:gd name="connsiteX184" fmla="*/ 383191 w 596146"/>
                  <a:gd name="connsiteY184" fmla="*/ 31083 h 563255"/>
                  <a:gd name="connsiteX185" fmla="*/ 383057 w 596146"/>
                  <a:gd name="connsiteY185" fmla="*/ 33976 h 563255"/>
                  <a:gd name="connsiteX186" fmla="*/ 383258 w 596146"/>
                  <a:gd name="connsiteY186" fmla="*/ 39123 h 563255"/>
                  <a:gd name="connsiteX187" fmla="*/ 383258 w 596146"/>
                  <a:gd name="connsiteY187" fmla="*/ 41747 h 563255"/>
                  <a:gd name="connsiteX188" fmla="*/ 383258 w 596146"/>
                  <a:gd name="connsiteY188" fmla="*/ 44337 h 563255"/>
                  <a:gd name="connsiteX189" fmla="*/ 383258 w 596146"/>
                  <a:gd name="connsiteY189" fmla="*/ 48105 h 563255"/>
                  <a:gd name="connsiteX190" fmla="*/ 383595 w 596146"/>
                  <a:gd name="connsiteY190" fmla="*/ 52512 h 563255"/>
                  <a:gd name="connsiteX191" fmla="*/ 382182 w 596146"/>
                  <a:gd name="connsiteY191" fmla="*/ 55842 h 563255"/>
                  <a:gd name="connsiteX192" fmla="*/ 380869 w 596146"/>
                  <a:gd name="connsiteY192" fmla="*/ 57625 h 563255"/>
                  <a:gd name="connsiteX193" fmla="*/ 378917 w 596146"/>
                  <a:gd name="connsiteY193" fmla="*/ 59239 h 563255"/>
                  <a:gd name="connsiteX194" fmla="*/ 375787 w 596146"/>
                  <a:gd name="connsiteY194" fmla="*/ 60181 h 563255"/>
                  <a:gd name="connsiteX195" fmla="*/ 374475 w 596146"/>
                  <a:gd name="connsiteY195" fmla="*/ 58163 h 563255"/>
                  <a:gd name="connsiteX196" fmla="*/ 369898 w 596146"/>
                  <a:gd name="connsiteY196" fmla="*/ 57658 h 563255"/>
                  <a:gd name="connsiteX197" fmla="*/ 368148 w 596146"/>
                  <a:gd name="connsiteY197" fmla="*/ 57658 h 563255"/>
                  <a:gd name="connsiteX198" fmla="*/ 362056 w 596146"/>
                  <a:gd name="connsiteY198" fmla="*/ 59038 h 563255"/>
                  <a:gd name="connsiteX199" fmla="*/ 357647 w 596146"/>
                  <a:gd name="connsiteY199" fmla="*/ 60854 h 563255"/>
                  <a:gd name="connsiteX200" fmla="*/ 351926 w 596146"/>
                  <a:gd name="connsiteY200" fmla="*/ 63478 h 563255"/>
                  <a:gd name="connsiteX201" fmla="*/ 351926 w 596146"/>
                  <a:gd name="connsiteY201" fmla="*/ 65059 h 563255"/>
                  <a:gd name="connsiteX202" fmla="*/ 349570 w 596146"/>
                  <a:gd name="connsiteY202" fmla="*/ 68019 h 563255"/>
                  <a:gd name="connsiteX203" fmla="*/ 347282 w 596146"/>
                  <a:gd name="connsiteY203" fmla="*/ 71989 h 563255"/>
                  <a:gd name="connsiteX204" fmla="*/ 346777 w 596146"/>
                  <a:gd name="connsiteY204" fmla="*/ 74310 h 563255"/>
                  <a:gd name="connsiteX205" fmla="*/ 347652 w 596146"/>
                  <a:gd name="connsiteY205" fmla="*/ 75824 h 563255"/>
                  <a:gd name="connsiteX206" fmla="*/ 349099 w 596146"/>
                  <a:gd name="connsiteY206" fmla="*/ 77708 h 563255"/>
                  <a:gd name="connsiteX207" fmla="*/ 349671 w 596146"/>
                  <a:gd name="connsiteY207" fmla="*/ 79087 h 563255"/>
                  <a:gd name="connsiteX208" fmla="*/ 352128 w 596146"/>
                  <a:gd name="connsiteY208" fmla="*/ 81610 h 563255"/>
                  <a:gd name="connsiteX209" fmla="*/ 353138 w 596146"/>
                  <a:gd name="connsiteY209" fmla="*/ 82754 h 563255"/>
                  <a:gd name="connsiteX210" fmla="*/ 352263 w 596146"/>
                  <a:gd name="connsiteY210" fmla="*/ 86286 h 563255"/>
                  <a:gd name="connsiteX211" fmla="*/ 348998 w 596146"/>
                  <a:gd name="connsiteY211" fmla="*/ 86286 h 563255"/>
                  <a:gd name="connsiteX212" fmla="*/ 346609 w 596146"/>
                  <a:gd name="connsiteY212" fmla="*/ 86588 h 563255"/>
                  <a:gd name="connsiteX213" fmla="*/ 345296 w 596146"/>
                  <a:gd name="connsiteY213" fmla="*/ 88170 h 563255"/>
                  <a:gd name="connsiteX214" fmla="*/ 344354 w 596146"/>
                  <a:gd name="connsiteY214" fmla="*/ 90928 h 563255"/>
                  <a:gd name="connsiteX215" fmla="*/ 342402 w 596146"/>
                  <a:gd name="connsiteY215" fmla="*/ 91735 h 563255"/>
                  <a:gd name="connsiteX216" fmla="*/ 340585 w 596146"/>
                  <a:gd name="connsiteY216" fmla="*/ 92105 h 563255"/>
                  <a:gd name="connsiteX217" fmla="*/ 338128 w 596146"/>
                  <a:gd name="connsiteY217" fmla="*/ 92105 h 563255"/>
                  <a:gd name="connsiteX218" fmla="*/ 335806 w 596146"/>
                  <a:gd name="connsiteY218" fmla="*/ 91836 h 563255"/>
                  <a:gd name="connsiteX219" fmla="*/ 332979 w 596146"/>
                  <a:gd name="connsiteY219" fmla="*/ 91433 h 563255"/>
                  <a:gd name="connsiteX220" fmla="*/ 329209 w 596146"/>
                  <a:gd name="connsiteY220" fmla="*/ 91500 h 563255"/>
                  <a:gd name="connsiteX221" fmla="*/ 327560 w 596146"/>
                  <a:gd name="connsiteY221" fmla="*/ 92307 h 563255"/>
                  <a:gd name="connsiteX222" fmla="*/ 325911 w 596146"/>
                  <a:gd name="connsiteY222" fmla="*/ 93316 h 563255"/>
                  <a:gd name="connsiteX223" fmla="*/ 325104 w 596146"/>
                  <a:gd name="connsiteY223" fmla="*/ 94763 h 563255"/>
                  <a:gd name="connsiteX224" fmla="*/ 325810 w 596146"/>
                  <a:gd name="connsiteY224" fmla="*/ 96445 h 563255"/>
                  <a:gd name="connsiteX225" fmla="*/ 325810 w 596146"/>
                  <a:gd name="connsiteY225" fmla="*/ 99405 h 563255"/>
                  <a:gd name="connsiteX226" fmla="*/ 323791 w 596146"/>
                  <a:gd name="connsiteY226" fmla="*/ 100213 h 563255"/>
                  <a:gd name="connsiteX227" fmla="*/ 321906 w 596146"/>
                  <a:gd name="connsiteY227" fmla="*/ 100347 h 563255"/>
                  <a:gd name="connsiteX228" fmla="*/ 319012 w 596146"/>
                  <a:gd name="connsiteY228" fmla="*/ 99170 h 563255"/>
                  <a:gd name="connsiteX229" fmla="*/ 319517 w 596146"/>
                  <a:gd name="connsiteY229" fmla="*/ 97353 h 563255"/>
                  <a:gd name="connsiteX230" fmla="*/ 320022 w 596146"/>
                  <a:gd name="connsiteY230" fmla="*/ 96209 h 563255"/>
                  <a:gd name="connsiteX231" fmla="*/ 317329 w 596146"/>
                  <a:gd name="connsiteY231" fmla="*/ 93249 h 563255"/>
                  <a:gd name="connsiteX232" fmla="*/ 315949 w 596146"/>
                  <a:gd name="connsiteY232" fmla="*/ 92105 h 563255"/>
                  <a:gd name="connsiteX233" fmla="*/ 313122 w 596146"/>
                  <a:gd name="connsiteY233" fmla="*/ 92038 h 563255"/>
                  <a:gd name="connsiteX234" fmla="*/ 310363 w 596146"/>
                  <a:gd name="connsiteY234" fmla="*/ 92475 h 563255"/>
                  <a:gd name="connsiteX235" fmla="*/ 306391 w 596146"/>
                  <a:gd name="connsiteY235" fmla="*/ 93552 h 563255"/>
                  <a:gd name="connsiteX236" fmla="*/ 305752 w 596146"/>
                  <a:gd name="connsiteY236" fmla="*/ 93047 h 563255"/>
                  <a:gd name="connsiteX237" fmla="*/ 302555 w 596146"/>
                  <a:gd name="connsiteY237" fmla="*/ 91870 h 563255"/>
                  <a:gd name="connsiteX238" fmla="*/ 300805 w 596146"/>
                  <a:gd name="connsiteY238" fmla="*/ 90995 h 563255"/>
                  <a:gd name="connsiteX239" fmla="*/ 298213 w 596146"/>
                  <a:gd name="connsiteY239" fmla="*/ 89616 h 563255"/>
                  <a:gd name="connsiteX240" fmla="*/ 297035 w 596146"/>
                  <a:gd name="connsiteY240" fmla="*/ 89919 h 563255"/>
                  <a:gd name="connsiteX241" fmla="*/ 294276 w 596146"/>
                  <a:gd name="connsiteY241" fmla="*/ 90793 h 563255"/>
                  <a:gd name="connsiteX242" fmla="*/ 292391 w 596146"/>
                  <a:gd name="connsiteY242" fmla="*/ 90861 h 563255"/>
                  <a:gd name="connsiteX243" fmla="*/ 288487 w 596146"/>
                  <a:gd name="connsiteY243" fmla="*/ 89212 h 563255"/>
                  <a:gd name="connsiteX244" fmla="*/ 287175 w 596146"/>
                  <a:gd name="connsiteY244" fmla="*/ 88640 h 563255"/>
                  <a:gd name="connsiteX245" fmla="*/ 286670 w 596146"/>
                  <a:gd name="connsiteY245" fmla="*/ 88640 h 563255"/>
                  <a:gd name="connsiteX246" fmla="*/ 283406 w 596146"/>
                  <a:gd name="connsiteY246" fmla="*/ 88640 h 563255"/>
                  <a:gd name="connsiteX247" fmla="*/ 282026 w 596146"/>
                  <a:gd name="connsiteY247" fmla="*/ 88910 h 563255"/>
                  <a:gd name="connsiteX248" fmla="*/ 280511 w 596146"/>
                  <a:gd name="connsiteY248" fmla="*/ 90121 h 563255"/>
                  <a:gd name="connsiteX249" fmla="*/ 278862 w 596146"/>
                  <a:gd name="connsiteY249" fmla="*/ 91298 h 563255"/>
                  <a:gd name="connsiteX250" fmla="*/ 278862 w 596146"/>
                  <a:gd name="connsiteY250" fmla="*/ 92946 h 563255"/>
                  <a:gd name="connsiteX251" fmla="*/ 280141 w 596146"/>
                  <a:gd name="connsiteY251" fmla="*/ 94763 h 563255"/>
                  <a:gd name="connsiteX252" fmla="*/ 282497 w 596146"/>
                  <a:gd name="connsiteY252" fmla="*/ 95705 h 563255"/>
                  <a:gd name="connsiteX253" fmla="*/ 285055 w 596146"/>
                  <a:gd name="connsiteY253" fmla="*/ 95940 h 563255"/>
                  <a:gd name="connsiteX254" fmla="*/ 287377 w 596146"/>
                  <a:gd name="connsiteY254" fmla="*/ 95873 h 563255"/>
                  <a:gd name="connsiteX255" fmla="*/ 289329 w 596146"/>
                  <a:gd name="connsiteY255" fmla="*/ 94797 h 563255"/>
                  <a:gd name="connsiteX256" fmla="*/ 289329 w 596146"/>
                  <a:gd name="connsiteY256" fmla="*/ 98261 h 563255"/>
                  <a:gd name="connsiteX257" fmla="*/ 289329 w 596146"/>
                  <a:gd name="connsiteY257" fmla="*/ 101524 h 563255"/>
                  <a:gd name="connsiteX258" fmla="*/ 286064 w 596146"/>
                  <a:gd name="connsiteY258" fmla="*/ 103778 h 563255"/>
                  <a:gd name="connsiteX259" fmla="*/ 284112 w 596146"/>
                  <a:gd name="connsiteY259" fmla="*/ 108118 h 563255"/>
                  <a:gd name="connsiteX260" fmla="*/ 280478 w 596146"/>
                  <a:gd name="connsiteY260" fmla="*/ 109867 h 563255"/>
                  <a:gd name="connsiteX261" fmla="*/ 276338 w 596146"/>
                  <a:gd name="connsiteY261" fmla="*/ 108992 h 563255"/>
                  <a:gd name="connsiteX262" fmla="*/ 272198 w 596146"/>
                  <a:gd name="connsiteY262" fmla="*/ 108051 h 563255"/>
                  <a:gd name="connsiteX263" fmla="*/ 267554 w 596146"/>
                  <a:gd name="connsiteY263" fmla="*/ 107613 h 563255"/>
                  <a:gd name="connsiteX264" fmla="*/ 262977 w 596146"/>
                  <a:gd name="connsiteY264" fmla="*/ 107546 h 563255"/>
                  <a:gd name="connsiteX265" fmla="*/ 258770 w 596146"/>
                  <a:gd name="connsiteY265" fmla="*/ 107243 h 563255"/>
                  <a:gd name="connsiteX266" fmla="*/ 256078 w 596146"/>
                  <a:gd name="connsiteY266" fmla="*/ 107243 h 563255"/>
                  <a:gd name="connsiteX267" fmla="*/ 251064 w 596146"/>
                  <a:gd name="connsiteY267" fmla="*/ 107546 h 563255"/>
                  <a:gd name="connsiteX268" fmla="*/ 249313 w 596146"/>
                  <a:gd name="connsiteY268" fmla="*/ 108421 h 563255"/>
                  <a:gd name="connsiteX269" fmla="*/ 247631 w 596146"/>
                  <a:gd name="connsiteY269" fmla="*/ 111011 h 563255"/>
                  <a:gd name="connsiteX270" fmla="*/ 246116 w 596146"/>
                  <a:gd name="connsiteY270" fmla="*/ 113534 h 563255"/>
                  <a:gd name="connsiteX271" fmla="*/ 244501 w 596146"/>
                  <a:gd name="connsiteY271" fmla="*/ 116360 h 563255"/>
                  <a:gd name="connsiteX272" fmla="*/ 243996 w 596146"/>
                  <a:gd name="connsiteY272" fmla="*/ 122583 h 563255"/>
                  <a:gd name="connsiteX273" fmla="*/ 243996 w 596146"/>
                  <a:gd name="connsiteY273" fmla="*/ 124601 h 563255"/>
                  <a:gd name="connsiteX274" fmla="*/ 242044 w 596146"/>
                  <a:gd name="connsiteY274" fmla="*/ 127999 h 563255"/>
                  <a:gd name="connsiteX275" fmla="*/ 239520 w 596146"/>
                  <a:gd name="connsiteY275" fmla="*/ 130387 h 563255"/>
                  <a:gd name="connsiteX276" fmla="*/ 237938 w 596146"/>
                  <a:gd name="connsiteY276" fmla="*/ 130387 h 563255"/>
                  <a:gd name="connsiteX277" fmla="*/ 234472 w 596146"/>
                  <a:gd name="connsiteY277" fmla="*/ 130387 h 563255"/>
                  <a:gd name="connsiteX278" fmla="*/ 232520 w 596146"/>
                  <a:gd name="connsiteY278" fmla="*/ 130993 h 563255"/>
                  <a:gd name="connsiteX279" fmla="*/ 231645 w 596146"/>
                  <a:gd name="connsiteY279" fmla="*/ 133415 h 563255"/>
                  <a:gd name="connsiteX280" fmla="*/ 232082 w 596146"/>
                  <a:gd name="connsiteY280" fmla="*/ 135938 h 563255"/>
                  <a:gd name="connsiteX281" fmla="*/ 229322 w 596146"/>
                  <a:gd name="connsiteY281" fmla="*/ 140008 h 563255"/>
                  <a:gd name="connsiteX282" fmla="*/ 225755 w 596146"/>
                  <a:gd name="connsiteY282" fmla="*/ 140075 h 563255"/>
                  <a:gd name="connsiteX283" fmla="*/ 223736 w 596146"/>
                  <a:gd name="connsiteY283" fmla="*/ 138999 h 563255"/>
                  <a:gd name="connsiteX284" fmla="*/ 223164 w 596146"/>
                  <a:gd name="connsiteY284" fmla="*/ 136476 h 563255"/>
                  <a:gd name="connsiteX285" fmla="*/ 223164 w 596146"/>
                  <a:gd name="connsiteY285" fmla="*/ 133953 h 563255"/>
                  <a:gd name="connsiteX286" fmla="*/ 220673 w 596146"/>
                  <a:gd name="connsiteY286" fmla="*/ 131800 h 563255"/>
                  <a:gd name="connsiteX287" fmla="*/ 219125 w 596146"/>
                  <a:gd name="connsiteY287" fmla="*/ 132305 h 563255"/>
                  <a:gd name="connsiteX288" fmla="*/ 216870 w 596146"/>
                  <a:gd name="connsiteY288" fmla="*/ 135198 h 563255"/>
                  <a:gd name="connsiteX289" fmla="*/ 213606 w 596146"/>
                  <a:gd name="connsiteY289" fmla="*/ 137586 h 563255"/>
                  <a:gd name="connsiteX290" fmla="*/ 210543 w 596146"/>
                  <a:gd name="connsiteY290" fmla="*/ 137149 h 563255"/>
                  <a:gd name="connsiteX291" fmla="*/ 204822 w 596146"/>
                  <a:gd name="connsiteY291" fmla="*/ 137653 h 563255"/>
                  <a:gd name="connsiteX292" fmla="*/ 200817 w 596146"/>
                  <a:gd name="connsiteY292" fmla="*/ 140109 h 563255"/>
                  <a:gd name="connsiteX293" fmla="*/ 199000 w 596146"/>
                  <a:gd name="connsiteY293" fmla="*/ 142935 h 563255"/>
                  <a:gd name="connsiteX294" fmla="*/ 195971 w 596146"/>
                  <a:gd name="connsiteY294" fmla="*/ 146265 h 563255"/>
                  <a:gd name="connsiteX295" fmla="*/ 193211 w 596146"/>
                  <a:gd name="connsiteY295" fmla="*/ 150975 h 563255"/>
                  <a:gd name="connsiteX296" fmla="*/ 191629 w 596146"/>
                  <a:gd name="connsiteY296" fmla="*/ 153363 h 563255"/>
                  <a:gd name="connsiteX297" fmla="*/ 189004 w 596146"/>
                  <a:gd name="connsiteY297" fmla="*/ 156122 h 563255"/>
                  <a:gd name="connsiteX298" fmla="*/ 184158 w 596146"/>
                  <a:gd name="connsiteY298" fmla="*/ 160898 h 563255"/>
                  <a:gd name="connsiteX299" fmla="*/ 180759 w 596146"/>
                  <a:gd name="connsiteY299" fmla="*/ 164868 h 563255"/>
                  <a:gd name="connsiteX300" fmla="*/ 178807 w 596146"/>
                  <a:gd name="connsiteY300" fmla="*/ 167559 h 563255"/>
                  <a:gd name="connsiteX301" fmla="*/ 175240 w 596146"/>
                  <a:gd name="connsiteY301" fmla="*/ 167929 h 563255"/>
                  <a:gd name="connsiteX302" fmla="*/ 173557 w 596146"/>
                  <a:gd name="connsiteY302" fmla="*/ 167795 h 563255"/>
                  <a:gd name="connsiteX303" fmla="*/ 171369 w 596146"/>
                  <a:gd name="connsiteY303" fmla="*/ 165911 h 563255"/>
                  <a:gd name="connsiteX304" fmla="*/ 169114 w 596146"/>
                  <a:gd name="connsiteY304" fmla="*/ 165171 h 563255"/>
                  <a:gd name="connsiteX305" fmla="*/ 168307 w 596146"/>
                  <a:gd name="connsiteY305" fmla="*/ 165238 h 563255"/>
                  <a:gd name="connsiteX306" fmla="*/ 166792 w 596146"/>
                  <a:gd name="connsiteY306" fmla="*/ 167189 h 563255"/>
                  <a:gd name="connsiteX307" fmla="*/ 164470 w 596146"/>
                  <a:gd name="connsiteY307" fmla="*/ 167626 h 563255"/>
                  <a:gd name="connsiteX308" fmla="*/ 163090 w 596146"/>
                  <a:gd name="connsiteY308" fmla="*/ 166886 h 563255"/>
                  <a:gd name="connsiteX309" fmla="*/ 161273 w 596146"/>
                  <a:gd name="connsiteY309" fmla="*/ 166886 h 563255"/>
                  <a:gd name="connsiteX310" fmla="*/ 159960 w 596146"/>
                  <a:gd name="connsiteY310" fmla="*/ 168299 h 563255"/>
                  <a:gd name="connsiteX311" fmla="*/ 158311 w 596146"/>
                  <a:gd name="connsiteY311" fmla="*/ 169880 h 563255"/>
                  <a:gd name="connsiteX312" fmla="*/ 155181 w 596146"/>
                  <a:gd name="connsiteY312" fmla="*/ 172134 h 563255"/>
                  <a:gd name="connsiteX313" fmla="*/ 150840 w 596146"/>
                  <a:gd name="connsiteY313" fmla="*/ 172874 h 563255"/>
                  <a:gd name="connsiteX314" fmla="*/ 148383 w 596146"/>
                  <a:gd name="connsiteY314" fmla="*/ 173244 h 563255"/>
                  <a:gd name="connsiteX315" fmla="*/ 146801 w 596146"/>
                  <a:gd name="connsiteY315" fmla="*/ 175935 h 563255"/>
                  <a:gd name="connsiteX316" fmla="*/ 145489 w 596146"/>
                  <a:gd name="connsiteY316" fmla="*/ 177685 h 563255"/>
                  <a:gd name="connsiteX317" fmla="*/ 144614 w 596146"/>
                  <a:gd name="connsiteY317" fmla="*/ 179703 h 563255"/>
                  <a:gd name="connsiteX318" fmla="*/ 143672 w 596146"/>
                  <a:gd name="connsiteY318" fmla="*/ 180948 h 563255"/>
                  <a:gd name="connsiteX319" fmla="*/ 141854 w 596146"/>
                  <a:gd name="connsiteY319" fmla="*/ 182024 h 563255"/>
                  <a:gd name="connsiteX320" fmla="*/ 139330 w 596146"/>
                  <a:gd name="connsiteY320" fmla="*/ 182966 h 563255"/>
                  <a:gd name="connsiteX321" fmla="*/ 137446 w 596146"/>
                  <a:gd name="connsiteY321" fmla="*/ 182831 h 563255"/>
                  <a:gd name="connsiteX322" fmla="*/ 135763 w 596146"/>
                  <a:gd name="connsiteY322" fmla="*/ 182764 h 563255"/>
                  <a:gd name="connsiteX323" fmla="*/ 132869 w 596146"/>
                  <a:gd name="connsiteY323" fmla="*/ 184211 h 563255"/>
                  <a:gd name="connsiteX324" fmla="*/ 132061 w 596146"/>
                  <a:gd name="connsiteY324" fmla="*/ 185018 h 563255"/>
                  <a:gd name="connsiteX325" fmla="*/ 131085 w 596146"/>
                  <a:gd name="connsiteY325" fmla="*/ 187339 h 563255"/>
                  <a:gd name="connsiteX326" fmla="*/ 130378 w 596146"/>
                  <a:gd name="connsiteY326" fmla="*/ 189088 h 563255"/>
                  <a:gd name="connsiteX327" fmla="*/ 131051 w 596146"/>
                  <a:gd name="connsiteY327" fmla="*/ 192217 h 563255"/>
                  <a:gd name="connsiteX328" fmla="*/ 131051 w 596146"/>
                  <a:gd name="connsiteY328" fmla="*/ 196926 h 563255"/>
                  <a:gd name="connsiteX329" fmla="*/ 130378 w 596146"/>
                  <a:gd name="connsiteY329" fmla="*/ 201131 h 563255"/>
                  <a:gd name="connsiteX330" fmla="*/ 128224 w 596146"/>
                  <a:gd name="connsiteY330" fmla="*/ 203520 h 563255"/>
                  <a:gd name="connsiteX331" fmla="*/ 125969 w 596146"/>
                  <a:gd name="connsiteY331" fmla="*/ 203823 h 563255"/>
                  <a:gd name="connsiteX332" fmla="*/ 123815 w 596146"/>
                  <a:gd name="connsiteY332" fmla="*/ 203183 h 563255"/>
                  <a:gd name="connsiteX333" fmla="*/ 120484 w 596146"/>
                  <a:gd name="connsiteY333" fmla="*/ 201804 h 563255"/>
                  <a:gd name="connsiteX334" fmla="*/ 117287 w 596146"/>
                  <a:gd name="connsiteY334" fmla="*/ 203486 h 563255"/>
                  <a:gd name="connsiteX335" fmla="*/ 115974 w 596146"/>
                  <a:gd name="connsiteY335" fmla="*/ 207321 h 563255"/>
                  <a:gd name="connsiteX336" fmla="*/ 114022 w 596146"/>
                  <a:gd name="connsiteY336" fmla="*/ 208902 h 563255"/>
                  <a:gd name="connsiteX337" fmla="*/ 112642 w 596146"/>
                  <a:gd name="connsiteY337" fmla="*/ 210719 h 563255"/>
                  <a:gd name="connsiteX338" fmla="*/ 109950 w 596146"/>
                  <a:gd name="connsiteY338" fmla="*/ 212973 h 563255"/>
                  <a:gd name="connsiteX339" fmla="*/ 108334 w 596146"/>
                  <a:gd name="connsiteY339" fmla="*/ 214991 h 563255"/>
                  <a:gd name="connsiteX340" fmla="*/ 107863 w 596146"/>
                  <a:gd name="connsiteY340" fmla="*/ 216942 h 563255"/>
                  <a:gd name="connsiteX341" fmla="*/ 107661 w 596146"/>
                  <a:gd name="connsiteY341" fmla="*/ 220071 h 563255"/>
                  <a:gd name="connsiteX342" fmla="*/ 108233 w 596146"/>
                  <a:gd name="connsiteY342" fmla="*/ 223468 h 563255"/>
                  <a:gd name="connsiteX343" fmla="*/ 108233 w 596146"/>
                  <a:gd name="connsiteY343" fmla="*/ 225655 h 563255"/>
                  <a:gd name="connsiteX344" fmla="*/ 106147 w 596146"/>
                  <a:gd name="connsiteY344" fmla="*/ 227471 h 563255"/>
                  <a:gd name="connsiteX345" fmla="*/ 104699 w 596146"/>
                  <a:gd name="connsiteY345" fmla="*/ 228783 h 563255"/>
                  <a:gd name="connsiteX346" fmla="*/ 103555 w 596146"/>
                  <a:gd name="connsiteY346" fmla="*/ 230465 h 563255"/>
                  <a:gd name="connsiteX347" fmla="*/ 106147 w 596146"/>
                  <a:gd name="connsiteY347" fmla="*/ 234031 h 563255"/>
                  <a:gd name="connsiteX348" fmla="*/ 105844 w 596146"/>
                  <a:gd name="connsiteY348" fmla="*/ 237126 h 563255"/>
                  <a:gd name="connsiteX349" fmla="*/ 103522 w 596146"/>
                  <a:gd name="connsiteY349" fmla="*/ 240019 h 563255"/>
                  <a:gd name="connsiteX350" fmla="*/ 98608 w 596146"/>
                  <a:gd name="connsiteY350" fmla="*/ 239783 h 563255"/>
                  <a:gd name="connsiteX351" fmla="*/ 96151 w 596146"/>
                  <a:gd name="connsiteY351" fmla="*/ 237462 h 563255"/>
                  <a:gd name="connsiteX352" fmla="*/ 96151 w 596146"/>
                  <a:gd name="connsiteY352" fmla="*/ 234065 h 563255"/>
                  <a:gd name="connsiteX353" fmla="*/ 94401 w 596146"/>
                  <a:gd name="connsiteY353" fmla="*/ 228783 h 563255"/>
                  <a:gd name="connsiteX354" fmla="*/ 94401 w 596146"/>
                  <a:gd name="connsiteY354" fmla="*/ 225318 h 563255"/>
                  <a:gd name="connsiteX355" fmla="*/ 94401 w 596146"/>
                  <a:gd name="connsiteY355" fmla="*/ 223872 h 563255"/>
                  <a:gd name="connsiteX356" fmla="*/ 94233 w 596146"/>
                  <a:gd name="connsiteY356" fmla="*/ 221046 h 563255"/>
                  <a:gd name="connsiteX357" fmla="*/ 93896 w 596146"/>
                  <a:gd name="connsiteY357" fmla="*/ 216774 h 563255"/>
                  <a:gd name="connsiteX358" fmla="*/ 89050 w 596146"/>
                  <a:gd name="connsiteY358" fmla="*/ 211492 h 563255"/>
                  <a:gd name="connsiteX359" fmla="*/ 83127 w 596146"/>
                  <a:gd name="connsiteY359" fmla="*/ 204596 h 563255"/>
                  <a:gd name="connsiteX360" fmla="*/ 80233 w 596146"/>
                  <a:gd name="connsiteY360" fmla="*/ 200896 h 563255"/>
                  <a:gd name="connsiteX361" fmla="*/ 80233 w 596146"/>
                  <a:gd name="connsiteY361" fmla="*/ 199382 h 563255"/>
                  <a:gd name="connsiteX362" fmla="*/ 77170 w 596146"/>
                  <a:gd name="connsiteY362" fmla="*/ 197936 h 563255"/>
                  <a:gd name="connsiteX363" fmla="*/ 75151 w 596146"/>
                  <a:gd name="connsiteY363" fmla="*/ 195110 h 563255"/>
                  <a:gd name="connsiteX364" fmla="*/ 74781 w 596146"/>
                  <a:gd name="connsiteY364" fmla="*/ 190400 h 563255"/>
                  <a:gd name="connsiteX365" fmla="*/ 75420 w 596146"/>
                  <a:gd name="connsiteY365" fmla="*/ 188449 h 563255"/>
                  <a:gd name="connsiteX366" fmla="*/ 76867 w 596146"/>
                  <a:gd name="connsiteY366" fmla="*/ 186565 h 563255"/>
                  <a:gd name="connsiteX367" fmla="*/ 77136 w 596146"/>
                  <a:gd name="connsiteY367" fmla="*/ 184110 h 563255"/>
                  <a:gd name="connsiteX368" fmla="*/ 75185 w 596146"/>
                  <a:gd name="connsiteY368" fmla="*/ 182663 h 563255"/>
                  <a:gd name="connsiteX369" fmla="*/ 70675 w 596146"/>
                  <a:gd name="connsiteY369" fmla="*/ 182226 h 563255"/>
                  <a:gd name="connsiteX370" fmla="*/ 66266 w 596146"/>
                  <a:gd name="connsiteY370" fmla="*/ 182798 h 563255"/>
                  <a:gd name="connsiteX371" fmla="*/ 63574 w 596146"/>
                  <a:gd name="connsiteY371" fmla="*/ 182932 h 563255"/>
                  <a:gd name="connsiteX372" fmla="*/ 62934 w 596146"/>
                  <a:gd name="connsiteY372" fmla="*/ 183134 h 563255"/>
                  <a:gd name="connsiteX373" fmla="*/ 61857 w 596146"/>
                  <a:gd name="connsiteY373" fmla="*/ 183269 h 563255"/>
                  <a:gd name="connsiteX374" fmla="*/ 60713 w 596146"/>
                  <a:gd name="connsiteY374" fmla="*/ 184648 h 563255"/>
                  <a:gd name="connsiteX375" fmla="*/ 59636 w 596146"/>
                  <a:gd name="connsiteY375" fmla="*/ 183572 h 563255"/>
                  <a:gd name="connsiteX376" fmla="*/ 59636 w 596146"/>
                  <a:gd name="connsiteY376" fmla="*/ 180880 h 563255"/>
                  <a:gd name="connsiteX377" fmla="*/ 58525 w 596146"/>
                  <a:gd name="connsiteY377" fmla="*/ 179501 h 563255"/>
                  <a:gd name="connsiteX378" fmla="*/ 55968 w 596146"/>
                  <a:gd name="connsiteY378" fmla="*/ 179636 h 563255"/>
                  <a:gd name="connsiteX379" fmla="*/ 53780 w 596146"/>
                  <a:gd name="connsiteY379" fmla="*/ 178458 h 563255"/>
                  <a:gd name="connsiteX380" fmla="*/ 54083 w 596146"/>
                  <a:gd name="connsiteY380" fmla="*/ 176945 h 563255"/>
                  <a:gd name="connsiteX381" fmla="*/ 54352 w 596146"/>
                  <a:gd name="connsiteY381" fmla="*/ 175935 h 563255"/>
                  <a:gd name="connsiteX382" fmla="*/ 53545 w 596146"/>
                  <a:gd name="connsiteY382" fmla="*/ 174052 h 563255"/>
                  <a:gd name="connsiteX383" fmla="*/ 51593 w 596146"/>
                  <a:gd name="connsiteY383" fmla="*/ 171461 h 563255"/>
                  <a:gd name="connsiteX384" fmla="*/ 49708 w 596146"/>
                  <a:gd name="connsiteY384" fmla="*/ 167122 h 563255"/>
                  <a:gd name="connsiteX385" fmla="*/ 48463 w 596146"/>
                  <a:gd name="connsiteY385" fmla="*/ 164935 h 563255"/>
                  <a:gd name="connsiteX386" fmla="*/ 46376 w 596146"/>
                  <a:gd name="connsiteY386" fmla="*/ 164061 h 563255"/>
                  <a:gd name="connsiteX387" fmla="*/ 45198 w 596146"/>
                  <a:gd name="connsiteY387" fmla="*/ 163758 h 563255"/>
                  <a:gd name="connsiteX388" fmla="*/ 44761 w 596146"/>
                  <a:gd name="connsiteY388" fmla="*/ 166146 h 563255"/>
                  <a:gd name="connsiteX389" fmla="*/ 42237 w 596146"/>
                  <a:gd name="connsiteY389" fmla="*/ 167895 h 563255"/>
                  <a:gd name="connsiteX390" fmla="*/ 42237 w 596146"/>
                  <a:gd name="connsiteY390" fmla="*/ 169275 h 563255"/>
                  <a:gd name="connsiteX391" fmla="*/ 41093 w 596146"/>
                  <a:gd name="connsiteY391" fmla="*/ 170889 h 563255"/>
                  <a:gd name="connsiteX392" fmla="*/ 39645 w 596146"/>
                  <a:gd name="connsiteY392" fmla="*/ 172269 h 563255"/>
                  <a:gd name="connsiteX393" fmla="*/ 37121 w 596146"/>
                  <a:gd name="connsiteY393" fmla="*/ 172269 h 563255"/>
                  <a:gd name="connsiteX394" fmla="*/ 35169 w 596146"/>
                  <a:gd name="connsiteY394" fmla="*/ 172908 h 563255"/>
                  <a:gd name="connsiteX395" fmla="*/ 34328 w 596146"/>
                  <a:gd name="connsiteY395" fmla="*/ 174152 h 563255"/>
                  <a:gd name="connsiteX396" fmla="*/ 34429 w 596146"/>
                  <a:gd name="connsiteY396" fmla="*/ 175734 h 563255"/>
                  <a:gd name="connsiteX397" fmla="*/ 32679 w 596146"/>
                  <a:gd name="connsiteY397" fmla="*/ 175734 h 563255"/>
                  <a:gd name="connsiteX398" fmla="*/ 30659 w 596146"/>
                  <a:gd name="connsiteY398" fmla="*/ 175734 h 563255"/>
                  <a:gd name="connsiteX399" fmla="*/ 29515 w 596146"/>
                  <a:gd name="connsiteY399" fmla="*/ 178593 h 563255"/>
                  <a:gd name="connsiteX400" fmla="*/ 28674 w 596146"/>
                  <a:gd name="connsiteY400" fmla="*/ 181250 h 563255"/>
                  <a:gd name="connsiteX401" fmla="*/ 27462 w 596146"/>
                  <a:gd name="connsiteY401" fmla="*/ 182663 h 563255"/>
                  <a:gd name="connsiteX402" fmla="*/ 25847 w 596146"/>
                  <a:gd name="connsiteY402" fmla="*/ 184076 h 563255"/>
                  <a:gd name="connsiteX403" fmla="*/ 25308 w 596146"/>
                  <a:gd name="connsiteY403" fmla="*/ 186027 h 563255"/>
                  <a:gd name="connsiteX404" fmla="*/ 24669 w 596146"/>
                  <a:gd name="connsiteY404" fmla="*/ 187877 h 563255"/>
                  <a:gd name="connsiteX405" fmla="*/ 25645 w 596146"/>
                  <a:gd name="connsiteY405" fmla="*/ 190602 h 563255"/>
                  <a:gd name="connsiteX406" fmla="*/ 27496 w 596146"/>
                  <a:gd name="connsiteY406" fmla="*/ 191914 h 563255"/>
                  <a:gd name="connsiteX407" fmla="*/ 29246 w 596146"/>
                  <a:gd name="connsiteY407" fmla="*/ 192553 h 563255"/>
                  <a:gd name="connsiteX408" fmla="*/ 32948 w 596146"/>
                  <a:gd name="connsiteY408" fmla="*/ 193529 h 563255"/>
                  <a:gd name="connsiteX409" fmla="*/ 32847 w 596146"/>
                  <a:gd name="connsiteY409" fmla="*/ 194706 h 563255"/>
                  <a:gd name="connsiteX410" fmla="*/ 32645 w 596146"/>
                  <a:gd name="connsiteY410" fmla="*/ 196355 h 563255"/>
                  <a:gd name="connsiteX411" fmla="*/ 34496 w 596146"/>
                  <a:gd name="connsiteY411" fmla="*/ 198306 h 563255"/>
                  <a:gd name="connsiteX412" fmla="*/ 35910 w 596146"/>
                  <a:gd name="connsiteY412" fmla="*/ 198306 h 563255"/>
                  <a:gd name="connsiteX413" fmla="*/ 38501 w 596146"/>
                  <a:gd name="connsiteY413" fmla="*/ 199281 h 563255"/>
                  <a:gd name="connsiteX414" fmla="*/ 40789 w 596146"/>
                  <a:gd name="connsiteY414" fmla="*/ 200492 h 563255"/>
                  <a:gd name="connsiteX415" fmla="*/ 39578 w 596146"/>
                  <a:gd name="connsiteY415" fmla="*/ 203318 h 563255"/>
                  <a:gd name="connsiteX416" fmla="*/ 37087 w 596146"/>
                  <a:gd name="connsiteY416" fmla="*/ 207994 h 563255"/>
                  <a:gd name="connsiteX417" fmla="*/ 35506 w 596146"/>
                  <a:gd name="connsiteY417" fmla="*/ 212603 h 563255"/>
                  <a:gd name="connsiteX418" fmla="*/ 33621 w 596146"/>
                  <a:gd name="connsiteY418" fmla="*/ 216572 h 563255"/>
                  <a:gd name="connsiteX419" fmla="*/ 33621 w 596146"/>
                  <a:gd name="connsiteY419" fmla="*/ 219330 h 563255"/>
                  <a:gd name="connsiteX420" fmla="*/ 33688 w 596146"/>
                  <a:gd name="connsiteY420" fmla="*/ 224040 h 563255"/>
                  <a:gd name="connsiteX421" fmla="*/ 32679 w 596146"/>
                  <a:gd name="connsiteY421" fmla="*/ 226126 h 563255"/>
                  <a:gd name="connsiteX422" fmla="*/ 31871 w 596146"/>
                  <a:gd name="connsiteY422" fmla="*/ 228716 h 563255"/>
                  <a:gd name="connsiteX423" fmla="*/ 31871 w 596146"/>
                  <a:gd name="connsiteY423" fmla="*/ 231272 h 563255"/>
                  <a:gd name="connsiteX424" fmla="*/ 33722 w 596146"/>
                  <a:gd name="connsiteY424" fmla="*/ 233560 h 563255"/>
                  <a:gd name="connsiteX425" fmla="*/ 34362 w 596146"/>
                  <a:gd name="connsiteY425" fmla="*/ 237630 h 563255"/>
                  <a:gd name="connsiteX426" fmla="*/ 34866 w 596146"/>
                  <a:gd name="connsiteY426" fmla="*/ 246208 h 563255"/>
                  <a:gd name="connsiteX427" fmla="*/ 36381 w 596146"/>
                  <a:gd name="connsiteY427" fmla="*/ 248126 h 563255"/>
                  <a:gd name="connsiteX428" fmla="*/ 40789 w 596146"/>
                  <a:gd name="connsiteY428" fmla="*/ 251759 h 563255"/>
                  <a:gd name="connsiteX429" fmla="*/ 40419 w 596146"/>
                  <a:gd name="connsiteY429" fmla="*/ 254349 h 563255"/>
                  <a:gd name="connsiteX430" fmla="*/ 38838 w 596146"/>
                  <a:gd name="connsiteY430" fmla="*/ 256502 h 563255"/>
                  <a:gd name="connsiteX431" fmla="*/ 39174 w 596146"/>
                  <a:gd name="connsiteY431" fmla="*/ 260102 h 563255"/>
                  <a:gd name="connsiteX432" fmla="*/ 44054 w 596146"/>
                  <a:gd name="connsiteY432" fmla="*/ 263466 h 563255"/>
                  <a:gd name="connsiteX433" fmla="*/ 44054 w 596146"/>
                  <a:gd name="connsiteY433" fmla="*/ 268142 h 563255"/>
                  <a:gd name="connsiteX434" fmla="*/ 42977 w 596146"/>
                  <a:gd name="connsiteY434" fmla="*/ 271741 h 563255"/>
                  <a:gd name="connsiteX435" fmla="*/ 40655 w 596146"/>
                  <a:gd name="connsiteY435" fmla="*/ 275879 h 563255"/>
                  <a:gd name="connsiteX436" fmla="*/ 38871 w 596146"/>
                  <a:gd name="connsiteY436" fmla="*/ 279142 h 563255"/>
                  <a:gd name="connsiteX437" fmla="*/ 38871 w 596146"/>
                  <a:gd name="connsiteY437" fmla="*/ 286105 h 563255"/>
                  <a:gd name="connsiteX438" fmla="*/ 38333 w 596146"/>
                  <a:gd name="connsiteY438" fmla="*/ 286475 h 563255"/>
                  <a:gd name="connsiteX439" fmla="*/ 37996 w 596146"/>
                  <a:gd name="connsiteY439" fmla="*/ 289435 h 563255"/>
                  <a:gd name="connsiteX440" fmla="*/ 34664 w 596146"/>
                  <a:gd name="connsiteY440" fmla="*/ 291454 h 563255"/>
                  <a:gd name="connsiteX441" fmla="*/ 31905 w 596146"/>
                  <a:gd name="connsiteY441" fmla="*/ 292026 h 563255"/>
                  <a:gd name="connsiteX442" fmla="*/ 29010 w 596146"/>
                  <a:gd name="connsiteY442" fmla="*/ 294212 h 563255"/>
                  <a:gd name="connsiteX443" fmla="*/ 28438 w 596146"/>
                  <a:gd name="connsiteY443" fmla="*/ 298283 h 563255"/>
                  <a:gd name="connsiteX444" fmla="*/ 28438 w 596146"/>
                  <a:gd name="connsiteY444" fmla="*/ 302050 h 563255"/>
                  <a:gd name="connsiteX445" fmla="*/ 26251 w 596146"/>
                  <a:gd name="connsiteY445" fmla="*/ 306121 h 563255"/>
                  <a:gd name="connsiteX446" fmla="*/ 21606 w 596146"/>
                  <a:gd name="connsiteY446" fmla="*/ 310763 h 563255"/>
                  <a:gd name="connsiteX447" fmla="*/ 15818 w 596146"/>
                  <a:gd name="connsiteY447" fmla="*/ 312950 h 563255"/>
                  <a:gd name="connsiteX448" fmla="*/ 12924 w 596146"/>
                  <a:gd name="connsiteY448" fmla="*/ 314833 h 563255"/>
                  <a:gd name="connsiteX449" fmla="*/ 8851 w 596146"/>
                  <a:gd name="connsiteY449" fmla="*/ 317155 h 563255"/>
                  <a:gd name="connsiteX450" fmla="*/ 7404 w 596146"/>
                  <a:gd name="connsiteY450" fmla="*/ 320350 h 563255"/>
                  <a:gd name="connsiteX451" fmla="*/ 9154 w 596146"/>
                  <a:gd name="connsiteY451" fmla="*/ 321797 h 563255"/>
                  <a:gd name="connsiteX452" fmla="*/ 13193 w 596146"/>
                  <a:gd name="connsiteY452" fmla="*/ 323815 h 563255"/>
                  <a:gd name="connsiteX453" fmla="*/ 12486 w 596146"/>
                  <a:gd name="connsiteY453" fmla="*/ 326136 h 563255"/>
                  <a:gd name="connsiteX454" fmla="*/ 10736 w 596146"/>
                  <a:gd name="connsiteY454" fmla="*/ 328592 h 563255"/>
                  <a:gd name="connsiteX455" fmla="*/ 8548 w 596146"/>
                  <a:gd name="connsiteY455" fmla="*/ 330610 h 563255"/>
                  <a:gd name="connsiteX456" fmla="*/ 1313 w 596146"/>
                  <a:gd name="connsiteY456" fmla="*/ 337977 h 563255"/>
                  <a:gd name="connsiteX457" fmla="*/ 0 w 596146"/>
                  <a:gd name="connsiteY457" fmla="*/ 343192 h 563255"/>
                  <a:gd name="connsiteX458" fmla="*/ 3332 w 596146"/>
                  <a:gd name="connsiteY458" fmla="*/ 346825 h 563255"/>
                  <a:gd name="connsiteX459" fmla="*/ 8279 w 596146"/>
                  <a:gd name="connsiteY459" fmla="*/ 351602 h 563255"/>
                  <a:gd name="connsiteX460" fmla="*/ 15078 w 596146"/>
                  <a:gd name="connsiteY460" fmla="*/ 355638 h 563255"/>
                  <a:gd name="connsiteX461" fmla="*/ 19554 w 596146"/>
                  <a:gd name="connsiteY461" fmla="*/ 359271 h 563255"/>
                  <a:gd name="connsiteX462" fmla="*/ 23020 w 596146"/>
                  <a:gd name="connsiteY462" fmla="*/ 360718 h 563255"/>
                  <a:gd name="connsiteX463" fmla="*/ 27496 w 596146"/>
                  <a:gd name="connsiteY463" fmla="*/ 359978 h 563255"/>
                  <a:gd name="connsiteX464" fmla="*/ 32140 w 596146"/>
                  <a:gd name="connsiteY464" fmla="*/ 359978 h 563255"/>
                  <a:gd name="connsiteX465" fmla="*/ 32578 w 596146"/>
                  <a:gd name="connsiteY465" fmla="*/ 364822 h 563255"/>
                  <a:gd name="connsiteX466" fmla="*/ 35910 w 596146"/>
                  <a:gd name="connsiteY466" fmla="*/ 369801 h 563255"/>
                  <a:gd name="connsiteX467" fmla="*/ 37794 w 596146"/>
                  <a:gd name="connsiteY467" fmla="*/ 374275 h 563255"/>
                  <a:gd name="connsiteX468" fmla="*/ 40419 w 596146"/>
                  <a:gd name="connsiteY468" fmla="*/ 374847 h 563255"/>
                  <a:gd name="connsiteX469" fmla="*/ 46645 w 596146"/>
                  <a:gd name="connsiteY469" fmla="*/ 375553 h 563255"/>
                  <a:gd name="connsiteX470" fmla="*/ 49708 w 596146"/>
                  <a:gd name="connsiteY470" fmla="*/ 375553 h 563255"/>
                  <a:gd name="connsiteX471" fmla="*/ 51020 w 596146"/>
                  <a:gd name="connsiteY471" fmla="*/ 374746 h 563255"/>
                  <a:gd name="connsiteX472" fmla="*/ 55530 w 596146"/>
                  <a:gd name="connsiteY472" fmla="*/ 373366 h 563255"/>
                  <a:gd name="connsiteX473" fmla="*/ 60006 w 596146"/>
                  <a:gd name="connsiteY473" fmla="*/ 373366 h 563255"/>
                  <a:gd name="connsiteX474" fmla="*/ 64078 w 596146"/>
                  <a:gd name="connsiteY474" fmla="*/ 375688 h 563255"/>
                  <a:gd name="connsiteX475" fmla="*/ 68858 w 596146"/>
                  <a:gd name="connsiteY475" fmla="*/ 380195 h 563255"/>
                  <a:gd name="connsiteX476" fmla="*/ 71617 w 596146"/>
                  <a:gd name="connsiteY476" fmla="*/ 384400 h 563255"/>
                  <a:gd name="connsiteX477" fmla="*/ 71920 w 596146"/>
                  <a:gd name="connsiteY477" fmla="*/ 388605 h 563255"/>
                  <a:gd name="connsiteX478" fmla="*/ 71920 w 596146"/>
                  <a:gd name="connsiteY478" fmla="*/ 394559 h 563255"/>
                  <a:gd name="connsiteX479" fmla="*/ 72122 w 596146"/>
                  <a:gd name="connsiteY479" fmla="*/ 398462 h 563255"/>
                  <a:gd name="connsiteX480" fmla="*/ 73502 w 596146"/>
                  <a:gd name="connsiteY480" fmla="*/ 402364 h 563255"/>
                  <a:gd name="connsiteX481" fmla="*/ 80333 w 596146"/>
                  <a:gd name="connsiteY481" fmla="*/ 406131 h 563255"/>
                  <a:gd name="connsiteX482" fmla="*/ 84978 w 596146"/>
                  <a:gd name="connsiteY482" fmla="*/ 409462 h 563255"/>
                  <a:gd name="connsiteX483" fmla="*/ 91945 w 596146"/>
                  <a:gd name="connsiteY483" fmla="*/ 412086 h 563255"/>
                  <a:gd name="connsiteX484" fmla="*/ 92079 w 596146"/>
                  <a:gd name="connsiteY484" fmla="*/ 412086 h 563255"/>
                  <a:gd name="connsiteX485" fmla="*/ 91945 w 596146"/>
                  <a:gd name="connsiteY485" fmla="*/ 417804 h 563255"/>
                  <a:gd name="connsiteX486" fmla="*/ 93695 w 596146"/>
                  <a:gd name="connsiteY486" fmla="*/ 421942 h 563255"/>
                  <a:gd name="connsiteX487" fmla="*/ 97026 w 596146"/>
                  <a:gd name="connsiteY487" fmla="*/ 425272 h 563255"/>
                  <a:gd name="connsiteX488" fmla="*/ 99786 w 596146"/>
                  <a:gd name="connsiteY488" fmla="*/ 428603 h 563255"/>
                  <a:gd name="connsiteX489" fmla="*/ 99786 w 596146"/>
                  <a:gd name="connsiteY489" fmla="*/ 431361 h 563255"/>
                  <a:gd name="connsiteX490" fmla="*/ 102142 w 596146"/>
                  <a:gd name="connsiteY490" fmla="*/ 429040 h 563255"/>
                  <a:gd name="connsiteX491" fmla="*/ 104363 w 596146"/>
                  <a:gd name="connsiteY491" fmla="*/ 428367 h 563255"/>
                  <a:gd name="connsiteX492" fmla="*/ 107695 w 596146"/>
                  <a:gd name="connsiteY492" fmla="*/ 424700 h 563255"/>
                  <a:gd name="connsiteX493" fmla="*/ 111363 w 596146"/>
                  <a:gd name="connsiteY493" fmla="*/ 423187 h 563255"/>
                  <a:gd name="connsiteX494" fmla="*/ 114897 w 596146"/>
                  <a:gd name="connsiteY494" fmla="*/ 420529 h 563255"/>
                  <a:gd name="connsiteX495" fmla="*/ 118801 w 596146"/>
                  <a:gd name="connsiteY495" fmla="*/ 416896 h 563255"/>
                  <a:gd name="connsiteX496" fmla="*/ 122234 w 596146"/>
                  <a:gd name="connsiteY496" fmla="*/ 413969 h 563255"/>
                  <a:gd name="connsiteX497" fmla="*/ 125094 w 596146"/>
                  <a:gd name="connsiteY497" fmla="*/ 412187 h 563255"/>
                  <a:gd name="connsiteX498" fmla="*/ 128359 w 596146"/>
                  <a:gd name="connsiteY498" fmla="*/ 411917 h 563255"/>
                  <a:gd name="connsiteX499" fmla="*/ 131960 w 596146"/>
                  <a:gd name="connsiteY499" fmla="*/ 411985 h 563255"/>
                  <a:gd name="connsiteX500" fmla="*/ 134787 w 596146"/>
                  <a:gd name="connsiteY500" fmla="*/ 409697 h 563255"/>
                  <a:gd name="connsiteX501" fmla="*/ 136638 w 596146"/>
                  <a:gd name="connsiteY501" fmla="*/ 408116 h 563255"/>
                  <a:gd name="connsiteX502" fmla="*/ 140945 w 596146"/>
                  <a:gd name="connsiteY502" fmla="*/ 405728 h 563255"/>
                  <a:gd name="connsiteX503" fmla="*/ 144109 w 596146"/>
                  <a:gd name="connsiteY503" fmla="*/ 403541 h 563255"/>
                  <a:gd name="connsiteX504" fmla="*/ 147205 w 596146"/>
                  <a:gd name="connsiteY504" fmla="*/ 402296 h 563255"/>
                  <a:gd name="connsiteX505" fmla="*/ 150974 w 596146"/>
                  <a:gd name="connsiteY505" fmla="*/ 399033 h 563255"/>
                  <a:gd name="connsiteX506" fmla="*/ 151849 w 596146"/>
                  <a:gd name="connsiteY506" fmla="*/ 393954 h 563255"/>
                  <a:gd name="connsiteX507" fmla="*/ 158513 w 596146"/>
                  <a:gd name="connsiteY507" fmla="*/ 388000 h 563255"/>
                  <a:gd name="connsiteX508" fmla="*/ 158513 w 596146"/>
                  <a:gd name="connsiteY508" fmla="*/ 384535 h 563255"/>
                  <a:gd name="connsiteX509" fmla="*/ 158210 w 596146"/>
                  <a:gd name="connsiteY509" fmla="*/ 383223 h 563255"/>
                  <a:gd name="connsiteX510" fmla="*/ 157403 w 596146"/>
                  <a:gd name="connsiteY510" fmla="*/ 379691 h 563255"/>
                  <a:gd name="connsiteX511" fmla="*/ 157705 w 596146"/>
                  <a:gd name="connsiteY511" fmla="*/ 376865 h 563255"/>
                  <a:gd name="connsiteX512" fmla="*/ 159590 w 596146"/>
                  <a:gd name="connsiteY512" fmla="*/ 373602 h 563255"/>
                  <a:gd name="connsiteX513" fmla="*/ 161172 w 596146"/>
                  <a:gd name="connsiteY513" fmla="*/ 370843 h 563255"/>
                  <a:gd name="connsiteX514" fmla="*/ 163932 w 596146"/>
                  <a:gd name="connsiteY514" fmla="*/ 369094 h 563255"/>
                  <a:gd name="connsiteX515" fmla="*/ 166456 w 596146"/>
                  <a:gd name="connsiteY515" fmla="*/ 370978 h 563255"/>
                  <a:gd name="connsiteX516" fmla="*/ 167398 w 596146"/>
                  <a:gd name="connsiteY516" fmla="*/ 375250 h 563255"/>
                  <a:gd name="connsiteX517" fmla="*/ 170965 w 596146"/>
                  <a:gd name="connsiteY517" fmla="*/ 375452 h 563255"/>
                  <a:gd name="connsiteX518" fmla="*/ 171167 w 596146"/>
                  <a:gd name="connsiteY518" fmla="*/ 371920 h 563255"/>
                  <a:gd name="connsiteX519" fmla="*/ 171100 w 596146"/>
                  <a:gd name="connsiteY519" fmla="*/ 368455 h 563255"/>
                  <a:gd name="connsiteX520" fmla="*/ 171235 w 596146"/>
                  <a:gd name="connsiteY520" fmla="*/ 365932 h 563255"/>
                  <a:gd name="connsiteX521" fmla="*/ 170427 w 596146"/>
                  <a:gd name="connsiteY521" fmla="*/ 362904 h 563255"/>
                  <a:gd name="connsiteX522" fmla="*/ 171672 w 596146"/>
                  <a:gd name="connsiteY522" fmla="*/ 358834 h 563255"/>
                  <a:gd name="connsiteX523" fmla="*/ 173994 w 596146"/>
                  <a:gd name="connsiteY523" fmla="*/ 356008 h 563255"/>
                  <a:gd name="connsiteX524" fmla="*/ 177057 w 596146"/>
                  <a:gd name="connsiteY524" fmla="*/ 353485 h 563255"/>
                  <a:gd name="connsiteX525" fmla="*/ 180322 w 596146"/>
                  <a:gd name="connsiteY525" fmla="*/ 350290 h 563255"/>
                  <a:gd name="connsiteX526" fmla="*/ 185168 w 596146"/>
                  <a:gd name="connsiteY526" fmla="*/ 346455 h 563255"/>
                  <a:gd name="connsiteX527" fmla="*/ 188062 w 596146"/>
                  <a:gd name="connsiteY527" fmla="*/ 344705 h 563255"/>
                  <a:gd name="connsiteX528" fmla="*/ 189206 w 596146"/>
                  <a:gd name="connsiteY528" fmla="*/ 342081 h 563255"/>
                  <a:gd name="connsiteX529" fmla="*/ 190889 w 596146"/>
                  <a:gd name="connsiteY529" fmla="*/ 340063 h 563255"/>
                  <a:gd name="connsiteX530" fmla="*/ 190620 w 596146"/>
                  <a:gd name="connsiteY530" fmla="*/ 337305 h 563255"/>
                  <a:gd name="connsiteX531" fmla="*/ 189105 w 596146"/>
                  <a:gd name="connsiteY531" fmla="*/ 336666 h 563255"/>
                  <a:gd name="connsiteX532" fmla="*/ 187153 w 596146"/>
                  <a:gd name="connsiteY532" fmla="*/ 334479 h 563255"/>
                  <a:gd name="connsiteX533" fmla="*/ 185403 w 596146"/>
                  <a:gd name="connsiteY533" fmla="*/ 331283 h 563255"/>
                  <a:gd name="connsiteX534" fmla="*/ 186649 w 596146"/>
                  <a:gd name="connsiteY534" fmla="*/ 329837 h 563255"/>
                  <a:gd name="connsiteX535" fmla="*/ 189913 w 596146"/>
                  <a:gd name="connsiteY535" fmla="*/ 327751 h 563255"/>
                  <a:gd name="connsiteX536" fmla="*/ 192740 w 596146"/>
                  <a:gd name="connsiteY536" fmla="*/ 324993 h 563255"/>
                  <a:gd name="connsiteX537" fmla="*/ 195264 w 596146"/>
                  <a:gd name="connsiteY537" fmla="*/ 322739 h 563255"/>
                  <a:gd name="connsiteX538" fmla="*/ 197519 w 596146"/>
                  <a:gd name="connsiteY538" fmla="*/ 319711 h 563255"/>
                  <a:gd name="connsiteX539" fmla="*/ 199168 w 596146"/>
                  <a:gd name="connsiteY539" fmla="*/ 317895 h 563255"/>
                  <a:gd name="connsiteX540" fmla="*/ 201052 w 596146"/>
                  <a:gd name="connsiteY540" fmla="*/ 316314 h 563255"/>
                  <a:gd name="connsiteX541" fmla="*/ 204889 w 596146"/>
                  <a:gd name="connsiteY541" fmla="*/ 315944 h 563255"/>
                  <a:gd name="connsiteX542" fmla="*/ 208356 w 596146"/>
                  <a:gd name="connsiteY542" fmla="*/ 316751 h 563255"/>
                  <a:gd name="connsiteX543" fmla="*/ 216702 w 596146"/>
                  <a:gd name="connsiteY543" fmla="*/ 315876 h 563255"/>
                  <a:gd name="connsiteX544" fmla="*/ 221111 w 596146"/>
                  <a:gd name="connsiteY544" fmla="*/ 315944 h 563255"/>
                  <a:gd name="connsiteX545" fmla="*/ 226193 w 596146"/>
                  <a:gd name="connsiteY545" fmla="*/ 315574 h 563255"/>
                  <a:gd name="connsiteX546" fmla="*/ 232654 w 596146"/>
                  <a:gd name="connsiteY546" fmla="*/ 314497 h 563255"/>
                  <a:gd name="connsiteX547" fmla="*/ 241337 w 596146"/>
                  <a:gd name="connsiteY547" fmla="*/ 314699 h 563255"/>
                  <a:gd name="connsiteX548" fmla="*/ 245780 w 596146"/>
                  <a:gd name="connsiteY548" fmla="*/ 313757 h 563255"/>
                  <a:gd name="connsiteX549" fmla="*/ 248539 w 596146"/>
                  <a:gd name="connsiteY549" fmla="*/ 313051 h 563255"/>
                  <a:gd name="connsiteX550" fmla="*/ 249852 w 596146"/>
                  <a:gd name="connsiteY550" fmla="*/ 313051 h 563255"/>
                  <a:gd name="connsiteX551" fmla="*/ 252376 w 596146"/>
                  <a:gd name="connsiteY551" fmla="*/ 312680 h 563255"/>
                  <a:gd name="connsiteX552" fmla="*/ 254765 w 596146"/>
                  <a:gd name="connsiteY552" fmla="*/ 311671 h 563255"/>
                  <a:gd name="connsiteX553" fmla="*/ 255708 w 596146"/>
                  <a:gd name="connsiteY553" fmla="*/ 310359 h 563255"/>
                  <a:gd name="connsiteX554" fmla="*/ 256011 w 596146"/>
                  <a:gd name="connsiteY554" fmla="*/ 309350 h 563255"/>
                  <a:gd name="connsiteX555" fmla="*/ 256212 w 596146"/>
                  <a:gd name="connsiteY555" fmla="*/ 307399 h 563255"/>
                  <a:gd name="connsiteX556" fmla="*/ 256011 w 596146"/>
                  <a:gd name="connsiteY556" fmla="*/ 304641 h 563255"/>
                  <a:gd name="connsiteX557" fmla="*/ 256313 w 596146"/>
                  <a:gd name="connsiteY557" fmla="*/ 301378 h 563255"/>
                  <a:gd name="connsiteX558" fmla="*/ 256179 w 596146"/>
                  <a:gd name="connsiteY558" fmla="*/ 298922 h 563255"/>
                  <a:gd name="connsiteX559" fmla="*/ 255977 w 596146"/>
                  <a:gd name="connsiteY559" fmla="*/ 297240 h 563255"/>
                  <a:gd name="connsiteX560" fmla="*/ 256549 w 596146"/>
                  <a:gd name="connsiteY560" fmla="*/ 296231 h 563255"/>
                  <a:gd name="connsiteX561" fmla="*/ 257559 w 596146"/>
                  <a:gd name="connsiteY561" fmla="*/ 295726 h 563255"/>
                  <a:gd name="connsiteX562" fmla="*/ 260756 w 596146"/>
                  <a:gd name="connsiteY562" fmla="*/ 295659 h 563255"/>
                  <a:gd name="connsiteX563" fmla="*/ 261900 w 596146"/>
                  <a:gd name="connsiteY563" fmla="*/ 295659 h 563255"/>
                  <a:gd name="connsiteX564" fmla="*/ 263852 w 596146"/>
                  <a:gd name="connsiteY564" fmla="*/ 296264 h 563255"/>
                  <a:gd name="connsiteX565" fmla="*/ 266376 w 596146"/>
                  <a:gd name="connsiteY565" fmla="*/ 298619 h 563255"/>
                  <a:gd name="connsiteX566" fmla="*/ 266948 w 596146"/>
                  <a:gd name="connsiteY566" fmla="*/ 300873 h 563255"/>
                  <a:gd name="connsiteX567" fmla="*/ 266679 w 596146"/>
                  <a:gd name="connsiteY567" fmla="*/ 303833 h 563255"/>
                  <a:gd name="connsiteX568" fmla="*/ 268496 w 596146"/>
                  <a:gd name="connsiteY568" fmla="*/ 307164 h 563255"/>
                  <a:gd name="connsiteX569" fmla="*/ 271189 w 596146"/>
                  <a:gd name="connsiteY569" fmla="*/ 309047 h 563255"/>
                  <a:gd name="connsiteX570" fmla="*/ 271626 w 596146"/>
                  <a:gd name="connsiteY570" fmla="*/ 312512 h 563255"/>
                  <a:gd name="connsiteX571" fmla="*/ 272434 w 596146"/>
                  <a:gd name="connsiteY571" fmla="*/ 316415 h 563255"/>
                  <a:gd name="connsiteX572" fmla="*/ 273309 w 596146"/>
                  <a:gd name="connsiteY572" fmla="*/ 320249 h 563255"/>
                  <a:gd name="connsiteX573" fmla="*/ 276069 w 596146"/>
                  <a:gd name="connsiteY573" fmla="*/ 322840 h 563255"/>
                  <a:gd name="connsiteX574" fmla="*/ 279199 w 596146"/>
                  <a:gd name="connsiteY574" fmla="*/ 325598 h 563255"/>
                  <a:gd name="connsiteX575" fmla="*/ 281857 w 596146"/>
                  <a:gd name="connsiteY575" fmla="*/ 328558 h 563255"/>
                  <a:gd name="connsiteX576" fmla="*/ 286064 w 596146"/>
                  <a:gd name="connsiteY576" fmla="*/ 331586 h 563255"/>
                  <a:gd name="connsiteX577" fmla="*/ 288151 w 596146"/>
                  <a:gd name="connsiteY577" fmla="*/ 333604 h 563255"/>
                  <a:gd name="connsiteX578" fmla="*/ 292661 w 596146"/>
                  <a:gd name="connsiteY578" fmla="*/ 336295 h 563255"/>
                  <a:gd name="connsiteX579" fmla="*/ 297944 w 596146"/>
                  <a:gd name="connsiteY579" fmla="*/ 339424 h 563255"/>
                  <a:gd name="connsiteX580" fmla="*/ 299088 w 596146"/>
                  <a:gd name="connsiteY580" fmla="*/ 345143 h 563255"/>
                  <a:gd name="connsiteX581" fmla="*/ 300670 w 596146"/>
                  <a:gd name="connsiteY581" fmla="*/ 346387 h 563255"/>
                  <a:gd name="connsiteX582" fmla="*/ 302858 w 596146"/>
                  <a:gd name="connsiteY582" fmla="*/ 348271 h 563255"/>
                  <a:gd name="connsiteX583" fmla="*/ 302925 w 596146"/>
                  <a:gd name="connsiteY583" fmla="*/ 350155 h 563255"/>
                  <a:gd name="connsiteX584" fmla="*/ 302992 w 596146"/>
                  <a:gd name="connsiteY584" fmla="*/ 352543 h 563255"/>
                  <a:gd name="connsiteX585" fmla="*/ 302185 w 596146"/>
                  <a:gd name="connsiteY585" fmla="*/ 355941 h 563255"/>
                  <a:gd name="connsiteX586" fmla="*/ 300939 w 596146"/>
                  <a:gd name="connsiteY586" fmla="*/ 357623 h 563255"/>
                  <a:gd name="connsiteX587" fmla="*/ 299863 w 596146"/>
                  <a:gd name="connsiteY587" fmla="*/ 359507 h 563255"/>
                  <a:gd name="connsiteX588" fmla="*/ 297978 w 596146"/>
                  <a:gd name="connsiteY588" fmla="*/ 362635 h 563255"/>
                  <a:gd name="connsiteX589" fmla="*/ 296530 w 596146"/>
                  <a:gd name="connsiteY589" fmla="*/ 364956 h 563255"/>
                  <a:gd name="connsiteX590" fmla="*/ 295084 w 596146"/>
                  <a:gd name="connsiteY590" fmla="*/ 366538 h 563255"/>
                  <a:gd name="connsiteX591" fmla="*/ 293838 w 596146"/>
                  <a:gd name="connsiteY591" fmla="*/ 368220 h 563255"/>
                  <a:gd name="connsiteX592" fmla="*/ 293704 w 596146"/>
                  <a:gd name="connsiteY592" fmla="*/ 371348 h 563255"/>
                  <a:gd name="connsiteX593" fmla="*/ 294209 w 596146"/>
                  <a:gd name="connsiteY593" fmla="*/ 373736 h 563255"/>
                  <a:gd name="connsiteX594" fmla="*/ 295016 w 596146"/>
                  <a:gd name="connsiteY594" fmla="*/ 377269 h 563255"/>
                  <a:gd name="connsiteX595" fmla="*/ 293435 w 596146"/>
                  <a:gd name="connsiteY595" fmla="*/ 380834 h 563255"/>
                  <a:gd name="connsiteX596" fmla="*/ 292997 w 596146"/>
                  <a:gd name="connsiteY596" fmla="*/ 383929 h 563255"/>
                  <a:gd name="connsiteX597" fmla="*/ 291853 w 596146"/>
                  <a:gd name="connsiteY597" fmla="*/ 386183 h 563255"/>
                  <a:gd name="connsiteX598" fmla="*/ 290540 w 596146"/>
                  <a:gd name="connsiteY598" fmla="*/ 389076 h 563255"/>
                  <a:gd name="connsiteX599" fmla="*/ 288790 w 596146"/>
                  <a:gd name="connsiteY599" fmla="*/ 390153 h 563255"/>
                  <a:gd name="connsiteX600" fmla="*/ 287275 w 596146"/>
                  <a:gd name="connsiteY600" fmla="*/ 391666 h 563255"/>
                  <a:gd name="connsiteX601" fmla="*/ 285256 w 596146"/>
                  <a:gd name="connsiteY601" fmla="*/ 393752 h 563255"/>
                  <a:gd name="connsiteX602" fmla="*/ 283877 w 596146"/>
                  <a:gd name="connsiteY602" fmla="*/ 395198 h 563255"/>
                  <a:gd name="connsiteX603" fmla="*/ 281285 w 596146"/>
                  <a:gd name="connsiteY603" fmla="*/ 396006 h 563255"/>
                  <a:gd name="connsiteX604" fmla="*/ 279333 w 596146"/>
                  <a:gd name="connsiteY604" fmla="*/ 397452 h 563255"/>
                  <a:gd name="connsiteX605" fmla="*/ 278694 w 596146"/>
                  <a:gd name="connsiteY605" fmla="*/ 399403 h 563255"/>
                  <a:gd name="connsiteX606" fmla="*/ 277381 w 596146"/>
                  <a:gd name="connsiteY606" fmla="*/ 403238 h 563255"/>
                  <a:gd name="connsiteX607" fmla="*/ 276136 w 596146"/>
                  <a:gd name="connsiteY607" fmla="*/ 405997 h 563255"/>
                  <a:gd name="connsiteX608" fmla="*/ 274554 w 596146"/>
                  <a:gd name="connsiteY608" fmla="*/ 408183 h 563255"/>
                  <a:gd name="connsiteX609" fmla="*/ 273040 w 596146"/>
                  <a:gd name="connsiteY609" fmla="*/ 410269 h 563255"/>
                  <a:gd name="connsiteX610" fmla="*/ 271223 w 596146"/>
                  <a:gd name="connsiteY610" fmla="*/ 413162 h 563255"/>
                  <a:gd name="connsiteX611" fmla="*/ 269910 w 596146"/>
                  <a:gd name="connsiteY611" fmla="*/ 417300 h 563255"/>
                  <a:gd name="connsiteX612" fmla="*/ 267655 w 596146"/>
                  <a:gd name="connsiteY612" fmla="*/ 419755 h 563255"/>
                  <a:gd name="connsiteX613" fmla="*/ 267083 w 596146"/>
                  <a:gd name="connsiteY613" fmla="*/ 420832 h 563255"/>
                  <a:gd name="connsiteX614" fmla="*/ 264828 w 596146"/>
                  <a:gd name="connsiteY614" fmla="*/ 423960 h 563255"/>
                  <a:gd name="connsiteX615" fmla="*/ 263246 w 596146"/>
                  <a:gd name="connsiteY615" fmla="*/ 425777 h 563255"/>
                  <a:gd name="connsiteX616" fmla="*/ 260150 w 596146"/>
                  <a:gd name="connsiteY616" fmla="*/ 427795 h 563255"/>
                  <a:gd name="connsiteX617" fmla="*/ 257693 w 596146"/>
                  <a:gd name="connsiteY617" fmla="*/ 428939 h 563255"/>
                  <a:gd name="connsiteX618" fmla="*/ 254496 w 596146"/>
                  <a:gd name="connsiteY618" fmla="*/ 429578 h 563255"/>
                  <a:gd name="connsiteX619" fmla="*/ 253049 w 596146"/>
                  <a:gd name="connsiteY619" fmla="*/ 429881 h 563255"/>
                  <a:gd name="connsiteX620" fmla="*/ 251097 w 596146"/>
                  <a:gd name="connsiteY620" fmla="*/ 430587 h 563255"/>
                  <a:gd name="connsiteX621" fmla="*/ 248405 w 596146"/>
                  <a:gd name="connsiteY621" fmla="*/ 431832 h 563255"/>
                  <a:gd name="connsiteX622" fmla="*/ 246385 w 596146"/>
                  <a:gd name="connsiteY622" fmla="*/ 432774 h 563255"/>
                  <a:gd name="connsiteX623" fmla="*/ 244501 w 596146"/>
                  <a:gd name="connsiteY623" fmla="*/ 434355 h 563255"/>
                  <a:gd name="connsiteX624" fmla="*/ 241674 w 596146"/>
                  <a:gd name="connsiteY624" fmla="*/ 436239 h 563255"/>
                  <a:gd name="connsiteX625" fmla="*/ 239587 w 596146"/>
                  <a:gd name="connsiteY625" fmla="*/ 438123 h 563255"/>
                  <a:gd name="connsiteX626" fmla="*/ 238780 w 596146"/>
                  <a:gd name="connsiteY626" fmla="*/ 440309 h 563255"/>
                  <a:gd name="connsiteX627" fmla="*/ 240092 w 596146"/>
                  <a:gd name="connsiteY627" fmla="*/ 445153 h 563255"/>
                  <a:gd name="connsiteX628" fmla="*/ 241775 w 596146"/>
                  <a:gd name="connsiteY628" fmla="*/ 446533 h 563255"/>
                  <a:gd name="connsiteX629" fmla="*/ 243222 w 596146"/>
                  <a:gd name="connsiteY629" fmla="*/ 448114 h 563255"/>
                  <a:gd name="connsiteX630" fmla="*/ 244232 w 596146"/>
                  <a:gd name="connsiteY630" fmla="*/ 449190 h 563255"/>
                  <a:gd name="connsiteX631" fmla="*/ 244299 w 596146"/>
                  <a:gd name="connsiteY631" fmla="*/ 451141 h 563255"/>
                  <a:gd name="connsiteX632" fmla="*/ 244299 w 596146"/>
                  <a:gd name="connsiteY632" fmla="*/ 453328 h 563255"/>
                  <a:gd name="connsiteX633" fmla="*/ 244770 w 596146"/>
                  <a:gd name="connsiteY633" fmla="*/ 455212 h 563255"/>
                  <a:gd name="connsiteX634" fmla="*/ 246453 w 596146"/>
                  <a:gd name="connsiteY634" fmla="*/ 457297 h 563255"/>
                  <a:gd name="connsiteX635" fmla="*/ 247765 w 596146"/>
                  <a:gd name="connsiteY635" fmla="*/ 459820 h 563255"/>
                  <a:gd name="connsiteX636" fmla="*/ 247765 w 596146"/>
                  <a:gd name="connsiteY636" fmla="*/ 463453 h 563255"/>
                  <a:gd name="connsiteX637" fmla="*/ 247765 w 596146"/>
                  <a:gd name="connsiteY637" fmla="*/ 466784 h 563255"/>
                  <a:gd name="connsiteX638" fmla="*/ 247765 w 596146"/>
                  <a:gd name="connsiteY638" fmla="*/ 470686 h 563255"/>
                  <a:gd name="connsiteX639" fmla="*/ 247025 w 596146"/>
                  <a:gd name="connsiteY639" fmla="*/ 473646 h 563255"/>
                  <a:gd name="connsiteX640" fmla="*/ 245813 w 596146"/>
                  <a:gd name="connsiteY640" fmla="*/ 476035 h 563255"/>
                  <a:gd name="connsiteX641" fmla="*/ 245678 w 596146"/>
                  <a:gd name="connsiteY641" fmla="*/ 478860 h 563255"/>
                  <a:gd name="connsiteX642" fmla="*/ 246049 w 596146"/>
                  <a:gd name="connsiteY642" fmla="*/ 480677 h 563255"/>
                  <a:gd name="connsiteX643" fmla="*/ 246049 w 596146"/>
                  <a:gd name="connsiteY643" fmla="*/ 481921 h 563255"/>
                  <a:gd name="connsiteX644" fmla="*/ 246957 w 596146"/>
                  <a:gd name="connsiteY644" fmla="*/ 483570 h 563255"/>
                  <a:gd name="connsiteX645" fmla="*/ 248438 w 596146"/>
                  <a:gd name="connsiteY645" fmla="*/ 485252 h 563255"/>
                  <a:gd name="connsiteX646" fmla="*/ 250255 w 596146"/>
                  <a:gd name="connsiteY646" fmla="*/ 486833 h 563255"/>
                  <a:gd name="connsiteX647" fmla="*/ 254092 w 596146"/>
                  <a:gd name="connsiteY647" fmla="*/ 487573 h 563255"/>
                  <a:gd name="connsiteX648" fmla="*/ 255775 w 596146"/>
                  <a:gd name="connsiteY648" fmla="*/ 489019 h 563255"/>
                  <a:gd name="connsiteX649" fmla="*/ 258299 w 596146"/>
                  <a:gd name="connsiteY649" fmla="*/ 488717 h 563255"/>
                  <a:gd name="connsiteX650" fmla="*/ 260251 w 596146"/>
                  <a:gd name="connsiteY650" fmla="*/ 488279 h 563255"/>
                  <a:gd name="connsiteX651" fmla="*/ 262943 w 596146"/>
                  <a:gd name="connsiteY651" fmla="*/ 487842 h 563255"/>
                  <a:gd name="connsiteX652" fmla="*/ 265333 w 596146"/>
                  <a:gd name="connsiteY652" fmla="*/ 486463 h 563255"/>
                  <a:gd name="connsiteX653" fmla="*/ 267217 w 596146"/>
                  <a:gd name="connsiteY653" fmla="*/ 485454 h 563255"/>
                  <a:gd name="connsiteX654" fmla="*/ 269472 w 596146"/>
                  <a:gd name="connsiteY654" fmla="*/ 483637 h 563255"/>
                  <a:gd name="connsiteX655" fmla="*/ 271155 w 596146"/>
                  <a:gd name="connsiteY655" fmla="*/ 482998 h 563255"/>
                  <a:gd name="connsiteX656" fmla="*/ 275362 w 596146"/>
                  <a:gd name="connsiteY656" fmla="*/ 482359 h 563255"/>
                  <a:gd name="connsiteX657" fmla="*/ 277179 w 596146"/>
                  <a:gd name="connsiteY657" fmla="*/ 480845 h 563255"/>
                  <a:gd name="connsiteX658" fmla="*/ 279569 w 596146"/>
                  <a:gd name="connsiteY658" fmla="*/ 479028 h 563255"/>
                  <a:gd name="connsiteX659" fmla="*/ 283406 w 596146"/>
                  <a:gd name="connsiteY659" fmla="*/ 478087 h 563255"/>
                  <a:gd name="connsiteX660" fmla="*/ 285492 w 596146"/>
                  <a:gd name="connsiteY660" fmla="*/ 479028 h 563255"/>
                  <a:gd name="connsiteX661" fmla="*/ 285930 w 596146"/>
                  <a:gd name="connsiteY661" fmla="*/ 479668 h 563255"/>
                  <a:gd name="connsiteX662" fmla="*/ 286367 w 596146"/>
                  <a:gd name="connsiteY662" fmla="*/ 480744 h 563255"/>
                  <a:gd name="connsiteX663" fmla="*/ 284415 w 596146"/>
                  <a:gd name="connsiteY663" fmla="*/ 482762 h 563255"/>
                  <a:gd name="connsiteX664" fmla="*/ 281453 w 596146"/>
                  <a:gd name="connsiteY664" fmla="*/ 484007 h 563255"/>
                  <a:gd name="connsiteX665" fmla="*/ 279636 w 596146"/>
                  <a:gd name="connsiteY665" fmla="*/ 485386 h 563255"/>
                  <a:gd name="connsiteX666" fmla="*/ 276607 w 596146"/>
                  <a:gd name="connsiteY666" fmla="*/ 486093 h 563255"/>
                  <a:gd name="connsiteX667" fmla="*/ 274521 w 596146"/>
                  <a:gd name="connsiteY667" fmla="*/ 487539 h 563255"/>
                  <a:gd name="connsiteX668" fmla="*/ 273343 w 596146"/>
                  <a:gd name="connsiteY668" fmla="*/ 488548 h 563255"/>
                  <a:gd name="connsiteX669" fmla="*/ 271694 w 596146"/>
                  <a:gd name="connsiteY669" fmla="*/ 488750 h 563255"/>
                  <a:gd name="connsiteX670" fmla="*/ 269001 w 596146"/>
                  <a:gd name="connsiteY670" fmla="*/ 490130 h 563255"/>
                  <a:gd name="connsiteX671" fmla="*/ 270516 w 596146"/>
                  <a:gd name="connsiteY671" fmla="*/ 492215 h 563255"/>
                  <a:gd name="connsiteX672" fmla="*/ 269641 w 596146"/>
                  <a:gd name="connsiteY672" fmla="*/ 494032 h 563255"/>
                  <a:gd name="connsiteX673" fmla="*/ 268261 w 596146"/>
                  <a:gd name="connsiteY673" fmla="*/ 495714 h 563255"/>
                  <a:gd name="connsiteX674" fmla="*/ 264996 w 596146"/>
                  <a:gd name="connsiteY674" fmla="*/ 496857 h 563255"/>
                  <a:gd name="connsiteX675" fmla="*/ 261664 w 596146"/>
                  <a:gd name="connsiteY675" fmla="*/ 497160 h 563255"/>
                  <a:gd name="connsiteX676" fmla="*/ 259847 w 596146"/>
                  <a:gd name="connsiteY676" fmla="*/ 498472 h 563255"/>
                  <a:gd name="connsiteX677" fmla="*/ 258131 w 596146"/>
                  <a:gd name="connsiteY677" fmla="*/ 499919 h 563255"/>
                  <a:gd name="connsiteX678" fmla="*/ 257121 w 596146"/>
                  <a:gd name="connsiteY678" fmla="*/ 501365 h 563255"/>
                  <a:gd name="connsiteX679" fmla="*/ 256549 w 596146"/>
                  <a:gd name="connsiteY679" fmla="*/ 504056 h 563255"/>
                  <a:gd name="connsiteX680" fmla="*/ 257693 w 596146"/>
                  <a:gd name="connsiteY680" fmla="*/ 507387 h 563255"/>
                  <a:gd name="connsiteX681" fmla="*/ 258939 w 596146"/>
                  <a:gd name="connsiteY681" fmla="*/ 509338 h 563255"/>
                  <a:gd name="connsiteX682" fmla="*/ 262136 w 596146"/>
                  <a:gd name="connsiteY682" fmla="*/ 509540 h 563255"/>
                  <a:gd name="connsiteX683" fmla="*/ 264155 w 596146"/>
                  <a:gd name="connsiteY683" fmla="*/ 509910 h 563255"/>
                  <a:gd name="connsiteX684" fmla="*/ 266040 w 596146"/>
                  <a:gd name="connsiteY684" fmla="*/ 510717 h 563255"/>
                  <a:gd name="connsiteX685" fmla="*/ 266982 w 596146"/>
                  <a:gd name="connsiteY685" fmla="*/ 512534 h 563255"/>
                  <a:gd name="connsiteX686" fmla="*/ 267420 w 596146"/>
                  <a:gd name="connsiteY686" fmla="*/ 513341 h 563255"/>
                  <a:gd name="connsiteX687" fmla="*/ 266915 w 596146"/>
                  <a:gd name="connsiteY687" fmla="*/ 514283 h 563255"/>
                  <a:gd name="connsiteX688" fmla="*/ 266612 w 596146"/>
                  <a:gd name="connsiteY688" fmla="*/ 514787 h 563255"/>
                  <a:gd name="connsiteX689" fmla="*/ 264222 w 596146"/>
                  <a:gd name="connsiteY689" fmla="*/ 518118 h 563255"/>
                  <a:gd name="connsiteX690" fmla="*/ 261765 w 596146"/>
                  <a:gd name="connsiteY690" fmla="*/ 520641 h 563255"/>
                  <a:gd name="connsiteX691" fmla="*/ 259814 w 596146"/>
                  <a:gd name="connsiteY691" fmla="*/ 521650 h 563255"/>
                  <a:gd name="connsiteX692" fmla="*/ 257929 w 596146"/>
                  <a:gd name="connsiteY692" fmla="*/ 522592 h 563255"/>
                  <a:gd name="connsiteX693" fmla="*/ 256347 w 596146"/>
                  <a:gd name="connsiteY693" fmla="*/ 523164 h 563255"/>
                  <a:gd name="connsiteX694" fmla="*/ 253823 w 596146"/>
                  <a:gd name="connsiteY694" fmla="*/ 523534 h 563255"/>
                  <a:gd name="connsiteX695" fmla="*/ 251804 w 596146"/>
                  <a:gd name="connsiteY695" fmla="*/ 523466 h 563255"/>
                  <a:gd name="connsiteX696" fmla="*/ 249616 w 596146"/>
                  <a:gd name="connsiteY696" fmla="*/ 523096 h 563255"/>
                  <a:gd name="connsiteX697" fmla="*/ 247025 w 596146"/>
                  <a:gd name="connsiteY697" fmla="*/ 523231 h 563255"/>
                  <a:gd name="connsiteX698" fmla="*/ 242683 w 596146"/>
                  <a:gd name="connsiteY698" fmla="*/ 523231 h 563255"/>
                  <a:gd name="connsiteX699" fmla="*/ 240866 w 596146"/>
                  <a:gd name="connsiteY699" fmla="*/ 523668 h 563255"/>
                  <a:gd name="connsiteX700" fmla="*/ 238476 w 596146"/>
                  <a:gd name="connsiteY700" fmla="*/ 525115 h 563255"/>
                  <a:gd name="connsiteX701" fmla="*/ 239621 w 596146"/>
                  <a:gd name="connsiteY701" fmla="*/ 527503 h 563255"/>
                  <a:gd name="connsiteX702" fmla="*/ 241371 w 596146"/>
                  <a:gd name="connsiteY702" fmla="*/ 530699 h 563255"/>
                  <a:gd name="connsiteX703" fmla="*/ 241304 w 596146"/>
                  <a:gd name="connsiteY703" fmla="*/ 531641 h 563255"/>
                  <a:gd name="connsiteX704" fmla="*/ 241000 w 596146"/>
                  <a:gd name="connsiteY704" fmla="*/ 534668 h 563255"/>
                  <a:gd name="connsiteX705" fmla="*/ 235852 w 596146"/>
                  <a:gd name="connsiteY705" fmla="*/ 537124 h 563255"/>
                  <a:gd name="connsiteX706" fmla="*/ 233597 w 596146"/>
                  <a:gd name="connsiteY706" fmla="*/ 537763 h 563255"/>
                  <a:gd name="connsiteX707" fmla="*/ 231779 w 596146"/>
                  <a:gd name="connsiteY707" fmla="*/ 539344 h 563255"/>
                  <a:gd name="connsiteX708" fmla="*/ 228582 w 596146"/>
                  <a:gd name="connsiteY708" fmla="*/ 539714 h 563255"/>
                  <a:gd name="connsiteX709" fmla="*/ 225957 w 596146"/>
                  <a:gd name="connsiteY709" fmla="*/ 539916 h 563255"/>
                  <a:gd name="connsiteX710" fmla="*/ 224813 w 596146"/>
                  <a:gd name="connsiteY710" fmla="*/ 540353 h 563255"/>
                  <a:gd name="connsiteX711" fmla="*/ 222053 w 596146"/>
                  <a:gd name="connsiteY711" fmla="*/ 541598 h 563255"/>
                  <a:gd name="connsiteX712" fmla="*/ 221683 w 596146"/>
                  <a:gd name="connsiteY712" fmla="*/ 541968 h 563255"/>
                  <a:gd name="connsiteX713" fmla="*/ 221481 w 596146"/>
                  <a:gd name="connsiteY713" fmla="*/ 544928 h 563255"/>
                  <a:gd name="connsiteX714" fmla="*/ 221784 w 596146"/>
                  <a:gd name="connsiteY714" fmla="*/ 546678 h 563255"/>
                  <a:gd name="connsiteX715" fmla="*/ 221784 w 596146"/>
                  <a:gd name="connsiteY715" fmla="*/ 548124 h 563255"/>
                  <a:gd name="connsiteX716" fmla="*/ 224005 w 596146"/>
                  <a:gd name="connsiteY716" fmla="*/ 550748 h 563255"/>
                  <a:gd name="connsiteX717" fmla="*/ 223669 w 596146"/>
                  <a:gd name="connsiteY717" fmla="*/ 552430 h 563255"/>
                  <a:gd name="connsiteX718" fmla="*/ 222154 w 596146"/>
                  <a:gd name="connsiteY718" fmla="*/ 554448 h 563255"/>
                  <a:gd name="connsiteX719" fmla="*/ 223096 w 596146"/>
                  <a:gd name="connsiteY719" fmla="*/ 556635 h 563255"/>
                  <a:gd name="connsiteX720" fmla="*/ 225553 w 596146"/>
                  <a:gd name="connsiteY720" fmla="*/ 558519 h 563255"/>
                  <a:gd name="connsiteX721" fmla="*/ 227000 w 596146"/>
                  <a:gd name="connsiteY721" fmla="*/ 562085 h 563255"/>
                  <a:gd name="connsiteX722" fmla="*/ 228952 w 596146"/>
                  <a:gd name="connsiteY722" fmla="*/ 563228 h 563255"/>
                  <a:gd name="connsiteX723" fmla="*/ 232049 w 596146"/>
                  <a:gd name="connsiteY723" fmla="*/ 563228 h 563255"/>
                  <a:gd name="connsiteX724" fmla="*/ 235751 w 596146"/>
                  <a:gd name="connsiteY724" fmla="*/ 560975 h 563255"/>
                  <a:gd name="connsiteX725" fmla="*/ 238443 w 596146"/>
                  <a:gd name="connsiteY725" fmla="*/ 559158 h 563255"/>
                  <a:gd name="connsiteX726" fmla="*/ 243289 w 596146"/>
                  <a:gd name="connsiteY726" fmla="*/ 554146 h 563255"/>
                  <a:gd name="connsiteX727" fmla="*/ 244602 w 596146"/>
                  <a:gd name="connsiteY727" fmla="*/ 551825 h 563255"/>
                  <a:gd name="connsiteX728" fmla="*/ 248068 w 596146"/>
                  <a:gd name="connsiteY728" fmla="*/ 550950 h 563255"/>
                  <a:gd name="connsiteX729" fmla="*/ 252107 w 596146"/>
                  <a:gd name="connsiteY729" fmla="*/ 550210 h 563255"/>
                  <a:gd name="connsiteX730" fmla="*/ 257559 w 596146"/>
                  <a:gd name="connsiteY730" fmla="*/ 548057 h 563255"/>
                  <a:gd name="connsiteX731" fmla="*/ 263414 w 596146"/>
                  <a:gd name="connsiteY731" fmla="*/ 546981 h 563255"/>
                  <a:gd name="connsiteX732" fmla="*/ 267319 w 596146"/>
                  <a:gd name="connsiteY732" fmla="*/ 545837 h 563255"/>
                  <a:gd name="connsiteX733" fmla="*/ 273982 w 596146"/>
                  <a:gd name="connsiteY733" fmla="*/ 543314 h 563255"/>
                  <a:gd name="connsiteX734" fmla="*/ 275732 w 596146"/>
                  <a:gd name="connsiteY734" fmla="*/ 542809 h 563255"/>
                  <a:gd name="connsiteX735" fmla="*/ 277112 w 596146"/>
                  <a:gd name="connsiteY735" fmla="*/ 542809 h 563255"/>
                  <a:gd name="connsiteX736" fmla="*/ 279064 w 596146"/>
                  <a:gd name="connsiteY736" fmla="*/ 542439 h 563255"/>
                  <a:gd name="connsiteX737" fmla="*/ 279771 w 596146"/>
                  <a:gd name="connsiteY737" fmla="*/ 541800 h 563255"/>
                  <a:gd name="connsiteX738" fmla="*/ 279703 w 596146"/>
                  <a:gd name="connsiteY738" fmla="*/ 540723 h 563255"/>
                  <a:gd name="connsiteX739" fmla="*/ 279771 w 596146"/>
                  <a:gd name="connsiteY739" fmla="*/ 538638 h 563255"/>
                  <a:gd name="connsiteX740" fmla="*/ 278256 w 596146"/>
                  <a:gd name="connsiteY740" fmla="*/ 537326 h 563255"/>
                  <a:gd name="connsiteX741" fmla="*/ 276304 w 596146"/>
                  <a:gd name="connsiteY741" fmla="*/ 536451 h 563255"/>
                  <a:gd name="connsiteX742" fmla="*/ 273847 w 596146"/>
                  <a:gd name="connsiteY742" fmla="*/ 535139 h 563255"/>
                  <a:gd name="connsiteX743" fmla="*/ 272333 w 596146"/>
                  <a:gd name="connsiteY743" fmla="*/ 532549 h 563255"/>
                  <a:gd name="connsiteX744" fmla="*/ 272535 w 596146"/>
                  <a:gd name="connsiteY744" fmla="*/ 529858 h 563255"/>
                  <a:gd name="connsiteX745" fmla="*/ 272737 w 596146"/>
                  <a:gd name="connsiteY745" fmla="*/ 528041 h 563255"/>
                  <a:gd name="connsiteX746" fmla="*/ 274117 w 596146"/>
                  <a:gd name="connsiteY746" fmla="*/ 526729 h 563255"/>
                  <a:gd name="connsiteX747" fmla="*/ 274689 w 596146"/>
                  <a:gd name="connsiteY747" fmla="*/ 525720 h 563255"/>
                  <a:gd name="connsiteX748" fmla="*/ 276708 w 596146"/>
                  <a:gd name="connsiteY748" fmla="*/ 526158 h 563255"/>
                  <a:gd name="connsiteX749" fmla="*/ 278795 w 596146"/>
                  <a:gd name="connsiteY749" fmla="*/ 527234 h 563255"/>
                  <a:gd name="connsiteX750" fmla="*/ 281622 w 596146"/>
                  <a:gd name="connsiteY750" fmla="*/ 530194 h 563255"/>
                  <a:gd name="connsiteX751" fmla="*/ 282127 w 596146"/>
                  <a:gd name="connsiteY751" fmla="*/ 531876 h 563255"/>
                  <a:gd name="connsiteX752" fmla="*/ 286905 w 596146"/>
                  <a:gd name="connsiteY752" fmla="*/ 533693 h 563255"/>
                  <a:gd name="connsiteX753" fmla="*/ 289429 w 596146"/>
                  <a:gd name="connsiteY753" fmla="*/ 533693 h 563255"/>
                  <a:gd name="connsiteX754" fmla="*/ 289564 w 596146"/>
                  <a:gd name="connsiteY754" fmla="*/ 531304 h 563255"/>
                  <a:gd name="connsiteX755" fmla="*/ 288925 w 596146"/>
                  <a:gd name="connsiteY755" fmla="*/ 528916 h 563255"/>
                  <a:gd name="connsiteX756" fmla="*/ 289934 w 596146"/>
                  <a:gd name="connsiteY756" fmla="*/ 526729 h 563255"/>
                  <a:gd name="connsiteX757" fmla="*/ 290507 w 596146"/>
                  <a:gd name="connsiteY757" fmla="*/ 524274 h 563255"/>
                  <a:gd name="connsiteX758" fmla="*/ 291954 w 596146"/>
                  <a:gd name="connsiteY758" fmla="*/ 522962 h 563255"/>
                  <a:gd name="connsiteX759" fmla="*/ 294141 w 596146"/>
                  <a:gd name="connsiteY759" fmla="*/ 521818 h 563255"/>
                  <a:gd name="connsiteX760" fmla="*/ 296464 w 596146"/>
                  <a:gd name="connsiteY760" fmla="*/ 521818 h 563255"/>
                  <a:gd name="connsiteX761" fmla="*/ 297776 w 596146"/>
                  <a:gd name="connsiteY761" fmla="*/ 520943 h 563255"/>
                  <a:gd name="connsiteX762" fmla="*/ 298213 w 596146"/>
                  <a:gd name="connsiteY762" fmla="*/ 520372 h 563255"/>
                  <a:gd name="connsiteX763" fmla="*/ 298651 w 596146"/>
                  <a:gd name="connsiteY763" fmla="*/ 518050 h 563255"/>
                  <a:gd name="connsiteX764" fmla="*/ 299661 w 596146"/>
                  <a:gd name="connsiteY764" fmla="*/ 515157 h 563255"/>
                  <a:gd name="connsiteX765" fmla="*/ 301848 w 596146"/>
                  <a:gd name="connsiteY765" fmla="*/ 513274 h 563255"/>
                  <a:gd name="connsiteX766" fmla="*/ 305180 w 596146"/>
                  <a:gd name="connsiteY766" fmla="*/ 511087 h 563255"/>
                  <a:gd name="connsiteX767" fmla="*/ 307939 w 596146"/>
                  <a:gd name="connsiteY767" fmla="*/ 510078 h 563255"/>
                  <a:gd name="connsiteX768" fmla="*/ 308209 w 596146"/>
                  <a:gd name="connsiteY768" fmla="*/ 507891 h 563255"/>
                  <a:gd name="connsiteX769" fmla="*/ 306930 w 596146"/>
                  <a:gd name="connsiteY769" fmla="*/ 504426 h 563255"/>
                  <a:gd name="connsiteX770" fmla="*/ 305045 w 596146"/>
                  <a:gd name="connsiteY770" fmla="*/ 504426 h 563255"/>
                  <a:gd name="connsiteX771" fmla="*/ 305045 w 596146"/>
                  <a:gd name="connsiteY771" fmla="*/ 501533 h 563255"/>
                  <a:gd name="connsiteX772" fmla="*/ 306055 w 596146"/>
                  <a:gd name="connsiteY772" fmla="*/ 499347 h 563255"/>
                  <a:gd name="connsiteX773" fmla="*/ 306930 w 596146"/>
                  <a:gd name="connsiteY773" fmla="*/ 497026 h 563255"/>
                  <a:gd name="connsiteX774" fmla="*/ 310598 w 596146"/>
                  <a:gd name="connsiteY774" fmla="*/ 493998 h 563255"/>
                  <a:gd name="connsiteX775" fmla="*/ 311709 w 596146"/>
                  <a:gd name="connsiteY775" fmla="*/ 492686 h 563255"/>
                  <a:gd name="connsiteX776" fmla="*/ 315613 w 596146"/>
                  <a:gd name="connsiteY776" fmla="*/ 490937 h 563255"/>
                  <a:gd name="connsiteX777" fmla="*/ 316623 w 596146"/>
                  <a:gd name="connsiteY777" fmla="*/ 488481 h 563255"/>
                  <a:gd name="connsiteX778" fmla="*/ 320089 w 596146"/>
                  <a:gd name="connsiteY778" fmla="*/ 487472 h 563255"/>
                  <a:gd name="connsiteX779" fmla="*/ 322849 w 596146"/>
                  <a:gd name="connsiteY779" fmla="*/ 485285 h 563255"/>
                  <a:gd name="connsiteX780" fmla="*/ 323421 w 596146"/>
                  <a:gd name="connsiteY780" fmla="*/ 482258 h 563255"/>
                  <a:gd name="connsiteX781" fmla="*/ 323858 w 596146"/>
                  <a:gd name="connsiteY781" fmla="*/ 480239 h 563255"/>
                  <a:gd name="connsiteX782" fmla="*/ 327493 w 596146"/>
                  <a:gd name="connsiteY782" fmla="*/ 478356 h 563255"/>
                  <a:gd name="connsiteX783" fmla="*/ 333584 w 596146"/>
                  <a:gd name="connsiteY783" fmla="*/ 475025 h 563255"/>
                  <a:gd name="connsiteX784" fmla="*/ 339238 w 596146"/>
                  <a:gd name="connsiteY784" fmla="*/ 469946 h 563255"/>
                  <a:gd name="connsiteX785" fmla="*/ 345330 w 596146"/>
                  <a:gd name="connsiteY785" fmla="*/ 464597 h 563255"/>
                  <a:gd name="connsiteX786" fmla="*/ 352936 w 596146"/>
                  <a:gd name="connsiteY786" fmla="*/ 458306 h 563255"/>
                  <a:gd name="connsiteX787" fmla="*/ 356638 w 596146"/>
                  <a:gd name="connsiteY787" fmla="*/ 456355 h 563255"/>
                  <a:gd name="connsiteX788" fmla="*/ 360474 w 596146"/>
                  <a:gd name="connsiteY788" fmla="*/ 452958 h 563255"/>
                  <a:gd name="connsiteX789" fmla="*/ 362662 w 596146"/>
                  <a:gd name="connsiteY789" fmla="*/ 450569 h 563255"/>
                  <a:gd name="connsiteX790" fmla="*/ 366128 w 596146"/>
                  <a:gd name="connsiteY790" fmla="*/ 448551 h 563255"/>
                  <a:gd name="connsiteX791" fmla="*/ 368518 w 596146"/>
                  <a:gd name="connsiteY791" fmla="*/ 447811 h 563255"/>
                  <a:gd name="connsiteX792" fmla="*/ 370335 w 596146"/>
                  <a:gd name="connsiteY792" fmla="*/ 446869 h 563255"/>
                  <a:gd name="connsiteX793" fmla="*/ 372523 w 596146"/>
                  <a:gd name="connsiteY793" fmla="*/ 444918 h 563255"/>
                  <a:gd name="connsiteX794" fmla="*/ 374542 w 596146"/>
                  <a:gd name="connsiteY794" fmla="*/ 442899 h 563255"/>
                  <a:gd name="connsiteX795" fmla="*/ 376561 w 596146"/>
                  <a:gd name="connsiteY795" fmla="*/ 442092 h 563255"/>
                  <a:gd name="connsiteX796" fmla="*/ 379826 w 596146"/>
                  <a:gd name="connsiteY796" fmla="*/ 441789 h 563255"/>
                  <a:gd name="connsiteX797" fmla="*/ 382585 w 596146"/>
                  <a:gd name="connsiteY797" fmla="*/ 439838 h 563255"/>
                  <a:gd name="connsiteX798" fmla="*/ 385917 w 596146"/>
                  <a:gd name="connsiteY798" fmla="*/ 439838 h 563255"/>
                  <a:gd name="connsiteX799" fmla="*/ 389518 w 596146"/>
                  <a:gd name="connsiteY799" fmla="*/ 439838 h 563255"/>
                  <a:gd name="connsiteX800" fmla="*/ 393153 w 596146"/>
                  <a:gd name="connsiteY800" fmla="*/ 439838 h 563255"/>
                  <a:gd name="connsiteX801" fmla="*/ 395038 w 596146"/>
                  <a:gd name="connsiteY801" fmla="*/ 438257 h 563255"/>
                  <a:gd name="connsiteX802" fmla="*/ 396788 w 596146"/>
                  <a:gd name="connsiteY802" fmla="*/ 436373 h 563255"/>
                  <a:gd name="connsiteX803" fmla="*/ 396350 w 596146"/>
                  <a:gd name="connsiteY803" fmla="*/ 434490 h 563255"/>
                  <a:gd name="connsiteX804" fmla="*/ 395475 w 596146"/>
                  <a:gd name="connsiteY804" fmla="*/ 432034 h 563255"/>
                  <a:gd name="connsiteX805" fmla="*/ 393725 w 596146"/>
                  <a:gd name="connsiteY805" fmla="*/ 430285 h 563255"/>
                  <a:gd name="connsiteX806" fmla="*/ 393860 w 596146"/>
                  <a:gd name="connsiteY806" fmla="*/ 425508 h 563255"/>
                  <a:gd name="connsiteX807" fmla="*/ 398639 w 596146"/>
                  <a:gd name="connsiteY807" fmla="*/ 424768 h 563255"/>
                  <a:gd name="connsiteX808" fmla="*/ 401971 w 596146"/>
                  <a:gd name="connsiteY808" fmla="*/ 423187 h 563255"/>
                  <a:gd name="connsiteX809" fmla="*/ 405168 w 596146"/>
                  <a:gd name="connsiteY809" fmla="*/ 424196 h 563255"/>
                  <a:gd name="connsiteX810" fmla="*/ 407355 w 596146"/>
                  <a:gd name="connsiteY810" fmla="*/ 424196 h 563255"/>
                  <a:gd name="connsiteX811" fmla="*/ 409105 w 596146"/>
                  <a:gd name="connsiteY811" fmla="*/ 425508 h 563255"/>
                  <a:gd name="connsiteX812" fmla="*/ 413009 w 596146"/>
                  <a:gd name="connsiteY812" fmla="*/ 425070 h 563255"/>
                  <a:gd name="connsiteX813" fmla="*/ 416644 w 596146"/>
                  <a:gd name="connsiteY813" fmla="*/ 425070 h 563255"/>
                  <a:gd name="connsiteX814" fmla="*/ 420144 w 596146"/>
                  <a:gd name="connsiteY814" fmla="*/ 422615 h 563255"/>
                  <a:gd name="connsiteX815" fmla="*/ 422466 w 596146"/>
                  <a:gd name="connsiteY815" fmla="*/ 419991 h 563255"/>
                  <a:gd name="connsiteX816" fmla="*/ 424485 w 596146"/>
                  <a:gd name="connsiteY816" fmla="*/ 418544 h 563255"/>
                  <a:gd name="connsiteX817" fmla="*/ 425933 w 596146"/>
                  <a:gd name="connsiteY817" fmla="*/ 416526 h 563255"/>
                  <a:gd name="connsiteX818" fmla="*/ 427817 w 596146"/>
                  <a:gd name="connsiteY818" fmla="*/ 414945 h 563255"/>
                  <a:gd name="connsiteX819" fmla="*/ 429264 w 596146"/>
                  <a:gd name="connsiteY819" fmla="*/ 412052 h 563255"/>
                  <a:gd name="connsiteX820" fmla="*/ 431452 w 596146"/>
                  <a:gd name="connsiteY820" fmla="*/ 411749 h 563255"/>
                  <a:gd name="connsiteX821" fmla="*/ 433034 w 596146"/>
                  <a:gd name="connsiteY821" fmla="*/ 411615 h 563255"/>
                  <a:gd name="connsiteX822" fmla="*/ 436938 w 596146"/>
                  <a:gd name="connsiteY822" fmla="*/ 412187 h 563255"/>
                  <a:gd name="connsiteX823" fmla="*/ 438082 w 596146"/>
                  <a:gd name="connsiteY823" fmla="*/ 413498 h 563255"/>
                  <a:gd name="connsiteX824" fmla="*/ 441716 w 596146"/>
                  <a:gd name="connsiteY824" fmla="*/ 415517 h 563255"/>
                  <a:gd name="connsiteX825" fmla="*/ 445183 w 596146"/>
                  <a:gd name="connsiteY825" fmla="*/ 415517 h 563255"/>
                  <a:gd name="connsiteX826" fmla="*/ 448683 w 596146"/>
                  <a:gd name="connsiteY826" fmla="*/ 413768 h 563255"/>
                  <a:gd name="connsiteX827" fmla="*/ 454203 w 596146"/>
                  <a:gd name="connsiteY827" fmla="*/ 413768 h 563255"/>
                  <a:gd name="connsiteX828" fmla="*/ 459116 w 596146"/>
                  <a:gd name="connsiteY828" fmla="*/ 412018 h 563255"/>
                  <a:gd name="connsiteX829" fmla="*/ 463323 w 596146"/>
                  <a:gd name="connsiteY829" fmla="*/ 412018 h 563255"/>
                  <a:gd name="connsiteX830" fmla="*/ 464333 w 596146"/>
                  <a:gd name="connsiteY830" fmla="*/ 412018 h 563255"/>
                  <a:gd name="connsiteX831" fmla="*/ 468674 w 596146"/>
                  <a:gd name="connsiteY831" fmla="*/ 412018 h 563255"/>
                  <a:gd name="connsiteX832" fmla="*/ 470559 w 596146"/>
                  <a:gd name="connsiteY832" fmla="*/ 410706 h 563255"/>
                  <a:gd name="connsiteX833" fmla="*/ 472006 w 596146"/>
                  <a:gd name="connsiteY833" fmla="*/ 409260 h 563255"/>
                  <a:gd name="connsiteX834" fmla="*/ 473015 w 596146"/>
                  <a:gd name="connsiteY834" fmla="*/ 408385 h 563255"/>
                  <a:gd name="connsiteX835" fmla="*/ 475337 w 596146"/>
                  <a:gd name="connsiteY835" fmla="*/ 406939 h 563255"/>
                  <a:gd name="connsiteX836" fmla="*/ 476347 w 596146"/>
                  <a:gd name="connsiteY836" fmla="*/ 405795 h 563255"/>
                  <a:gd name="connsiteX837" fmla="*/ 476482 w 596146"/>
                  <a:gd name="connsiteY837" fmla="*/ 404483 h 563255"/>
                  <a:gd name="connsiteX838" fmla="*/ 475607 w 596146"/>
                  <a:gd name="connsiteY838" fmla="*/ 402465 h 563255"/>
                  <a:gd name="connsiteX839" fmla="*/ 475607 w 596146"/>
                  <a:gd name="connsiteY839" fmla="*/ 399841 h 563255"/>
                  <a:gd name="connsiteX840" fmla="*/ 476246 w 596146"/>
                  <a:gd name="connsiteY840" fmla="*/ 397654 h 563255"/>
                  <a:gd name="connsiteX841" fmla="*/ 477188 w 596146"/>
                  <a:gd name="connsiteY841" fmla="*/ 396073 h 563255"/>
                  <a:gd name="connsiteX842" fmla="*/ 478198 w 596146"/>
                  <a:gd name="connsiteY842" fmla="*/ 394627 h 563255"/>
                  <a:gd name="connsiteX843" fmla="*/ 480789 w 596146"/>
                  <a:gd name="connsiteY843" fmla="*/ 394627 h 563255"/>
                  <a:gd name="connsiteX844" fmla="*/ 482539 w 596146"/>
                  <a:gd name="connsiteY844" fmla="*/ 393752 h 563255"/>
                  <a:gd name="connsiteX845" fmla="*/ 482539 w 596146"/>
                  <a:gd name="connsiteY845" fmla="*/ 392003 h 563255"/>
                  <a:gd name="connsiteX846" fmla="*/ 482843 w 596146"/>
                  <a:gd name="connsiteY846" fmla="*/ 389682 h 563255"/>
                  <a:gd name="connsiteX847" fmla="*/ 482539 w 596146"/>
                  <a:gd name="connsiteY847" fmla="*/ 386654 h 563255"/>
                  <a:gd name="connsiteX848" fmla="*/ 480958 w 596146"/>
                  <a:gd name="connsiteY848" fmla="*/ 383458 h 563255"/>
                  <a:gd name="connsiteX849" fmla="*/ 480520 w 596146"/>
                  <a:gd name="connsiteY849" fmla="*/ 379825 h 563255"/>
                  <a:gd name="connsiteX850" fmla="*/ 480655 w 596146"/>
                  <a:gd name="connsiteY850" fmla="*/ 377201 h 563255"/>
                  <a:gd name="connsiteX851" fmla="*/ 481227 w 596146"/>
                  <a:gd name="connsiteY851" fmla="*/ 373434 h 563255"/>
                  <a:gd name="connsiteX852" fmla="*/ 484693 w 596146"/>
                  <a:gd name="connsiteY852" fmla="*/ 370406 h 563255"/>
                  <a:gd name="connsiteX853" fmla="*/ 490650 w 596146"/>
                  <a:gd name="connsiteY853" fmla="*/ 367648 h 563255"/>
                  <a:gd name="connsiteX854" fmla="*/ 492669 w 596146"/>
                  <a:gd name="connsiteY854" fmla="*/ 364183 h 563255"/>
                  <a:gd name="connsiteX855" fmla="*/ 496439 w 596146"/>
                  <a:gd name="connsiteY855" fmla="*/ 360852 h 563255"/>
                  <a:gd name="connsiteX856" fmla="*/ 496742 w 596146"/>
                  <a:gd name="connsiteY856" fmla="*/ 358094 h 563255"/>
                  <a:gd name="connsiteX857" fmla="*/ 499804 w 596146"/>
                  <a:gd name="connsiteY857" fmla="*/ 353519 h 563255"/>
                  <a:gd name="connsiteX858" fmla="*/ 501891 w 596146"/>
                  <a:gd name="connsiteY858" fmla="*/ 350054 h 563255"/>
                  <a:gd name="connsiteX859" fmla="*/ 503910 w 596146"/>
                  <a:gd name="connsiteY859" fmla="*/ 348641 h 563255"/>
                  <a:gd name="connsiteX860" fmla="*/ 505862 w 596146"/>
                  <a:gd name="connsiteY860" fmla="*/ 346522 h 563255"/>
                  <a:gd name="connsiteX861" fmla="*/ 508858 w 596146"/>
                  <a:gd name="connsiteY861" fmla="*/ 343326 h 563255"/>
                  <a:gd name="connsiteX862" fmla="*/ 512559 w 596146"/>
                  <a:gd name="connsiteY862" fmla="*/ 339861 h 563255"/>
                  <a:gd name="connsiteX863" fmla="*/ 516026 w 596146"/>
                  <a:gd name="connsiteY863" fmla="*/ 337910 h 563255"/>
                  <a:gd name="connsiteX864" fmla="*/ 520603 w 596146"/>
                  <a:gd name="connsiteY864" fmla="*/ 335724 h 563255"/>
                  <a:gd name="connsiteX865" fmla="*/ 524069 w 596146"/>
                  <a:gd name="connsiteY865" fmla="*/ 333974 h 563255"/>
                  <a:gd name="connsiteX866" fmla="*/ 526257 w 596146"/>
                  <a:gd name="connsiteY866" fmla="*/ 332023 h 563255"/>
                  <a:gd name="connsiteX867" fmla="*/ 527569 w 596146"/>
                  <a:gd name="connsiteY867" fmla="*/ 330947 h 563255"/>
                  <a:gd name="connsiteX868" fmla="*/ 531271 w 596146"/>
                  <a:gd name="connsiteY868" fmla="*/ 327246 h 563255"/>
                  <a:gd name="connsiteX869" fmla="*/ 535175 w 596146"/>
                  <a:gd name="connsiteY869" fmla="*/ 323546 h 563255"/>
                  <a:gd name="connsiteX870" fmla="*/ 536925 w 596146"/>
                  <a:gd name="connsiteY870" fmla="*/ 319207 h 563255"/>
                  <a:gd name="connsiteX871" fmla="*/ 541704 w 596146"/>
                  <a:gd name="connsiteY871" fmla="*/ 316179 h 563255"/>
                  <a:gd name="connsiteX872" fmla="*/ 544531 w 596146"/>
                  <a:gd name="connsiteY872" fmla="*/ 313151 h 563255"/>
                  <a:gd name="connsiteX873" fmla="*/ 547796 w 596146"/>
                  <a:gd name="connsiteY873" fmla="*/ 309451 h 563255"/>
                  <a:gd name="connsiteX874" fmla="*/ 551060 w 596146"/>
                  <a:gd name="connsiteY874" fmla="*/ 309451 h 563255"/>
                  <a:gd name="connsiteX875" fmla="*/ 554762 w 596146"/>
                  <a:gd name="connsiteY875" fmla="*/ 307702 h 563255"/>
                  <a:gd name="connsiteX876" fmla="*/ 559541 w 596146"/>
                  <a:gd name="connsiteY876" fmla="*/ 307702 h 563255"/>
                  <a:gd name="connsiteX877" fmla="*/ 563445 w 596146"/>
                  <a:gd name="connsiteY877" fmla="*/ 306625 h 563255"/>
                  <a:gd name="connsiteX878" fmla="*/ 566070 w 596146"/>
                  <a:gd name="connsiteY878" fmla="*/ 305112 h 563255"/>
                  <a:gd name="connsiteX879" fmla="*/ 567383 w 596146"/>
                  <a:gd name="connsiteY879" fmla="*/ 301848 h 563255"/>
                  <a:gd name="connsiteX880" fmla="*/ 569335 w 596146"/>
                  <a:gd name="connsiteY880" fmla="*/ 296399 h 563255"/>
                  <a:gd name="connsiteX881" fmla="*/ 575628 w 596146"/>
                  <a:gd name="connsiteY881" fmla="*/ 293371 h 563255"/>
                  <a:gd name="connsiteX882" fmla="*/ 582729 w 596146"/>
                  <a:gd name="connsiteY882" fmla="*/ 286912 h 563255"/>
                  <a:gd name="connsiteX883" fmla="*/ 584479 w 596146"/>
                  <a:gd name="connsiteY883" fmla="*/ 283515 h 563255"/>
                  <a:gd name="connsiteX884" fmla="*/ 587441 w 596146"/>
                  <a:gd name="connsiteY884" fmla="*/ 280891 h 563255"/>
                  <a:gd name="connsiteX885" fmla="*/ 590066 w 596146"/>
                  <a:gd name="connsiteY885" fmla="*/ 277998 h 563255"/>
                  <a:gd name="connsiteX886" fmla="*/ 591883 w 596146"/>
                  <a:gd name="connsiteY886" fmla="*/ 274802 h 563255"/>
                  <a:gd name="connsiteX887" fmla="*/ 592018 w 596146"/>
                  <a:gd name="connsiteY887" fmla="*/ 273995 h 563255"/>
                  <a:gd name="connsiteX888" fmla="*/ 591951 w 596146"/>
                  <a:gd name="connsiteY888" fmla="*/ 272313 h 563255"/>
                  <a:gd name="connsiteX889" fmla="*/ 591580 w 596146"/>
                  <a:gd name="connsiteY889" fmla="*/ 269487 h 563255"/>
                  <a:gd name="connsiteX890" fmla="*/ 590705 w 596146"/>
                  <a:gd name="connsiteY890" fmla="*/ 267906 h 563255"/>
                  <a:gd name="connsiteX891" fmla="*/ 588686 w 596146"/>
                  <a:gd name="connsiteY891" fmla="*/ 267839 h 563255"/>
                  <a:gd name="connsiteX892" fmla="*/ 587104 w 596146"/>
                  <a:gd name="connsiteY892" fmla="*/ 269353 h 563255"/>
                  <a:gd name="connsiteX893" fmla="*/ 585085 w 596146"/>
                  <a:gd name="connsiteY893" fmla="*/ 271236 h 563255"/>
                  <a:gd name="connsiteX894" fmla="*/ 581820 w 596146"/>
                  <a:gd name="connsiteY894" fmla="*/ 271035 h 563255"/>
                  <a:gd name="connsiteX895" fmla="*/ 581619 w 596146"/>
                  <a:gd name="connsiteY895" fmla="*/ 269016 h 563255"/>
                  <a:gd name="connsiteX896" fmla="*/ 582763 w 596146"/>
                  <a:gd name="connsiteY896" fmla="*/ 267570 h 563255"/>
                  <a:gd name="connsiteX897" fmla="*/ 584513 w 596146"/>
                  <a:gd name="connsiteY897" fmla="*/ 265383 h 563255"/>
                  <a:gd name="connsiteX898" fmla="*/ 586532 w 596146"/>
                  <a:gd name="connsiteY898" fmla="*/ 263802 h 563255"/>
                  <a:gd name="connsiteX899" fmla="*/ 588720 w 596146"/>
                  <a:gd name="connsiteY899" fmla="*/ 261616 h 563255"/>
                  <a:gd name="connsiteX900" fmla="*/ 588720 w 596146"/>
                  <a:gd name="connsiteY900" fmla="*/ 259160 h 563255"/>
                  <a:gd name="connsiteX901" fmla="*/ 589157 w 596146"/>
                  <a:gd name="connsiteY901" fmla="*/ 256401 h 563255"/>
                  <a:gd name="connsiteX902" fmla="*/ 589595 w 596146"/>
                  <a:gd name="connsiteY902" fmla="*/ 254517 h 563255"/>
                  <a:gd name="connsiteX903" fmla="*/ 590470 w 596146"/>
                  <a:gd name="connsiteY903" fmla="*/ 251187 h 563255"/>
                  <a:gd name="connsiteX904" fmla="*/ 590470 w 596146"/>
                  <a:gd name="connsiteY904" fmla="*/ 248160 h 563255"/>
                  <a:gd name="connsiteX905" fmla="*/ 590672 w 596146"/>
                  <a:gd name="connsiteY905" fmla="*/ 246713 h 563255"/>
                  <a:gd name="connsiteX906" fmla="*/ 593196 w 596146"/>
                  <a:gd name="connsiteY906" fmla="*/ 245704 h 563255"/>
                  <a:gd name="connsiteX907" fmla="*/ 596090 w 596146"/>
                  <a:gd name="connsiteY907" fmla="*/ 243955 h 563255"/>
                  <a:gd name="connsiteX908" fmla="*/ 595888 w 596146"/>
                  <a:gd name="connsiteY908" fmla="*/ 241734 h 563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</a:cxnLst>
                <a:rect l="l" t="t" r="r" b="b"/>
                <a:pathLst>
                  <a:path w="596146" h="563255">
                    <a:moveTo>
                      <a:pt x="595888" y="241734"/>
                    </a:moveTo>
                    <a:lnTo>
                      <a:pt x="594003" y="238101"/>
                    </a:lnTo>
                    <a:lnTo>
                      <a:pt x="590672" y="233762"/>
                    </a:lnTo>
                    <a:lnTo>
                      <a:pt x="586330" y="228413"/>
                    </a:lnTo>
                    <a:lnTo>
                      <a:pt x="585186" y="228110"/>
                    </a:lnTo>
                    <a:cubicBezTo>
                      <a:pt x="585186" y="228110"/>
                      <a:pt x="583301" y="228245"/>
                      <a:pt x="582729" y="228245"/>
                    </a:cubicBezTo>
                    <a:cubicBezTo>
                      <a:pt x="582157" y="228245"/>
                      <a:pt x="579263" y="226933"/>
                      <a:pt x="579263" y="226933"/>
                    </a:cubicBezTo>
                    <a:lnTo>
                      <a:pt x="578119" y="226798"/>
                    </a:lnTo>
                    <a:lnTo>
                      <a:pt x="578119" y="223468"/>
                    </a:lnTo>
                    <a:lnTo>
                      <a:pt x="576301" y="220878"/>
                    </a:lnTo>
                    <a:lnTo>
                      <a:pt x="573777" y="218994"/>
                    </a:lnTo>
                    <a:lnTo>
                      <a:pt x="571455" y="215966"/>
                    </a:lnTo>
                    <a:lnTo>
                      <a:pt x="570142" y="212199"/>
                    </a:lnTo>
                    <a:lnTo>
                      <a:pt x="569267" y="208431"/>
                    </a:lnTo>
                    <a:lnTo>
                      <a:pt x="566373" y="202780"/>
                    </a:lnTo>
                    <a:cubicBezTo>
                      <a:pt x="566373" y="202780"/>
                      <a:pt x="563176" y="197868"/>
                      <a:pt x="563041" y="197263"/>
                    </a:cubicBezTo>
                    <a:cubicBezTo>
                      <a:pt x="562907" y="196691"/>
                      <a:pt x="562469" y="195514"/>
                      <a:pt x="561897" y="194942"/>
                    </a:cubicBezTo>
                    <a:cubicBezTo>
                      <a:pt x="561325" y="194370"/>
                      <a:pt x="562032" y="192923"/>
                      <a:pt x="561897" y="192486"/>
                    </a:cubicBezTo>
                    <a:cubicBezTo>
                      <a:pt x="561762" y="192049"/>
                      <a:pt x="561594" y="190299"/>
                      <a:pt x="561156" y="189862"/>
                    </a:cubicBezTo>
                    <a:cubicBezTo>
                      <a:pt x="560719" y="189425"/>
                      <a:pt x="559710" y="186094"/>
                      <a:pt x="559710" y="186094"/>
                    </a:cubicBezTo>
                    <a:lnTo>
                      <a:pt x="558128" y="184211"/>
                    </a:lnTo>
                    <a:cubicBezTo>
                      <a:pt x="558128" y="184211"/>
                      <a:pt x="555234" y="184211"/>
                      <a:pt x="554661" y="184211"/>
                    </a:cubicBezTo>
                    <a:cubicBezTo>
                      <a:pt x="554089" y="184211"/>
                      <a:pt x="552911" y="184413"/>
                      <a:pt x="550455" y="184413"/>
                    </a:cubicBezTo>
                    <a:cubicBezTo>
                      <a:pt x="547998" y="184413"/>
                      <a:pt x="546820" y="183908"/>
                      <a:pt x="545541" y="183908"/>
                    </a:cubicBezTo>
                    <a:cubicBezTo>
                      <a:pt x="544262" y="183908"/>
                      <a:pt x="544094" y="183033"/>
                      <a:pt x="543959" y="182024"/>
                    </a:cubicBezTo>
                    <a:cubicBezTo>
                      <a:pt x="543825" y="181015"/>
                      <a:pt x="543959" y="179871"/>
                      <a:pt x="543959" y="179871"/>
                    </a:cubicBezTo>
                    <a:lnTo>
                      <a:pt x="544666" y="177987"/>
                    </a:lnTo>
                    <a:lnTo>
                      <a:pt x="546551" y="174354"/>
                    </a:lnTo>
                    <a:lnTo>
                      <a:pt x="548435" y="171024"/>
                    </a:lnTo>
                    <a:lnTo>
                      <a:pt x="548873" y="168266"/>
                    </a:lnTo>
                    <a:lnTo>
                      <a:pt x="546853" y="164801"/>
                    </a:lnTo>
                    <a:lnTo>
                      <a:pt x="543387" y="163051"/>
                    </a:lnTo>
                    <a:lnTo>
                      <a:pt x="541502" y="161908"/>
                    </a:lnTo>
                    <a:lnTo>
                      <a:pt x="538036" y="161605"/>
                    </a:lnTo>
                    <a:lnTo>
                      <a:pt x="536892" y="158712"/>
                    </a:lnTo>
                    <a:lnTo>
                      <a:pt x="538541" y="156021"/>
                    </a:lnTo>
                    <a:lnTo>
                      <a:pt x="541435" y="153498"/>
                    </a:lnTo>
                    <a:lnTo>
                      <a:pt x="545272" y="150975"/>
                    </a:lnTo>
                    <a:lnTo>
                      <a:pt x="547224" y="147712"/>
                    </a:lnTo>
                    <a:lnTo>
                      <a:pt x="548637" y="143339"/>
                    </a:lnTo>
                    <a:cubicBezTo>
                      <a:pt x="548637" y="143339"/>
                      <a:pt x="549613" y="141858"/>
                      <a:pt x="549613" y="141757"/>
                    </a:cubicBezTo>
                    <a:cubicBezTo>
                      <a:pt x="549613" y="141657"/>
                      <a:pt x="550320" y="140378"/>
                      <a:pt x="550421" y="140345"/>
                    </a:cubicBezTo>
                    <a:cubicBezTo>
                      <a:pt x="550522" y="140311"/>
                      <a:pt x="551935" y="138091"/>
                      <a:pt x="552104" y="137822"/>
                    </a:cubicBezTo>
                    <a:cubicBezTo>
                      <a:pt x="552305" y="137519"/>
                      <a:pt x="552911" y="136745"/>
                      <a:pt x="553046" y="136510"/>
                    </a:cubicBezTo>
                    <a:cubicBezTo>
                      <a:pt x="553180" y="136274"/>
                      <a:pt x="553484" y="135400"/>
                      <a:pt x="553484" y="135400"/>
                    </a:cubicBezTo>
                    <a:lnTo>
                      <a:pt x="553080" y="134088"/>
                    </a:lnTo>
                    <a:cubicBezTo>
                      <a:pt x="553080" y="134088"/>
                      <a:pt x="551599" y="132944"/>
                      <a:pt x="551161" y="132910"/>
                    </a:cubicBezTo>
                    <a:cubicBezTo>
                      <a:pt x="550724" y="132877"/>
                      <a:pt x="549781" y="132473"/>
                      <a:pt x="549512" y="132473"/>
                    </a:cubicBezTo>
                    <a:cubicBezTo>
                      <a:pt x="549277" y="132473"/>
                      <a:pt x="547055" y="133146"/>
                      <a:pt x="547055" y="133146"/>
                    </a:cubicBezTo>
                    <a:cubicBezTo>
                      <a:pt x="547055" y="133146"/>
                      <a:pt x="546584" y="133583"/>
                      <a:pt x="546349" y="133684"/>
                    </a:cubicBezTo>
                    <a:cubicBezTo>
                      <a:pt x="546147" y="133785"/>
                      <a:pt x="545675" y="134189"/>
                      <a:pt x="545440" y="134323"/>
                    </a:cubicBezTo>
                    <a:cubicBezTo>
                      <a:pt x="545204" y="134458"/>
                      <a:pt x="544127" y="134895"/>
                      <a:pt x="543488" y="135164"/>
                    </a:cubicBezTo>
                    <a:cubicBezTo>
                      <a:pt x="542849" y="135433"/>
                      <a:pt x="542209" y="135534"/>
                      <a:pt x="541132" y="135702"/>
                    </a:cubicBezTo>
                    <a:cubicBezTo>
                      <a:pt x="540055" y="135904"/>
                      <a:pt x="539988" y="134895"/>
                      <a:pt x="539988" y="134895"/>
                    </a:cubicBezTo>
                    <a:lnTo>
                      <a:pt x="538541" y="133785"/>
                    </a:lnTo>
                    <a:lnTo>
                      <a:pt x="537094" y="133146"/>
                    </a:lnTo>
                    <a:cubicBezTo>
                      <a:pt x="537094" y="133146"/>
                      <a:pt x="535748" y="131935"/>
                      <a:pt x="535613" y="131935"/>
                    </a:cubicBezTo>
                    <a:cubicBezTo>
                      <a:pt x="535478" y="131935"/>
                      <a:pt x="534469" y="131531"/>
                      <a:pt x="534368" y="131430"/>
                    </a:cubicBezTo>
                    <a:cubicBezTo>
                      <a:pt x="534300" y="131329"/>
                      <a:pt x="532921" y="129479"/>
                      <a:pt x="532921" y="129479"/>
                    </a:cubicBezTo>
                    <a:lnTo>
                      <a:pt x="532921" y="127662"/>
                    </a:lnTo>
                    <a:lnTo>
                      <a:pt x="533459" y="125207"/>
                    </a:lnTo>
                    <a:lnTo>
                      <a:pt x="534536" y="124130"/>
                    </a:lnTo>
                    <a:lnTo>
                      <a:pt x="534805" y="121876"/>
                    </a:lnTo>
                    <a:lnTo>
                      <a:pt x="533459" y="119892"/>
                    </a:lnTo>
                    <a:lnTo>
                      <a:pt x="532617" y="118916"/>
                    </a:lnTo>
                    <a:cubicBezTo>
                      <a:pt x="532617" y="118916"/>
                      <a:pt x="531507" y="117739"/>
                      <a:pt x="531171" y="117604"/>
                    </a:cubicBezTo>
                    <a:cubicBezTo>
                      <a:pt x="530800" y="117470"/>
                      <a:pt x="530430" y="117604"/>
                      <a:pt x="530228" y="117604"/>
                    </a:cubicBezTo>
                    <a:cubicBezTo>
                      <a:pt x="530026" y="117604"/>
                      <a:pt x="528646" y="118176"/>
                      <a:pt x="528142" y="118243"/>
                    </a:cubicBezTo>
                    <a:cubicBezTo>
                      <a:pt x="527637" y="118311"/>
                      <a:pt x="526627" y="118311"/>
                      <a:pt x="525315" y="118311"/>
                    </a:cubicBezTo>
                    <a:cubicBezTo>
                      <a:pt x="524002" y="118311"/>
                      <a:pt x="522487" y="116494"/>
                      <a:pt x="522690" y="116292"/>
                    </a:cubicBezTo>
                    <a:cubicBezTo>
                      <a:pt x="522891" y="116090"/>
                      <a:pt x="522690" y="114274"/>
                      <a:pt x="522690" y="114274"/>
                    </a:cubicBezTo>
                    <a:lnTo>
                      <a:pt x="522252" y="111953"/>
                    </a:lnTo>
                    <a:lnTo>
                      <a:pt x="519358" y="108622"/>
                    </a:lnTo>
                    <a:lnTo>
                      <a:pt x="518651" y="105528"/>
                    </a:lnTo>
                    <a:cubicBezTo>
                      <a:pt x="518651" y="105528"/>
                      <a:pt x="515117" y="101625"/>
                      <a:pt x="515185" y="101121"/>
                    </a:cubicBezTo>
                    <a:cubicBezTo>
                      <a:pt x="515252" y="100616"/>
                      <a:pt x="516430" y="99102"/>
                      <a:pt x="516766" y="98531"/>
                    </a:cubicBezTo>
                    <a:cubicBezTo>
                      <a:pt x="517136" y="97959"/>
                      <a:pt x="519391" y="93014"/>
                      <a:pt x="519391" y="93014"/>
                    </a:cubicBezTo>
                    <a:lnTo>
                      <a:pt x="518684" y="91130"/>
                    </a:lnTo>
                    <a:cubicBezTo>
                      <a:pt x="518684" y="91130"/>
                      <a:pt x="516598" y="88001"/>
                      <a:pt x="516160" y="87429"/>
                    </a:cubicBezTo>
                    <a:cubicBezTo>
                      <a:pt x="515723" y="86858"/>
                      <a:pt x="513333" y="86353"/>
                      <a:pt x="513333" y="86353"/>
                    </a:cubicBezTo>
                    <a:cubicBezTo>
                      <a:pt x="513333" y="86353"/>
                      <a:pt x="511146" y="87732"/>
                      <a:pt x="510372" y="87799"/>
                    </a:cubicBezTo>
                    <a:cubicBezTo>
                      <a:pt x="509564" y="87867"/>
                      <a:pt x="507680" y="88472"/>
                      <a:pt x="506367" y="88371"/>
                    </a:cubicBezTo>
                    <a:cubicBezTo>
                      <a:pt x="505055" y="88304"/>
                      <a:pt x="503102" y="85176"/>
                      <a:pt x="502598" y="84604"/>
                    </a:cubicBezTo>
                    <a:cubicBezTo>
                      <a:pt x="502093" y="84032"/>
                      <a:pt x="502362" y="82518"/>
                      <a:pt x="502362" y="82081"/>
                    </a:cubicBezTo>
                    <a:cubicBezTo>
                      <a:pt x="502362" y="81643"/>
                      <a:pt x="503002" y="78750"/>
                      <a:pt x="503002" y="78750"/>
                    </a:cubicBezTo>
                    <a:lnTo>
                      <a:pt x="503809" y="77237"/>
                    </a:lnTo>
                    <a:lnTo>
                      <a:pt x="503372" y="75656"/>
                    </a:lnTo>
                    <a:lnTo>
                      <a:pt x="503372" y="72191"/>
                    </a:lnTo>
                    <a:cubicBezTo>
                      <a:pt x="503372" y="72191"/>
                      <a:pt x="502429" y="70240"/>
                      <a:pt x="502160" y="70240"/>
                    </a:cubicBezTo>
                    <a:cubicBezTo>
                      <a:pt x="501891" y="70240"/>
                      <a:pt x="498525" y="69735"/>
                      <a:pt x="498525" y="69735"/>
                    </a:cubicBezTo>
                    <a:lnTo>
                      <a:pt x="494117" y="70172"/>
                    </a:lnTo>
                    <a:lnTo>
                      <a:pt x="491492" y="69365"/>
                    </a:lnTo>
                    <a:cubicBezTo>
                      <a:pt x="491492" y="69365"/>
                      <a:pt x="489102" y="65160"/>
                      <a:pt x="488968" y="64790"/>
                    </a:cubicBezTo>
                    <a:cubicBezTo>
                      <a:pt x="488833" y="64420"/>
                      <a:pt x="489035" y="61392"/>
                      <a:pt x="489035" y="61392"/>
                    </a:cubicBezTo>
                    <a:cubicBezTo>
                      <a:pt x="489035" y="61392"/>
                      <a:pt x="489540" y="56481"/>
                      <a:pt x="489540" y="56111"/>
                    </a:cubicBezTo>
                    <a:cubicBezTo>
                      <a:pt x="489540" y="55741"/>
                      <a:pt x="490112" y="51839"/>
                      <a:pt x="490112" y="51839"/>
                    </a:cubicBezTo>
                    <a:lnTo>
                      <a:pt x="490549" y="49955"/>
                    </a:lnTo>
                    <a:lnTo>
                      <a:pt x="491997" y="44808"/>
                    </a:lnTo>
                    <a:cubicBezTo>
                      <a:pt x="491997" y="44808"/>
                      <a:pt x="492568" y="43227"/>
                      <a:pt x="492636" y="42992"/>
                    </a:cubicBezTo>
                    <a:cubicBezTo>
                      <a:pt x="492703" y="42756"/>
                      <a:pt x="493343" y="40166"/>
                      <a:pt x="493343" y="40166"/>
                    </a:cubicBezTo>
                    <a:cubicBezTo>
                      <a:pt x="493343" y="40166"/>
                      <a:pt x="495093" y="39157"/>
                      <a:pt x="495362" y="38787"/>
                    </a:cubicBezTo>
                    <a:cubicBezTo>
                      <a:pt x="495665" y="38417"/>
                      <a:pt x="497751" y="37037"/>
                      <a:pt x="497751" y="37037"/>
                    </a:cubicBezTo>
                    <a:lnTo>
                      <a:pt x="499131" y="34649"/>
                    </a:lnTo>
                    <a:lnTo>
                      <a:pt x="497886" y="31621"/>
                    </a:lnTo>
                    <a:lnTo>
                      <a:pt x="495362" y="28358"/>
                    </a:lnTo>
                    <a:lnTo>
                      <a:pt x="492905" y="28056"/>
                    </a:lnTo>
                    <a:lnTo>
                      <a:pt x="489338" y="28796"/>
                    </a:lnTo>
                    <a:lnTo>
                      <a:pt x="485501" y="31117"/>
                    </a:lnTo>
                    <a:lnTo>
                      <a:pt x="483213" y="32328"/>
                    </a:lnTo>
                    <a:cubicBezTo>
                      <a:pt x="483213" y="32328"/>
                      <a:pt x="482338" y="33572"/>
                      <a:pt x="482068" y="33673"/>
                    </a:cubicBezTo>
                    <a:cubicBezTo>
                      <a:pt x="481799" y="33774"/>
                      <a:pt x="479174" y="36499"/>
                      <a:pt x="479174" y="36499"/>
                    </a:cubicBezTo>
                    <a:cubicBezTo>
                      <a:pt x="479174" y="36499"/>
                      <a:pt x="477491" y="38517"/>
                      <a:pt x="477458" y="38719"/>
                    </a:cubicBezTo>
                    <a:cubicBezTo>
                      <a:pt x="477391" y="38921"/>
                      <a:pt x="474732" y="41040"/>
                      <a:pt x="474732" y="41040"/>
                    </a:cubicBezTo>
                    <a:lnTo>
                      <a:pt x="471299" y="42992"/>
                    </a:lnTo>
                    <a:cubicBezTo>
                      <a:pt x="471299" y="42992"/>
                      <a:pt x="469953" y="43362"/>
                      <a:pt x="469616" y="43631"/>
                    </a:cubicBezTo>
                    <a:cubicBezTo>
                      <a:pt x="469280" y="43900"/>
                      <a:pt x="469280" y="44606"/>
                      <a:pt x="469246" y="44943"/>
                    </a:cubicBezTo>
                    <a:cubicBezTo>
                      <a:pt x="469179" y="45279"/>
                      <a:pt x="470155" y="46389"/>
                      <a:pt x="470660" y="46726"/>
                    </a:cubicBezTo>
                    <a:cubicBezTo>
                      <a:pt x="471164" y="47062"/>
                      <a:pt x="471299" y="48071"/>
                      <a:pt x="471299" y="48071"/>
                    </a:cubicBezTo>
                    <a:lnTo>
                      <a:pt x="470861" y="49753"/>
                    </a:lnTo>
                    <a:cubicBezTo>
                      <a:pt x="470861" y="49753"/>
                      <a:pt x="469280" y="51267"/>
                      <a:pt x="469111" y="51334"/>
                    </a:cubicBezTo>
                    <a:cubicBezTo>
                      <a:pt x="468943" y="51401"/>
                      <a:pt x="468304" y="53252"/>
                      <a:pt x="468304" y="53622"/>
                    </a:cubicBezTo>
                    <a:cubicBezTo>
                      <a:pt x="468304" y="53992"/>
                      <a:pt x="467530" y="55741"/>
                      <a:pt x="467530" y="56010"/>
                    </a:cubicBezTo>
                    <a:cubicBezTo>
                      <a:pt x="467530" y="56279"/>
                      <a:pt x="466991" y="57793"/>
                      <a:pt x="466991" y="57793"/>
                    </a:cubicBezTo>
                    <a:cubicBezTo>
                      <a:pt x="466991" y="57793"/>
                      <a:pt x="465578" y="59980"/>
                      <a:pt x="465510" y="60181"/>
                    </a:cubicBezTo>
                    <a:cubicBezTo>
                      <a:pt x="465477" y="60417"/>
                      <a:pt x="464265" y="62637"/>
                      <a:pt x="464265" y="62637"/>
                    </a:cubicBezTo>
                    <a:cubicBezTo>
                      <a:pt x="464265" y="62637"/>
                      <a:pt x="463390" y="66808"/>
                      <a:pt x="462515" y="67145"/>
                    </a:cubicBezTo>
                    <a:cubicBezTo>
                      <a:pt x="461640" y="67481"/>
                      <a:pt x="460462" y="67044"/>
                      <a:pt x="458813" y="66707"/>
                    </a:cubicBezTo>
                    <a:cubicBezTo>
                      <a:pt x="457198" y="66371"/>
                      <a:pt x="457198" y="67044"/>
                      <a:pt x="456087" y="66506"/>
                    </a:cubicBezTo>
                    <a:cubicBezTo>
                      <a:pt x="455010" y="65967"/>
                      <a:pt x="454774" y="66506"/>
                      <a:pt x="454337" y="66169"/>
                    </a:cubicBezTo>
                    <a:cubicBezTo>
                      <a:pt x="453899" y="65833"/>
                      <a:pt x="451948" y="62906"/>
                      <a:pt x="451948" y="62906"/>
                    </a:cubicBezTo>
                    <a:lnTo>
                      <a:pt x="453159" y="61931"/>
                    </a:lnTo>
                    <a:lnTo>
                      <a:pt x="453799" y="59105"/>
                    </a:lnTo>
                    <a:lnTo>
                      <a:pt x="453159" y="55842"/>
                    </a:lnTo>
                    <a:cubicBezTo>
                      <a:pt x="453159" y="55842"/>
                      <a:pt x="451948" y="54967"/>
                      <a:pt x="451544" y="54429"/>
                    </a:cubicBezTo>
                    <a:cubicBezTo>
                      <a:pt x="451106" y="53891"/>
                      <a:pt x="451005" y="52242"/>
                      <a:pt x="451005" y="51603"/>
                    </a:cubicBezTo>
                    <a:cubicBezTo>
                      <a:pt x="451005" y="50964"/>
                      <a:pt x="451645" y="50089"/>
                      <a:pt x="451645" y="50089"/>
                    </a:cubicBezTo>
                    <a:lnTo>
                      <a:pt x="453159" y="46490"/>
                    </a:lnTo>
                    <a:cubicBezTo>
                      <a:pt x="453159" y="46490"/>
                      <a:pt x="452520" y="43664"/>
                      <a:pt x="452385" y="43328"/>
                    </a:cubicBezTo>
                    <a:cubicBezTo>
                      <a:pt x="452284" y="42992"/>
                      <a:pt x="450770" y="41040"/>
                      <a:pt x="450770" y="41040"/>
                    </a:cubicBezTo>
                    <a:lnTo>
                      <a:pt x="447943" y="41242"/>
                    </a:lnTo>
                    <a:lnTo>
                      <a:pt x="445015" y="38753"/>
                    </a:lnTo>
                    <a:lnTo>
                      <a:pt x="442827" y="35591"/>
                    </a:lnTo>
                    <a:lnTo>
                      <a:pt x="442188" y="33539"/>
                    </a:lnTo>
                    <a:lnTo>
                      <a:pt x="440875" y="29738"/>
                    </a:lnTo>
                    <a:lnTo>
                      <a:pt x="439260" y="29637"/>
                    </a:lnTo>
                    <a:cubicBezTo>
                      <a:pt x="439260" y="29637"/>
                      <a:pt x="434683" y="28997"/>
                      <a:pt x="434380" y="28762"/>
                    </a:cubicBezTo>
                    <a:cubicBezTo>
                      <a:pt x="434043" y="28526"/>
                      <a:pt x="433404" y="27349"/>
                      <a:pt x="433404" y="27349"/>
                    </a:cubicBezTo>
                    <a:lnTo>
                      <a:pt x="432865" y="26071"/>
                    </a:lnTo>
                    <a:lnTo>
                      <a:pt x="431890" y="26071"/>
                    </a:lnTo>
                    <a:lnTo>
                      <a:pt x="429399" y="25802"/>
                    </a:lnTo>
                    <a:lnTo>
                      <a:pt x="426909" y="24321"/>
                    </a:lnTo>
                    <a:lnTo>
                      <a:pt x="424418" y="22135"/>
                    </a:lnTo>
                    <a:lnTo>
                      <a:pt x="422130" y="21361"/>
                    </a:lnTo>
                    <a:lnTo>
                      <a:pt x="418865" y="22337"/>
                    </a:lnTo>
                    <a:lnTo>
                      <a:pt x="415029" y="20789"/>
                    </a:lnTo>
                    <a:lnTo>
                      <a:pt x="413245" y="20352"/>
                    </a:lnTo>
                    <a:cubicBezTo>
                      <a:pt x="413245" y="20352"/>
                      <a:pt x="409307" y="18065"/>
                      <a:pt x="409173" y="17997"/>
                    </a:cubicBezTo>
                    <a:cubicBezTo>
                      <a:pt x="409072" y="17930"/>
                      <a:pt x="407591" y="16551"/>
                      <a:pt x="407153" y="16181"/>
                    </a:cubicBezTo>
                    <a:cubicBezTo>
                      <a:pt x="406716" y="15811"/>
                      <a:pt x="406211" y="16113"/>
                      <a:pt x="405740" y="15945"/>
                    </a:cubicBezTo>
                    <a:cubicBezTo>
                      <a:pt x="405269" y="15811"/>
                      <a:pt x="403620" y="15777"/>
                      <a:pt x="403350" y="15710"/>
                    </a:cubicBezTo>
                    <a:cubicBezTo>
                      <a:pt x="403115" y="15643"/>
                      <a:pt x="402172" y="14431"/>
                      <a:pt x="402139" y="14331"/>
                    </a:cubicBezTo>
                    <a:cubicBezTo>
                      <a:pt x="402105" y="14230"/>
                      <a:pt x="402475" y="12985"/>
                      <a:pt x="402475" y="12985"/>
                    </a:cubicBezTo>
                    <a:lnTo>
                      <a:pt x="402475" y="11404"/>
                    </a:lnTo>
                    <a:cubicBezTo>
                      <a:pt x="402475" y="11404"/>
                      <a:pt x="400018" y="9890"/>
                      <a:pt x="399918" y="9789"/>
                    </a:cubicBezTo>
                    <a:cubicBezTo>
                      <a:pt x="399817" y="9688"/>
                      <a:pt x="397965" y="7737"/>
                      <a:pt x="397965" y="7737"/>
                    </a:cubicBezTo>
                    <a:lnTo>
                      <a:pt x="397225" y="6089"/>
                    </a:lnTo>
                    <a:lnTo>
                      <a:pt x="397225" y="4541"/>
                    </a:lnTo>
                    <a:lnTo>
                      <a:pt x="396316" y="2355"/>
                    </a:lnTo>
                    <a:lnTo>
                      <a:pt x="394634" y="0"/>
                    </a:lnTo>
                    <a:lnTo>
                      <a:pt x="391840" y="0"/>
                    </a:lnTo>
                    <a:lnTo>
                      <a:pt x="389821" y="807"/>
                    </a:lnTo>
                    <a:lnTo>
                      <a:pt x="388475" y="2288"/>
                    </a:lnTo>
                    <a:cubicBezTo>
                      <a:pt x="388475" y="2288"/>
                      <a:pt x="389148" y="3633"/>
                      <a:pt x="389215" y="3734"/>
                    </a:cubicBezTo>
                    <a:cubicBezTo>
                      <a:pt x="389283" y="3835"/>
                      <a:pt x="389788" y="6257"/>
                      <a:pt x="389788" y="6257"/>
                    </a:cubicBezTo>
                    <a:lnTo>
                      <a:pt x="389518" y="8982"/>
                    </a:lnTo>
                    <a:cubicBezTo>
                      <a:pt x="389518" y="8982"/>
                      <a:pt x="387264" y="9688"/>
                      <a:pt x="386927" y="9688"/>
                    </a:cubicBezTo>
                    <a:cubicBezTo>
                      <a:pt x="386590" y="9688"/>
                      <a:pt x="384302" y="11875"/>
                      <a:pt x="384302" y="11875"/>
                    </a:cubicBezTo>
                    <a:lnTo>
                      <a:pt x="383864" y="12951"/>
                    </a:lnTo>
                    <a:cubicBezTo>
                      <a:pt x="383864" y="12951"/>
                      <a:pt x="384672" y="14835"/>
                      <a:pt x="384807" y="15037"/>
                    </a:cubicBezTo>
                    <a:cubicBezTo>
                      <a:pt x="384941" y="15272"/>
                      <a:pt x="385682" y="17224"/>
                      <a:pt x="385682" y="17224"/>
                    </a:cubicBezTo>
                    <a:lnTo>
                      <a:pt x="385985" y="20857"/>
                    </a:lnTo>
                    <a:lnTo>
                      <a:pt x="386422" y="23615"/>
                    </a:lnTo>
                    <a:lnTo>
                      <a:pt x="389518" y="25566"/>
                    </a:lnTo>
                    <a:lnTo>
                      <a:pt x="387835" y="29334"/>
                    </a:lnTo>
                    <a:lnTo>
                      <a:pt x="383191" y="31083"/>
                    </a:lnTo>
                    <a:lnTo>
                      <a:pt x="383057" y="33976"/>
                    </a:lnTo>
                    <a:lnTo>
                      <a:pt x="383258" y="39123"/>
                    </a:lnTo>
                    <a:lnTo>
                      <a:pt x="383258" y="41747"/>
                    </a:lnTo>
                    <a:lnTo>
                      <a:pt x="383258" y="44337"/>
                    </a:lnTo>
                    <a:cubicBezTo>
                      <a:pt x="383258" y="44337"/>
                      <a:pt x="383258" y="47802"/>
                      <a:pt x="383258" y="48105"/>
                    </a:cubicBezTo>
                    <a:cubicBezTo>
                      <a:pt x="383258" y="48407"/>
                      <a:pt x="383528" y="51872"/>
                      <a:pt x="383595" y="52512"/>
                    </a:cubicBezTo>
                    <a:cubicBezTo>
                      <a:pt x="383662" y="53151"/>
                      <a:pt x="382182" y="55842"/>
                      <a:pt x="382182" y="55842"/>
                    </a:cubicBezTo>
                    <a:cubicBezTo>
                      <a:pt x="382182" y="55842"/>
                      <a:pt x="381104" y="57591"/>
                      <a:pt x="380869" y="57625"/>
                    </a:cubicBezTo>
                    <a:cubicBezTo>
                      <a:pt x="380667" y="57658"/>
                      <a:pt x="379422" y="59105"/>
                      <a:pt x="378917" y="59239"/>
                    </a:cubicBezTo>
                    <a:cubicBezTo>
                      <a:pt x="378412" y="59374"/>
                      <a:pt x="375787" y="60181"/>
                      <a:pt x="375787" y="60181"/>
                    </a:cubicBezTo>
                    <a:cubicBezTo>
                      <a:pt x="375787" y="60181"/>
                      <a:pt x="374710" y="58230"/>
                      <a:pt x="374475" y="58163"/>
                    </a:cubicBezTo>
                    <a:cubicBezTo>
                      <a:pt x="374273" y="58096"/>
                      <a:pt x="370133" y="57524"/>
                      <a:pt x="369898" y="57658"/>
                    </a:cubicBezTo>
                    <a:cubicBezTo>
                      <a:pt x="369662" y="57793"/>
                      <a:pt x="368148" y="57658"/>
                      <a:pt x="368148" y="57658"/>
                    </a:cubicBezTo>
                    <a:lnTo>
                      <a:pt x="362056" y="59038"/>
                    </a:lnTo>
                    <a:lnTo>
                      <a:pt x="357647" y="60854"/>
                    </a:lnTo>
                    <a:lnTo>
                      <a:pt x="351926" y="63478"/>
                    </a:lnTo>
                    <a:cubicBezTo>
                      <a:pt x="351926" y="63478"/>
                      <a:pt x="351926" y="64790"/>
                      <a:pt x="351926" y="65059"/>
                    </a:cubicBezTo>
                    <a:cubicBezTo>
                      <a:pt x="351926" y="65362"/>
                      <a:pt x="350008" y="67448"/>
                      <a:pt x="349570" y="68019"/>
                    </a:cubicBezTo>
                    <a:cubicBezTo>
                      <a:pt x="349133" y="68591"/>
                      <a:pt x="348224" y="71282"/>
                      <a:pt x="347282" y="71989"/>
                    </a:cubicBezTo>
                    <a:cubicBezTo>
                      <a:pt x="346339" y="72729"/>
                      <a:pt x="346710" y="73873"/>
                      <a:pt x="346777" y="74310"/>
                    </a:cubicBezTo>
                    <a:cubicBezTo>
                      <a:pt x="346844" y="74747"/>
                      <a:pt x="347417" y="75487"/>
                      <a:pt x="347652" y="75824"/>
                    </a:cubicBezTo>
                    <a:cubicBezTo>
                      <a:pt x="347854" y="76194"/>
                      <a:pt x="349099" y="77708"/>
                      <a:pt x="349099" y="77708"/>
                    </a:cubicBezTo>
                    <a:lnTo>
                      <a:pt x="349671" y="79087"/>
                    </a:lnTo>
                    <a:lnTo>
                      <a:pt x="352128" y="81610"/>
                    </a:lnTo>
                    <a:lnTo>
                      <a:pt x="353138" y="82754"/>
                    </a:lnTo>
                    <a:cubicBezTo>
                      <a:pt x="353138" y="82754"/>
                      <a:pt x="352633" y="85949"/>
                      <a:pt x="352263" y="86286"/>
                    </a:cubicBezTo>
                    <a:cubicBezTo>
                      <a:pt x="351893" y="86656"/>
                      <a:pt x="348998" y="86286"/>
                      <a:pt x="348998" y="86286"/>
                    </a:cubicBezTo>
                    <a:lnTo>
                      <a:pt x="346609" y="86588"/>
                    </a:lnTo>
                    <a:cubicBezTo>
                      <a:pt x="346609" y="86588"/>
                      <a:pt x="345532" y="87968"/>
                      <a:pt x="345296" y="88170"/>
                    </a:cubicBezTo>
                    <a:cubicBezTo>
                      <a:pt x="345094" y="88405"/>
                      <a:pt x="344354" y="90928"/>
                      <a:pt x="344354" y="90928"/>
                    </a:cubicBezTo>
                    <a:lnTo>
                      <a:pt x="342402" y="91735"/>
                    </a:lnTo>
                    <a:lnTo>
                      <a:pt x="340585" y="92105"/>
                    </a:lnTo>
                    <a:cubicBezTo>
                      <a:pt x="340585" y="92105"/>
                      <a:pt x="338700" y="92105"/>
                      <a:pt x="338128" y="92105"/>
                    </a:cubicBezTo>
                    <a:cubicBezTo>
                      <a:pt x="337556" y="92105"/>
                      <a:pt x="336815" y="91836"/>
                      <a:pt x="335806" y="91836"/>
                    </a:cubicBezTo>
                    <a:cubicBezTo>
                      <a:pt x="334796" y="91836"/>
                      <a:pt x="333719" y="91365"/>
                      <a:pt x="332979" y="91433"/>
                    </a:cubicBezTo>
                    <a:cubicBezTo>
                      <a:pt x="332238" y="91500"/>
                      <a:pt x="329411" y="91433"/>
                      <a:pt x="329209" y="91500"/>
                    </a:cubicBezTo>
                    <a:cubicBezTo>
                      <a:pt x="329007" y="91567"/>
                      <a:pt x="327762" y="92307"/>
                      <a:pt x="327560" y="92307"/>
                    </a:cubicBezTo>
                    <a:cubicBezTo>
                      <a:pt x="327325" y="92307"/>
                      <a:pt x="326382" y="93182"/>
                      <a:pt x="325911" y="93316"/>
                    </a:cubicBezTo>
                    <a:cubicBezTo>
                      <a:pt x="325440" y="93451"/>
                      <a:pt x="325104" y="94763"/>
                      <a:pt x="325104" y="94763"/>
                    </a:cubicBezTo>
                    <a:cubicBezTo>
                      <a:pt x="325104" y="94763"/>
                      <a:pt x="325608" y="96209"/>
                      <a:pt x="325810" y="96445"/>
                    </a:cubicBezTo>
                    <a:cubicBezTo>
                      <a:pt x="326012" y="96647"/>
                      <a:pt x="325810" y="99136"/>
                      <a:pt x="325810" y="99405"/>
                    </a:cubicBezTo>
                    <a:cubicBezTo>
                      <a:pt x="325810" y="99708"/>
                      <a:pt x="325003" y="100112"/>
                      <a:pt x="323791" y="100213"/>
                    </a:cubicBezTo>
                    <a:cubicBezTo>
                      <a:pt x="322546" y="100280"/>
                      <a:pt x="322209" y="100347"/>
                      <a:pt x="321906" y="100347"/>
                    </a:cubicBezTo>
                    <a:cubicBezTo>
                      <a:pt x="321603" y="100347"/>
                      <a:pt x="319584" y="99472"/>
                      <a:pt x="319012" y="99170"/>
                    </a:cubicBezTo>
                    <a:cubicBezTo>
                      <a:pt x="318440" y="98867"/>
                      <a:pt x="319382" y="97790"/>
                      <a:pt x="319517" y="97353"/>
                    </a:cubicBezTo>
                    <a:cubicBezTo>
                      <a:pt x="319652" y="96916"/>
                      <a:pt x="320022" y="96209"/>
                      <a:pt x="320022" y="96209"/>
                    </a:cubicBezTo>
                    <a:lnTo>
                      <a:pt x="317329" y="93249"/>
                    </a:lnTo>
                    <a:lnTo>
                      <a:pt x="315949" y="92105"/>
                    </a:lnTo>
                    <a:lnTo>
                      <a:pt x="313122" y="92038"/>
                    </a:lnTo>
                    <a:lnTo>
                      <a:pt x="310363" y="92475"/>
                    </a:lnTo>
                    <a:lnTo>
                      <a:pt x="306391" y="93552"/>
                    </a:lnTo>
                    <a:lnTo>
                      <a:pt x="305752" y="93047"/>
                    </a:lnTo>
                    <a:lnTo>
                      <a:pt x="302555" y="91870"/>
                    </a:lnTo>
                    <a:lnTo>
                      <a:pt x="300805" y="90995"/>
                    </a:lnTo>
                    <a:cubicBezTo>
                      <a:pt x="300805" y="90995"/>
                      <a:pt x="298415" y="89616"/>
                      <a:pt x="298213" y="89616"/>
                    </a:cubicBezTo>
                    <a:cubicBezTo>
                      <a:pt x="298011" y="89616"/>
                      <a:pt x="297339" y="89751"/>
                      <a:pt x="297035" y="89919"/>
                    </a:cubicBezTo>
                    <a:cubicBezTo>
                      <a:pt x="296733" y="90053"/>
                      <a:pt x="294848" y="90491"/>
                      <a:pt x="294276" y="90793"/>
                    </a:cubicBezTo>
                    <a:cubicBezTo>
                      <a:pt x="293704" y="91096"/>
                      <a:pt x="292391" y="90861"/>
                      <a:pt x="292391" y="90861"/>
                    </a:cubicBezTo>
                    <a:lnTo>
                      <a:pt x="288487" y="89212"/>
                    </a:lnTo>
                    <a:cubicBezTo>
                      <a:pt x="288487" y="89212"/>
                      <a:pt x="287343" y="88708"/>
                      <a:pt x="287175" y="88640"/>
                    </a:cubicBezTo>
                    <a:cubicBezTo>
                      <a:pt x="287040" y="88573"/>
                      <a:pt x="286670" y="88640"/>
                      <a:pt x="286670" y="88640"/>
                    </a:cubicBezTo>
                    <a:cubicBezTo>
                      <a:pt x="286670" y="88640"/>
                      <a:pt x="283641" y="88640"/>
                      <a:pt x="283406" y="88640"/>
                    </a:cubicBezTo>
                    <a:cubicBezTo>
                      <a:pt x="283170" y="88640"/>
                      <a:pt x="282026" y="88910"/>
                      <a:pt x="282026" y="88910"/>
                    </a:cubicBezTo>
                    <a:cubicBezTo>
                      <a:pt x="282026" y="88910"/>
                      <a:pt x="280713" y="90020"/>
                      <a:pt x="280511" y="90121"/>
                    </a:cubicBezTo>
                    <a:cubicBezTo>
                      <a:pt x="280309" y="90188"/>
                      <a:pt x="278862" y="91298"/>
                      <a:pt x="278862" y="91298"/>
                    </a:cubicBezTo>
                    <a:cubicBezTo>
                      <a:pt x="278862" y="91298"/>
                      <a:pt x="278862" y="92677"/>
                      <a:pt x="278862" y="92946"/>
                    </a:cubicBezTo>
                    <a:cubicBezTo>
                      <a:pt x="278862" y="93249"/>
                      <a:pt x="280141" y="94258"/>
                      <a:pt x="280141" y="94763"/>
                    </a:cubicBezTo>
                    <a:cubicBezTo>
                      <a:pt x="280141" y="95267"/>
                      <a:pt x="282295" y="95638"/>
                      <a:pt x="282497" y="95705"/>
                    </a:cubicBezTo>
                    <a:cubicBezTo>
                      <a:pt x="282698" y="95772"/>
                      <a:pt x="284449" y="95940"/>
                      <a:pt x="285055" y="95940"/>
                    </a:cubicBezTo>
                    <a:cubicBezTo>
                      <a:pt x="285626" y="95940"/>
                      <a:pt x="287377" y="95873"/>
                      <a:pt x="287377" y="95873"/>
                    </a:cubicBezTo>
                    <a:lnTo>
                      <a:pt x="289329" y="94797"/>
                    </a:lnTo>
                    <a:lnTo>
                      <a:pt x="289329" y="98261"/>
                    </a:lnTo>
                    <a:lnTo>
                      <a:pt x="289329" y="101524"/>
                    </a:lnTo>
                    <a:lnTo>
                      <a:pt x="286064" y="103778"/>
                    </a:lnTo>
                    <a:cubicBezTo>
                      <a:pt x="286064" y="103778"/>
                      <a:pt x="284112" y="107815"/>
                      <a:pt x="284112" y="108118"/>
                    </a:cubicBezTo>
                    <a:cubicBezTo>
                      <a:pt x="284112" y="108421"/>
                      <a:pt x="281790" y="109699"/>
                      <a:pt x="280478" y="109867"/>
                    </a:cubicBezTo>
                    <a:cubicBezTo>
                      <a:pt x="279165" y="110002"/>
                      <a:pt x="276338" y="108992"/>
                      <a:pt x="276338" y="108992"/>
                    </a:cubicBezTo>
                    <a:lnTo>
                      <a:pt x="272198" y="108051"/>
                    </a:lnTo>
                    <a:lnTo>
                      <a:pt x="267554" y="107613"/>
                    </a:lnTo>
                    <a:lnTo>
                      <a:pt x="262977" y="107546"/>
                    </a:lnTo>
                    <a:cubicBezTo>
                      <a:pt x="262977" y="107546"/>
                      <a:pt x="259073" y="106974"/>
                      <a:pt x="258770" y="107243"/>
                    </a:cubicBezTo>
                    <a:cubicBezTo>
                      <a:pt x="258501" y="107546"/>
                      <a:pt x="256078" y="107243"/>
                      <a:pt x="256078" y="107243"/>
                    </a:cubicBezTo>
                    <a:lnTo>
                      <a:pt x="251064" y="107546"/>
                    </a:lnTo>
                    <a:lnTo>
                      <a:pt x="249313" y="108421"/>
                    </a:lnTo>
                    <a:lnTo>
                      <a:pt x="247631" y="111011"/>
                    </a:lnTo>
                    <a:cubicBezTo>
                      <a:pt x="247631" y="111011"/>
                      <a:pt x="246251" y="113265"/>
                      <a:pt x="246116" y="113534"/>
                    </a:cubicBezTo>
                    <a:cubicBezTo>
                      <a:pt x="245982" y="113837"/>
                      <a:pt x="244501" y="116360"/>
                      <a:pt x="244501" y="116360"/>
                    </a:cubicBezTo>
                    <a:lnTo>
                      <a:pt x="243996" y="122583"/>
                    </a:lnTo>
                    <a:cubicBezTo>
                      <a:pt x="243996" y="122583"/>
                      <a:pt x="243996" y="124332"/>
                      <a:pt x="243996" y="124601"/>
                    </a:cubicBezTo>
                    <a:cubicBezTo>
                      <a:pt x="243996" y="124904"/>
                      <a:pt x="242246" y="127360"/>
                      <a:pt x="242044" y="127999"/>
                    </a:cubicBezTo>
                    <a:cubicBezTo>
                      <a:pt x="241809" y="128638"/>
                      <a:pt x="239890" y="130017"/>
                      <a:pt x="239520" y="130387"/>
                    </a:cubicBezTo>
                    <a:cubicBezTo>
                      <a:pt x="239150" y="130757"/>
                      <a:pt x="237938" y="130387"/>
                      <a:pt x="237938" y="130387"/>
                    </a:cubicBezTo>
                    <a:lnTo>
                      <a:pt x="234472" y="130387"/>
                    </a:lnTo>
                    <a:lnTo>
                      <a:pt x="232520" y="130993"/>
                    </a:lnTo>
                    <a:lnTo>
                      <a:pt x="231645" y="133415"/>
                    </a:lnTo>
                    <a:lnTo>
                      <a:pt x="232082" y="135938"/>
                    </a:lnTo>
                    <a:cubicBezTo>
                      <a:pt x="232082" y="135938"/>
                      <a:pt x="229626" y="139840"/>
                      <a:pt x="229322" y="140008"/>
                    </a:cubicBezTo>
                    <a:cubicBezTo>
                      <a:pt x="229020" y="140143"/>
                      <a:pt x="226563" y="140210"/>
                      <a:pt x="225755" y="140075"/>
                    </a:cubicBezTo>
                    <a:cubicBezTo>
                      <a:pt x="224948" y="139941"/>
                      <a:pt x="223736" y="138999"/>
                      <a:pt x="223736" y="138999"/>
                    </a:cubicBezTo>
                    <a:lnTo>
                      <a:pt x="223164" y="136476"/>
                    </a:lnTo>
                    <a:lnTo>
                      <a:pt x="223164" y="133953"/>
                    </a:lnTo>
                    <a:cubicBezTo>
                      <a:pt x="223164" y="133953"/>
                      <a:pt x="220942" y="131800"/>
                      <a:pt x="220673" y="131800"/>
                    </a:cubicBezTo>
                    <a:cubicBezTo>
                      <a:pt x="220371" y="131800"/>
                      <a:pt x="219125" y="132305"/>
                      <a:pt x="219125" y="132305"/>
                    </a:cubicBezTo>
                    <a:lnTo>
                      <a:pt x="216870" y="135198"/>
                    </a:lnTo>
                    <a:lnTo>
                      <a:pt x="213606" y="137586"/>
                    </a:lnTo>
                    <a:cubicBezTo>
                      <a:pt x="213606" y="137586"/>
                      <a:pt x="210779" y="137082"/>
                      <a:pt x="210543" y="137149"/>
                    </a:cubicBezTo>
                    <a:cubicBezTo>
                      <a:pt x="210341" y="137216"/>
                      <a:pt x="204822" y="137653"/>
                      <a:pt x="204822" y="137653"/>
                    </a:cubicBezTo>
                    <a:lnTo>
                      <a:pt x="200817" y="140109"/>
                    </a:lnTo>
                    <a:lnTo>
                      <a:pt x="199000" y="142935"/>
                    </a:lnTo>
                    <a:lnTo>
                      <a:pt x="195971" y="146265"/>
                    </a:lnTo>
                    <a:lnTo>
                      <a:pt x="193211" y="150975"/>
                    </a:lnTo>
                    <a:lnTo>
                      <a:pt x="191629" y="153363"/>
                    </a:lnTo>
                    <a:lnTo>
                      <a:pt x="189004" y="156122"/>
                    </a:lnTo>
                    <a:lnTo>
                      <a:pt x="184158" y="160898"/>
                    </a:lnTo>
                    <a:lnTo>
                      <a:pt x="180759" y="164868"/>
                    </a:lnTo>
                    <a:lnTo>
                      <a:pt x="178807" y="167559"/>
                    </a:lnTo>
                    <a:cubicBezTo>
                      <a:pt x="178807" y="167559"/>
                      <a:pt x="175542" y="167929"/>
                      <a:pt x="175240" y="167929"/>
                    </a:cubicBezTo>
                    <a:cubicBezTo>
                      <a:pt x="174970" y="167929"/>
                      <a:pt x="173557" y="167795"/>
                      <a:pt x="173557" y="167795"/>
                    </a:cubicBezTo>
                    <a:lnTo>
                      <a:pt x="171369" y="165911"/>
                    </a:lnTo>
                    <a:lnTo>
                      <a:pt x="169114" y="165171"/>
                    </a:lnTo>
                    <a:lnTo>
                      <a:pt x="168307" y="165238"/>
                    </a:lnTo>
                    <a:lnTo>
                      <a:pt x="166792" y="167189"/>
                    </a:lnTo>
                    <a:lnTo>
                      <a:pt x="164470" y="167626"/>
                    </a:lnTo>
                    <a:lnTo>
                      <a:pt x="163090" y="166886"/>
                    </a:lnTo>
                    <a:lnTo>
                      <a:pt x="161273" y="166886"/>
                    </a:lnTo>
                    <a:lnTo>
                      <a:pt x="159960" y="168299"/>
                    </a:lnTo>
                    <a:lnTo>
                      <a:pt x="158311" y="169880"/>
                    </a:lnTo>
                    <a:lnTo>
                      <a:pt x="155181" y="172134"/>
                    </a:lnTo>
                    <a:lnTo>
                      <a:pt x="150840" y="172874"/>
                    </a:lnTo>
                    <a:lnTo>
                      <a:pt x="148383" y="173244"/>
                    </a:lnTo>
                    <a:lnTo>
                      <a:pt x="146801" y="175935"/>
                    </a:lnTo>
                    <a:lnTo>
                      <a:pt x="145489" y="177685"/>
                    </a:lnTo>
                    <a:cubicBezTo>
                      <a:pt x="145489" y="177685"/>
                      <a:pt x="144681" y="179266"/>
                      <a:pt x="144614" y="179703"/>
                    </a:cubicBezTo>
                    <a:cubicBezTo>
                      <a:pt x="144547" y="180140"/>
                      <a:pt x="143806" y="180510"/>
                      <a:pt x="143672" y="180948"/>
                    </a:cubicBezTo>
                    <a:cubicBezTo>
                      <a:pt x="143537" y="181385"/>
                      <a:pt x="142157" y="182024"/>
                      <a:pt x="141854" y="182024"/>
                    </a:cubicBezTo>
                    <a:cubicBezTo>
                      <a:pt x="141551" y="182024"/>
                      <a:pt x="139667" y="182831"/>
                      <a:pt x="139330" y="182966"/>
                    </a:cubicBezTo>
                    <a:cubicBezTo>
                      <a:pt x="138960" y="183101"/>
                      <a:pt x="137446" y="182831"/>
                      <a:pt x="137446" y="182831"/>
                    </a:cubicBezTo>
                    <a:lnTo>
                      <a:pt x="135763" y="182764"/>
                    </a:lnTo>
                    <a:lnTo>
                      <a:pt x="132869" y="184211"/>
                    </a:lnTo>
                    <a:cubicBezTo>
                      <a:pt x="132869" y="184211"/>
                      <a:pt x="132296" y="184783"/>
                      <a:pt x="132061" y="185018"/>
                    </a:cubicBezTo>
                    <a:cubicBezTo>
                      <a:pt x="131859" y="185253"/>
                      <a:pt x="131051" y="186767"/>
                      <a:pt x="131085" y="187339"/>
                    </a:cubicBezTo>
                    <a:cubicBezTo>
                      <a:pt x="131119" y="187911"/>
                      <a:pt x="130378" y="189088"/>
                      <a:pt x="130378" y="189088"/>
                    </a:cubicBezTo>
                    <a:lnTo>
                      <a:pt x="131051" y="192217"/>
                    </a:lnTo>
                    <a:cubicBezTo>
                      <a:pt x="131051" y="192217"/>
                      <a:pt x="131119" y="195850"/>
                      <a:pt x="131051" y="196926"/>
                    </a:cubicBezTo>
                    <a:cubicBezTo>
                      <a:pt x="130984" y="198003"/>
                      <a:pt x="130479" y="200829"/>
                      <a:pt x="130378" y="201131"/>
                    </a:cubicBezTo>
                    <a:cubicBezTo>
                      <a:pt x="130311" y="201434"/>
                      <a:pt x="128493" y="203150"/>
                      <a:pt x="128224" y="203520"/>
                    </a:cubicBezTo>
                    <a:cubicBezTo>
                      <a:pt x="127921" y="203890"/>
                      <a:pt x="127080" y="203722"/>
                      <a:pt x="125969" y="203823"/>
                    </a:cubicBezTo>
                    <a:cubicBezTo>
                      <a:pt x="124892" y="203890"/>
                      <a:pt x="123815" y="203183"/>
                      <a:pt x="123815" y="203183"/>
                    </a:cubicBezTo>
                    <a:cubicBezTo>
                      <a:pt x="123815" y="203183"/>
                      <a:pt x="120753" y="201804"/>
                      <a:pt x="120484" y="201804"/>
                    </a:cubicBezTo>
                    <a:cubicBezTo>
                      <a:pt x="120181" y="201804"/>
                      <a:pt x="117287" y="203486"/>
                      <a:pt x="117287" y="203486"/>
                    </a:cubicBezTo>
                    <a:lnTo>
                      <a:pt x="115974" y="207321"/>
                    </a:lnTo>
                    <a:cubicBezTo>
                      <a:pt x="115974" y="207321"/>
                      <a:pt x="114224" y="208835"/>
                      <a:pt x="114022" y="208902"/>
                    </a:cubicBezTo>
                    <a:cubicBezTo>
                      <a:pt x="113820" y="208969"/>
                      <a:pt x="112878" y="210483"/>
                      <a:pt x="112642" y="210719"/>
                    </a:cubicBezTo>
                    <a:cubicBezTo>
                      <a:pt x="112406" y="210921"/>
                      <a:pt x="110623" y="212468"/>
                      <a:pt x="109950" y="212973"/>
                    </a:cubicBezTo>
                    <a:cubicBezTo>
                      <a:pt x="109310" y="213477"/>
                      <a:pt x="108502" y="214722"/>
                      <a:pt x="108334" y="214991"/>
                    </a:cubicBezTo>
                    <a:cubicBezTo>
                      <a:pt x="108166" y="215294"/>
                      <a:pt x="107998" y="216438"/>
                      <a:pt x="107863" y="216942"/>
                    </a:cubicBezTo>
                    <a:cubicBezTo>
                      <a:pt x="107728" y="217447"/>
                      <a:pt x="107728" y="219129"/>
                      <a:pt x="107661" y="220071"/>
                    </a:cubicBezTo>
                    <a:cubicBezTo>
                      <a:pt x="107594" y="221012"/>
                      <a:pt x="108099" y="222762"/>
                      <a:pt x="108233" y="223468"/>
                    </a:cubicBezTo>
                    <a:cubicBezTo>
                      <a:pt x="108368" y="224175"/>
                      <a:pt x="108368" y="225352"/>
                      <a:pt x="108233" y="225655"/>
                    </a:cubicBezTo>
                    <a:cubicBezTo>
                      <a:pt x="108099" y="225957"/>
                      <a:pt x="106652" y="227236"/>
                      <a:pt x="106147" y="227471"/>
                    </a:cubicBezTo>
                    <a:cubicBezTo>
                      <a:pt x="105642" y="227707"/>
                      <a:pt x="104901" y="228480"/>
                      <a:pt x="104699" y="228783"/>
                    </a:cubicBezTo>
                    <a:cubicBezTo>
                      <a:pt x="104464" y="229086"/>
                      <a:pt x="103555" y="230465"/>
                      <a:pt x="103555" y="230465"/>
                    </a:cubicBezTo>
                    <a:cubicBezTo>
                      <a:pt x="103555" y="230465"/>
                      <a:pt x="106147" y="233728"/>
                      <a:pt x="106147" y="234031"/>
                    </a:cubicBezTo>
                    <a:cubicBezTo>
                      <a:pt x="106147" y="234300"/>
                      <a:pt x="105844" y="236722"/>
                      <a:pt x="105844" y="237126"/>
                    </a:cubicBezTo>
                    <a:cubicBezTo>
                      <a:pt x="105844" y="237563"/>
                      <a:pt x="103825" y="239817"/>
                      <a:pt x="103522" y="240019"/>
                    </a:cubicBezTo>
                    <a:cubicBezTo>
                      <a:pt x="103219" y="240221"/>
                      <a:pt x="98810" y="239783"/>
                      <a:pt x="98608" y="239783"/>
                    </a:cubicBezTo>
                    <a:cubicBezTo>
                      <a:pt x="98373" y="239783"/>
                      <a:pt x="96151" y="237462"/>
                      <a:pt x="96151" y="237462"/>
                    </a:cubicBezTo>
                    <a:lnTo>
                      <a:pt x="96151" y="234065"/>
                    </a:lnTo>
                    <a:lnTo>
                      <a:pt x="94401" y="228783"/>
                    </a:lnTo>
                    <a:lnTo>
                      <a:pt x="94401" y="225318"/>
                    </a:lnTo>
                    <a:lnTo>
                      <a:pt x="94401" y="223872"/>
                    </a:lnTo>
                    <a:lnTo>
                      <a:pt x="94233" y="221046"/>
                    </a:lnTo>
                    <a:lnTo>
                      <a:pt x="93896" y="216774"/>
                    </a:lnTo>
                    <a:lnTo>
                      <a:pt x="89050" y="211492"/>
                    </a:lnTo>
                    <a:lnTo>
                      <a:pt x="83127" y="204596"/>
                    </a:lnTo>
                    <a:cubicBezTo>
                      <a:pt x="83127" y="204596"/>
                      <a:pt x="79997" y="201131"/>
                      <a:pt x="80233" y="200896"/>
                    </a:cubicBezTo>
                    <a:cubicBezTo>
                      <a:pt x="80435" y="200694"/>
                      <a:pt x="80233" y="199382"/>
                      <a:pt x="80233" y="199382"/>
                    </a:cubicBezTo>
                    <a:lnTo>
                      <a:pt x="77170" y="197936"/>
                    </a:lnTo>
                    <a:lnTo>
                      <a:pt x="75151" y="195110"/>
                    </a:lnTo>
                    <a:lnTo>
                      <a:pt x="74781" y="190400"/>
                    </a:lnTo>
                    <a:lnTo>
                      <a:pt x="75420" y="188449"/>
                    </a:lnTo>
                    <a:lnTo>
                      <a:pt x="76867" y="186565"/>
                    </a:lnTo>
                    <a:lnTo>
                      <a:pt x="77136" y="184110"/>
                    </a:lnTo>
                    <a:lnTo>
                      <a:pt x="75185" y="182663"/>
                    </a:lnTo>
                    <a:lnTo>
                      <a:pt x="70675" y="182226"/>
                    </a:lnTo>
                    <a:lnTo>
                      <a:pt x="66266" y="182798"/>
                    </a:lnTo>
                    <a:cubicBezTo>
                      <a:pt x="66266" y="182798"/>
                      <a:pt x="63877" y="182932"/>
                      <a:pt x="63574" y="182932"/>
                    </a:cubicBezTo>
                    <a:cubicBezTo>
                      <a:pt x="63271" y="182932"/>
                      <a:pt x="62934" y="183134"/>
                      <a:pt x="62934" y="183134"/>
                    </a:cubicBezTo>
                    <a:lnTo>
                      <a:pt x="61857" y="183269"/>
                    </a:lnTo>
                    <a:lnTo>
                      <a:pt x="60713" y="184648"/>
                    </a:lnTo>
                    <a:lnTo>
                      <a:pt x="59636" y="183572"/>
                    </a:lnTo>
                    <a:lnTo>
                      <a:pt x="59636" y="180880"/>
                    </a:lnTo>
                    <a:lnTo>
                      <a:pt x="58525" y="179501"/>
                    </a:lnTo>
                    <a:lnTo>
                      <a:pt x="55968" y="179636"/>
                    </a:lnTo>
                    <a:lnTo>
                      <a:pt x="53780" y="178458"/>
                    </a:lnTo>
                    <a:lnTo>
                      <a:pt x="54083" y="176945"/>
                    </a:lnTo>
                    <a:lnTo>
                      <a:pt x="54352" y="175935"/>
                    </a:lnTo>
                    <a:lnTo>
                      <a:pt x="53545" y="174052"/>
                    </a:lnTo>
                    <a:lnTo>
                      <a:pt x="51593" y="171461"/>
                    </a:lnTo>
                    <a:lnTo>
                      <a:pt x="49708" y="167122"/>
                    </a:lnTo>
                    <a:lnTo>
                      <a:pt x="48463" y="164935"/>
                    </a:lnTo>
                    <a:lnTo>
                      <a:pt x="46376" y="164061"/>
                    </a:lnTo>
                    <a:lnTo>
                      <a:pt x="45198" y="163758"/>
                    </a:lnTo>
                    <a:lnTo>
                      <a:pt x="44761" y="166146"/>
                    </a:lnTo>
                    <a:lnTo>
                      <a:pt x="42237" y="167895"/>
                    </a:lnTo>
                    <a:lnTo>
                      <a:pt x="42237" y="169275"/>
                    </a:lnTo>
                    <a:cubicBezTo>
                      <a:pt x="42237" y="169275"/>
                      <a:pt x="41362" y="170788"/>
                      <a:pt x="41093" y="170889"/>
                    </a:cubicBezTo>
                    <a:cubicBezTo>
                      <a:pt x="40823" y="170957"/>
                      <a:pt x="39645" y="172269"/>
                      <a:pt x="39645" y="172269"/>
                    </a:cubicBezTo>
                    <a:lnTo>
                      <a:pt x="37121" y="172269"/>
                    </a:lnTo>
                    <a:lnTo>
                      <a:pt x="35169" y="172908"/>
                    </a:lnTo>
                    <a:lnTo>
                      <a:pt x="34328" y="174152"/>
                    </a:lnTo>
                    <a:lnTo>
                      <a:pt x="34429" y="175734"/>
                    </a:lnTo>
                    <a:lnTo>
                      <a:pt x="32679" y="175734"/>
                    </a:lnTo>
                    <a:lnTo>
                      <a:pt x="30659" y="175734"/>
                    </a:lnTo>
                    <a:lnTo>
                      <a:pt x="29515" y="178593"/>
                    </a:lnTo>
                    <a:lnTo>
                      <a:pt x="28674" y="181250"/>
                    </a:lnTo>
                    <a:lnTo>
                      <a:pt x="27462" y="182663"/>
                    </a:lnTo>
                    <a:lnTo>
                      <a:pt x="25847" y="184076"/>
                    </a:lnTo>
                    <a:lnTo>
                      <a:pt x="25308" y="186027"/>
                    </a:lnTo>
                    <a:lnTo>
                      <a:pt x="24669" y="187877"/>
                    </a:lnTo>
                    <a:cubicBezTo>
                      <a:pt x="24669" y="187877"/>
                      <a:pt x="24904" y="189728"/>
                      <a:pt x="25645" y="190602"/>
                    </a:cubicBezTo>
                    <a:cubicBezTo>
                      <a:pt x="26419" y="191477"/>
                      <a:pt x="27496" y="191914"/>
                      <a:pt x="27496" y="191914"/>
                    </a:cubicBezTo>
                    <a:lnTo>
                      <a:pt x="29246" y="192553"/>
                    </a:lnTo>
                    <a:lnTo>
                      <a:pt x="32948" y="193529"/>
                    </a:lnTo>
                    <a:lnTo>
                      <a:pt x="32847" y="194706"/>
                    </a:lnTo>
                    <a:cubicBezTo>
                      <a:pt x="32847" y="194706"/>
                      <a:pt x="32645" y="195581"/>
                      <a:pt x="32645" y="196355"/>
                    </a:cubicBezTo>
                    <a:cubicBezTo>
                      <a:pt x="32645" y="197128"/>
                      <a:pt x="34496" y="198306"/>
                      <a:pt x="34496" y="198306"/>
                    </a:cubicBezTo>
                    <a:cubicBezTo>
                      <a:pt x="34496" y="198306"/>
                      <a:pt x="35472" y="198306"/>
                      <a:pt x="35910" y="198306"/>
                    </a:cubicBezTo>
                    <a:cubicBezTo>
                      <a:pt x="36347" y="198306"/>
                      <a:pt x="38501" y="199281"/>
                      <a:pt x="38501" y="199281"/>
                    </a:cubicBezTo>
                    <a:lnTo>
                      <a:pt x="40789" y="200492"/>
                    </a:lnTo>
                    <a:lnTo>
                      <a:pt x="39578" y="203318"/>
                    </a:lnTo>
                    <a:lnTo>
                      <a:pt x="37087" y="207994"/>
                    </a:lnTo>
                    <a:lnTo>
                      <a:pt x="35506" y="212603"/>
                    </a:lnTo>
                    <a:lnTo>
                      <a:pt x="33621" y="216572"/>
                    </a:lnTo>
                    <a:cubicBezTo>
                      <a:pt x="33621" y="216572"/>
                      <a:pt x="33621" y="219129"/>
                      <a:pt x="33621" y="219330"/>
                    </a:cubicBezTo>
                    <a:cubicBezTo>
                      <a:pt x="33621" y="219532"/>
                      <a:pt x="33688" y="223838"/>
                      <a:pt x="33688" y="224040"/>
                    </a:cubicBezTo>
                    <a:cubicBezTo>
                      <a:pt x="33688" y="224242"/>
                      <a:pt x="32679" y="226126"/>
                      <a:pt x="32679" y="226126"/>
                    </a:cubicBezTo>
                    <a:lnTo>
                      <a:pt x="31871" y="228716"/>
                    </a:lnTo>
                    <a:lnTo>
                      <a:pt x="31871" y="231272"/>
                    </a:lnTo>
                    <a:cubicBezTo>
                      <a:pt x="31871" y="231272"/>
                      <a:pt x="33621" y="233392"/>
                      <a:pt x="33722" y="233560"/>
                    </a:cubicBezTo>
                    <a:cubicBezTo>
                      <a:pt x="33823" y="233728"/>
                      <a:pt x="34362" y="237630"/>
                      <a:pt x="34362" y="237630"/>
                    </a:cubicBezTo>
                    <a:lnTo>
                      <a:pt x="34866" y="246208"/>
                    </a:lnTo>
                    <a:lnTo>
                      <a:pt x="36381" y="248126"/>
                    </a:lnTo>
                    <a:cubicBezTo>
                      <a:pt x="36381" y="248126"/>
                      <a:pt x="40083" y="251053"/>
                      <a:pt x="40789" y="251759"/>
                    </a:cubicBezTo>
                    <a:cubicBezTo>
                      <a:pt x="41496" y="252466"/>
                      <a:pt x="40419" y="254349"/>
                      <a:pt x="40419" y="254349"/>
                    </a:cubicBezTo>
                    <a:cubicBezTo>
                      <a:pt x="40419" y="254349"/>
                      <a:pt x="39275" y="256401"/>
                      <a:pt x="38838" y="256502"/>
                    </a:cubicBezTo>
                    <a:cubicBezTo>
                      <a:pt x="38400" y="256603"/>
                      <a:pt x="39174" y="260102"/>
                      <a:pt x="39174" y="260102"/>
                    </a:cubicBezTo>
                    <a:lnTo>
                      <a:pt x="44054" y="263466"/>
                    </a:lnTo>
                    <a:cubicBezTo>
                      <a:pt x="44054" y="263466"/>
                      <a:pt x="44054" y="267940"/>
                      <a:pt x="44054" y="268142"/>
                    </a:cubicBezTo>
                    <a:cubicBezTo>
                      <a:pt x="44054" y="268377"/>
                      <a:pt x="42977" y="271741"/>
                      <a:pt x="42977" y="271741"/>
                    </a:cubicBezTo>
                    <a:cubicBezTo>
                      <a:pt x="42977" y="271741"/>
                      <a:pt x="40756" y="275711"/>
                      <a:pt x="40655" y="275879"/>
                    </a:cubicBezTo>
                    <a:cubicBezTo>
                      <a:pt x="40554" y="276047"/>
                      <a:pt x="38871" y="279142"/>
                      <a:pt x="38871" y="279142"/>
                    </a:cubicBezTo>
                    <a:lnTo>
                      <a:pt x="38871" y="286105"/>
                    </a:lnTo>
                    <a:lnTo>
                      <a:pt x="38333" y="286475"/>
                    </a:lnTo>
                    <a:cubicBezTo>
                      <a:pt x="38568" y="287114"/>
                      <a:pt x="38131" y="288965"/>
                      <a:pt x="37996" y="289435"/>
                    </a:cubicBezTo>
                    <a:cubicBezTo>
                      <a:pt x="37861" y="290007"/>
                      <a:pt x="36112" y="291017"/>
                      <a:pt x="34664" y="291454"/>
                    </a:cubicBezTo>
                    <a:cubicBezTo>
                      <a:pt x="33217" y="291891"/>
                      <a:pt x="33083" y="291757"/>
                      <a:pt x="31905" y="292026"/>
                    </a:cubicBezTo>
                    <a:cubicBezTo>
                      <a:pt x="30727" y="292329"/>
                      <a:pt x="29448" y="293338"/>
                      <a:pt x="29010" y="294212"/>
                    </a:cubicBezTo>
                    <a:cubicBezTo>
                      <a:pt x="28573" y="295087"/>
                      <a:pt x="28438" y="298283"/>
                      <a:pt x="28438" y="298283"/>
                    </a:cubicBezTo>
                    <a:lnTo>
                      <a:pt x="28438" y="302050"/>
                    </a:lnTo>
                    <a:lnTo>
                      <a:pt x="26251" y="306121"/>
                    </a:lnTo>
                    <a:cubicBezTo>
                      <a:pt x="26251" y="306121"/>
                      <a:pt x="22179" y="310628"/>
                      <a:pt x="21606" y="310763"/>
                    </a:cubicBezTo>
                    <a:cubicBezTo>
                      <a:pt x="21034" y="310898"/>
                      <a:pt x="17534" y="312647"/>
                      <a:pt x="15818" y="312950"/>
                    </a:cubicBezTo>
                    <a:cubicBezTo>
                      <a:pt x="14068" y="313252"/>
                      <a:pt x="13361" y="314699"/>
                      <a:pt x="12924" y="314833"/>
                    </a:cubicBezTo>
                    <a:cubicBezTo>
                      <a:pt x="12486" y="314968"/>
                      <a:pt x="9592" y="317020"/>
                      <a:pt x="8851" y="317155"/>
                    </a:cubicBezTo>
                    <a:cubicBezTo>
                      <a:pt x="8145" y="317289"/>
                      <a:pt x="7404" y="319913"/>
                      <a:pt x="7404" y="320350"/>
                    </a:cubicBezTo>
                    <a:cubicBezTo>
                      <a:pt x="7404" y="320788"/>
                      <a:pt x="9154" y="321797"/>
                      <a:pt x="9154" y="321797"/>
                    </a:cubicBezTo>
                    <a:lnTo>
                      <a:pt x="13193" y="323815"/>
                    </a:lnTo>
                    <a:lnTo>
                      <a:pt x="12486" y="326136"/>
                    </a:lnTo>
                    <a:cubicBezTo>
                      <a:pt x="12486" y="326136"/>
                      <a:pt x="11174" y="328592"/>
                      <a:pt x="10736" y="328592"/>
                    </a:cubicBezTo>
                    <a:cubicBezTo>
                      <a:pt x="10298" y="328592"/>
                      <a:pt x="8548" y="330610"/>
                      <a:pt x="8548" y="330610"/>
                    </a:cubicBezTo>
                    <a:cubicBezTo>
                      <a:pt x="8548" y="330610"/>
                      <a:pt x="1750" y="337574"/>
                      <a:pt x="1313" y="337977"/>
                    </a:cubicBezTo>
                    <a:cubicBezTo>
                      <a:pt x="875" y="338415"/>
                      <a:pt x="0" y="343192"/>
                      <a:pt x="0" y="343192"/>
                    </a:cubicBezTo>
                    <a:lnTo>
                      <a:pt x="3332" y="346825"/>
                    </a:lnTo>
                    <a:cubicBezTo>
                      <a:pt x="3332" y="346825"/>
                      <a:pt x="8111" y="351164"/>
                      <a:pt x="8279" y="351602"/>
                    </a:cubicBezTo>
                    <a:cubicBezTo>
                      <a:pt x="8414" y="352039"/>
                      <a:pt x="13630" y="354797"/>
                      <a:pt x="15078" y="355638"/>
                    </a:cubicBezTo>
                    <a:cubicBezTo>
                      <a:pt x="16525" y="356479"/>
                      <a:pt x="19554" y="359271"/>
                      <a:pt x="19554" y="359271"/>
                    </a:cubicBezTo>
                    <a:lnTo>
                      <a:pt x="23020" y="360718"/>
                    </a:lnTo>
                    <a:lnTo>
                      <a:pt x="27496" y="359978"/>
                    </a:lnTo>
                    <a:lnTo>
                      <a:pt x="32140" y="359978"/>
                    </a:lnTo>
                    <a:lnTo>
                      <a:pt x="32578" y="364822"/>
                    </a:lnTo>
                    <a:cubicBezTo>
                      <a:pt x="32578" y="364822"/>
                      <a:pt x="35472" y="368960"/>
                      <a:pt x="35910" y="369801"/>
                    </a:cubicBezTo>
                    <a:cubicBezTo>
                      <a:pt x="36347" y="370675"/>
                      <a:pt x="37794" y="374275"/>
                      <a:pt x="37794" y="374275"/>
                    </a:cubicBezTo>
                    <a:cubicBezTo>
                      <a:pt x="37794" y="374275"/>
                      <a:pt x="39544" y="374847"/>
                      <a:pt x="40419" y="374847"/>
                    </a:cubicBezTo>
                    <a:cubicBezTo>
                      <a:pt x="41294" y="374847"/>
                      <a:pt x="46645" y="375553"/>
                      <a:pt x="46645" y="375553"/>
                    </a:cubicBezTo>
                    <a:lnTo>
                      <a:pt x="49708" y="375553"/>
                    </a:lnTo>
                    <a:lnTo>
                      <a:pt x="51020" y="374746"/>
                    </a:lnTo>
                    <a:cubicBezTo>
                      <a:pt x="51020" y="374746"/>
                      <a:pt x="54352" y="373501"/>
                      <a:pt x="55530" y="373366"/>
                    </a:cubicBezTo>
                    <a:cubicBezTo>
                      <a:pt x="56675" y="373232"/>
                      <a:pt x="60006" y="373366"/>
                      <a:pt x="60006" y="373366"/>
                    </a:cubicBezTo>
                    <a:cubicBezTo>
                      <a:pt x="60006" y="373366"/>
                      <a:pt x="63472" y="375553"/>
                      <a:pt x="64078" y="375688"/>
                    </a:cubicBezTo>
                    <a:cubicBezTo>
                      <a:pt x="64651" y="375822"/>
                      <a:pt x="68420" y="379892"/>
                      <a:pt x="68858" y="380195"/>
                    </a:cubicBezTo>
                    <a:cubicBezTo>
                      <a:pt x="69295" y="380498"/>
                      <a:pt x="71617" y="384400"/>
                      <a:pt x="71617" y="384400"/>
                    </a:cubicBezTo>
                    <a:lnTo>
                      <a:pt x="71920" y="388605"/>
                    </a:lnTo>
                    <a:cubicBezTo>
                      <a:pt x="71920" y="388605"/>
                      <a:pt x="71920" y="392507"/>
                      <a:pt x="71920" y="394559"/>
                    </a:cubicBezTo>
                    <a:cubicBezTo>
                      <a:pt x="71920" y="396578"/>
                      <a:pt x="71987" y="397890"/>
                      <a:pt x="72122" y="398462"/>
                    </a:cubicBezTo>
                    <a:cubicBezTo>
                      <a:pt x="72257" y="399033"/>
                      <a:pt x="73502" y="402364"/>
                      <a:pt x="73502" y="402364"/>
                    </a:cubicBezTo>
                    <a:cubicBezTo>
                      <a:pt x="73502" y="402364"/>
                      <a:pt x="79593" y="405694"/>
                      <a:pt x="80333" y="406131"/>
                    </a:cubicBezTo>
                    <a:cubicBezTo>
                      <a:pt x="81040" y="406569"/>
                      <a:pt x="84978" y="409462"/>
                      <a:pt x="84978" y="409462"/>
                    </a:cubicBezTo>
                    <a:lnTo>
                      <a:pt x="91945" y="412086"/>
                    </a:lnTo>
                    <a:lnTo>
                      <a:pt x="92079" y="412086"/>
                    </a:lnTo>
                    <a:lnTo>
                      <a:pt x="91945" y="417804"/>
                    </a:lnTo>
                    <a:lnTo>
                      <a:pt x="93695" y="421942"/>
                    </a:lnTo>
                    <a:lnTo>
                      <a:pt x="97026" y="425272"/>
                    </a:lnTo>
                    <a:lnTo>
                      <a:pt x="99786" y="428603"/>
                    </a:lnTo>
                    <a:lnTo>
                      <a:pt x="99786" y="431361"/>
                    </a:lnTo>
                    <a:lnTo>
                      <a:pt x="102142" y="429040"/>
                    </a:lnTo>
                    <a:lnTo>
                      <a:pt x="104363" y="428367"/>
                    </a:lnTo>
                    <a:lnTo>
                      <a:pt x="107695" y="424700"/>
                    </a:lnTo>
                    <a:lnTo>
                      <a:pt x="111363" y="423187"/>
                    </a:lnTo>
                    <a:lnTo>
                      <a:pt x="114897" y="420529"/>
                    </a:lnTo>
                    <a:cubicBezTo>
                      <a:pt x="114897" y="420529"/>
                      <a:pt x="118498" y="416997"/>
                      <a:pt x="118801" y="416896"/>
                    </a:cubicBezTo>
                    <a:cubicBezTo>
                      <a:pt x="119137" y="416795"/>
                      <a:pt x="121190" y="414609"/>
                      <a:pt x="122234" y="413969"/>
                    </a:cubicBezTo>
                    <a:cubicBezTo>
                      <a:pt x="123277" y="413330"/>
                      <a:pt x="124455" y="412355"/>
                      <a:pt x="125094" y="412187"/>
                    </a:cubicBezTo>
                    <a:cubicBezTo>
                      <a:pt x="125733" y="412018"/>
                      <a:pt x="127181" y="411951"/>
                      <a:pt x="128359" y="411917"/>
                    </a:cubicBezTo>
                    <a:cubicBezTo>
                      <a:pt x="129536" y="411850"/>
                      <a:pt x="131960" y="411985"/>
                      <a:pt x="131960" y="411985"/>
                    </a:cubicBezTo>
                    <a:lnTo>
                      <a:pt x="134787" y="409697"/>
                    </a:lnTo>
                    <a:lnTo>
                      <a:pt x="136638" y="408116"/>
                    </a:lnTo>
                    <a:lnTo>
                      <a:pt x="140945" y="405728"/>
                    </a:lnTo>
                    <a:lnTo>
                      <a:pt x="144109" y="403541"/>
                    </a:lnTo>
                    <a:lnTo>
                      <a:pt x="147205" y="402296"/>
                    </a:lnTo>
                    <a:lnTo>
                      <a:pt x="150974" y="399033"/>
                    </a:lnTo>
                    <a:cubicBezTo>
                      <a:pt x="150974" y="399033"/>
                      <a:pt x="151849" y="394156"/>
                      <a:pt x="151849" y="393954"/>
                    </a:cubicBezTo>
                    <a:cubicBezTo>
                      <a:pt x="151849" y="393752"/>
                      <a:pt x="158513" y="388370"/>
                      <a:pt x="158513" y="388000"/>
                    </a:cubicBezTo>
                    <a:cubicBezTo>
                      <a:pt x="158513" y="387630"/>
                      <a:pt x="158648" y="384737"/>
                      <a:pt x="158513" y="384535"/>
                    </a:cubicBezTo>
                    <a:cubicBezTo>
                      <a:pt x="158379" y="384333"/>
                      <a:pt x="158210" y="383223"/>
                      <a:pt x="158210" y="383223"/>
                    </a:cubicBezTo>
                    <a:lnTo>
                      <a:pt x="157403" y="379691"/>
                    </a:lnTo>
                    <a:cubicBezTo>
                      <a:pt x="157403" y="379691"/>
                      <a:pt x="157537" y="377168"/>
                      <a:pt x="157705" y="376865"/>
                    </a:cubicBezTo>
                    <a:cubicBezTo>
                      <a:pt x="157840" y="376562"/>
                      <a:pt x="159590" y="373602"/>
                      <a:pt x="159590" y="373602"/>
                    </a:cubicBezTo>
                    <a:lnTo>
                      <a:pt x="161172" y="370843"/>
                    </a:lnTo>
                    <a:cubicBezTo>
                      <a:pt x="161172" y="370843"/>
                      <a:pt x="163191" y="369397"/>
                      <a:pt x="163932" y="369094"/>
                    </a:cubicBezTo>
                    <a:cubicBezTo>
                      <a:pt x="164638" y="368791"/>
                      <a:pt x="166254" y="370911"/>
                      <a:pt x="166456" y="370978"/>
                    </a:cubicBezTo>
                    <a:cubicBezTo>
                      <a:pt x="166658" y="371045"/>
                      <a:pt x="167398" y="375250"/>
                      <a:pt x="167398" y="375250"/>
                    </a:cubicBezTo>
                    <a:lnTo>
                      <a:pt x="170965" y="375452"/>
                    </a:lnTo>
                    <a:lnTo>
                      <a:pt x="171167" y="371920"/>
                    </a:lnTo>
                    <a:lnTo>
                      <a:pt x="171100" y="368455"/>
                    </a:lnTo>
                    <a:lnTo>
                      <a:pt x="171235" y="365932"/>
                    </a:lnTo>
                    <a:lnTo>
                      <a:pt x="170427" y="362904"/>
                    </a:lnTo>
                    <a:lnTo>
                      <a:pt x="171672" y="358834"/>
                    </a:lnTo>
                    <a:lnTo>
                      <a:pt x="173994" y="356008"/>
                    </a:lnTo>
                    <a:lnTo>
                      <a:pt x="177057" y="353485"/>
                    </a:lnTo>
                    <a:lnTo>
                      <a:pt x="180322" y="350290"/>
                    </a:lnTo>
                    <a:lnTo>
                      <a:pt x="185168" y="346455"/>
                    </a:lnTo>
                    <a:lnTo>
                      <a:pt x="188062" y="344705"/>
                    </a:lnTo>
                    <a:lnTo>
                      <a:pt x="189206" y="342081"/>
                    </a:lnTo>
                    <a:lnTo>
                      <a:pt x="190889" y="340063"/>
                    </a:lnTo>
                    <a:cubicBezTo>
                      <a:pt x="190889" y="340063"/>
                      <a:pt x="190956" y="337305"/>
                      <a:pt x="190620" y="337305"/>
                    </a:cubicBezTo>
                    <a:cubicBezTo>
                      <a:pt x="190283" y="337305"/>
                      <a:pt x="189374" y="336666"/>
                      <a:pt x="189105" y="336666"/>
                    </a:cubicBezTo>
                    <a:cubicBezTo>
                      <a:pt x="188803" y="336666"/>
                      <a:pt x="187153" y="334479"/>
                      <a:pt x="187153" y="334479"/>
                    </a:cubicBezTo>
                    <a:cubicBezTo>
                      <a:pt x="187153" y="334479"/>
                      <a:pt x="185403" y="331889"/>
                      <a:pt x="185403" y="331283"/>
                    </a:cubicBezTo>
                    <a:cubicBezTo>
                      <a:pt x="185403" y="330678"/>
                      <a:pt x="186649" y="329837"/>
                      <a:pt x="186649" y="329837"/>
                    </a:cubicBezTo>
                    <a:cubicBezTo>
                      <a:pt x="186649" y="329837"/>
                      <a:pt x="189475" y="327886"/>
                      <a:pt x="189913" y="327751"/>
                    </a:cubicBezTo>
                    <a:cubicBezTo>
                      <a:pt x="190351" y="327616"/>
                      <a:pt x="192606" y="325295"/>
                      <a:pt x="192740" y="324993"/>
                    </a:cubicBezTo>
                    <a:cubicBezTo>
                      <a:pt x="192875" y="324690"/>
                      <a:pt x="195264" y="322739"/>
                      <a:pt x="195264" y="322739"/>
                    </a:cubicBezTo>
                    <a:cubicBezTo>
                      <a:pt x="195264" y="322739"/>
                      <a:pt x="197317" y="320048"/>
                      <a:pt x="197519" y="319711"/>
                    </a:cubicBezTo>
                    <a:cubicBezTo>
                      <a:pt x="197721" y="319341"/>
                      <a:pt x="198663" y="318130"/>
                      <a:pt x="199168" y="317895"/>
                    </a:cubicBezTo>
                    <a:cubicBezTo>
                      <a:pt x="199673" y="317659"/>
                      <a:pt x="201052" y="316314"/>
                      <a:pt x="201052" y="316314"/>
                    </a:cubicBezTo>
                    <a:cubicBezTo>
                      <a:pt x="201052" y="316314"/>
                      <a:pt x="203947" y="315809"/>
                      <a:pt x="204889" y="315944"/>
                    </a:cubicBezTo>
                    <a:cubicBezTo>
                      <a:pt x="205832" y="316078"/>
                      <a:pt x="208087" y="316751"/>
                      <a:pt x="208356" y="316751"/>
                    </a:cubicBezTo>
                    <a:cubicBezTo>
                      <a:pt x="208625" y="316751"/>
                      <a:pt x="216702" y="315876"/>
                      <a:pt x="216702" y="315876"/>
                    </a:cubicBezTo>
                    <a:cubicBezTo>
                      <a:pt x="216702" y="315876"/>
                      <a:pt x="220841" y="315944"/>
                      <a:pt x="221111" y="315944"/>
                    </a:cubicBezTo>
                    <a:cubicBezTo>
                      <a:pt x="221414" y="315944"/>
                      <a:pt x="225755" y="315574"/>
                      <a:pt x="226193" y="315574"/>
                    </a:cubicBezTo>
                    <a:cubicBezTo>
                      <a:pt x="226630" y="315574"/>
                      <a:pt x="232654" y="314497"/>
                      <a:pt x="232654" y="314497"/>
                    </a:cubicBezTo>
                    <a:cubicBezTo>
                      <a:pt x="232654" y="314497"/>
                      <a:pt x="241068" y="314699"/>
                      <a:pt x="241337" y="314699"/>
                    </a:cubicBezTo>
                    <a:cubicBezTo>
                      <a:pt x="241640" y="314699"/>
                      <a:pt x="245780" y="313757"/>
                      <a:pt x="245780" y="313757"/>
                    </a:cubicBezTo>
                    <a:lnTo>
                      <a:pt x="248539" y="313051"/>
                    </a:lnTo>
                    <a:lnTo>
                      <a:pt x="249852" y="313051"/>
                    </a:lnTo>
                    <a:lnTo>
                      <a:pt x="252376" y="312680"/>
                    </a:lnTo>
                    <a:cubicBezTo>
                      <a:pt x="252376" y="312680"/>
                      <a:pt x="254563" y="311806"/>
                      <a:pt x="254765" y="311671"/>
                    </a:cubicBezTo>
                    <a:cubicBezTo>
                      <a:pt x="254967" y="311537"/>
                      <a:pt x="255708" y="310359"/>
                      <a:pt x="255708" y="310359"/>
                    </a:cubicBezTo>
                    <a:lnTo>
                      <a:pt x="256011" y="309350"/>
                    </a:lnTo>
                    <a:lnTo>
                      <a:pt x="256212" y="307399"/>
                    </a:lnTo>
                    <a:lnTo>
                      <a:pt x="256011" y="304641"/>
                    </a:lnTo>
                    <a:lnTo>
                      <a:pt x="256313" y="301378"/>
                    </a:lnTo>
                    <a:lnTo>
                      <a:pt x="256179" y="298922"/>
                    </a:lnTo>
                    <a:lnTo>
                      <a:pt x="255977" y="297240"/>
                    </a:lnTo>
                    <a:lnTo>
                      <a:pt x="256549" y="296231"/>
                    </a:lnTo>
                    <a:lnTo>
                      <a:pt x="257559" y="295726"/>
                    </a:lnTo>
                    <a:lnTo>
                      <a:pt x="260756" y="295659"/>
                    </a:lnTo>
                    <a:lnTo>
                      <a:pt x="261900" y="295659"/>
                    </a:lnTo>
                    <a:lnTo>
                      <a:pt x="263852" y="296264"/>
                    </a:lnTo>
                    <a:cubicBezTo>
                      <a:pt x="263852" y="296264"/>
                      <a:pt x="266040" y="298249"/>
                      <a:pt x="266376" y="298619"/>
                    </a:cubicBezTo>
                    <a:cubicBezTo>
                      <a:pt x="266746" y="298989"/>
                      <a:pt x="267116" y="300436"/>
                      <a:pt x="266948" y="300873"/>
                    </a:cubicBezTo>
                    <a:cubicBezTo>
                      <a:pt x="266814" y="301310"/>
                      <a:pt x="266679" y="303497"/>
                      <a:pt x="266679" y="303833"/>
                    </a:cubicBezTo>
                    <a:cubicBezTo>
                      <a:pt x="266679" y="304203"/>
                      <a:pt x="268261" y="307096"/>
                      <a:pt x="268496" y="307164"/>
                    </a:cubicBezTo>
                    <a:cubicBezTo>
                      <a:pt x="268698" y="307231"/>
                      <a:pt x="271189" y="309047"/>
                      <a:pt x="271189" y="309047"/>
                    </a:cubicBezTo>
                    <a:lnTo>
                      <a:pt x="271626" y="312512"/>
                    </a:lnTo>
                    <a:lnTo>
                      <a:pt x="272434" y="316415"/>
                    </a:lnTo>
                    <a:cubicBezTo>
                      <a:pt x="272434" y="316415"/>
                      <a:pt x="273309" y="319947"/>
                      <a:pt x="273309" y="320249"/>
                    </a:cubicBezTo>
                    <a:cubicBezTo>
                      <a:pt x="273309" y="320552"/>
                      <a:pt x="275766" y="322638"/>
                      <a:pt x="276069" y="322840"/>
                    </a:cubicBezTo>
                    <a:cubicBezTo>
                      <a:pt x="276371" y="323075"/>
                      <a:pt x="279030" y="325295"/>
                      <a:pt x="279199" y="325598"/>
                    </a:cubicBezTo>
                    <a:cubicBezTo>
                      <a:pt x="279333" y="325901"/>
                      <a:pt x="281857" y="328558"/>
                      <a:pt x="281857" y="328558"/>
                    </a:cubicBezTo>
                    <a:lnTo>
                      <a:pt x="286064" y="331586"/>
                    </a:lnTo>
                    <a:lnTo>
                      <a:pt x="288151" y="333604"/>
                    </a:lnTo>
                    <a:cubicBezTo>
                      <a:pt x="288151" y="333604"/>
                      <a:pt x="292425" y="336060"/>
                      <a:pt x="292661" y="336295"/>
                    </a:cubicBezTo>
                    <a:cubicBezTo>
                      <a:pt x="292862" y="336497"/>
                      <a:pt x="297944" y="339424"/>
                      <a:pt x="297944" y="339424"/>
                    </a:cubicBezTo>
                    <a:cubicBezTo>
                      <a:pt x="297944" y="339424"/>
                      <a:pt x="298887" y="345008"/>
                      <a:pt x="299088" y="345143"/>
                    </a:cubicBezTo>
                    <a:cubicBezTo>
                      <a:pt x="299290" y="345277"/>
                      <a:pt x="300670" y="346387"/>
                      <a:pt x="300670" y="346387"/>
                    </a:cubicBezTo>
                    <a:lnTo>
                      <a:pt x="302858" y="348271"/>
                    </a:lnTo>
                    <a:cubicBezTo>
                      <a:pt x="302858" y="348271"/>
                      <a:pt x="302925" y="349886"/>
                      <a:pt x="302925" y="350155"/>
                    </a:cubicBezTo>
                    <a:cubicBezTo>
                      <a:pt x="302925" y="350458"/>
                      <a:pt x="302992" y="352543"/>
                      <a:pt x="302992" y="352543"/>
                    </a:cubicBezTo>
                    <a:lnTo>
                      <a:pt x="302185" y="355941"/>
                    </a:lnTo>
                    <a:lnTo>
                      <a:pt x="300939" y="357623"/>
                    </a:lnTo>
                    <a:lnTo>
                      <a:pt x="299863" y="359507"/>
                    </a:lnTo>
                    <a:lnTo>
                      <a:pt x="297978" y="362635"/>
                    </a:lnTo>
                    <a:lnTo>
                      <a:pt x="296530" y="364956"/>
                    </a:lnTo>
                    <a:lnTo>
                      <a:pt x="295084" y="366538"/>
                    </a:lnTo>
                    <a:lnTo>
                      <a:pt x="293838" y="368220"/>
                    </a:lnTo>
                    <a:cubicBezTo>
                      <a:pt x="293838" y="368220"/>
                      <a:pt x="293704" y="371045"/>
                      <a:pt x="293704" y="371348"/>
                    </a:cubicBezTo>
                    <a:cubicBezTo>
                      <a:pt x="293704" y="371651"/>
                      <a:pt x="294209" y="373736"/>
                      <a:pt x="294209" y="373736"/>
                    </a:cubicBezTo>
                    <a:lnTo>
                      <a:pt x="295016" y="377269"/>
                    </a:lnTo>
                    <a:lnTo>
                      <a:pt x="293435" y="380834"/>
                    </a:lnTo>
                    <a:cubicBezTo>
                      <a:pt x="293435" y="380834"/>
                      <a:pt x="293064" y="383727"/>
                      <a:pt x="292997" y="383929"/>
                    </a:cubicBezTo>
                    <a:cubicBezTo>
                      <a:pt x="292930" y="384165"/>
                      <a:pt x="291853" y="386183"/>
                      <a:pt x="291853" y="386183"/>
                    </a:cubicBezTo>
                    <a:lnTo>
                      <a:pt x="290540" y="389076"/>
                    </a:lnTo>
                    <a:cubicBezTo>
                      <a:pt x="290540" y="389076"/>
                      <a:pt x="289530" y="389883"/>
                      <a:pt x="288790" y="390153"/>
                    </a:cubicBezTo>
                    <a:cubicBezTo>
                      <a:pt x="288084" y="390455"/>
                      <a:pt x="287275" y="391666"/>
                      <a:pt x="287275" y="391666"/>
                    </a:cubicBezTo>
                    <a:lnTo>
                      <a:pt x="285256" y="393752"/>
                    </a:lnTo>
                    <a:cubicBezTo>
                      <a:pt x="285256" y="393752"/>
                      <a:pt x="284112" y="394997"/>
                      <a:pt x="283877" y="395198"/>
                    </a:cubicBezTo>
                    <a:cubicBezTo>
                      <a:pt x="283641" y="395434"/>
                      <a:pt x="281285" y="396006"/>
                      <a:pt x="281285" y="396006"/>
                    </a:cubicBezTo>
                    <a:lnTo>
                      <a:pt x="279333" y="397452"/>
                    </a:lnTo>
                    <a:lnTo>
                      <a:pt x="278694" y="399403"/>
                    </a:lnTo>
                    <a:cubicBezTo>
                      <a:pt x="278694" y="399403"/>
                      <a:pt x="277449" y="402969"/>
                      <a:pt x="277381" y="403238"/>
                    </a:cubicBezTo>
                    <a:cubicBezTo>
                      <a:pt x="277314" y="403541"/>
                      <a:pt x="276136" y="405997"/>
                      <a:pt x="276136" y="405997"/>
                    </a:cubicBezTo>
                    <a:lnTo>
                      <a:pt x="274554" y="408183"/>
                    </a:lnTo>
                    <a:lnTo>
                      <a:pt x="273040" y="410269"/>
                    </a:lnTo>
                    <a:lnTo>
                      <a:pt x="271223" y="413162"/>
                    </a:lnTo>
                    <a:lnTo>
                      <a:pt x="269910" y="417300"/>
                    </a:lnTo>
                    <a:lnTo>
                      <a:pt x="267655" y="419755"/>
                    </a:lnTo>
                    <a:lnTo>
                      <a:pt x="267083" y="420832"/>
                    </a:lnTo>
                    <a:cubicBezTo>
                      <a:pt x="267083" y="420832"/>
                      <a:pt x="265131" y="423792"/>
                      <a:pt x="264828" y="423960"/>
                    </a:cubicBezTo>
                    <a:cubicBezTo>
                      <a:pt x="264525" y="424095"/>
                      <a:pt x="263751" y="425340"/>
                      <a:pt x="263246" y="425777"/>
                    </a:cubicBezTo>
                    <a:cubicBezTo>
                      <a:pt x="262742" y="426214"/>
                      <a:pt x="260722" y="427526"/>
                      <a:pt x="260150" y="427795"/>
                    </a:cubicBezTo>
                    <a:cubicBezTo>
                      <a:pt x="259578" y="428098"/>
                      <a:pt x="257962" y="428939"/>
                      <a:pt x="257693" y="428939"/>
                    </a:cubicBezTo>
                    <a:cubicBezTo>
                      <a:pt x="257424" y="428939"/>
                      <a:pt x="254933" y="429444"/>
                      <a:pt x="254496" y="429578"/>
                    </a:cubicBezTo>
                    <a:cubicBezTo>
                      <a:pt x="254058" y="429713"/>
                      <a:pt x="253284" y="429780"/>
                      <a:pt x="253049" y="429881"/>
                    </a:cubicBezTo>
                    <a:cubicBezTo>
                      <a:pt x="252847" y="429948"/>
                      <a:pt x="251097" y="430587"/>
                      <a:pt x="251097" y="430587"/>
                    </a:cubicBezTo>
                    <a:cubicBezTo>
                      <a:pt x="251097" y="430587"/>
                      <a:pt x="249212" y="431731"/>
                      <a:pt x="248405" y="431832"/>
                    </a:cubicBezTo>
                    <a:cubicBezTo>
                      <a:pt x="247597" y="431899"/>
                      <a:pt x="246385" y="432774"/>
                      <a:pt x="246385" y="432774"/>
                    </a:cubicBezTo>
                    <a:cubicBezTo>
                      <a:pt x="246385" y="432774"/>
                      <a:pt x="245073" y="433850"/>
                      <a:pt x="244501" y="434355"/>
                    </a:cubicBezTo>
                    <a:cubicBezTo>
                      <a:pt x="243929" y="434860"/>
                      <a:pt x="242044" y="435802"/>
                      <a:pt x="241674" y="436239"/>
                    </a:cubicBezTo>
                    <a:cubicBezTo>
                      <a:pt x="241304" y="436676"/>
                      <a:pt x="239587" y="438123"/>
                      <a:pt x="239587" y="438123"/>
                    </a:cubicBezTo>
                    <a:lnTo>
                      <a:pt x="238780" y="440309"/>
                    </a:lnTo>
                    <a:lnTo>
                      <a:pt x="240092" y="445153"/>
                    </a:lnTo>
                    <a:lnTo>
                      <a:pt x="241775" y="446533"/>
                    </a:lnTo>
                    <a:cubicBezTo>
                      <a:pt x="241775" y="446533"/>
                      <a:pt x="243087" y="447676"/>
                      <a:pt x="243222" y="448114"/>
                    </a:cubicBezTo>
                    <a:cubicBezTo>
                      <a:pt x="243356" y="448551"/>
                      <a:pt x="244232" y="449190"/>
                      <a:pt x="244232" y="449190"/>
                    </a:cubicBezTo>
                    <a:lnTo>
                      <a:pt x="244299" y="451141"/>
                    </a:lnTo>
                    <a:lnTo>
                      <a:pt x="244299" y="453328"/>
                    </a:lnTo>
                    <a:lnTo>
                      <a:pt x="244770" y="455212"/>
                    </a:lnTo>
                    <a:lnTo>
                      <a:pt x="246453" y="457297"/>
                    </a:lnTo>
                    <a:lnTo>
                      <a:pt x="247765" y="459820"/>
                    </a:lnTo>
                    <a:lnTo>
                      <a:pt x="247765" y="463453"/>
                    </a:lnTo>
                    <a:lnTo>
                      <a:pt x="247765" y="466784"/>
                    </a:lnTo>
                    <a:lnTo>
                      <a:pt x="247765" y="470686"/>
                    </a:lnTo>
                    <a:lnTo>
                      <a:pt x="247025" y="473646"/>
                    </a:lnTo>
                    <a:cubicBezTo>
                      <a:pt x="247025" y="473646"/>
                      <a:pt x="245813" y="475732"/>
                      <a:pt x="245813" y="476035"/>
                    </a:cubicBezTo>
                    <a:cubicBezTo>
                      <a:pt x="245813" y="476337"/>
                      <a:pt x="245678" y="478860"/>
                      <a:pt x="245678" y="478860"/>
                    </a:cubicBezTo>
                    <a:lnTo>
                      <a:pt x="246049" y="480677"/>
                    </a:lnTo>
                    <a:lnTo>
                      <a:pt x="246049" y="481921"/>
                    </a:lnTo>
                    <a:lnTo>
                      <a:pt x="246957" y="483570"/>
                    </a:lnTo>
                    <a:lnTo>
                      <a:pt x="248438" y="485252"/>
                    </a:lnTo>
                    <a:lnTo>
                      <a:pt x="250255" y="486833"/>
                    </a:lnTo>
                    <a:cubicBezTo>
                      <a:pt x="250255" y="486833"/>
                      <a:pt x="253890" y="487472"/>
                      <a:pt x="254092" y="487573"/>
                    </a:cubicBezTo>
                    <a:cubicBezTo>
                      <a:pt x="254294" y="487640"/>
                      <a:pt x="255102" y="488952"/>
                      <a:pt x="255775" y="489019"/>
                    </a:cubicBezTo>
                    <a:cubicBezTo>
                      <a:pt x="256414" y="489087"/>
                      <a:pt x="257794" y="488952"/>
                      <a:pt x="258299" y="488717"/>
                    </a:cubicBezTo>
                    <a:cubicBezTo>
                      <a:pt x="258804" y="488515"/>
                      <a:pt x="260251" y="488279"/>
                      <a:pt x="260251" y="488279"/>
                    </a:cubicBezTo>
                    <a:lnTo>
                      <a:pt x="262943" y="487842"/>
                    </a:lnTo>
                    <a:lnTo>
                      <a:pt x="265333" y="486463"/>
                    </a:lnTo>
                    <a:lnTo>
                      <a:pt x="267217" y="485454"/>
                    </a:lnTo>
                    <a:lnTo>
                      <a:pt x="269472" y="483637"/>
                    </a:lnTo>
                    <a:lnTo>
                      <a:pt x="271155" y="482998"/>
                    </a:lnTo>
                    <a:lnTo>
                      <a:pt x="275362" y="482359"/>
                    </a:lnTo>
                    <a:lnTo>
                      <a:pt x="277179" y="480845"/>
                    </a:lnTo>
                    <a:lnTo>
                      <a:pt x="279569" y="479028"/>
                    </a:lnTo>
                    <a:cubicBezTo>
                      <a:pt x="279569" y="479028"/>
                      <a:pt x="283102" y="478154"/>
                      <a:pt x="283406" y="478087"/>
                    </a:cubicBezTo>
                    <a:cubicBezTo>
                      <a:pt x="283708" y="478019"/>
                      <a:pt x="285492" y="479028"/>
                      <a:pt x="285492" y="479028"/>
                    </a:cubicBezTo>
                    <a:lnTo>
                      <a:pt x="285930" y="479668"/>
                    </a:lnTo>
                    <a:lnTo>
                      <a:pt x="286367" y="480744"/>
                    </a:lnTo>
                    <a:cubicBezTo>
                      <a:pt x="286367" y="480744"/>
                      <a:pt x="284617" y="482561"/>
                      <a:pt x="284415" y="482762"/>
                    </a:cubicBezTo>
                    <a:cubicBezTo>
                      <a:pt x="284213" y="482964"/>
                      <a:pt x="281723" y="484007"/>
                      <a:pt x="281453" y="484007"/>
                    </a:cubicBezTo>
                    <a:cubicBezTo>
                      <a:pt x="281151" y="484007"/>
                      <a:pt x="279838" y="485319"/>
                      <a:pt x="279636" y="485386"/>
                    </a:cubicBezTo>
                    <a:cubicBezTo>
                      <a:pt x="279434" y="485454"/>
                      <a:pt x="276809" y="486025"/>
                      <a:pt x="276607" y="486093"/>
                    </a:cubicBezTo>
                    <a:cubicBezTo>
                      <a:pt x="276405" y="486160"/>
                      <a:pt x="274521" y="487539"/>
                      <a:pt x="274521" y="487539"/>
                    </a:cubicBezTo>
                    <a:lnTo>
                      <a:pt x="273343" y="488548"/>
                    </a:lnTo>
                    <a:lnTo>
                      <a:pt x="271694" y="488750"/>
                    </a:lnTo>
                    <a:lnTo>
                      <a:pt x="269001" y="490130"/>
                    </a:lnTo>
                    <a:lnTo>
                      <a:pt x="270516" y="492215"/>
                    </a:lnTo>
                    <a:lnTo>
                      <a:pt x="269641" y="494032"/>
                    </a:lnTo>
                    <a:lnTo>
                      <a:pt x="268261" y="495714"/>
                    </a:lnTo>
                    <a:cubicBezTo>
                      <a:pt x="268261" y="495714"/>
                      <a:pt x="265299" y="496857"/>
                      <a:pt x="264996" y="496857"/>
                    </a:cubicBezTo>
                    <a:cubicBezTo>
                      <a:pt x="264727" y="496857"/>
                      <a:pt x="261900" y="497160"/>
                      <a:pt x="261664" y="497160"/>
                    </a:cubicBezTo>
                    <a:cubicBezTo>
                      <a:pt x="261429" y="497160"/>
                      <a:pt x="259847" y="498472"/>
                      <a:pt x="259847" y="498472"/>
                    </a:cubicBezTo>
                    <a:lnTo>
                      <a:pt x="258131" y="499919"/>
                    </a:lnTo>
                    <a:lnTo>
                      <a:pt x="257121" y="501365"/>
                    </a:lnTo>
                    <a:lnTo>
                      <a:pt x="256549" y="504056"/>
                    </a:lnTo>
                    <a:lnTo>
                      <a:pt x="257693" y="507387"/>
                    </a:lnTo>
                    <a:lnTo>
                      <a:pt x="258939" y="509338"/>
                    </a:lnTo>
                    <a:cubicBezTo>
                      <a:pt x="258939" y="509338"/>
                      <a:pt x="261833" y="509540"/>
                      <a:pt x="262136" y="509540"/>
                    </a:cubicBezTo>
                    <a:cubicBezTo>
                      <a:pt x="262439" y="509540"/>
                      <a:pt x="264155" y="509910"/>
                      <a:pt x="264155" y="509910"/>
                    </a:cubicBezTo>
                    <a:lnTo>
                      <a:pt x="266040" y="510717"/>
                    </a:lnTo>
                    <a:lnTo>
                      <a:pt x="266982" y="512534"/>
                    </a:lnTo>
                    <a:lnTo>
                      <a:pt x="267420" y="513341"/>
                    </a:lnTo>
                    <a:lnTo>
                      <a:pt x="266915" y="514283"/>
                    </a:lnTo>
                    <a:lnTo>
                      <a:pt x="266612" y="514787"/>
                    </a:lnTo>
                    <a:cubicBezTo>
                      <a:pt x="266612" y="514787"/>
                      <a:pt x="264660" y="517815"/>
                      <a:pt x="264222" y="518118"/>
                    </a:cubicBezTo>
                    <a:cubicBezTo>
                      <a:pt x="263785" y="518420"/>
                      <a:pt x="261968" y="520641"/>
                      <a:pt x="261765" y="520641"/>
                    </a:cubicBezTo>
                    <a:cubicBezTo>
                      <a:pt x="261564" y="520641"/>
                      <a:pt x="260083" y="521650"/>
                      <a:pt x="259814" y="521650"/>
                    </a:cubicBezTo>
                    <a:cubicBezTo>
                      <a:pt x="259510" y="521650"/>
                      <a:pt x="257929" y="522592"/>
                      <a:pt x="257929" y="522592"/>
                    </a:cubicBezTo>
                    <a:lnTo>
                      <a:pt x="256347" y="523164"/>
                    </a:lnTo>
                    <a:lnTo>
                      <a:pt x="253823" y="523534"/>
                    </a:lnTo>
                    <a:cubicBezTo>
                      <a:pt x="253823" y="523534"/>
                      <a:pt x="252140" y="523534"/>
                      <a:pt x="251804" y="523466"/>
                    </a:cubicBezTo>
                    <a:cubicBezTo>
                      <a:pt x="251434" y="523399"/>
                      <a:pt x="249616" y="523096"/>
                      <a:pt x="249616" y="523096"/>
                    </a:cubicBezTo>
                    <a:lnTo>
                      <a:pt x="247025" y="523231"/>
                    </a:lnTo>
                    <a:lnTo>
                      <a:pt x="242683" y="523231"/>
                    </a:lnTo>
                    <a:lnTo>
                      <a:pt x="240866" y="523668"/>
                    </a:lnTo>
                    <a:lnTo>
                      <a:pt x="238476" y="525115"/>
                    </a:lnTo>
                    <a:lnTo>
                      <a:pt x="239621" y="527503"/>
                    </a:lnTo>
                    <a:lnTo>
                      <a:pt x="241371" y="530699"/>
                    </a:lnTo>
                    <a:lnTo>
                      <a:pt x="241304" y="531641"/>
                    </a:lnTo>
                    <a:lnTo>
                      <a:pt x="241000" y="534668"/>
                    </a:lnTo>
                    <a:lnTo>
                      <a:pt x="235852" y="537124"/>
                    </a:lnTo>
                    <a:lnTo>
                      <a:pt x="233597" y="537763"/>
                    </a:lnTo>
                    <a:lnTo>
                      <a:pt x="231779" y="539344"/>
                    </a:lnTo>
                    <a:lnTo>
                      <a:pt x="228582" y="539714"/>
                    </a:lnTo>
                    <a:lnTo>
                      <a:pt x="225957" y="539916"/>
                    </a:lnTo>
                    <a:lnTo>
                      <a:pt x="224813" y="540353"/>
                    </a:lnTo>
                    <a:cubicBezTo>
                      <a:pt x="224813" y="540353"/>
                      <a:pt x="222356" y="541598"/>
                      <a:pt x="222053" y="541598"/>
                    </a:cubicBezTo>
                    <a:cubicBezTo>
                      <a:pt x="221784" y="541598"/>
                      <a:pt x="221683" y="541968"/>
                      <a:pt x="221683" y="541968"/>
                    </a:cubicBezTo>
                    <a:cubicBezTo>
                      <a:pt x="221683" y="541968"/>
                      <a:pt x="221481" y="544491"/>
                      <a:pt x="221481" y="544928"/>
                    </a:cubicBezTo>
                    <a:cubicBezTo>
                      <a:pt x="221481" y="545366"/>
                      <a:pt x="221784" y="546678"/>
                      <a:pt x="221784" y="546678"/>
                    </a:cubicBezTo>
                    <a:lnTo>
                      <a:pt x="221784" y="548124"/>
                    </a:lnTo>
                    <a:cubicBezTo>
                      <a:pt x="221784" y="548124"/>
                      <a:pt x="223837" y="550445"/>
                      <a:pt x="224005" y="550748"/>
                    </a:cubicBezTo>
                    <a:cubicBezTo>
                      <a:pt x="224140" y="551051"/>
                      <a:pt x="223669" y="552430"/>
                      <a:pt x="223669" y="552430"/>
                    </a:cubicBezTo>
                    <a:cubicBezTo>
                      <a:pt x="223669" y="552430"/>
                      <a:pt x="222356" y="554179"/>
                      <a:pt x="222154" y="554448"/>
                    </a:cubicBezTo>
                    <a:cubicBezTo>
                      <a:pt x="221919" y="554718"/>
                      <a:pt x="222861" y="556467"/>
                      <a:pt x="223096" y="556635"/>
                    </a:cubicBezTo>
                    <a:cubicBezTo>
                      <a:pt x="223332" y="556770"/>
                      <a:pt x="225553" y="558519"/>
                      <a:pt x="225553" y="558519"/>
                    </a:cubicBezTo>
                    <a:lnTo>
                      <a:pt x="227000" y="562085"/>
                    </a:lnTo>
                    <a:cubicBezTo>
                      <a:pt x="227000" y="562085"/>
                      <a:pt x="228649" y="563464"/>
                      <a:pt x="228952" y="563228"/>
                    </a:cubicBezTo>
                    <a:cubicBezTo>
                      <a:pt x="229255" y="563027"/>
                      <a:pt x="232049" y="563228"/>
                      <a:pt x="232049" y="563228"/>
                    </a:cubicBezTo>
                    <a:lnTo>
                      <a:pt x="235751" y="560975"/>
                    </a:lnTo>
                    <a:cubicBezTo>
                      <a:pt x="235751" y="560975"/>
                      <a:pt x="238342" y="559394"/>
                      <a:pt x="238443" y="559158"/>
                    </a:cubicBezTo>
                    <a:cubicBezTo>
                      <a:pt x="238510" y="558956"/>
                      <a:pt x="243289" y="554146"/>
                      <a:pt x="243289" y="554146"/>
                    </a:cubicBezTo>
                    <a:lnTo>
                      <a:pt x="244602" y="551825"/>
                    </a:lnTo>
                    <a:cubicBezTo>
                      <a:pt x="244602" y="551825"/>
                      <a:pt x="247866" y="551017"/>
                      <a:pt x="248068" y="550950"/>
                    </a:cubicBezTo>
                    <a:cubicBezTo>
                      <a:pt x="248270" y="550883"/>
                      <a:pt x="252107" y="550210"/>
                      <a:pt x="252107" y="550210"/>
                    </a:cubicBezTo>
                    <a:lnTo>
                      <a:pt x="257559" y="548057"/>
                    </a:lnTo>
                    <a:lnTo>
                      <a:pt x="263414" y="546981"/>
                    </a:lnTo>
                    <a:lnTo>
                      <a:pt x="267319" y="545837"/>
                    </a:lnTo>
                    <a:lnTo>
                      <a:pt x="273982" y="543314"/>
                    </a:lnTo>
                    <a:cubicBezTo>
                      <a:pt x="273982" y="543314"/>
                      <a:pt x="274857" y="543314"/>
                      <a:pt x="275732" y="542809"/>
                    </a:cubicBezTo>
                    <a:cubicBezTo>
                      <a:pt x="276607" y="542305"/>
                      <a:pt x="276809" y="542944"/>
                      <a:pt x="277112" y="542809"/>
                    </a:cubicBezTo>
                    <a:cubicBezTo>
                      <a:pt x="277415" y="542675"/>
                      <a:pt x="278862" y="542675"/>
                      <a:pt x="279064" y="542439"/>
                    </a:cubicBezTo>
                    <a:cubicBezTo>
                      <a:pt x="279299" y="542237"/>
                      <a:pt x="279771" y="541800"/>
                      <a:pt x="279771" y="541800"/>
                    </a:cubicBezTo>
                    <a:lnTo>
                      <a:pt x="279703" y="540723"/>
                    </a:lnTo>
                    <a:lnTo>
                      <a:pt x="279771" y="538638"/>
                    </a:lnTo>
                    <a:cubicBezTo>
                      <a:pt x="279771" y="538638"/>
                      <a:pt x="278761" y="537629"/>
                      <a:pt x="278256" y="537326"/>
                    </a:cubicBezTo>
                    <a:cubicBezTo>
                      <a:pt x="277751" y="537023"/>
                      <a:pt x="276304" y="536451"/>
                      <a:pt x="276304" y="536451"/>
                    </a:cubicBezTo>
                    <a:lnTo>
                      <a:pt x="273847" y="535139"/>
                    </a:lnTo>
                    <a:lnTo>
                      <a:pt x="272333" y="532549"/>
                    </a:lnTo>
                    <a:lnTo>
                      <a:pt x="272535" y="529858"/>
                    </a:lnTo>
                    <a:lnTo>
                      <a:pt x="272737" y="528041"/>
                    </a:lnTo>
                    <a:lnTo>
                      <a:pt x="274117" y="526729"/>
                    </a:lnTo>
                    <a:lnTo>
                      <a:pt x="274689" y="525720"/>
                    </a:lnTo>
                    <a:lnTo>
                      <a:pt x="276708" y="526158"/>
                    </a:lnTo>
                    <a:lnTo>
                      <a:pt x="278795" y="527234"/>
                    </a:lnTo>
                    <a:lnTo>
                      <a:pt x="281622" y="530194"/>
                    </a:lnTo>
                    <a:lnTo>
                      <a:pt x="282127" y="531876"/>
                    </a:lnTo>
                    <a:lnTo>
                      <a:pt x="286905" y="533693"/>
                    </a:lnTo>
                    <a:lnTo>
                      <a:pt x="289429" y="533693"/>
                    </a:lnTo>
                    <a:lnTo>
                      <a:pt x="289564" y="531304"/>
                    </a:lnTo>
                    <a:lnTo>
                      <a:pt x="288925" y="528916"/>
                    </a:lnTo>
                    <a:lnTo>
                      <a:pt x="289934" y="526729"/>
                    </a:lnTo>
                    <a:lnTo>
                      <a:pt x="290507" y="524274"/>
                    </a:lnTo>
                    <a:cubicBezTo>
                      <a:pt x="290507" y="524274"/>
                      <a:pt x="291516" y="523130"/>
                      <a:pt x="291954" y="522962"/>
                    </a:cubicBezTo>
                    <a:cubicBezTo>
                      <a:pt x="292391" y="522827"/>
                      <a:pt x="294141" y="521818"/>
                      <a:pt x="294141" y="521818"/>
                    </a:cubicBezTo>
                    <a:cubicBezTo>
                      <a:pt x="294141" y="521818"/>
                      <a:pt x="295588" y="522255"/>
                      <a:pt x="296464" y="521818"/>
                    </a:cubicBezTo>
                    <a:cubicBezTo>
                      <a:pt x="297339" y="521381"/>
                      <a:pt x="297776" y="520943"/>
                      <a:pt x="297776" y="520943"/>
                    </a:cubicBezTo>
                    <a:lnTo>
                      <a:pt x="298213" y="520372"/>
                    </a:lnTo>
                    <a:cubicBezTo>
                      <a:pt x="298213" y="520372"/>
                      <a:pt x="298651" y="518622"/>
                      <a:pt x="298651" y="518050"/>
                    </a:cubicBezTo>
                    <a:cubicBezTo>
                      <a:pt x="298651" y="517479"/>
                      <a:pt x="299661" y="515157"/>
                      <a:pt x="299661" y="515157"/>
                    </a:cubicBezTo>
                    <a:lnTo>
                      <a:pt x="301848" y="513274"/>
                    </a:lnTo>
                    <a:cubicBezTo>
                      <a:pt x="301848" y="513274"/>
                      <a:pt x="304742" y="511390"/>
                      <a:pt x="305180" y="511087"/>
                    </a:cubicBezTo>
                    <a:cubicBezTo>
                      <a:pt x="305617" y="510784"/>
                      <a:pt x="307939" y="510078"/>
                      <a:pt x="307939" y="510078"/>
                    </a:cubicBezTo>
                    <a:cubicBezTo>
                      <a:pt x="307939" y="510078"/>
                      <a:pt x="308209" y="508934"/>
                      <a:pt x="308209" y="507891"/>
                    </a:cubicBezTo>
                    <a:cubicBezTo>
                      <a:pt x="308209" y="506882"/>
                      <a:pt x="306930" y="504426"/>
                      <a:pt x="306930" y="504426"/>
                    </a:cubicBezTo>
                    <a:cubicBezTo>
                      <a:pt x="306930" y="504426"/>
                      <a:pt x="305483" y="504561"/>
                      <a:pt x="305045" y="504426"/>
                    </a:cubicBezTo>
                    <a:cubicBezTo>
                      <a:pt x="304608" y="504292"/>
                      <a:pt x="304911" y="502105"/>
                      <a:pt x="305045" y="501533"/>
                    </a:cubicBezTo>
                    <a:cubicBezTo>
                      <a:pt x="305180" y="500961"/>
                      <a:pt x="306055" y="499347"/>
                      <a:pt x="306055" y="499347"/>
                    </a:cubicBezTo>
                    <a:lnTo>
                      <a:pt x="306930" y="497026"/>
                    </a:lnTo>
                    <a:lnTo>
                      <a:pt x="310598" y="493998"/>
                    </a:lnTo>
                    <a:lnTo>
                      <a:pt x="311709" y="492686"/>
                    </a:lnTo>
                    <a:cubicBezTo>
                      <a:pt x="311709" y="492686"/>
                      <a:pt x="315040" y="490937"/>
                      <a:pt x="315613" y="490937"/>
                    </a:cubicBezTo>
                    <a:cubicBezTo>
                      <a:pt x="316185" y="490937"/>
                      <a:pt x="316623" y="488481"/>
                      <a:pt x="316623" y="488481"/>
                    </a:cubicBezTo>
                    <a:lnTo>
                      <a:pt x="320089" y="487472"/>
                    </a:lnTo>
                    <a:lnTo>
                      <a:pt x="322849" y="485285"/>
                    </a:lnTo>
                    <a:lnTo>
                      <a:pt x="323421" y="482258"/>
                    </a:lnTo>
                    <a:lnTo>
                      <a:pt x="323858" y="480239"/>
                    </a:lnTo>
                    <a:lnTo>
                      <a:pt x="327493" y="478356"/>
                    </a:lnTo>
                    <a:cubicBezTo>
                      <a:pt x="327493" y="478356"/>
                      <a:pt x="333147" y="475160"/>
                      <a:pt x="333584" y="475025"/>
                    </a:cubicBezTo>
                    <a:cubicBezTo>
                      <a:pt x="334022" y="474891"/>
                      <a:pt x="339238" y="469946"/>
                      <a:pt x="339238" y="469946"/>
                    </a:cubicBezTo>
                    <a:lnTo>
                      <a:pt x="345330" y="464597"/>
                    </a:lnTo>
                    <a:lnTo>
                      <a:pt x="352936" y="458306"/>
                    </a:lnTo>
                    <a:lnTo>
                      <a:pt x="356638" y="456355"/>
                    </a:lnTo>
                    <a:cubicBezTo>
                      <a:pt x="356638" y="456355"/>
                      <a:pt x="360407" y="453261"/>
                      <a:pt x="360474" y="452958"/>
                    </a:cubicBezTo>
                    <a:cubicBezTo>
                      <a:pt x="360542" y="452655"/>
                      <a:pt x="362224" y="450939"/>
                      <a:pt x="362662" y="450569"/>
                    </a:cubicBezTo>
                    <a:cubicBezTo>
                      <a:pt x="363099" y="450199"/>
                      <a:pt x="365623" y="448988"/>
                      <a:pt x="366128" y="448551"/>
                    </a:cubicBezTo>
                    <a:cubicBezTo>
                      <a:pt x="366633" y="448114"/>
                      <a:pt x="368215" y="447912"/>
                      <a:pt x="368518" y="447811"/>
                    </a:cubicBezTo>
                    <a:cubicBezTo>
                      <a:pt x="368787" y="447744"/>
                      <a:pt x="370335" y="446869"/>
                      <a:pt x="370335" y="446869"/>
                    </a:cubicBezTo>
                    <a:lnTo>
                      <a:pt x="372523" y="444918"/>
                    </a:lnTo>
                    <a:lnTo>
                      <a:pt x="374542" y="442899"/>
                    </a:lnTo>
                    <a:lnTo>
                      <a:pt x="376561" y="442092"/>
                    </a:lnTo>
                    <a:lnTo>
                      <a:pt x="379826" y="441789"/>
                    </a:lnTo>
                    <a:lnTo>
                      <a:pt x="382585" y="439838"/>
                    </a:lnTo>
                    <a:lnTo>
                      <a:pt x="385917" y="439838"/>
                    </a:lnTo>
                    <a:lnTo>
                      <a:pt x="389518" y="439838"/>
                    </a:lnTo>
                    <a:lnTo>
                      <a:pt x="393153" y="439838"/>
                    </a:lnTo>
                    <a:lnTo>
                      <a:pt x="395038" y="438257"/>
                    </a:lnTo>
                    <a:lnTo>
                      <a:pt x="396788" y="436373"/>
                    </a:lnTo>
                    <a:lnTo>
                      <a:pt x="396350" y="434490"/>
                    </a:lnTo>
                    <a:lnTo>
                      <a:pt x="395475" y="432034"/>
                    </a:lnTo>
                    <a:lnTo>
                      <a:pt x="393725" y="430285"/>
                    </a:lnTo>
                    <a:lnTo>
                      <a:pt x="393860" y="425508"/>
                    </a:lnTo>
                    <a:lnTo>
                      <a:pt x="398639" y="424768"/>
                    </a:lnTo>
                    <a:lnTo>
                      <a:pt x="401971" y="423187"/>
                    </a:lnTo>
                    <a:lnTo>
                      <a:pt x="405168" y="424196"/>
                    </a:lnTo>
                    <a:lnTo>
                      <a:pt x="407355" y="424196"/>
                    </a:lnTo>
                    <a:lnTo>
                      <a:pt x="409105" y="425508"/>
                    </a:lnTo>
                    <a:cubicBezTo>
                      <a:pt x="409105" y="425508"/>
                      <a:pt x="412302" y="425373"/>
                      <a:pt x="413009" y="425070"/>
                    </a:cubicBezTo>
                    <a:cubicBezTo>
                      <a:pt x="413750" y="424768"/>
                      <a:pt x="416644" y="425070"/>
                      <a:pt x="416644" y="425070"/>
                    </a:cubicBezTo>
                    <a:lnTo>
                      <a:pt x="420144" y="422615"/>
                    </a:lnTo>
                    <a:lnTo>
                      <a:pt x="422466" y="419991"/>
                    </a:lnTo>
                    <a:lnTo>
                      <a:pt x="424485" y="418544"/>
                    </a:lnTo>
                    <a:lnTo>
                      <a:pt x="425933" y="416526"/>
                    </a:lnTo>
                    <a:lnTo>
                      <a:pt x="427817" y="414945"/>
                    </a:lnTo>
                    <a:lnTo>
                      <a:pt x="429264" y="412052"/>
                    </a:lnTo>
                    <a:cubicBezTo>
                      <a:pt x="429264" y="412052"/>
                      <a:pt x="430712" y="411917"/>
                      <a:pt x="431452" y="411749"/>
                    </a:cubicBezTo>
                    <a:cubicBezTo>
                      <a:pt x="432159" y="411615"/>
                      <a:pt x="433034" y="411615"/>
                      <a:pt x="433034" y="411615"/>
                    </a:cubicBezTo>
                    <a:lnTo>
                      <a:pt x="436938" y="412187"/>
                    </a:lnTo>
                    <a:lnTo>
                      <a:pt x="438082" y="413498"/>
                    </a:lnTo>
                    <a:lnTo>
                      <a:pt x="441716" y="415517"/>
                    </a:lnTo>
                    <a:lnTo>
                      <a:pt x="445183" y="415517"/>
                    </a:lnTo>
                    <a:lnTo>
                      <a:pt x="448683" y="413768"/>
                    </a:lnTo>
                    <a:lnTo>
                      <a:pt x="454203" y="413768"/>
                    </a:lnTo>
                    <a:lnTo>
                      <a:pt x="459116" y="412018"/>
                    </a:lnTo>
                    <a:lnTo>
                      <a:pt x="463323" y="412018"/>
                    </a:lnTo>
                    <a:lnTo>
                      <a:pt x="464333" y="412018"/>
                    </a:lnTo>
                    <a:lnTo>
                      <a:pt x="468674" y="412018"/>
                    </a:lnTo>
                    <a:cubicBezTo>
                      <a:pt x="468674" y="412018"/>
                      <a:pt x="469986" y="411009"/>
                      <a:pt x="470559" y="410706"/>
                    </a:cubicBezTo>
                    <a:cubicBezTo>
                      <a:pt x="471130" y="410437"/>
                      <a:pt x="472006" y="409260"/>
                      <a:pt x="472006" y="409260"/>
                    </a:cubicBezTo>
                    <a:lnTo>
                      <a:pt x="473015" y="408385"/>
                    </a:lnTo>
                    <a:cubicBezTo>
                      <a:pt x="473015" y="408385"/>
                      <a:pt x="474597" y="407511"/>
                      <a:pt x="475337" y="406939"/>
                    </a:cubicBezTo>
                    <a:cubicBezTo>
                      <a:pt x="476044" y="406367"/>
                      <a:pt x="476347" y="405795"/>
                      <a:pt x="476347" y="405795"/>
                    </a:cubicBezTo>
                    <a:lnTo>
                      <a:pt x="476482" y="404483"/>
                    </a:lnTo>
                    <a:lnTo>
                      <a:pt x="475607" y="402465"/>
                    </a:lnTo>
                    <a:lnTo>
                      <a:pt x="475607" y="399841"/>
                    </a:lnTo>
                    <a:lnTo>
                      <a:pt x="476246" y="397654"/>
                    </a:lnTo>
                    <a:lnTo>
                      <a:pt x="477188" y="396073"/>
                    </a:lnTo>
                    <a:lnTo>
                      <a:pt x="478198" y="394627"/>
                    </a:lnTo>
                    <a:lnTo>
                      <a:pt x="480789" y="394627"/>
                    </a:lnTo>
                    <a:lnTo>
                      <a:pt x="482539" y="393752"/>
                    </a:lnTo>
                    <a:lnTo>
                      <a:pt x="482539" y="392003"/>
                    </a:lnTo>
                    <a:lnTo>
                      <a:pt x="482843" y="389682"/>
                    </a:lnTo>
                    <a:lnTo>
                      <a:pt x="482539" y="386654"/>
                    </a:lnTo>
                    <a:lnTo>
                      <a:pt x="480958" y="383458"/>
                    </a:lnTo>
                    <a:lnTo>
                      <a:pt x="480520" y="379825"/>
                    </a:lnTo>
                    <a:lnTo>
                      <a:pt x="480655" y="377201"/>
                    </a:lnTo>
                    <a:lnTo>
                      <a:pt x="481227" y="373434"/>
                    </a:lnTo>
                    <a:lnTo>
                      <a:pt x="484693" y="370406"/>
                    </a:lnTo>
                    <a:cubicBezTo>
                      <a:pt x="484693" y="370406"/>
                      <a:pt x="489607" y="368220"/>
                      <a:pt x="490650" y="367648"/>
                    </a:cubicBezTo>
                    <a:cubicBezTo>
                      <a:pt x="491660" y="367076"/>
                      <a:pt x="492669" y="364183"/>
                      <a:pt x="492669" y="364183"/>
                    </a:cubicBezTo>
                    <a:lnTo>
                      <a:pt x="496439" y="360852"/>
                    </a:lnTo>
                    <a:lnTo>
                      <a:pt x="496742" y="358094"/>
                    </a:lnTo>
                    <a:lnTo>
                      <a:pt x="499804" y="353519"/>
                    </a:lnTo>
                    <a:lnTo>
                      <a:pt x="501891" y="350054"/>
                    </a:lnTo>
                    <a:lnTo>
                      <a:pt x="503910" y="348641"/>
                    </a:lnTo>
                    <a:lnTo>
                      <a:pt x="505862" y="346522"/>
                    </a:lnTo>
                    <a:lnTo>
                      <a:pt x="508858" y="343326"/>
                    </a:lnTo>
                    <a:lnTo>
                      <a:pt x="512559" y="339861"/>
                    </a:lnTo>
                    <a:lnTo>
                      <a:pt x="516026" y="337910"/>
                    </a:lnTo>
                    <a:lnTo>
                      <a:pt x="520603" y="335724"/>
                    </a:lnTo>
                    <a:lnTo>
                      <a:pt x="524069" y="333974"/>
                    </a:lnTo>
                    <a:lnTo>
                      <a:pt x="526257" y="332023"/>
                    </a:lnTo>
                    <a:lnTo>
                      <a:pt x="527569" y="330947"/>
                    </a:lnTo>
                    <a:lnTo>
                      <a:pt x="531271" y="327246"/>
                    </a:lnTo>
                    <a:lnTo>
                      <a:pt x="535175" y="323546"/>
                    </a:lnTo>
                    <a:lnTo>
                      <a:pt x="536925" y="319207"/>
                    </a:lnTo>
                    <a:lnTo>
                      <a:pt x="541704" y="316179"/>
                    </a:lnTo>
                    <a:lnTo>
                      <a:pt x="544531" y="313151"/>
                    </a:lnTo>
                    <a:lnTo>
                      <a:pt x="547796" y="309451"/>
                    </a:lnTo>
                    <a:lnTo>
                      <a:pt x="551060" y="309451"/>
                    </a:lnTo>
                    <a:lnTo>
                      <a:pt x="554762" y="307702"/>
                    </a:lnTo>
                    <a:lnTo>
                      <a:pt x="559541" y="307702"/>
                    </a:lnTo>
                    <a:lnTo>
                      <a:pt x="563445" y="306625"/>
                    </a:lnTo>
                    <a:lnTo>
                      <a:pt x="566070" y="305112"/>
                    </a:lnTo>
                    <a:lnTo>
                      <a:pt x="567383" y="301848"/>
                    </a:lnTo>
                    <a:lnTo>
                      <a:pt x="569335" y="296399"/>
                    </a:lnTo>
                    <a:lnTo>
                      <a:pt x="575628" y="293371"/>
                    </a:lnTo>
                    <a:lnTo>
                      <a:pt x="582729" y="286912"/>
                    </a:lnTo>
                    <a:lnTo>
                      <a:pt x="584479" y="283515"/>
                    </a:lnTo>
                    <a:lnTo>
                      <a:pt x="587441" y="280891"/>
                    </a:lnTo>
                    <a:cubicBezTo>
                      <a:pt x="587441" y="280891"/>
                      <a:pt x="589898" y="278301"/>
                      <a:pt x="590066" y="277998"/>
                    </a:cubicBezTo>
                    <a:cubicBezTo>
                      <a:pt x="590200" y="277695"/>
                      <a:pt x="591883" y="274802"/>
                      <a:pt x="591883" y="274802"/>
                    </a:cubicBezTo>
                    <a:lnTo>
                      <a:pt x="592018" y="273995"/>
                    </a:lnTo>
                    <a:lnTo>
                      <a:pt x="591951" y="272313"/>
                    </a:lnTo>
                    <a:cubicBezTo>
                      <a:pt x="591951" y="272313"/>
                      <a:pt x="591951" y="269992"/>
                      <a:pt x="591580" y="269487"/>
                    </a:cubicBezTo>
                    <a:cubicBezTo>
                      <a:pt x="591210" y="268983"/>
                      <a:pt x="590705" y="267906"/>
                      <a:pt x="590705" y="267906"/>
                    </a:cubicBezTo>
                    <a:cubicBezTo>
                      <a:pt x="590705" y="267906"/>
                      <a:pt x="588888" y="267704"/>
                      <a:pt x="588686" y="267839"/>
                    </a:cubicBezTo>
                    <a:cubicBezTo>
                      <a:pt x="588451" y="267973"/>
                      <a:pt x="587542" y="268915"/>
                      <a:pt x="587104" y="269353"/>
                    </a:cubicBezTo>
                    <a:cubicBezTo>
                      <a:pt x="586667" y="269790"/>
                      <a:pt x="585422" y="271236"/>
                      <a:pt x="585085" y="271236"/>
                    </a:cubicBezTo>
                    <a:cubicBezTo>
                      <a:pt x="584715" y="271236"/>
                      <a:pt x="582124" y="271035"/>
                      <a:pt x="581820" y="271035"/>
                    </a:cubicBezTo>
                    <a:cubicBezTo>
                      <a:pt x="581551" y="271035"/>
                      <a:pt x="581619" y="269016"/>
                      <a:pt x="581619" y="269016"/>
                    </a:cubicBezTo>
                    <a:lnTo>
                      <a:pt x="582763" y="267570"/>
                    </a:lnTo>
                    <a:cubicBezTo>
                      <a:pt x="582763" y="267570"/>
                      <a:pt x="584345" y="265820"/>
                      <a:pt x="584513" y="265383"/>
                    </a:cubicBezTo>
                    <a:cubicBezTo>
                      <a:pt x="584648" y="264946"/>
                      <a:pt x="586532" y="263802"/>
                      <a:pt x="586532" y="263802"/>
                    </a:cubicBezTo>
                    <a:lnTo>
                      <a:pt x="588720" y="261616"/>
                    </a:lnTo>
                    <a:lnTo>
                      <a:pt x="588720" y="259160"/>
                    </a:lnTo>
                    <a:cubicBezTo>
                      <a:pt x="588720" y="259160"/>
                      <a:pt x="589157" y="256973"/>
                      <a:pt x="589157" y="256401"/>
                    </a:cubicBezTo>
                    <a:cubicBezTo>
                      <a:pt x="589157" y="255829"/>
                      <a:pt x="589595" y="254517"/>
                      <a:pt x="589595" y="254517"/>
                    </a:cubicBezTo>
                    <a:lnTo>
                      <a:pt x="590470" y="251187"/>
                    </a:lnTo>
                    <a:lnTo>
                      <a:pt x="590470" y="248160"/>
                    </a:lnTo>
                    <a:lnTo>
                      <a:pt x="590672" y="246713"/>
                    </a:lnTo>
                    <a:lnTo>
                      <a:pt x="593196" y="245704"/>
                    </a:lnTo>
                    <a:cubicBezTo>
                      <a:pt x="593196" y="245704"/>
                      <a:pt x="595652" y="244392"/>
                      <a:pt x="596090" y="243955"/>
                    </a:cubicBezTo>
                    <a:cubicBezTo>
                      <a:pt x="596292" y="243484"/>
                      <a:pt x="595888" y="241734"/>
                      <a:pt x="595888" y="24173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8" name="Freeform 924">
                <a:extLst>
                  <a:ext uri="{FF2B5EF4-FFF2-40B4-BE49-F238E27FC236}">
                    <a16:creationId xmlns:a16="http://schemas.microsoft.com/office/drawing/2014/main" id="{781CC001-25CC-8EAC-2D57-3549E608C882}"/>
                  </a:ext>
                </a:extLst>
              </p:cNvPr>
              <p:cNvSpPr/>
              <p:nvPr/>
            </p:nvSpPr>
            <p:spPr>
              <a:xfrm>
                <a:off x="6164299" y="1651739"/>
                <a:ext cx="17365" cy="17122"/>
              </a:xfrm>
              <a:custGeom>
                <a:avLst/>
                <a:gdLst>
                  <a:gd name="connsiteX0" fmla="*/ 0 w 17365"/>
                  <a:gd name="connsiteY0" fmla="*/ 7132 h 17122"/>
                  <a:gd name="connsiteX1" fmla="*/ 0 w 17365"/>
                  <a:gd name="connsiteY1" fmla="*/ 12346 h 17122"/>
                  <a:gd name="connsiteX2" fmla="*/ 539 w 17365"/>
                  <a:gd name="connsiteY2" fmla="*/ 16248 h 17122"/>
                  <a:gd name="connsiteX3" fmla="*/ 4005 w 17365"/>
                  <a:gd name="connsiteY3" fmla="*/ 17123 h 17122"/>
                  <a:gd name="connsiteX4" fmla="*/ 9020 w 17365"/>
                  <a:gd name="connsiteY4" fmla="*/ 15508 h 17122"/>
                  <a:gd name="connsiteX5" fmla="*/ 10971 w 17365"/>
                  <a:gd name="connsiteY5" fmla="*/ 14633 h 17122"/>
                  <a:gd name="connsiteX6" fmla="*/ 14135 w 17365"/>
                  <a:gd name="connsiteY6" fmla="*/ 13456 h 17122"/>
                  <a:gd name="connsiteX7" fmla="*/ 15649 w 17365"/>
                  <a:gd name="connsiteY7" fmla="*/ 12144 h 17122"/>
                  <a:gd name="connsiteX8" fmla="*/ 16390 w 17365"/>
                  <a:gd name="connsiteY8" fmla="*/ 11067 h 17122"/>
                  <a:gd name="connsiteX9" fmla="*/ 16928 w 17365"/>
                  <a:gd name="connsiteY9" fmla="*/ 8343 h 17122"/>
                  <a:gd name="connsiteX10" fmla="*/ 17366 w 17365"/>
                  <a:gd name="connsiteY10" fmla="*/ 7132 h 17122"/>
                  <a:gd name="connsiteX11" fmla="*/ 17366 w 17365"/>
                  <a:gd name="connsiteY11" fmla="*/ 3667 h 17122"/>
                  <a:gd name="connsiteX12" fmla="*/ 17366 w 17365"/>
                  <a:gd name="connsiteY12" fmla="*/ 1076 h 17122"/>
                  <a:gd name="connsiteX13" fmla="*/ 16491 w 17365"/>
                  <a:gd name="connsiteY13" fmla="*/ 1076 h 17122"/>
                  <a:gd name="connsiteX14" fmla="*/ 13125 w 17365"/>
                  <a:gd name="connsiteY14" fmla="*/ 0 h 17122"/>
                  <a:gd name="connsiteX15" fmla="*/ 11813 w 17365"/>
                  <a:gd name="connsiteY15" fmla="*/ 1413 h 17122"/>
                  <a:gd name="connsiteX16" fmla="*/ 10938 w 17365"/>
                  <a:gd name="connsiteY16" fmla="*/ 3801 h 17122"/>
                  <a:gd name="connsiteX17" fmla="*/ 8649 w 17365"/>
                  <a:gd name="connsiteY17" fmla="*/ 4339 h 17122"/>
                  <a:gd name="connsiteX18" fmla="*/ 4611 w 17365"/>
                  <a:gd name="connsiteY18" fmla="*/ 4777 h 17122"/>
                  <a:gd name="connsiteX19" fmla="*/ 2221 w 17365"/>
                  <a:gd name="connsiteY19" fmla="*/ 5551 h 17122"/>
                  <a:gd name="connsiteX20" fmla="*/ 0 w 17365"/>
                  <a:gd name="connsiteY20" fmla="*/ 7132 h 17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7365" h="17122">
                    <a:moveTo>
                      <a:pt x="0" y="7132"/>
                    </a:moveTo>
                    <a:lnTo>
                      <a:pt x="0" y="12346"/>
                    </a:lnTo>
                    <a:lnTo>
                      <a:pt x="539" y="16248"/>
                    </a:lnTo>
                    <a:lnTo>
                      <a:pt x="4005" y="17123"/>
                    </a:lnTo>
                    <a:lnTo>
                      <a:pt x="9020" y="15508"/>
                    </a:lnTo>
                    <a:cubicBezTo>
                      <a:pt x="9020" y="15508"/>
                      <a:pt x="10669" y="14633"/>
                      <a:pt x="10971" y="14633"/>
                    </a:cubicBezTo>
                    <a:cubicBezTo>
                      <a:pt x="11308" y="14633"/>
                      <a:pt x="14135" y="13456"/>
                      <a:pt x="14135" y="13456"/>
                    </a:cubicBezTo>
                    <a:lnTo>
                      <a:pt x="15649" y="12144"/>
                    </a:lnTo>
                    <a:lnTo>
                      <a:pt x="16390" y="11067"/>
                    </a:lnTo>
                    <a:lnTo>
                      <a:pt x="16928" y="8343"/>
                    </a:lnTo>
                    <a:lnTo>
                      <a:pt x="17366" y="7132"/>
                    </a:lnTo>
                    <a:lnTo>
                      <a:pt x="17366" y="3667"/>
                    </a:lnTo>
                    <a:lnTo>
                      <a:pt x="17366" y="1076"/>
                    </a:lnTo>
                    <a:lnTo>
                      <a:pt x="16491" y="1076"/>
                    </a:lnTo>
                    <a:lnTo>
                      <a:pt x="13125" y="0"/>
                    </a:lnTo>
                    <a:lnTo>
                      <a:pt x="11813" y="1413"/>
                    </a:lnTo>
                    <a:lnTo>
                      <a:pt x="10938" y="3801"/>
                    </a:lnTo>
                    <a:lnTo>
                      <a:pt x="8649" y="4339"/>
                    </a:lnTo>
                    <a:lnTo>
                      <a:pt x="4611" y="4777"/>
                    </a:lnTo>
                    <a:lnTo>
                      <a:pt x="2221" y="5551"/>
                    </a:lnTo>
                    <a:lnTo>
                      <a:pt x="0" y="713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9" name="Freeform 925">
                <a:extLst>
                  <a:ext uri="{FF2B5EF4-FFF2-40B4-BE49-F238E27FC236}">
                    <a16:creationId xmlns:a16="http://schemas.microsoft.com/office/drawing/2014/main" id="{0E50488B-73BD-3563-5306-CD9D29381EE3}"/>
                  </a:ext>
                </a:extLst>
              </p:cNvPr>
              <p:cNvSpPr/>
              <p:nvPr/>
            </p:nvSpPr>
            <p:spPr>
              <a:xfrm>
                <a:off x="6167462" y="1670174"/>
                <a:ext cx="17063" cy="11605"/>
              </a:xfrm>
              <a:custGeom>
                <a:avLst/>
                <a:gdLst>
                  <a:gd name="connsiteX0" fmla="*/ 2491 w 17063"/>
                  <a:gd name="connsiteY0" fmla="*/ 2220 h 11605"/>
                  <a:gd name="connsiteX1" fmla="*/ 4544 w 17063"/>
                  <a:gd name="connsiteY1" fmla="*/ 0 h 11605"/>
                  <a:gd name="connsiteX2" fmla="*/ 8145 w 17063"/>
                  <a:gd name="connsiteY2" fmla="*/ 0 h 11605"/>
                  <a:gd name="connsiteX3" fmla="*/ 11611 w 17063"/>
                  <a:gd name="connsiteY3" fmla="*/ 0 h 11605"/>
                  <a:gd name="connsiteX4" fmla="*/ 14236 w 17063"/>
                  <a:gd name="connsiteY4" fmla="*/ 2590 h 11605"/>
                  <a:gd name="connsiteX5" fmla="*/ 15313 w 17063"/>
                  <a:gd name="connsiteY5" fmla="*/ 5416 h 11605"/>
                  <a:gd name="connsiteX6" fmla="*/ 15953 w 17063"/>
                  <a:gd name="connsiteY6" fmla="*/ 7804 h 11605"/>
                  <a:gd name="connsiteX7" fmla="*/ 17063 w 17063"/>
                  <a:gd name="connsiteY7" fmla="*/ 8612 h 11605"/>
                  <a:gd name="connsiteX8" fmla="*/ 14236 w 17063"/>
                  <a:gd name="connsiteY8" fmla="*/ 10428 h 11605"/>
                  <a:gd name="connsiteX9" fmla="*/ 11611 w 17063"/>
                  <a:gd name="connsiteY9" fmla="*/ 10428 h 11605"/>
                  <a:gd name="connsiteX10" fmla="*/ 6630 w 17063"/>
                  <a:gd name="connsiteY10" fmla="*/ 11606 h 11605"/>
                  <a:gd name="connsiteX11" fmla="*/ 1515 w 17063"/>
                  <a:gd name="connsiteY11" fmla="*/ 10327 h 11605"/>
                  <a:gd name="connsiteX12" fmla="*/ 0 w 17063"/>
                  <a:gd name="connsiteY12" fmla="*/ 8040 h 11605"/>
                  <a:gd name="connsiteX13" fmla="*/ 539 w 17063"/>
                  <a:gd name="connsiteY13" fmla="*/ 5820 h 11605"/>
                  <a:gd name="connsiteX14" fmla="*/ 976 w 17063"/>
                  <a:gd name="connsiteY14" fmla="*/ 3364 h 116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063" h="11605">
                    <a:moveTo>
                      <a:pt x="2491" y="2220"/>
                    </a:moveTo>
                    <a:lnTo>
                      <a:pt x="4544" y="0"/>
                    </a:lnTo>
                    <a:lnTo>
                      <a:pt x="8145" y="0"/>
                    </a:lnTo>
                    <a:lnTo>
                      <a:pt x="11611" y="0"/>
                    </a:lnTo>
                    <a:lnTo>
                      <a:pt x="14236" y="2590"/>
                    </a:lnTo>
                    <a:lnTo>
                      <a:pt x="15313" y="5416"/>
                    </a:lnTo>
                    <a:lnTo>
                      <a:pt x="15953" y="7804"/>
                    </a:lnTo>
                    <a:lnTo>
                      <a:pt x="17063" y="8612"/>
                    </a:lnTo>
                    <a:lnTo>
                      <a:pt x="14236" y="10428"/>
                    </a:lnTo>
                    <a:lnTo>
                      <a:pt x="11611" y="10428"/>
                    </a:lnTo>
                    <a:lnTo>
                      <a:pt x="6630" y="11606"/>
                    </a:lnTo>
                    <a:lnTo>
                      <a:pt x="1515" y="10327"/>
                    </a:lnTo>
                    <a:lnTo>
                      <a:pt x="0" y="8040"/>
                    </a:lnTo>
                    <a:lnTo>
                      <a:pt x="539" y="5820"/>
                    </a:lnTo>
                    <a:lnTo>
                      <a:pt x="976" y="336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60" name="Freeform 926">
                <a:extLst>
                  <a:ext uri="{FF2B5EF4-FFF2-40B4-BE49-F238E27FC236}">
                    <a16:creationId xmlns:a16="http://schemas.microsoft.com/office/drawing/2014/main" id="{8EEE4DA0-E016-D78B-03D9-DF3A622C7307}"/>
                  </a:ext>
                </a:extLst>
              </p:cNvPr>
              <p:cNvSpPr/>
              <p:nvPr/>
            </p:nvSpPr>
            <p:spPr>
              <a:xfrm>
                <a:off x="6286094" y="1672596"/>
                <a:ext cx="8649" cy="10226"/>
              </a:xfrm>
              <a:custGeom>
                <a:avLst/>
                <a:gdLst>
                  <a:gd name="connsiteX0" fmla="*/ 942 w 8649"/>
                  <a:gd name="connsiteY0" fmla="*/ 6190 h 10226"/>
                  <a:gd name="connsiteX1" fmla="*/ 3702 w 8649"/>
                  <a:gd name="connsiteY1" fmla="*/ 7569 h 10226"/>
                  <a:gd name="connsiteX2" fmla="*/ 6698 w 8649"/>
                  <a:gd name="connsiteY2" fmla="*/ 8612 h 10226"/>
                  <a:gd name="connsiteX3" fmla="*/ 7034 w 8649"/>
                  <a:gd name="connsiteY3" fmla="*/ 10226 h 10226"/>
                  <a:gd name="connsiteX4" fmla="*/ 8010 w 8649"/>
                  <a:gd name="connsiteY4" fmla="*/ 8477 h 10226"/>
                  <a:gd name="connsiteX5" fmla="*/ 8649 w 8649"/>
                  <a:gd name="connsiteY5" fmla="*/ 5652 h 10226"/>
                  <a:gd name="connsiteX6" fmla="*/ 8649 w 8649"/>
                  <a:gd name="connsiteY6" fmla="*/ 3633 h 10226"/>
                  <a:gd name="connsiteX7" fmla="*/ 7000 w 8649"/>
                  <a:gd name="connsiteY7" fmla="*/ 370 h 10226"/>
                  <a:gd name="connsiteX8" fmla="*/ 5318 w 8649"/>
                  <a:gd name="connsiteY8" fmla="*/ 0 h 10226"/>
                  <a:gd name="connsiteX9" fmla="*/ 3837 w 8649"/>
                  <a:gd name="connsiteY9" fmla="*/ 606 h 10226"/>
                  <a:gd name="connsiteX10" fmla="*/ 371 w 8649"/>
                  <a:gd name="connsiteY10" fmla="*/ 2018 h 10226"/>
                  <a:gd name="connsiteX11" fmla="*/ 0 w 8649"/>
                  <a:gd name="connsiteY11" fmla="*/ 4777 h 10226"/>
                  <a:gd name="connsiteX12" fmla="*/ 942 w 8649"/>
                  <a:gd name="connsiteY12" fmla="*/ 6190 h 10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649" h="10226">
                    <a:moveTo>
                      <a:pt x="942" y="6190"/>
                    </a:moveTo>
                    <a:lnTo>
                      <a:pt x="3702" y="7569"/>
                    </a:lnTo>
                    <a:lnTo>
                      <a:pt x="6698" y="8612"/>
                    </a:lnTo>
                    <a:cubicBezTo>
                      <a:pt x="6698" y="8612"/>
                      <a:pt x="6899" y="10193"/>
                      <a:pt x="7034" y="10226"/>
                    </a:cubicBezTo>
                    <a:cubicBezTo>
                      <a:pt x="7168" y="10260"/>
                      <a:pt x="8010" y="8477"/>
                      <a:pt x="8010" y="8477"/>
                    </a:cubicBezTo>
                    <a:lnTo>
                      <a:pt x="8649" y="5652"/>
                    </a:lnTo>
                    <a:lnTo>
                      <a:pt x="8649" y="3633"/>
                    </a:lnTo>
                    <a:lnTo>
                      <a:pt x="7000" y="370"/>
                    </a:lnTo>
                    <a:lnTo>
                      <a:pt x="5318" y="0"/>
                    </a:lnTo>
                    <a:lnTo>
                      <a:pt x="3837" y="606"/>
                    </a:lnTo>
                    <a:lnTo>
                      <a:pt x="371" y="2018"/>
                    </a:lnTo>
                    <a:lnTo>
                      <a:pt x="0" y="4777"/>
                    </a:lnTo>
                    <a:lnTo>
                      <a:pt x="942" y="619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61" name="Freeform 927">
                <a:extLst>
                  <a:ext uri="{FF2B5EF4-FFF2-40B4-BE49-F238E27FC236}">
                    <a16:creationId xmlns:a16="http://schemas.microsoft.com/office/drawing/2014/main" id="{6318B05D-0633-D36B-7161-D28D2F355EAD}"/>
                  </a:ext>
                </a:extLst>
              </p:cNvPr>
              <p:cNvSpPr/>
              <p:nvPr/>
            </p:nvSpPr>
            <p:spPr>
              <a:xfrm>
                <a:off x="6301677" y="1678853"/>
                <a:ext cx="8985" cy="5752"/>
              </a:xfrm>
              <a:custGeom>
                <a:avLst/>
                <a:gdLst>
                  <a:gd name="connsiteX0" fmla="*/ 0 w 8985"/>
                  <a:gd name="connsiteY0" fmla="*/ 1783 h 5752"/>
                  <a:gd name="connsiteX1" fmla="*/ 1515 w 8985"/>
                  <a:gd name="connsiteY1" fmla="*/ 0 h 5752"/>
                  <a:gd name="connsiteX2" fmla="*/ 4342 w 8985"/>
                  <a:gd name="connsiteY2" fmla="*/ 0 h 5752"/>
                  <a:gd name="connsiteX3" fmla="*/ 7337 w 8985"/>
                  <a:gd name="connsiteY3" fmla="*/ 908 h 5752"/>
                  <a:gd name="connsiteX4" fmla="*/ 8986 w 8985"/>
                  <a:gd name="connsiteY4" fmla="*/ 1783 h 5752"/>
                  <a:gd name="connsiteX5" fmla="*/ 8145 w 8985"/>
                  <a:gd name="connsiteY5" fmla="*/ 4339 h 5752"/>
                  <a:gd name="connsiteX6" fmla="*/ 5385 w 8985"/>
                  <a:gd name="connsiteY6" fmla="*/ 5752 h 5752"/>
                  <a:gd name="connsiteX7" fmla="*/ 2053 w 8985"/>
                  <a:gd name="connsiteY7" fmla="*/ 4844 h 5752"/>
                  <a:gd name="connsiteX8" fmla="*/ 0 w 8985"/>
                  <a:gd name="connsiteY8" fmla="*/ 3263 h 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985" h="5752">
                    <a:moveTo>
                      <a:pt x="0" y="1783"/>
                    </a:moveTo>
                    <a:lnTo>
                      <a:pt x="1515" y="0"/>
                    </a:lnTo>
                    <a:lnTo>
                      <a:pt x="4342" y="0"/>
                    </a:lnTo>
                    <a:lnTo>
                      <a:pt x="7337" y="908"/>
                    </a:lnTo>
                    <a:lnTo>
                      <a:pt x="8986" y="1783"/>
                    </a:lnTo>
                    <a:lnTo>
                      <a:pt x="8145" y="4339"/>
                    </a:lnTo>
                    <a:lnTo>
                      <a:pt x="5385" y="5752"/>
                    </a:lnTo>
                    <a:lnTo>
                      <a:pt x="2053" y="4844"/>
                    </a:lnTo>
                    <a:lnTo>
                      <a:pt x="0" y="3263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62" name="Freeform 928">
                <a:extLst>
                  <a:ext uri="{FF2B5EF4-FFF2-40B4-BE49-F238E27FC236}">
                    <a16:creationId xmlns:a16="http://schemas.microsoft.com/office/drawing/2014/main" id="{60EBFD32-C8DB-EEA0-9835-94F037EA9339}"/>
                  </a:ext>
                </a:extLst>
              </p:cNvPr>
              <p:cNvSpPr/>
              <p:nvPr/>
            </p:nvSpPr>
            <p:spPr>
              <a:xfrm>
                <a:off x="6306859" y="1701459"/>
                <a:ext cx="5754" cy="7064"/>
              </a:xfrm>
              <a:custGeom>
                <a:avLst/>
                <a:gdLst>
                  <a:gd name="connsiteX0" fmla="*/ 572 w 5754"/>
                  <a:gd name="connsiteY0" fmla="*/ 2052 h 7064"/>
                  <a:gd name="connsiteX1" fmla="*/ 2221 w 5754"/>
                  <a:gd name="connsiteY1" fmla="*/ 0 h 7064"/>
                  <a:gd name="connsiteX2" fmla="*/ 4375 w 5754"/>
                  <a:gd name="connsiteY2" fmla="*/ 0 h 7064"/>
                  <a:gd name="connsiteX3" fmla="*/ 5486 w 5754"/>
                  <a:gd name="connsiteY3" fmla="*/ 3667 h 7064"/>
                  <a:gd name="connsiteX4" fmla="*/ 5755 w 5754"/>
                  <a:gd name="connsiteY4" fmla="*/ 5988 h 7064"/>
                  <a:gd name="connsiteX5" fmla="*/ 4409 w 5754"/>
                  <a:gd name="connsiteY5" fmla="*/ 7064 h 7064"/>
                  <a:gd name="connsiteX6" fmla="*/ 2154 w 5754"/>
                  <a:gd name="connsiteY6" fmla="*/ 6694 h 7064"/>
                  <a:gd name="connsiteX7" fmla="*/ 572 w 5754"/>
                  <a:gd name="connsiteY7" fmla="*/ 4777 h 7064"/>
                  <a:gd name="connsiteX8" fmla="*/ 0 w 5754"/>
                  <a:gd name="connsiteY8" fmla="*/ 2960 h 7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754" h="7064">
                    <a:moveTo>
                      <a:pt x="572" y="2052"/>
                    </a:moveTo>
                    <a:lnTo>
                      <a:pt x="2221" y="0"/>
                    </a:lnTo>
                    <a:lnTo>
                      <a:pt x="4375" y="0"/>
                    </a:lnTo>
                    <a:lnTo>
                      <a:pt x="5486" y="3667"/>
                    </a:lnTo>
                    <a:lnTo>
                      <a:pt x="5755" y="5988"/>
                    </a:lnTo>
                    <a:lnTo>
                      <a:pt x="4409" y="7064"/>
                    </a:lnTo>
                    <a:lnTo>
                      <a:pt x="2154" y="6694"/>
                    </a:lnTo>
                    <a:lnTo>
                      <a:pt x="572" y="4777"/>
                    </a:lnTo>
                    <a:lnTo>
                      <a:pt x="0" y="296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63" name="Freeform 929">
                <a:extLst>
                  <a:ext uri="{FF2B5EF4-FFF2-40B4-BE49-F238E27FC236}">
                    <a16:creationId xmlns:a16="http://schemas.microsoft.com/office/drawing/2014/main" id="{373EEE59-C9A9-2413-93F6-9C6718ED290C}"/>
                  </a:ext>
                </a:extLst>
              </p:cNvPr>
              <p:cNvSpPr/>
              <p:nvPr/>
            </p:nvSpPr>
            <p:spPr>
              <a:xfrm>
                <a:off x="6345259" y="1691972"/>
                <a:ext cx="5081" cy="6727"/>
              </a:xfrm>
              <a:custGeom>
                <a:avLst/>
                <a:gdLst>
                  <a:gd name="connsiteX0" fmla="*/ 34 w 5081"/>
                  <a:gd name="connsiteY0" fmla="*/ 5416 h 6727"/>
                  <a:gd name="connsiteX1" fmla="*/ 0 w 5081"/>
                  <a:gd name="connsiteY1" fmla="*/ 1547 h 6727"/>
                  <a:gd name="connsiteX2" fmla="*/ 1986 w 5081"/>
                  <a:gd name="connsiteY2" fmla="*/ 0 h 6727"/>
                  <a:gd name="connsiteX3" fmla="*/ 4139 w 5081"/>
                  <a:gd name="connsiteY3" fmla="*/ 774 h 6727"/>
                  <a:gd name="connsiteX4" fmla="*/ 5082 w 5081"/>
                  <a:gd name="connsiteY4" fmla="*/ 3028 h 6727"/>
                  <a:gd name="connsiteX5" fmla="*/ 5082 w 5081"/>
                  <a:gd name="connsiteY5" fmla="*/ 5113 h 6727"/>
                  <a:gd name="connsiteX6" fmla="*/ 3197 w 5081"/>
                  <a:gd name="connsiteY6" fmla="*/ 6526 h 6727"/>
                  <a:gd name="connsiteX7" fmla="*/ 1952 w 5081"/>
                  <a:gd name="connsiteY7" fmla="*/ 6728 h 6727"/>
                  <a:gd name="connsiteX8" fmla="*/ 34 w 5081"/>
                  <a:gd name="connsiteY8" fmla="*/ 5416 h 6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81" h="6727">
                    <a:moveTo>
                      <a:pt x="34" y="5416"/>
                    </a:moveTo>
                    <a:cubicBezTo>
                      <a:pt x="67" y="5349"/>
                      <a:pt x="0" y="1547"/>
                      <a:pt x="0" y="1547"/>
                    </a:cubicBezTo>
                    <a:lnTo>
                      <a:pt x="1986" y="0"/>
                    </a:lnTo>
                    <a:lnTo>
                      <a:pt x="4139" y="774"/>
                    </a:lnTo>
                    <a:lnTo>
                      <a:pt x="5082" y="3028"/>
                    </a:lnTo>
                    <a:lnTo>
                      <a:pt x="5082" y="5113"/>
                    </a:lnTo>
                    <a:lnTo>
                      <a:pt x="3197" y="6526"/>
                    </a:lnTo>
                    <a:lnTo>
                      <a:pt x="1952" y="6728"/>
                    </a:lnTo>
                    <a:lnTo>
                      <a:pt x="34" y="5416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64" name="Freeform 930">
                <a:extLst>
                  <a:ext uri="{FF2B5EF4-FFF2-40B4-BE49-F238E27FC236}">
                    <a16:creationId xmlns:a16="http://schemas.microsoft.com/office/drawing/2014/main" id="{3EDCE9A5-E3FD-3E0B-B850-48D2A8DA76A7}"/>
                  </a:ext>
                </a:extLst>
              </p:cNvPr>
              <p:cNvSpPr/>
              <p:nvPr/>
            </p:nvSpPr>
            <p:spPr>
              <a:xfrm>
                <a:off x="6200713" y="1506315"/>
                <a:ext cx="3702" cy="7669"/>
              </a:xfrm>
              <a:custGeom>
                <a:avLst/>
                <a:gdLst>
                  <a:gd name="connsiteX0" fmla="*/ 2221 w 3702"/>
                  <a:gd name="connsiteY0" fmla="*/ 7670 h 7669"/>
                  <a:gd name="connsiteX1" fmla="*/ 0 w 3702"/>
                  <a:gd name="connsiteY1" fmla="*/ 4979 h 7669"/>
                  <a:gd name="connsiteX2" fmla="*/ 337 w 3702"/>
                  <a:gd name="connsiteY2" fmla="*/ 1951 h 7669"/>
                  <a:gd name="connsiteX3" fmla="*/ 1481 w 3702"/>
                  <a:gd name="connsiteY3" fmla="*/ 0 h 7669"/>
                  <a:gd name="connsiteX4" fmla="*/ 3568 w 3702"/>
                  <a:gd name="connsiteY4" fmla="*/ 1379 h 7669"/>
                  <a:gd name="connsiteX5" fmla="*/ 3702 w 3702"/>
                  <a:gd name="connsiteY5" fmla="*/ 3835 h 7669"/>
                  <a:gd name="connsiteX6" fmla="*/ 3467 w 3702"/>
                  <a:gd name="connsiteY6" fmla="*/ 6055 h 7669"/>
                  <a:gd name="connsiteX7" fmla="*/ 2221 w 3702"/>
                  <a:gd name="connsiteY7" fmla="*/ 7670 h 7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02" h="7669">
                    <a:moveTo>
                      <a:pt x="2221" y="7670"/>
                    </a:moveTo>
                    <a:lnTo>
                      <a:pt x="0" y="4979"/>
                    </a:lnTo>
                    <a:lnTo>
                      <a:pt x="337" y="1951"/>
                    </a:lnTo>
                    <a:lnTo>
                      <a:pt x="1481" y="0"/>
                    </a:lnTo>
                    <a:lnTo>
                      <a:pt x="3568" y="1379"/>
                    </a:lnTo>
                    <a:cubicBezTo>
                      <a:pt x="3568" y="1379"/>
                      <a:pt x="3702" y="3633"/>
                      <a:pt x="3702" y="3835"/>
                    </a:cubicBezTo>
                    <a:cubicBezTo>
                      <a:pt x="3702" y="4037"/>
                      <a:pt x="3467" y="6055"/>
                      <a:pt x="3467" y="6055"/>
                    </a:cubicBezTo>
                    <a:lnTo>
                      <a:pt x="2221" y="767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sp>
          <p:nvSpPr>
            <p:cNvPr id="636" name="Freeform 902">
              <a:extLst>
                <a:ext uri="{FF2B5EF4-FFF2-40B4-BE49-F238E27FC236}">
                  <a16:creationId xmlns:a16="http://schemas.microsoft.com/office/drawing/2014/main" id="{EF140DE1-CC67-307A-58C8-26336BC96DC0}"/>
                </a:ext>
              </a:extLst>
            </p:cNvPr>
            <p:cNvSpPr/>
            <p:nvPr/>
          </p:nvSpPr>
          <p:spPr>
            <a:xfrm>
              <a:off x="8243874" y="2118568"/>
              <a:ext cx="427891" cy="307468"/>
            </a:xfrm>
            <a:custGeom>
              <a:avLst/>
              <a:gdLst>
                <a:gd name="connsiteX0" fmla="*/ 816292 w 821508"/>
                <a:gd name="connsiteY0" fmla="*/ 265451 h 590308"/>
                <a:gd name="connsiteX1" fmla="*/ 817604 w 821508"/>
                <a:gd name="connsiteY1" fmla="*/ 263702 h 590308"/>
                <a:gd name="connsiteX2" fmla="*/ 819186 w 821508"/>
                <a:gd name="connsiteY2" fmla="*/ 262625 h 590308"/>
                <a:gd name="connsiteX3" fmla="*/ 820566 w 821508"/>
                <a:gd name="connsiteY3" fmla="*/ 261683 h 590308"/>
                <a:gd name="connsiteX4" fmla="*/ 821508 w 821508"/>
                <a:gd name="connsiteY4" fmla="*/ 258925 h 590308"/>
                <a:gd name="connsiteX5" fmla="*/ 821138 w 821508"/>
                <a:gd name="connsiteY5" fmla="*/ 256671 h 590308"/>
                <a:gd name="connsiteX6" fmla="*/ 819691 w 821508"/>
                <a:gd name="connsiteY6" fmla="*/ 254148 h 590308"/>
                <a:gd name="connsiteX7" fmla="*/ 818109 w 821508"/>
                <a:gd name="connsiteY7" fmla="*/ 252197 h 590308"/>
                <a:gd name="connsiteX8" fmla="*/ 816797 w 821508"/>
                <a:gd name="connsiteY8" fmla="*/ 250818 h 590308"/>
                <a:gd name="connsiteX9" fmla="*/ 816730 w 821508"/>
                <a:gd name="connsiteY9" fmla="*/ 248429 h 590308"/>
                <a:gd name="connsiteX10" fmla="*/ 817739 w 821508"/>
                <a:gd name="connsiteY10" fmla="*/ 246545 h 590308"/>
                <a:gd name="connsiteX11" fmla="*/ 819691 w 821508"/>
                <a:gd name="connsiteY11" fmla="*/ 245233 h 590308"/>
                <a:gd name="connsiteX12" fmla="*/ 820499 w 821508"/>
                <a:gd name="connsiteY12" fmla="*/ 244359 h 590308"/>
                <a:gd name="connsiteX13" fmla="*/ 819927 w 821508"/>
                <a:gd name="connsiteY13" fmla="*/ 242778 h 590308"/>
                <a:gd name="connsiteX14" fmla="*/ 818547 w 821508"/>
                <a:gd name="connsiteY14" fmla="*/ 241768 h 590308"/>
                <a:gd name="connsiteX15" fmla="*/ 818614 w 821508"/>
                <a:gd name="connsiteY15" fmla="*/ 237698 h 590308"/>
                <a:gd name="connsiteX16" fmla="*/ 817672 w 821508"/>
                <a:gd name="connsiteY16" fmla="*/ 235108 h 590308"/>
                <a:gd name="connsiteX17" fmla="*/ 816730 w 821508"/>
                <a:gd name="connsiteY17" fmla="*/ 231979 h 590308"/>
                <a:gd name="connsiteX18" fmla="*/ 817672 w 821508"/>
                <a:gd name="connsiteY18" fmla="*/ 229389 h 590308"/>
                <a:gd name="connsiteX19" fmla="*/ 817739 w 821508"/>
                <a:gd name="connsiteY19" fmla="*/ 227001 h 590308"/>
                <a:gd name="connsiteX20" fmla="*/ 817941 w 821508"/>
                <a:gd name="connsiteY20" fmla="*/ 223098 h 590308"/>
                <a:gd name="connsiteX21" fmla="*/ 817133 w 821508"/>
                <a:gd name="connsiteY21" fmla="*/ 221719 h 590308"/>
                <a:gd name="connsiteX22" fmla="*/ 815686 w 821508"/>
                <a:gd name="connsiteY22" fmla="*/ 220845 h 590308"/>
                <a:gd name="connsiteX23" fmla="*/ 812220 w 821508"/>
                <a:gd name="connsiteY23" fmla="*/ 219465 h 590308"/>
                <a:gd name="connsiteX24" fmla="*/ 810200 w 821508"/>
                <a:gd name="connsiteY24" fmla="*/ 218153 h 590308"/>
                <a:gd name="connsiteX25" fmla="*/ 808114 w 821508"/>
                <a:gd name="connsiteY25" fmla="*/ 216842 h 590308"/>
                <a:gd name="connsiteX26" fmla="*/ 805590 w 821508"/>
                <a:gd name="connsiteY26" fmla="*/ 216404 h 590308"/>
                <a:gd name="connsiteX27" fmla="*/ 803268 w 821508"/>
                <a:gd name="connsiteY27" fmla="*/ 215900 h 590308"/>
                <a:gd name="connsiteX28" fmla="*/ 801618 w 821508"/>
                <a:gd name="connsiteY28" fmla="*/ 215900 h 590308"/>
                <a:gd name="connsiteX29" fmla="*/ 800104 w 821508"/>
                <a:gd name="connsiteY29" fmla="*/ 215193 h 590308"/>
                <a:gd name="connsiteX30" fmla="*/ 798152 w 821508"/>
                <a:gd name="connsiteY30" fmla="*/ 216068 h 590308"/>
                <a:gd name="connsiteX31" fmla="*/ 796267 w 821508"/>
                <a:gd name="connsiteY31" fmla="*/ 217582 h 590308"/>
                <a:gd name="connsiteX32" fmla="*/ 795191 w 821508"/>
                <a:gd name="connsiteY32" fmla="*/ 218961 h 590308"/>
                <a:gd name="connsiteX33" fmla="*/ 793945 w 821508"/>
                <a:gd name="connsiteY33" fmla="*/ 220407 h 590308"/>
                <a:gd name="connsiteX34" fmla="*/ 792936 w 821508"/>
                <a:gd name="connsiteY34" fmla="*/ 222224 h 590308"/>
                <a:gd name="connsiteX35" fmla="*/ 791489 w 821508"/>
                <a:gd name="connsiteY35" fmla="*/ 222661 h 590308"/>
                <a:gd name="connsiteX36" fmla="*/ 790479 w 821508"/>
                <a:gd name="connsiteY36" fmla="*/ 223166 h 590308"/>
                <a:gd name="connsiteX37" fmla="*/ 788965 w 821508"/>
                <a:gd name="connsiteY37" fmla="*/ 223098 h 590308"/>
                <a:gd name="connsiteX38" fmla="*/ 787585 w 821508"/>
                <a:gd name="connsiteY38" fmla="*/ 222897 h 590308"/>
                <a:gd name="connsiteX39" fmla="*/ 786003 w 821508"/>
                <a:gd name="connsiteY39" fmla="*/ 222897 h 590308"/>
                <a:gd name="connsiteX40" fmla="*/ 783983 w 821508"/>
                <a:gd name="connsiteY40" fmla="*/ 222392 h 590308"/>
                <a:gd name="connsiteX41" fmla="*/ 781964 w 821508"/>
                <a:gd name="connsiteY41" fmla="*/ 220576 h 590308"/>
                <a:gd name="connsiteX42" fmla="*/ 777185 w 821508"/>
                <a:gd name="connsiteY42" fmla="*/ 217312 h 590308"/>
                <a:gd name="connsiteX43" fmla="*/ 772339 w 821508"/>
                <a:gd name="connsiteY43" fmla="*/ 213915 h 590308"/>
                <a:gd name="connsiteX44" fmla="*/ 768502 w 821508"/>
                <a:gd name="connsiteY44" fmla="*/ 212098 h 590308"/>
                <a:gd name="connsiteX45" fmla="*/ 763084 w 821508"/>
                <a:gd name="connsiteY45" fmla="*/ 210215 h 590308"/>
                <a:gd name="connsiteX46" fmla="*/ 759820 w 821508"/>
                <a:gd name="connsiteY46" fmla="*/ 209273 h 590308"/>
                <a:gd name="connsiteX47" fmla="*/ 754906 w 821508"/>
                <a:gd name="connsiteY47" fmla="*/ 208465 h 590308"/>
                <a:gd name="connsiteX48" fmla="*/ 751945 w 821508"/>
                <a:gd name="connsiteY48" fmla="*/ 208095 h 590308"/>
                <a:gd name="connsiteX49" fmla="*/ 748377 w 821508"/>
                <a:gd name="connsiteY49" fmla="*/ 206346 h 590308"/>
                <a:gd name="connsiteX50" fmla="*/ 744372 w 821508"/>
                <a:gd name="connsiteY50" fmla="*/ 201704 h 590308"/>
                <a:gd name="connsiteX51" fmla="*/ 741612 w 821508"/>
                <a:gd name="connsiteY51" fmla="*/ 198441 h 590308"/>
                <a:gd name="connsiteX52" fmla="*/ 740367 w 821508"/>
                <a:gd name="connsiteY52" fmla="*/ 196355 h 590308"/>
                <a:gd name="connsiteX53" fmla="*/ 739795 w 821508"/>
                <a:gd name="connsiteY53" fmla="*/ 192520 h 590308"/>
                <a:gd name="connsiteX54" fmla="*/ 738718 w 821508"/>
                <a:gd name="connsiteY54" fmla="*/ 188752 h 590308"/>
                <a:gd name="connsiteX55" fmla="*/ 736699 w 821508"/>
                <a:gd name="connsiteY55" fmla="*/ 185927 h 590308"/>
                <a:gd name="connsiteX56" fmla="*/ 734949 w 821508"/>
                <a:gd name="connsiteY56" fmla="*/ 182529 h 590308"/>
                <a:gd name="connsiteX57" fmla="*/ 735454 w 821508"/>
                <a:gd name="connsiteY57" fmla="*/ 180073 h 590308"/>
                <a:gd name="connsiteX58" fmla="*/ 736396 w 821508"/>
                <a:gd name="connsiteY58" fmla="*/ 177180 h 590308"/>
                <a:gd name="connsiteX59" fmla="*/ 736530 w 821508"/>
                <a:gd name="connsiteY59" fmla="*/ 174927 h 590308"/>
                <a:gd name="connsiteX60" fmla="*/ 736598 w 821508"/>
                <a:gd name="connsiteY60" fmla="*/ 172168 h 590308"/>
                <a:gd name="connsiteX61" fmla="*/ 736901 w 821508"/>
                <a:gd name="connsiteY61" fmla="*/ 170789 h 590308"/>
                <a:gd name="connsiteX62" fmla="*/ 737406 w 821508"/>
                <a:gd name="connsiteY62" fmla="*/ 169275 h 590308"/>
                <a:gd name="connsiteX63" fmla="*/ 734949 w 821508"/>
                <a:gd name="connsiteY63" fmla="*/ 167829 h 590308"/>
                <a:gd name="connsiteX64" fmla="*/ 731314 w 821508"/>
                <a:gd name="connsiteY64" fmla="*/ 167829 h 590308"/>
                <a:gd name="connsiteX65" fmla="*/ 729295 w 821508"/>
                <a:gd name="connsiteY65" fmla="*/ 168266 h 590308"/>
                <a:gd name="connsiteX66" fmla="*/ 727107 w 821508"/>
                <a:gd name="connsiteY66" fmla="*/ 169006 h 590308"/>
                <a:gd name="connsiteX67" fmla="*/ 725155 w 821508"/>
                <a:gd name="connsiteY67" fmla="*/ 171394 h 590308"/>
                <a:gd name="connsiteX68" fmla="*/ 723775 w 821508"/>
                <a:gd name="connsiteY68" fmla="*/ 174153 h 590308"/>
                <a:gd name="connsiteX69" fmla="*/ 722766 w 821508"/>
                <a:gd name="connsiteY69" fmla="*/ 176474 h 590308"/>
                <a:gd name="connsiteX70" fmla="*/ 721319 w 821508"/>
                <a:gd name="connsiteY70" fmla="*/ 178661 h 590308"/>
                <a:gd name="connsiteX71" fmla="*/ 719636 w 821508"/>
                <a:gd name="connsiteY71" fmla="*/ 180679 h 590308"/>
                <a:gd name="connsiteX72" fmla="*/ 719064 w 821508"/>
                <a:gd name="connsiteY72" fmla="*/ 182260 h 590308"/>
                <a:gd name="connsiteX73" fmla="*/ 717751 w 821508"/>
                <a:gd name="connsiteY73" fmla="*/ 184648 h 590308"/>
                <a:gd name="connsiteX74" fmla="*/ 717549 w 821508"/>
                <a:gd name="connsiteY74" fmla="*/ 186229 h 590308"/>
                <a:gd name="connsiteX75" fmla="*/ 716742 w 821508"/>
                <a:gd name="connsiteY75" fmla="*/ 189358 h 590308"/>
                <a:gd name="connsiteX76" fmla="*/ 715799 w 821508"/>
                <a:gd name="connsiteY76" fmla="*/ 192049 h 590308"/>
                <a:gd name="connsiteX77" fmla="*/ 714790 w 821508"/>
                <a:gd name="connsiteY77" fmla="*/ 194808 h 590308"/>
                <a:gd name="connsiteX78" fmla="*/ 713208 w 821508"/>
                <a:gd name="connsiteY78" fmla="*/ 195514 h 590308"/>
                <a:gd name="connsiteX79" fmla="*/ 711121 w 821508"/>
                <a:gd name="connsiteY79" fmla="*/ 194808 h 590308"/>
                <a:gd name="connsiteX80" fmla="*/ 710112 w 821508"/>
                <a:gd name="connsiteY80" fmla="*/ 192486 h 590308"/>
                <a:gd name="connsiteX81" fmla="*/ 709237 w 821508"/>
                <a:gd name="connsiteY81" fmla="*/ 189156 h 590308"/>
                <a:gd name="connsiteX82" fmla="*/ 707487 w 821508"/>
                <a:gd name="connsiteY82" fmla="*/ 186263 h 590308"/>
                <a:gd name="connsiteX83" fmla="*/ 706780 w 821508"/>
                <a:gd name="connsiteY83" fmla="*/ 182798 h 590308"/>
                <a:gd name="connsiteX84" fmla="*/ 706073 w 821508"/>
                <a:gd name="connsiteY84" fmla="*/ 180847 h 590308"/>
                <a:gd name="connsiteX85" fmla="*/ 704188 w 821508"/>
                <a:gd name="connsiteY85" fmla="*/ 178156 h 590308"/>
                <a:gd name="connsiteX86" fmla="*/ 702438 w 821508"/>
                <a:gd name="connsiteY86" fmla="*/ 175835 h 590308"/>
                <a:gd name="connsiteX87" fmla="*/ 700419 w 821508"/>
                <a:gd name="connsiteY87" fmla="*/ 174826 h 590308"/>
                <a:gd name="connsiteX88" fmla="*/ 697727 w 821508"/>
                <a:gd name="connsiteY88" fmla="*/ 175196 h 590308"/>
                <a:gd name="connsiteX89" fmla="*/ 695775 w 821508"/>
                <a:gd name="connsiteY89" fmla="*/ 175936 h 590308"/>
                <a:gd name="connsiteX90" fmla="*/ 691063 w 821508"/>
                <a:gd name="connsiteY90" fmla="*/ 178694 h 590308"/>
                <a:gd name="connsiteX91" fmla="*/ 688741 w 821508"/>
                <a:gd name="connsiteY91" fmla="*/ 181150 h 590308"/>
                <a:gd name="connsiteX92" fmla="*/ 686991 w 821508"/>
                <a:gd name="connsiteY92" fmla="*/ 183673 h 590308"/>
                <a:gd name="connsiteX93" fmla="*/ 686924 w 821508"/>
                <a:gd name="connsiteY93" fmla="*/ 186364 h 590308"/>
                <a:gd name="connsiteX94" fmla="*/ 687462 w 821508"/>
                <a:gd name="connsiteY94" fmla="*/ 188954 h 590308"/>
                <a:gd name="connsiteX95" fmla="*/ 689515 w 821508"/>
                <a:gd name="connsiteY95" fmla="*/ 190973 h 590308"/>
                <a:gd name="connsiteX96" fmla="*/ 689515 w 821508"/>
                <a:gd name="connsiteY96" fmla="*/ 192486 h 590308"/>
                <a:gd name="connsiteX97" fmla="*/ 687630 w 821508"/>
                <a:gd name="connsiteY97" fmla="*/ 193563 h 590308"/>
                <a:gd name="connsiteX98" fmla="*/ 684366 w 821508"/>
                <a:gd name="connsiteY98" fmla="*/ 195951 h 590308"/>
                <a:gd name="connsiteX99" fmla="*/ 681674 w 821508"/>
                <a:gd name="connsiteY99" fmla="*/ 196691 h 590308"/>
                <a:gd name="connsiteX100" fmla="*/ 677332 w 821508"/>
                <a:gd name="connsiteY100" fmla="*/ 196826 h 590308"/>
                <a:gd name="connsiteX101" fmla="*/ 673698 w 821508"/>
                <a:gd name="connsiteY101" fmla="*/ 196893 h 590308"/>
                <a:gd name="connsiteX102" fmla="*/ 668784 w 821508"/>
                <a:gd name="connsiteY102" fmla="*/ 199282 h 590308"/>
                <a:gd name="connsiteX103" fmla="*/ 662625 w 821508"/>
                <a:gd name="connsiteY103" fmla="*/ 200964 h 590308"/>
                <a:gd name="connsiteX104" fmla="*/ 660370 w 821508"/>
                <a:gd name="connsiteY104" fmla="*/ 202915 h 590308"/>
                <a:gd name="connsiteX105" fmla="*/ 658486 w 821508"/>
                <a:gd name="connsiteY105" fmla="*/ 206178 h 590308"/>
                <a:gd name="connsiteX106" fmla="*/ 655962 w 821508"/>
                <a:gd name="connsiteY106" fmla="*/ 209508 h 590308"/>
                <a:gd name="connsiteX107" fmla="*/ 654380 w 821508"/>
                <a:gd name="connsiteY107" fmla="*/ 210013 h 590308"/>
                <a:gd name="connsiteX108" fmla="*/ 649163 w 821508"/>
                <a:gd name="connsiteY108" fmla="*/ 209878 h 590308"/>
                <a:gd name="connsiteX109" fmla="*/ 647985 w 821508"/>
                <a:gd name="connsiteY109" fmla="*/ 210887 h 590308"/>
                <a:gd name="connsiteX110" fmla="*/ 647043 w 821508"/>
                <a:gd name="connsiteY110" fmla="*/ 214352 h 590308"/>
                <a:gd name="connsiteX111" fmla="*/ 646101 w 821508"/>
                <a:gd name="connsiteY111" fmla="*/ 218423 h 590308"/>
                <a:gd name="connsiteX112" fmla="*/ 647312 w 821508"/>
                <a:gd name="connsiteY112" fmla="*/ 223334 h 590308"/>
                <a:gd name="connsiteX113" fmla="*/ 649197 w 821508"/>
                <a:gd name="connsiteY113" fmla="*/ 228750 h 590308"/>
                <a:gd name="connsiteX114" fmla="*/ 650274 w 821508"/>
                <a:gd name="connsiteY114" fmla="*/ 232215 h 590308"/>
                <a:gd name="connsiteX115" fmla="*/ 649836 w 821508"/>
                <a:gd name="connsiteY115" fmla="*/ 234603 h 590308"/>
                <a:gd name="connsiteX116" fmla="*/ 647649 w 821508"/>
                <a:gd name="connsiteY116" fmla="*/ 235343 h 590308"/>
                <a:gd name="connsiteX117" fmla="*/ 643307 w 821508"/>
                <a:gd name="connsiteY117" fmla="*/ 236588 h 590308"/>
                <a:gd name="connsiteX118" fmla="*/ 640783 w 821508"/>
                <a:gd name="connsiteY118" fmla="*/ 237160 h 590308"/>
                <a:gd name="connsiteX119" fmla="*/ 639202 w 821508"/>
                <a:gd name="connsiteY119" fmla="*/ 238304 h 590308"/>
                <a:gd name="connsiteX120" fmla="*/ 636879 w 821508"/>
                <a:gd name="connsiteY120" fmla="*/ 239750 h 590308"/>
                <a:gd name="connsiteX121" fmla="*/ 634927 w 821508"/>
                <a:gd name="connsiteY121" fmla="*/ 241567 h 590308"/>
                <a:gd name="connsiteX122" fmla="*/ 632908 w 821508"/>
                <a:gd name="connsiteY122" fmla="*/ 242643 h 590308"/>
                <a:gd name="connsiteX123" fmla="*/ 628432 w 821508"/>
                <a:gd name="connsiteY123" fmla="*/ 242206 h 590308"/>
                <a:gd name="connsiteX124" fmla="*/ 625235 w 821508"/>
                <a:gd name="connsiteY124" fmla="*/ 241567 h 590308"/>
                <a:gd name="connsiteX125" fmla="*/ 622475 w 821508"/>
                <a:gd name="connsiteY125" fmla="*/ 239616 h 590308"/>
                <a:gd name="connsiteX126" fmla="*/ 618942 w 821508"/>
                <a:gd name="connsiteY126" fmla="*/ 237429 h 590308"/>
                <a:gd name="connsiteX127" fmla="*/ 615980 w 821508"/>
                <a:gd name="connsiteY127" fmla="*/ 234906 h 590308"/>
                <a:gd name="connsiteX128" fmla="*/ 613725 w 821508"/>
                <a:gd name="connsiteY128" fmla="*/ 230634 h 590308"/>
                <a:gd name="connsiteX129" fmla="*/ 611638 w 821508"/>
                <a:gd name="connsiteY129" fmla="*/ 226866 h 590308"/>
                <a:gd name="connsiteX130" fmla="*/ 609013 w 821508"/>
                <a:gd name="connsiteY130" fmla="*/ 222897 h 590308"/>
                <a:gd name="connsiteX131" fmla="*/ 602047 w 821508"/>
                <a:gd name="connsiteY131" fmla="*/ 217111 h 590308"/>
                <a:gd name="connsiteX132" fmla="*/ 597638 w 821508"/>
                <a:gd name="connsiteY132" fmla="*/ 212838 h 590308"/>
                <a:gd name="connsiteX133" fmla="*/ 595451 w 821508"/>
                <a:gd name="connsiteY133" fmla="*/ 207052 h 590308"/>
                <a:gd name="connsiteX134" fmla="*/ 592691 w 821508"/>
                <a:gd name="connsiteY134" fmla="*/ 203352 h 590308"/>
                <a:gd name="connsiteX135" fmla="*/ 587979 w 821508"/>
                <a:gd name="connsiteY135" fmla="*/ 199517 h 590308"/>
                <a:gd name="connsiteX136" fmla="*/ 584075 w 821508"/>
                <a:gd name="connsiteY136" fmla="*/ 195682 h 590308"/>
                <a:gd name="connsiteX137" fmla="*/ 581248 w 821508"/>
                <a:gd name="connsiteY137" fmla="*/ 191780 h 590308"/>
                <a:gd name="connsiteX138" fmla="*/ 579061 w 821508"/>
                <a:gd name="connsiteY138" fmla="*/ 188080 h 590308"/>
                <a:gd name="connsiteX139" fmla="*/ 577916 w 821508"/>
                <a:gd name="connsiteY139" fmla="*/ 184379 h 590308"/>
                <a:gd name="connsiteX140" fmla="*/ 575157 w 821508"/>
                <a:gd name="connsiteY140" fmla="*/ 177349 h 590308"/>
                <a:gd name="connsiteX141" fmla="*/ 573642 w 821508"/>
                <a:gd name="connsiteY141" fmla="*/ 172134 h 590308"/>
                <a:gd name="connsiteX142" fmla="*/ 573003 w 821508"/>
                <a:gd name="connsiteY142" fmla="*/ 165608 h 590308"/>
                <a:gd name="connsiteX143" fmla="*/ 572868 w 821508"/>
                <a:gd name="connsiteY143" fmla="*/ 159587 h 590308"/>
                <a:gd name="connsiteX144" fmla="*/ 572498 w 821508"/>
                <a:gd name="connsiteY144" fmla="*/ 156828 h 590308"/>
                <a:gd name="connsiteX145" fmla="*/ 570849 w 821508"/>
                <a:gd name="connsiteY145" fmla="*/ 154070 h 590308"/>
                <a:gd name="connsiteX146" fmla="*/ 568661 w 821508"/>
                <a:gd name="connsiteY146" fmla="*/ 150941 h 590308"/>
                <a:gd name="connsiteX147" fmla="*/ 565195 w 821508"/>
                <a:gd name="connsiteY147" fmla="*/ 148755 h 590308"/>
                <a:gd name="connsiteX148" fmla="*/ 561359 w 821508"/>
                <a:gd name="connsiteY148" fmla="*/ 148116 h 590308"/>
                <a:gd name="connsiteX149" fmla="*/ 558229 w 821508"/>
                <a:gd name="connsiteY149" fmla="*/ 148116 h 590308"/>
                <a:gd name="connsiteX150" fmla="*/ 556277 w 821508"/>
                <a:gd name="connsiteY150" fmla="*/ 150134 h 590308"/>
                <a:gd name="connsiteX151" fmla="*/ 554762 w 821508"/>
                <a:gd name="connsiteY151" fmla="*/ 153599 h 590308"/>
                <a:gd name="connsiteX152" fmla="*/ 554325 w 821508"/>
                <a:gd name="connsiteY152" fmla="*/ 157064 h 590308"/>
                <a:gd name="connsiteX153" fmla="*/ 553517 w 821508"/>
                <a:gd name="connsiteY153" fmla="*/ 161773 h 590308"/>
                <a:gd name="connsiteX154" fmla="*/ 551262 w 821508"/>
                <a:gd name="connsiteY154" fmla="*/ 164599 h 590308"/>
                <a:gd name="connsiteX155" fmla="*/ 547493 w 821508"/>
                <a:gd name="connsiteY155" fmla="*/ 166988 h 590308"/>
                <a:gd name="connsiteX156" fmla="*/ 544901 w 821508"/>
                <a:gd name="connsiteY156" fmla="*/ 167290 h 590308"/>
                <a:gd name="connsiteX157" fmla="*/ 540257 w 821508"/>
                <a:gd name="connsiteY157" fmla="*/ 166550 h 590308"/>
                <a:gd name="connsiteX158" fmla="*/ 538002 w 821508"/>
                <a:gd name="connsiteY158" fmla="*/ 168501 h 590308"/>
                <a:gd name="connsiteX159" fmla="*/ 538204 w 821508"/>
                <a:gd name="connsiteY159" fmla="*/ 172134 h 590308"/>
                <a:gd name="connsiteX160" fmla="*/ 540728 w 821508"/>
                <a:gd name="connsiteY160" fmla="*/ 175835 h 590308"/>
                <a:gd name="connsiteX161" fmla="*/ 541805 w 821508"/>
                <a:gd name="connsiteY161" fmla="*/ 178728 h 590308"/>
                <a:gd name="connsiteX162" fmla="*/ 543118 w 821508"/>
                <a:gd name="connsiteY162" fmla="*/ 181318 h 590308"/>
                <a:gd name="connsiteX163" fmla="*/ 543690 w 821508"/>
                <a:gd name="connsiteY163" fmla="*/ 185018 h 590308"/>
                <a:gd name="connsiteX164" fmla="*/ 540122 w 821508"/>
                <a:gd name="connsiteY164" fmla="*/ 192856 h 590308"/>
                <a:gd name="connsiteX165" fmla="*/ 535243 w 821508"/>
                <a:gd name="connsiteY165" fmla="*/ 199484 h 590308"/>
                <a:gd name="connsiteX166" fmla="*/ 529690 w 821508"/>
                <a:gd name="connsiteY166" fmla="*/ 198071 h 590308"/>
                <a:gd name="connsiteX167" fmla="*/ 527838 w 821508"/>
                <a:gd name="connsiteY167" fmla="*/ 200022 h 590308"/>
                <a:gd name="connsiteX168" fmla="*/ 525651 w 821508"/>
                <a:gd name="connsiteY168" fmla="*/ 201233 h 590308"/>
                <a:gd name="connsiteX169" fmla="*/ 523362 w 821508"/>
                <a:gd name="connsiteY169" fmla="*/ 201334 h 590308"/>
                <a:gd name="connsiteX170" fmla="*/ 519559 w 821508"/>
                <a:gd name="connsiteY170" fmla="*/ 197633 h 590308"/>
                <a:gd name="connsiteX171" fmla="*/ 519795 w 821508"/>
                <a:gd name="connsiteY171" fmla="*/ 195581 h 590308"/>
                <a:gd name="connsiteX172" fmla="*/ 520771 w 821508"/>
                <a:gd name="connsiteY172" fmla="*/ 190905 h 590308"/>
                <a:gd name="connsiteX173" fmla="*/ 520569 w 821508"/>
                <a:gd name="connsiteY173" fmla="*/ 187340 h 590308"/>
                <a:gd name="connsiteX174" fmla="*/ 518180 w 821508"/>
                <a:gd name="connsiteY174" fmla="*/ 186700 h 590308"/>
                <a:gd name="connsiteX175" fmla="*/ 515252 w 821508"/>
                <a:gd name="connsiteY175" fmla="*/ 187474 h 590308"/>
                <a:gd name="connsiteX176" fmla="*/ 513603 w 821508"/>
                <a:gd name="connsiteY176" fmla="*/ 189762 h 590308"/>
                <a:gd name="connsiteX177" fmla="*/ 509362 w 821508"/>
                <a:gd name="connsiteY177" fmla="*/ 190199 h 590308"/>
                <a:gd name="connsiteX178" fmla="*/ 508285 w 821508"/>
                <a:gd name="connsiteY178" fmla="*/ 187037 h 590308"/>
                <a:gd name="connsiteX179" fmla="*/ 503843 w 821508"/>
                <a:gd name="connsiteY179" fmla="*/ 181184 h 590308"/>
                <a:gd name="connsiteX180" fmla="*/ 502867 w 821508"/>
                <a:gd name="connsiteY180" fmla="*/ 178156 h 590308"/>
                <a:gd name="connsiteX181" fmla="*/ 500141 w 821508"/>
                <a:gd name="connsiteY181" fmla="*/ 174792 h 590308"/>
                <a:gd name="connsiteX182" fmla="*/ 495362 w 821508"/>
                <a:gd name="connsiteY182" fmla="*/ 171193 h 590308"/>
                <a:gd name="connsiteX183" fmla="*/ 492535 w 821508"/>
                <a:gd name="connsiteY183" fmla="*/ 167829 h 590308"/>
                <a:gd name="connsiteX184" fmla="*/ 492905 w 821508"/>
                <a:gd name="connsiteY184" fmla="*/ 165036 h 590308"/>
                <a:gd name="connsiteX185" fmla="*/ 492165 w 821508"/>
                <a:gd name="connsiteY185" fmla="*/ 163725 h 590308"/>
                <a:gd name="connsiteX186" fmla="*/ 490583 w 821508"/>
                <a:gd name="connsiteY186" fmla="*/ 162278 h 590308"/>
                <a:gd name="connsiteX187" fmla="*/ 489573 w 821508"/>
                <a:gd name="connsiteY187" fmla="*/ 161269 h 590308"/>
                <a:gd name="connsiteX188" fmla="*/ 488126 w 821508"/>
                <a:gd name="connsiteY188" fmla="*/ 159183 h 590308"/>
                <a:gd name="connsiteX189" fmla="*/ 487857 w 821508"/>
                <a:gd name="connsiteY189" fmla="*/ 158039 h 590308"/>
                <a:gd name="connsiteX190" fmla="*/ 488093 w 821508"/>
                <a:gd name="connsiteY190" fmla="*/ 156727 h 590308"/>
                <a:gd name="connsiteX191" fmla="*/ 488900 w 821508"/>
                <a:gd name="connsiteY191" fmla="*/ 155651 h 590308"/>
                <a:gd name="connsiteX192" fmla="*/ 490347 w 821508"/>
                <a:gd name="connsiteY192" fmla="*/ 155348 h 590308"/>
                <a:gd name="connsiteX193" fmla="*/ 491592 w 821508"/>
                <a:gd name="connsiteY193" fmla="*/ 154844 h 590308"/>
                <a:gd name="connsiteX194" fmla="*/ 492232 w 821508"/>
                <a:gd name="connsiteY194" fmla="*/ 154541 h 590308"/>
                <a:gd name="connsiteX195" fmla="*/ 494184 w 821508"/>
                <a:gd name="connsiteY195" fmla="*/ 154339 h 590308"/>
                <a:gd name="connsiteX196" fmla="*/ 494689 w 821508"/>
                <a:gd name="connsiteY196" fmla="*/ 153195 h 590308"/>
                <a:gd name="connsiteX197" fmla="*/ 494991 w 821508"/>
                <a:gd name="connsiteY197" fmla="*/ 151883 h 590308"/>
                <a:gd name="connsiteX198" fmla="*/ 495866 w 821508"/>
                <a:gd name="connsiteY198" fmla="*/ 151244 h 590308"/>
                <a:gd name="connsiteX199" fmla="*/ 497751 w 821508"/>
                <a:gd name="connsiteY199" fmla="*/ 152556 h 590308"/>
                <a:gd name="connsiteX200" fmla="*/ 500141 w 821508"/>
                <a:gd name="connsiteY200" fmla="*/ 152489 h 590308"/>
                <a:gd name="connsiteX201" fmla="*/ 501453 w 821508"/>
                <a:gd name="connsiteY201" fmla="*/ 149293 h 590308"/>
                <a:gd name="connsiteX202" fmla="*/ 498559 w 821508"/>
                <a:gd name="connsiteY202" fmla="*/ 147544 h 590308"/>
                <a:gd name="connsiteX203" fmla="*/ 494285 w 821508"/>
                <a:gd name="connsiteY203" fmla="*/ 146467 h 590308"/>
                <a:gd name="connsiteX204" fmla="*/ 490448 w 821508"/>
                <a:gd name="connsiteY204" fmla="*/ 146467 h 590308"/>
                <a:gd name="connsiteX205" fmla="*/ 486814 w 821508"/>
                <a:gd name="connsiteY205" fmla="*/ 144584 h 590308"/>
                <a:gd name="connsiteX206" fmla="*/ 482842 w 821508"/>
                <a:gd name="connsiteY206" fmla="*/ 144079 h 590308"/>
                <a:gd name="connsiteX207" fmla="*/ 479713 w 821508"/>
                <a:gd name="connsiteY207" fmla="*/ 144079 h 590308"/>
                <a:gd name="connsiteX208" fmla="*/ 476582 w 821508"/>
                <a:gd name="connsiteY208" fmla="*/ 144651 h 590308"/>
                <a:gd name="connsiteX209" fmla="*/ 472611 w 821508"/>
                <a:gd name="connsiteY209" fmla="*/ 144348 h 590308"/>
                <a:gd name="connsiteX210" fmla="*/ 470424 w 821508"/>
                <a:gd name="connsiteY210" fmla="*/ 144853 h 590308"/>
                <a:gd name="connsiteX211" fmla="*/ 469347 w 821508"/>
                <a:gd name="connsiteY211" fmla="*/ 146367 h 590308"/>
                <a:gd name="connsiteX212" fmla="*/ 468606 w 821508"/>
                <a:gd name="connsiteY212" fmla="*/ 146804 h 590308"/>
                <a:gd name="connsiteX213" fmla="*/ 465039 w 821508"/>
                <a:gd name="connsiteY213" fmla="*/ 145425 h 590308"/>
                <a:gd name="connsiteX214" fmla="*/ 464231 w 821508"/>
                <a:gd name="connsiteY214" fmla="*/ 143944 h 590308"/>
                <a:gd name="connsiteX215" fmla="*/ 461606 w 821508"/>
                <a:gd name="connsiteY215" fmla="*/ 144819 h 590308"/>
                <a:gd name="connsiteX216" fmla="*/ 460024 w 821508"/>
                <a:gd name="connsiteY216" fmla="*/ 147712 h 590308"/>
                <a:gd name="connsiteX217" fmla="*/ 458375 w 821508"/>
                <a:gd name="connsiteY217" fmla="*/ 148519 h 590308"/>
                <a:gd name="connsiteX218" fmla="*/ 457298 w 821508"/>
                <a:gd name="connsiteY218" fmla="*/ 150841 h 590308"/>
                <a:gd name="connsiteX219" fmla="*/ 454774 w 821508"/>
                <a:gd name="connsiteY219" fmla="*/ 152657 h 590308"/>
                <a:gd name="connsiteX220" fmla="*/ 451443 w 821508"/>
                <a:gd name="connsiteY220" fmla="*/ 150403 h 590308"/>
                <a:gd name="connsiteX221" fmla="*/ 450803 w 821508"/>
                <a:gd name="connsiteY221" fmla="*/ 148149 h 590308"/>
                <a:gd name="connsiteX222" fmla="*/ 451308 w 821508"/>
                <a:gd name="connsiteY222" fmla="*/ 145963 h 590308"/>
                <a:gd name="connsiteX223" fmla="*/ 451308 w 821508"/>
                <a:gd name="connsiteY223" fmla="*/ 143776 h 590308"/>
                <a:gd name="connsiteX224" fmla="*/ 451240 w 821508"/>
                <a:gd name="connsiteY224" fmla="*/ 141321 h 590308"/>
                <a:gd name="connsiteX225" fmla="*/ 449154 w 821508"/>
                <a:gd name="connsiteY225" fmla="*/ 138495 h 590308"/>
                <a:gd name="connsiteX226" fmla="*/ 445957 w 821508"/>
                <a:gd name="connsiteY226" fmla="*/ 131464 h 590308"/>
                <a:gd name="connsiteX227" fmla="*/ 445452 w 821508"/>
                <a:gd name="connsiteY227" fmla="*/ 128638 h 590308"/>
                <a:gd name="connsiteX228" fmla="*/ 446394 w 821508"/>
                <a:gd name="connsiteY228" fmla="*/ 124501 h 590308"/>
                <a:gd name="connsiteX229" fmla="*/ 447774 w 821508"/>
                <a:gd name="connsiteY229" fmla="*/ 122920 h 590308"/>
                <a:gd name="connsiteX230" fmla="*/ 450029 w 821508"/>
                <a:gd name="connsiteY230" fmla="*/ 120296 h 590308"/>
                <a:gd name="connsiteX231" fmla="*/ 453226 w 821508"/>
                <a:gd name="connsiteY231" fmla="*/ 118210 h 590308"/>
                <a:gd name="connsiteX232" fmla="*/ 454673 w 821508"/>
                <a:gd name="connsiteY232" fmla="*/ 115754 h 590308"/>
                <a:gd name="connsiteX233" fmla="*/ 452419 w 821508"/>
                <a:gd name="connsiteY233" fmla="*/ 113299 h 590308"/>
                <a:gd name="connsiteX234" fmla="*/ 448649 w 821508"/>
                <a:gd name="connsiteY234" fmla="*/ 110843 h 590308"/>
                <a:gd name="connsiteX235" fmla="*/ 445688 w 821508"/>
                <a:gd name="connsiteY235" fmla="*/ 108589 h 590308"/>
                <a:gd name="connsiteX236" fmla="*/ 442423 w 821508"/>
                <a:gd name="connsiteY236" fmla="*/ 105898 h 590308"/>
                <a:gd name="connsiteX237" fmla="*/ 439461 w 821508"/>
                <a:gd name="connsiteY237" fmla="*/ 100247 h 590308"/>
                <a:gd name="connsiteX238" fmla="*/ 440404 w 821508"/>
                <a:gd name="connsiteY238" fmla="*/ 97051 h 590308"/>
                <a:gd name="connsiteX239" fmla="*/ 438216 w 821508"/>
                <a:gd name="connsiteY239" fmla="*/ 93283 h 590308"/>
                <a:gd name="connsiteX240" fmla="*/ 435087 w 821508"/>
                <a:gd name="connsiteY240" fmla="*/ 91837 h 590308"/>
                <a:gd name="connsiteX241" fmla="*/ 432697 w 821508"/>
                <a:gd name="connsiteY241" fmla="*/ 92341 h 590308"/>
                <a:gd name="connsiteX242" fmla="*/ 430375 w 821508"/>
                <a:gd name="connsiteY242" fmla="*/ 94662 h 590308"/>
                <a:gd name="connsiteX243" fmla="*/ 428120 w 821508"/>
                <a:gd name="connsiteY243" fmla="*/ 95604 h 590308"/>
                <a:gd name="connsiteX244" fmla="*/ 427043 w 821508"/>
                <a:gd name="connsiteY244" fmla="*/ 95537 h 590308"/>
                <a:gd name="connsiteX245" fmla="*/ 421826 w 821508"/>
                <a:gd name="connsiteY245" fmla="*/ 93519 h 590308"/>
                <a:gd name="connsiteX246" fmla="*/ 419740 w 821508"/>
                <a:gd name="connsiteY246" fmla="*/ 93149 h 590308"/>
                <a:gd name="connsiteX247" fmla="*/ 417048 w 821508"/>
                <a:gd name="connsiteY247" fmla="*/ 92274 h 590308"/>
                <a:gd name="connsiteX248" fmla="*/ 416173 w 821508"/>
                <a:gd name="connsiteY248" fmla="*/ 90895 h 590308"/>
                <a:gd name="connsiteX249" fmla="*/ 414557 w 821508"/>
                <a:gd name="connsiteY249" fmla="*/ 89280 h 590308"/>
                <a:gd name="connsiteX250" fmla="*/ 412740 w 821508"/>
                <a:gd name="connsiteY250" fmla="*/ 87800 h 590308"/>
                <a:gd name="connsiteX251" fmla="*/ 410788 w 821508"/>
                <a:gd name="connsiteY251" fmla="*/ 87262 h 590308"/>
                <a:gd name="connsiteX252" fmla="*/ 408701 w 821508"/>
                <a:gd name="connsiteY252" fmla="*/ 87262 h 590308"/>
                <a:gd name="connsiteX253" fmla="*/ 404999 w 821508"/>
                <a:gd name="connsiteY253" fmla="*/ 87262 h 590308"/>
                <a:gd name="connsiteX254" fmla="*/ 401735 w 821508"/>
                <a:gd name="connsiteY254" fmla="*/ 87262 h 590308"/>
                <a:gd name="connsiteX255" fmla="*/ 399480 w 821508"/>
                <a:gd name="connsiteY255" fmla="*/ 90020 h 590308"/>
                <a:gd name="connsiteX256" fmla="*/ 392076 w 821508"/>
                <a:gd name="connsiteY256" fmla="*/ 94225 h 590308"/>
                <a:gd name="connsiteX257" fmla="*/ 385984 w 821508"/>
                <a:gd name="connsiteY257" fmla="*/ 98060 h 590308"/>
                <a:gd name="connsiteX258" fmla="*/ 382148 w 821508"/>
                <a:gd name="connsiteY258" fmla="*/ 101323 h 590308"/>
                <a:gd name="connsiteX259" fmla="*/ 378614 w 821508"/>
                <a:gd name="connsiteY259" fmla="*/ 103207 h 590308"/>
                <a:gd name="connsiteX260" fmla="*/ 374407 w 821508"/>
                <a:gd name="connsiteY260" fmla="*/ 104452 h 590308"/>
                <a:gd name="connsiteX261" fmla="*/ 369628 w 821508"/>
                <a:gd name="connsiteY261" fmla="*/ 104452 h 590308"/>
                <a:gd name="connsiteX262" fmla="*/ 364984 w 821508"/>
                <a:gd name="connsiteY262" fmla="*/ 103812 h 590308"/>
                <a:gd name="connsiteX263" fmla="*/ 358388 w 821508"/>
                <a:gd name="connsiteY263" fmla="*/ 102803 h 590308"/>
                <a:gd name="connsiteX264" fmla="*/ 348325 w 821508"/>
                <a:gd name="connsiteY264" fmla="*/ 100280 h 590308"/>
                <a:gd name="connsiteX265" fmla="*/ 341089 w 821508"/>
                <a:gd name="connsiteY265" fmla="*/ 95436 h 590308"/>
                <a:gd name="connsiteX266" fmla="*/ 336310 w 821508"/>
                <a:gd name="connsiteY266" fmla="*/ 91298 h 590308"/>
                <a:gd name="connsiteX267" fmla="*/ 333113 w 821508"/>
                <a:gd name="connsiteY267" fmla="*/ 87968 h 590308"/>
                <a:gd name="connsiteX268" fmla="*/ 330589 w 821508"/>
                <a:gd name="connsiteY268" fmla="*/ 84940 h 590308"/>
                <a:gd name="connsiteX269" fmla="*/ 330219 w 821508"/>
                <a:gd name="connsiteY269" fmla="*/ 79289 h 590308"/>
                <a:gd name="connsiteX270" fmla="*/ 329714 w 821508"/>
                <a:gd name="connsiteY270" fmla="*/ 75084 h 590308"/>
                <a:gd name="connsiteX271" fmla="*/ 330791 w 821508"/>
                <a:gd name="connsiteY271" fmla="*/ 69803 h 590308"/>
                <a:gd name="connsiteX272" fmla="*/ 331868 w 821508"/>
                <a:gd name="connsiteY272" fmla="*/ 67852 h 590308"/>
                <a:gd name="connsiteX273" fmla="*/ 331733 w 821508"/>
                <a:gd name="connsiteY273" fmla="*/ 65934 h 590308"/>
                <a:gd name="connsiteX274" fmla="*/ 329714 w 821508"/>
                <a:gd name="connsiteY274" fmla="*/ 64723 h 590308"/>
                <a:gd name="connsiteX275" fmla="*/ 326954 w 821508"/>
                <a:gd name="connsiteY275" fmla="*/ 64723 h 590308"/>
                <a:gd name="connsiteX276" fmla="*/ 324363 w 821508"/>
                <a:gd name="connsiteY276" fmla="*/ 65228 h 590308"/>
                <a:gd name="connsiteX277" fmla="*/ 320459 w 821508"/>
                <a:gd name="connsiteY277" fmla="*/ 66304 h 590308"/>
                <a:gd name="connsiteX278" fmla="*/ 317430 w 821508"/>
                <a:gd name="connsiteY278" fmla="*/ 67885 h 590308"/>
                <a:gd name="connsiteX279" fmla="*/ 314738 w 821508"/>
                <a:gd name="connsiteY279" fmla="*/ 69264 h 590308"/>
                <a:gd name="connsiteX280" fmla="*/ 311608 w 821508"/>
                <a:gd name="connsiteY280" fmla="*/ 73234 h 590308"/>
                <a:gd name="connsiteX281" fmla="*/ 309656 w 821508"/>
                <a:gd name="connsiteY281" fmla="*/ 76934 h 590308"/>
                <a:gd name="connsiteX282" fmla="*/ 306324 w 821508"/>
                <a:gd name="connsiteY282" fmla="*/ 79121 h 590308"/>
                <a:gd name="connsiteX283" fmla="*/ 302622 w 821508"/>
                <a:gd name="connsiteY283" fmla="*/ 82586 h 590308"/>
                <a:gd name="connsiteX284" fmla="*/ 299661 w 821508"/>
                <a:gd name="connsiteY284" fmla="*/ 83662 h 590308"/>
                <a:gd name="connsiteX285" fmla="*/ 294747 w 821508"/>
                <a:gd name="connsiteY285" fmla="*/ 85546 h 590308"/>
                <a:gd name="connsiteX286" fmla="*/ 291348 w 821508"/>
                <a:gd name="connsiteY286" fmla="*/ 85849 h 590308"/>
                <a:gd name="connsiteX287" fmla="*/ 288453 w 821508"/>
                <a:gd name="connsiteY287" fmla="*/ 86555 h 590308"/>
                <a:gd name="connsiteX288" fmla="*/ 285054 w 821508"/>
                <a:gd name="connsiteY288" fmla="*/ 87564 h 590308"/>
                <a:gd name="connsiteX289" fmla="*/ 281655 w 821508"/>
                <a:gd name="connsiteY289" fmla="*/ 87699 h 590308"/>
                <a:gd name="connsiteX290" fmla="*/ 279939 w 821508"/>
                <a:gd name="connsiteY290" fmla="*/ 85882 h 590308"/>
                <a:gd name="connsiteX291" fmla="*/ 278256 w 821508"/>
                <a:gd name="connsiteY291" fmla="*/ 82855 h 590308"/>
                <a:gd name="connsiteX292" fmla="*/ 276944 w 821508"/>
                <a:gd name="connsiteY292" fmla="*/ 80096 h 590308"/>
                <a:gd name="connsiteX293" fmla="*/ 276506 w 821508"/>
                <a:gd name="connsiteY293" fmla="*/ 76766 h 590308"/>
                <a:gd name="connsiteX294" fmla="*/ 275194 w 821508"/>
                <a:gd name="connsiteY294" fmla="*/ 75252 h 590308"/>
                <a:gd name="connsiteX295" fmla="*/ 271727 w 821508"/>
                <a:gd name="connsiteY295" fmla="*/ 74109 h 590308"/>
                <a:gd name="connsiteX296" fmla="*/ 268833 w 821508"/>
                <a:gd name="connsiteY296" fmla="*/ 71855 h 590308"/>
                <a:gd name="connsiteX297" fmla="*/ 265804 w 821508"/>
                <a:gd name="connsiteY297" fmla="*/ 69971 h 590308"/>
                <a:gd name="connsiteX298" fmla="*/ 264559 w 821508"/>
                <a:gd name="connsiteY298" fmla="*/ 69399 h 590308"/>
                <a:gd name="connsiteX299" fmla="*/ 262977 w 821508"/>
                <a:gd name="connsiteY299" fmla="*/ 69332 h 590308"/>
                <a:gd name="connsiteX300" fmla="*/ 261395 w 821508"/>
                <a:gd name="connsiteY300" fmla="*/ 70576 h 590308"/>
                <a:gd name="connsiteX301" fmla="*/ 260385 w 821508"/>
                <a:gd name="connsiteY301" fmla="*/ 73099 h 590308"/>
                <a:gd name="connsiteX302" fmla="*/ 260823 w 821508"/>
                <a:gd name="connsiteY302" fmla="*/ 76060 h 590308"/>
                <a:gd name="connsiteX303" fmla="*/ 261765 w 821508"/>
                <a:gd name="connsiteY303" fmla="*/ 79087 h 590308"/>
                <a:gd name="connsiteX304" fmla="*/ 261563 w 821508"/>
                <a:gd name="connsiteY304" fmla="*/ 82922 h 590308"/>
                <a:gd name="connsiteX305" fmla="*/ 259309 w 821508"/>
                <a:gd name="connsiteY305" fmla="*/ 83662 h 590308"/>
                <a:gd name="connsiteX306" fmla="*/ 257054 w 821508"/>
                <a:gd name="connsiteY306" fmla="*/ 83898 h 590308"/>
                <a:gd name="connsiteX307" fmla="*/ 253352 w 821508"/>
                <a:gd name="connsiteY307" fmla="*/ 83595 h 590308"/>
                <a:gd name="connsiteX308" fmla="*/ 249010 w 821508"/>
                <a:gd name="connsiteY308" fmla="*/ 82956 h 590308"/>
                <a:gd name="connsiteX309" fmla="*/ 245544 w 821508"/>
                <a:gd name="connsiteY309" fmla="*/ 83259 h 590308"/>
                <a:gd name="connsiteX310" fmla="*/ 241135 w 821508"/>
                <a:gd name="connsiteY310" fmla="*/ 86791 h 590308"/>
                <a:gd name="connsiteX311" fmla="*/ 238005 w 821508"/>
                <a:gd name="connsiteY311" fmla="*/ 89549 h 590308"/>
                <a:gd name="connsiteX312" fmla="*/ 236322 w 821508"/>
                <a:gd name="connsiteY312" fmla="*/ 90491 h 590308"/>
                <a:gd name="connsiteX313" fmla="*/ 234303 w 821508"/>
                <a:gd name="connsiteY313" fmla="*/ 90928 h 590308"/>
                <a:gd name="connsiteX314" fmla="*/ 229962 w 821508"/>
                <a:gd name="connsiteY314" fmla="*/ 88977 h 590308"/>
                <a:gd name="connsiteX315" fmla="*/ 225822 w 821508"/>
                <a:gd name="connsiteY315" fmla="*/ 86017 h 590308"/>
                <a:gd name="connsiteX316" fmla="*/ 222356 w 821508"/>
                <a:gd name="connsiteY316" fmla="*/ 83326 h 590308"/>
                <a:gd name="connsiteX317" fmla="*/ 218788 w 821508"/>
                <a:gd name="connsiteY317" fmla="*/ 79760 h 590308"/>
                <a:gd name="connsiteX318" fmla="*/ 211620 w 821508"/>
                <a:gd name="connsiteY318" fmla="*/ 79625 h 590308"/>
                <a:gd name="connsiteX319" fmla="*/ 207649 w 821508"/>
                <a:gd name="connsiteY319" fmla="*/ 76060 h 590308"/>
                <a:gd name="connsiteX320" fmla="*/ 207077 w 821508"/>
                <a:gd name="connsiteY320" fmla="*/ 74613 h 590308"/>
                <a:gd name="connsiteX321" fmla="*/ 203038 w 821508"/>
                <a:gd name="connsiteY321" fmla="*/ 71922 h 590308"/>
                <a:gd name="connsiteX322" fmla="*/ 200076 w 821508"/>
                <a:gd name="connsiteY322" fmla="*/ 70913 h 590308"/>
                <a:gd name="connsiteX323" fmla="*/ 198562 w 821508"/>
                <a:gd name="connsiteY323" fmla="*/ 69769 h 590308"/>
                <a:gd name="connsiteX324" fmla="*/ 197485 w 821508"/>
                <a:gd name="connsiteY324" fmla="*/ 66809 h 590308"/>
                <a:gd name="connsiteX325" fmla="*/ 194658 w 821508"/>
                <a:gd name="connsiteY325" fmla="*/ 63983 h 590308"/>
                <a:gd name="connsiteX326" fmla="*/ 192134 w 821508"/>
                <a:gd name="connsiteY326" fmla="*/ 62469 h 590308"/>
                <a:gd name="connsiteX327" fmla="*/ 188937 w 821508"/>
                <a:gd name="connsiteY327" fmla="*/ 59845 h 590308"/>
                <a:gd name="connsiteX328" fmla="*/ 187624 w 821508"/>
                <a:gd name="connsiteY328" fmla="*/ 57827 h 590308"/>
                <a:gd name="connsiteX329" fmla="*/ 188197 w 821508"/>
                <a:gd name="connsiteY329" fmla="*/ 54564 h 590308"/>
                <a:gd name="connsiteX330" fmla="*/ 189273 w 821508"/>
                <a:gd name="connsiteY330" fmla="*/ 48475 h 590308"/>
                <a:gd name="connsiteX331" fmla="*/ 188567 w 821508"/>
                <a:gd name="connsiteY331" fmla="*/ 45212 h 590308"/>
                <a:gd name="connsiteX332" fmla="*/ 186244 w 821508"/>
                <a:gd name="connsiteY332" fmla="*/ 44338 h 590308"/>
                <a:gd name="connsiteX333" fmla="*/ 183047 w 821508"/>
                <a:gd name="connsiteY333" fmla="*/ 41512 h 590308"/>
                <a:gd name="connsiteX334" fmla="*/ 181903 w 821508"/>
                <a:gd name="connsiteY334" fmla="*/ 39123 h 590308"/>
                <a:gd name="connsiteX335" fmla="*/ 181903 w 821508"/>
                <a:gd name="connsiteY335" fmla="*/ 37441 h 590308"/>
                <a:gd name="connsiteX336" fmla="*/ 184494 w 821508"/>
                <a:gd name="connsiteY336" fmla="*/ 34414 h 590308"/>
                <a:gd name="connsiteX337" fmla="*/ 186514 w 821508"/>
                <a:gd name="connsiteY337" fmla="*/ 32900 h 590308"/>
                <a:gd name="connsiteX338" fmla="*/ 187389 w 821508"/>
                <a:gd name="connsiteY338" fmla="*/ 31319 h 590308"/>
                <a:gd name="connsiteX339" fmla="*/ 187322 w 821508"/>
                <a:gd name="connsiteY339" fmla="*/ 29233 h 590308"/>
                <a:gd name="connsiteX340" fmla="*/ 185739 w 821508"/>
                <a:gd name="connsiteY340" fmla="*/ 26542 h 590308"/>
                <a:gd name="connsiteX341" fmla="*/ 184293 w 821508"/>
                <a:gd name="connsiteY341" fmla="*/ 25600 h 590308"/>
                <a:gd name="connsiteX342" fmla="*/ 182273 w 821508"/>
                <a:gd name="connsiteY342" fmla="*/ 22842 h 590308"/>
                <a:gd name="connsiteX343" fmla="*/ 181768 w 821508"/>
                <a:gd name="connsiteY343" fmla="*/ 21025 h 590308"/>
                <a:gd name="connsiteX344" fmla="*/ 180658 w 821508"/>
                <a:gd name="connsiteY344" fmla="*/ 15744 h 590308"/>
                <a:gd name="connsiteX345" fmla="*/ 178908 w 821508"/>
                <a:gd name="connsiteY345" fmla="*/ 13658 h 590308"/>
                <a:gd name="connsiteX346" fmla="*/ 177595 w 821508"/>
                <a:gd name="connsiteY346" fmla="*/ 11707 h 590308"/>
                <a:gd name="connsiteX347" fmla="*/ 178841 w 821508"/>
                <a:gd name="connsiteY347" fmla="*/ 9184 h 590308"/>
                <a:gd name="connsiteX348" fmla="*/ 181466 w 821508"/>
                <a:gd name="connsiteY348" fmla="*/ 6998 h 590308"/>
                <a:gd name="connsiteX349" fmla="*/ 181667 w 821508"/>
                <a:gd name="connsiteY349" fmla="*/ 4912 h 590308"/>
                <a:gd name="connsiteX350" fmla="*/ 180523 w 821508"/>
                <a:gd name="connsiteY350" fmla="*/ 1851 h 590308"/>
                <a:gd name="connsiteX351" fmla="*/ 177629 w 821508"/>
                <a:gd name="connsiteY351" fmla="*/ 404 h 590308"/>
                <a:gd name="connsiteX352" fmla="*/ 173490 w 821508"/>
                <a:gd name="connsiteY352" fmla="*/ 404 h 590308"/>
                <a:gd name="connsiteX353" fmla="*/ 170461 w 821508"/>
                <a:gd name="connsiteY353" fmla="*/ 2490 h 590308"/>
                <a:gd name="connsiteX354" fmla="*/ 168508 w 821508"/>
                <a:gd name="connsiteY354" fmla="*/ 2793 h 590308"/>
                <a:gd name="connsiteX355" fmla="*/ 166489 w 821508"/>
                <a:gd name="connsiteY355" fmla="*/ 3533 h 590308"/>
                <a:gd name="connsiteX356" fmla="*/ 163898 w 821508"/>
                <a:gd name="connsiteY356" fmla="*/ 4542 h 590308"/>
                <a:gd name="connsiteX357" fmla="*/ 160936 w 821508"/>
                <a:gd name="connsiteY357" fmla="*/ 5046 h 590308"/>
                <a:gd name="connsiteX358" fmla="*/ 159052 w 821508"/>
                <a:gd name="connsiteY358" fmla="*/ 5181 h 590308"/>
                <a:gd name="connsiteX359" fmla="*/ 157100 w 821508"/>
                <a:gd name="connsiteY359" fmla="*/ 5753 h 590308"/>
                <a:gd name="connsiteX360" fmla="*/ 155215 w 821508"/>
                <a:gd name="connsiteY360" fmla="*/ 6829 h 590308"/>
                <a:gd name="connsiteX361" fmla="*/ 153633 w 821508"/>
                <a:gd name="connsiteY361" fmla="*/ 8646 h 590308"/>
                <a:gd name="connsiteX362" fmla="*/ 151446 w 821508"/>
                <a:gd name="connsiteY362" fmla="*/ 10328 h 590308"/>
                <a:gd name="connsiteX363" fmla="*/ 150066 w 821508"/>
                <a:gd name="connsiteY363" fmla="*/ 11135 h 590308"/>
                <a:gd name="connsiteX364" fmla="*/ 148551 w 821508"/>
                <a:gd name="connsiteY364" fmla="*/ 12582 h 590308"/>
                <a:gd name="connsiteX365" fmla="*/ 146667 w 821508"/>
                <a:gd name="connsiteY365" fmla="*/ 13456 h 590308"/>
                <a:gd name="connsiteX366" fmla="*/ 143840 w 821508"/>
                <a:gd name="connsiteY366" fmla="*/ 12750 h 590308"/>
                <a:gd name="connsiteX367" fmla="*/ 142258 w 821508"/>
                <a:gd name="connsiteY367" fmla="*/ 11303 h 590308"/>
                <a:gd name="connsiteX368" fmla="*/ 141383 w 821508"/>
                <a:gd name="connsiteY368" fmla="*/ 8478 h 590308"/>
                <a:gd name="connsiteX369" fmla="*/ 138623 w 821508"/>
                <a:gd name="connsiteY369" fmla="*/ 9924 h 590308"/>
                <a:gd name="connsiteX370" fmla="*/ 136368 w 821508"/>
                <a:gd name="connsiteY370" fmla="*/ 11068 h 590308"/>
                <a:gd name="connsiteX371" fmla="*/ 134349 w 821508"/>
                <a:gd name="connsiteY371" fmla="*/ 12144 h 590308"/>
                <a:gd name="connsiteX372" fmla="*/ 132835 w 821508"/>
                <a:gd name="connsiteY372" fmla="*/ 13725 h 590308"/>
                <a:gd name="connsiteX373" fmla="*/ 131690 w 821508"/>
                <a:gd name="connsiteY373" fmla="*/ 14667 h 590308"/>
                <a:gd name="connsiteX374" fmla="*/ 129099 w 821508"/>
                <a:gd name="connsiteY374" fmla="*/ 14869 h 590308"/>
                <a:gd name="connsiteX375" fmla="*/ 126474 w 821508"/>
                <a:gd name="connsiteY375" fmla="*/ 14936 h 590308"/>
                <a:gd name="connsiteX376" fmla="*/ 120753 w 821508"/>
                <a:gd name="connsiteY376" fmla="*/ 14365 h 590308"/>
                <a:gd name="connsiteX377" fmla="*/ 115334 w 821508"/>
                <a:gd name="connsiteY377" fmla="*/ 14297 h 590308"/>
                <a:gd name="connsiteX378" fmla="*/ 111565 w 821508"/>
                <a:gd name="connsiteY378" fmla="*/ 14297 h 590308"/>
                <a:gd name="connsiteX379" fmla="*/ 107829 w 821508"/>
                <a:gd name="connsiteY379" fmla="*/ 14869 h 590308"/>
                <a:gd name="connsiteX380" fmla="*/ 107223 w 821508"/>
                <a:gd name="connsiteY380" fmla="*/ 17258 h 590308"/>
                <a:gd name="connsiteX381" fmla="*/ 107223 w 821508"/>
                <a:gd name="connsiteY381" fmla="*/ 20386 h 590308"/>
                <a:gd name="connsiteX382" fmla="*/ 107796 w 821508"/>
                <a:gd name="connsiteY382" fmla="*/ 21631 h 590308"/>
                <a:gd name="connsiteX383" fmla="*/ 107223 w 821508"/>
                <a:gd name="connsiteY383" fmla="*/ 26475 h 590308"/>
                <a:gd name="connsiteX384" fmla="*/ 107223 w 821508"/>
                <a:gd name="connsiteY384" fmla="*/ 28561 h 590308"/>
                <a:gd name="connsiteX385" fmla="*/ 107223 w 821508"/>
                <a:gd name="connsiteY385" fmla="*/ 31184 h 590308"/>
                <a:gd name="connsiteX386" fmla="*/ 105843 w 821508"/>
                <a:gd name="connsiteY386" fmla="*/ 32564 h 590308"/>
                <a:gd name="connsiteX387" fmla="*/ 103589 w 821508"/>
                <a:gd name="connsiteY387" fmla="*/ 33943 h 590308"/>
                <a:gd name="connsiteX388" fmla="*/ 101502 w 821508"/>
                <a:gd name="connsiteY388" fmla="*/ 34313 h 590308"/>
                <a:gd name="connsiteX389" fmla="*/ 96791 w 821508"/>
                <a:gd name="connsiteY389" fmla="*/ 35558 h 590308"/>
                <a:gd name="connsiteX390" fmla="*/ 91742 w 821508"/>
                <a:gd name="connsiteY390" fmla="*/ 35120 h 590308"/>
                <a:gd name="connsiteX391" fmla="*/ 89218 w 821508"/>
                <a:gd name="connsiteY391" fmla="*/ 35692 h 590308"/>
                <a:gd name="connsiteX392" fmla="*/ 87267 w 821508"/>
                <a:gd name="connsiteY392" fmla="*/ 36331 h 590308"/>
                <a:gd name="connsiteX393" fmla="*/ 82622 w 821508"/>
                <a:gd name="connsiteY393" fmla="*/ 37206 h 590308"/>
                <a:gd name="connsiteX394" fmla="*/ 81478 w 821508"/>
                <a:gd name="connsiteY394" fmla="*/ 39594 h 590308"/>
                <a:gd name="connsiteX395" fmla="*/ 81107 w 821508"/>
                <a:gd name="connsiteY395" fmla="*/ 43497 h 590308"/>
                <a:gd name="connsiteX396" fmla="*/ 83632 w 821508"/>
                <a:gd name="connsiteY396" fmla="*/ 47634 h 590308"/>
                <a:gd name="connsiteX397" fmla="*/ 85516 w 821508"/>
                <a:gd name="connsiteY397" fmla="*/ 49720 h 590308"/>
                <a:gd name="connsiteX398" fmla="*/ 88108 w 821508"/>
                <a:gd name="connsiteY398" fmla="*/ 54732 h 590308"/>
                <a:gd name="connsiteX399" fmla="*/ 88747 w 821508"/>
                <a:gd name="connsiteY399" fmla="*/ 57995 h 590308"/>
                <a:gd name="connsiteX400" fmla="*/ 89386 w 821508"/>
                <a:gd name="connsiteY400" fmla="*/ 60821 h 590308"/>
                <a:gd name="connsiteX401" fmla="*/ 90060 w 821508"/>
                <a:gd name="connsiteY401" fmla="*/ 67852 h 590308"/>
                <a:gd name="connsiteX402" fmla="*/ 89791 w 821508"/>
                <a:gd name="connsiteY402" fmla="*/ 70745 h 590308"/>
                <a:gd name="connsiteX403" fmla="*/ 89791 w 821508"/>
                <a:gd name="connsiteY403" fmla="*/ 74310 h 590308"/>
                <a:gd name="connsiteX404" fmla="*/ 88545 w 821508"/>
                <a:gd name="connsiteY404" fmla="*/ 75757 h 590308"/>
                <a:gd name="connsiteX405" fmla="*/ 86862 w 821508"/>
                <a:gd name="connsiteY405" fmla="*/ 77708 h 590308"/>
                <a:gd name="connsiteX406" fmla="*/ 85348 w 821508"/>
                <a:gd name="connsiteY406" fmla="*/ 81476 h 590308"/>
                <a:gd name="connsiteX407" fmla="*/ 85045 w 821508"/>
                <a:gd name="connsiteY407" fmla="*/ 83359 h 590308"/>
                <a:gd name="connsiteX408" fmla="*/ 82588 w 821508"/>
                <a:gd name="connsiteY408" fmla="*/ 84369 h 590308"/>
                <a:gd name="connsiteX409" fmla="*/ 80401 w 821508"/>
                <a:gd name="connsiteY409" fmla="*/ 83662 h 590308"/>
                <a:gd name="connsiteX410" fmla="*/ 78516 w 821508"/>
                <a:gd name="connsiteY410" fmla="*/ 81274 h 590308"/>
                <a:gd name="connsiteX411" fmla="*/ 77776 w 821508"/>
                <a:gd name="connsiteY411" fmla="*/ 79154 h 590308"/>
                <a:gd name="connsiteX412" fmla="*/ 76699 w 821508"/>
                <a:gd name="connsiteY412" fmla="*/ 77641 h 590308"/>
                <a:gd name="connsiteX413" fmla="*/ 76329 w 821508"/>
                <a:gd name="connsiteY413" fmla="*/ 74445 h 590308"/>
                <a:gd name="connsiteX414" fmla="*/ 75016 w 821508"/>
                <a:gd name="connsiteY414" fmla="*/ 72359 h 590308"/>
                <a:gd name="connsiteX415" fmla="*/ 72997 w 821508"/>
                <a:gd name="connsiteY415" fmla="*/ 71989 h 590308"/>
                <a:gd name="connsiteX416" fmla="*/ 71852 w 821508"/>
                <a:gd name="connsiteY416" fmla="*/ 72729 h 590308"/>
                <a:gd name="connsiteX417" fmla="*/ 71045 w 821508"/>
                <a:gd name="connsiteY417" fmla="*/ 74109 h 590308"/>
                <a:gd name="connsiteX418" fmla="*/ 68790 w 821508"/>
                <a:gd name="connsiteY418" fmla="*/ 74109 h 590308"/>
                <a:gd name="connsiteX419" fmla="*/ 66973 w 821508"/>
                <a:gd name="connsiteY419" fmla="*/ 71855 h 590308"/>
                <a:gd name="connsiteX420" fmla="*/ 65155 w 821508"/>
                <a:gd name="connsiteY420" fmla="*/ 69836 h 590308"/>
                <a:gd name="connsiteX421" fmla="*/ 64650 w 821508"/>
                <a:gd name="connsiteY421" fmla="*/ 67381 h 590308"/>
                <a:gd name="connsiteX422" fmla="*/ 63775 w 821508"/>
                <a:gd name="connsiteY422" fmla="*/ 64925 h 590308"/>
                <a:gd name="connsiteX423" fmla="*/ 62093 w 821508"/>
                <a:gd name="connsiteY423" fmla="*/ 62671 h 590308"/>
                <a:gd name="connsiteX424" fmla="*/ 61151 w 821508"/>
                <a:gd name="connsiteY424" fmla="*/ 61157 h 590308"/>
                <a:gd name="connsiteX425" fmla="*/ 59400 w 821508"/>
                <a:gd name="connsiteY425" fmla="*/ 59711 h 590308"/>
                <a:gd name="connsiteX426" fmla="*/ 57650 w 821508"/>
                <a:gd name="connsiteY426" fmla="*/ 59273 h 590308"/>
                <a:gd name="connsiteX427" fmla="*/ 56641 w 821508"/>
                <a:gd name="connsiteY427" fmla="*/ 59273 h 590308"/>
                <a:gd name="connsiteX428" fmla="*/ 54386 w 821508"/>
                <a:gd name="connsiteY428" fmla="*/ 60922 h 590308"/>
                <a:gd name="connsiteX429" fmla="*/ 53309 w 821508"/>
                <a:gd name="connsiteY429" fmla="*/ 62604 h 590308"/>
                <a:gd name="connsiteX430" fmla="*/ 51626 w 821508"/>
                <a:gd name="connsiteY430" fmla="*/ 64858 h 590308"/>
                <a:gd name="connsiteX431" fmla="*/ 50414 w 821508"/>
                <a:gd name="connsiteY431" fmla="*/ 66741 h 590308"/>
                <a:gd name="connsiteX432" fmla="*/ 48833 w 821508"/>
                <a:gd name="connsiteY432" fmla="*/ 69769 h 590308"/>
                <a:gd name="connsiteX433" fmla="*/ 46006 w 821508"/>
                <a:gd name="connsiteY433" fmla="*/ 71787 h 590308"/>
                <a:gd name="connsiteX434" fmla="*/ 43818 w 821508"/>
                <a:gd name="connsiteY434" fmla="*/ 72157 h 590308"/>
                <a:gd name="connsiteX435" fmla="*/ 40688 w 821508"/>
                <a:gd name="connsiteY435" fmla="*/ 69836 h 590308"/>
                <a:gd name="connsiteX436" fmla="*/ 40318 w 821508"/>
                <a:gd name="connsiteY436" fmla="*/ 67953 h 590308"/>
                <a:gd name="connsiteX437" fmla="*/ 37491 w 821508"/>
                <a:gd name="connsiteY437" fmla="*/ 65631 h 590308"/>
                <a:gd name="connsiteX438" fmla="*/ 36616 w 821508"/>
                <a:gd name="connsiteY438" fmla="*/ 64555 h 590308"/>
                <a:gd name="connsiteX439" fmla="*/ 35102 w 821508"/>
                <a:gd name="connsiteY439" fmla="*/ 62671 h 590308"/>
                <a:gd name="connsiteX440" fmla="*/ 32712 w 821508"/>
                <a:gd name="connsiteY440" fmla="*/ 63748 h 590308"/>
                <a:gd name="connsiteX441" fmla="*/ 30693 w 821508"/>
                <a:gd name="connsiteY441" fmla="*/ 64185 h 590308"/>
                <a:gd name="connsiteX442" fmla="*/ 29448 w 821508"/>
                <a:gd name="connsiteY442" fmla="*/ 61796 h 590308"/>
                <a:gd name="connsiteX443" fmla="*/ 27698 w 821508"/>
                <a:gd name="connsiteY443" fmla="*/ 59543 h 590308"/>
                <a:gd name="connsiteX444" fmla="*/ 25106 w 821508"/>
                <a:gd name="connsiteY444" fmla="*/ 56280 h 590308"/>
                <a:gd name="connsiteX445" fmla="*/ 22717 w 821508"/>
                <a:gd name="connsiteY445" fmla="*/ 54261 h 590308"/>
                <a:gd name="connsiteX446" fmla="*/ 19385 w 821508"/>
                <a:gd name="connsiteY446" fmla="*/ 52445 h 590308"/>
                <a:gd name="connsiteX447" fmla="*/ 16794 w 821508"/>
                <a:gd name="connsiteY447" fmla="*/ 51940 h 590308"/>
                <a:gd name="connsiteX448" fmla="*/ 14101 w 821508"/>
                <a:gd name="connsiteY448" fmla="*/ 51503 h 590308"/>
                <a:gd name="connsiteX449" fmla="*/ 11476 w 821508"/>
                <a:gd name="connsiteY449" fmla="*/ 52142 h 590308"/>
                <a:gd name="connsiteX450" fmla="*/ 10029 w 821508"/>
                <a:gd name="connsiteY450" fmla="*/ 52276 h 590308"/>
                <a:gd name="connsiteX451" fmla="*/ 5687 w 821508"/>
                <a:gd name="connsiteY451" fmla="*/ 53017 h 590308"/>
                <a:gd name="connsiteX452" fmla="*/ 2154 w 821508"/>
                <a:gd name="connsiteY452" fmla="*/ 54396 h 590308"/>
                <a:gd name="connsiteX453" fmla="*/ 1346 w 821508"/>
                <a:gd name="connsiteY453" fmla="*/ 57659 h 590308"/>
                <a:gd name="connsiteX454" fmla="*/ 6058 w 821508"/>
                <a:gd name="connsiteY454" fmla="*/ 60350 h 590308"/>
                <a:gd name="connsiteX455" fmla="*/ 8750 w 821508"/>
                <a:gd name="connsiteY455" fmla="*/ 62738 h 590308"/>
                <a:gd name="connsiteX456" fmla="*/ 9020 w 821508"/>
                <a:gd name="connsiteY456" fmla="*/ 64824 h 590308"/>
                <a:gd name="connsiteX457" fmla="*/ 9457 w 821508"/>
                <a:gd name="connsiteY457" fmla="*/ 67448 h 590308"/>
                <a:gd name="connsiteX458" fmla="*/ 9591 w 821508"/>
                <a:gd name="connsiteY458" fmla="*/ 69769 h 590308"/>
                <a:gd name="connsiteX459" fmla="*/ 9524 w 821508"/>
                <a:gd name="connsiteY459" fmla="*/ 72460 h 590308"/>
                <a:gd name="connsiteX460" fmla="*/ 8851 w 821508"/>
                <a:gd name="connsiteY460" fmla="*/ 73974 h 590308"/>
                <a:gd name="connsiteX461" fmla="*/ 7976 w 821508"/>
                <a:gd name="connsiteY461" fmla="*/ 75286 h 590308"/>
                <a:gd name="connsiteX462" fmla="*/ 6529 w 821508"/>
                <a:gd name="connsiteY462" fmla="*/ 76228 h 590308"/>
                <a:gd name="connsiteX463" fmla="*/ 4644 w 821508"/>
                <a:gd name="connsiteY463" fmla="*/ 77607 h 590308"/>
                <a:gd name="connsiteX464" fmla="*/ 2759 w 821508"/>
                <a:gd name="connsiteY464" fmla="*/ 78986 h 590308"/>
                <a:gd name="connsiteX465" fmla="*/ 942 w 821508"/>
                <a:gd name="connsiteY465" fmla="*/ 80870 h 590308"/>
                <a:gd name="connsiteX466" fmla="*/ 0 w 821508"/>
                <a:gd name="connsiteY466" fmla="*/ 82317 h 590308"/>
                <a:gd name="connsiteX467" fmla="*/ 740 w 821508"/>
                <a:gd name="connsiteY467" fmla="*/ 85950 h 590308"/>
                <a:gd name="connsiteX468" fmla="*/ 1750 w 821508"/>
                <a:gd name="connsiteY468" fmla="*/ 88136 h 590308"/>
                <a:gd name="connsiteX469" fmla="*/ 4644 w 821508"/>
                <a:gd name="connsiteY469" fmla="*/ 89280 h 590308"/>
                <a:gd name="connsiteX470" fmla="*/ 7539 w 821508"/>
                <a:gd name="connsiteY470" fmla="*/ 90424 h 590308"/>
                <a:gd name="connsiteX471" fmla="*/ 12250 w 821508"/>
                <a:gd name="connsiteY471" fmla="*/ 90357 h 590308"/>
                <a:gd name="connsiteX472" fmla="*/ 15582 w 821508"/>
                <a:gd name="connsiteY472" fmla="*/ 88170 h 590308"/>
                <a:gd name="connsiteX473" fmla="*/ 15952 w 821508"/>
                <a:gd name="connsiteY473" fmla="*/ 86488 h 590308"/>
                <a:gd name="connsiteX474" fmla="*/ 19957 w 821508"/>
                <a:gd name="connsiteY474" fmla="*/ 84840 h 590308"/>
                <a:gd name="connsiteX475" fmla="*/ 23289 w 821508"/>
                <a:gd name="connsiteY475" fmla="*/ 86656 h 590308"/>
                <a:gd name="connsiteX476" fmla="*/ 26924 w 821508"/>
                <a:gd name="connsiteY476" fmla="*/ 89415 h 590308"/>
                <a:gd name="connsiteX477" fmla="*/ 27125 w 821508"/>
                <a:gd name="connsiteY477" fmla="*/ 92240 h 590308"/>
                <a:gd name="connsiteX478" fmla="*/ 27193 w 821508"/>
                <a:gd name="connsiteY478" fmla="*/ 94326 h 590308"/>
                <a:gd name="connsiteX479" fmla="*/ 24299 w 821508"/>
                <a:gd name="connsiteY479" fmla="*/ 99170 h 590308"/>
                <a:gd name="connsiteX480" fmla="*/ 21539 w 821508"/>
                <a:gd name="connsiteY480" fmla="*/ 101491 h 590308"/>
                <a:gd name="connsiteX481" fmla="*/ 22616 w 821508"/>
                <a:gd name="connsiteY481" fmla="*/ 104620 h 590308"/>
                <a:gd name="connsiteX482" fmla="*/ 24871 w 821508"/>
                <a:gd name="connsiteY482" fmla="*/ 105124 h 590308"/>
                <a:gd name="connsiteX483" fmla="*/ 28640 w 821508"/>
                <a:gd name="connsiteY483" fmla="*/ 105932 h 590308"/>
                <a:gd name="connsiteX484" fmla="*/ 32107 w 821508"/>
                <a:gd name="connsiteY484" fmla="*/ 107950 h 590308"/>
                <a:gd name="connsiteX485" fmla="*/ 35640 w 821508"/>
                <a:gd name="connsiteY485" fmla="*/ 110406 h 590308"/>
                <a:gd name="connsiteX486" fmla="*/ 37895 w 821508"/>
                <a:gd name="connsiteY486" fmla="*/ 111987 h 590308"/>
                <a:gd name="connsiteX487" fmla="*/ 41866 w 821508"/>
                <a:gd name="connsiteY487" fmla="*/ 114375 h 590308"/>
                <a:gd name="connsiteX488" fmla="*/ 44828 w 821508"/>
                <a:gd name="connsiteY488" fmla="*/ 117840 h 590308"/>
                <a:gd name="connsiteX489" fmla="*/ 46578 w 821508"/>
                <a:gd name="connsiteY489" fmla="*/ 120229 h 590308"/>
                <a:gd name="connsiteX490" fmla="*/ 45131 w 821508"/>
                <a:gd name="connsiteY490" fmla="*/ 121810 h 590308"/>
                <a:gd name="connsiteX491" fmla="*/ 41159 w 821508"/>
                <a:gd name="connsiteY491" fmla="*/ 123256 h 590308"/>
                <a:gd name="connsiteX492" fmla="*/ 39342 w 821508"/>
                <a:gd name="connsiteY492" fmla="*/ 124265 h 590308"/>
                <a:gd name="connsiteX493" fmla="*/ 38400 w 821508"/>
                <a:gd name="connsiteY493" fmla="*/ 125947 h 590308"/>
                <a:gd name="connsiteX494" fmla="*/ 44121 w 821508"/>
                <a:gd name="connsiteY494" fmla="*/ 128706 h 590308"/>
                <a:gd name="connsiteX495" fmla="*/ 45064 w 821508"/>
                <a:gd name="connsiteY495" fmla="*/ 128773 h 590308"/>
                <a:gd name="connsiteX496" fmla="*/ 48429 w 821508"/>
                <a:gd name="connsiteY496" fmla="*/ 131229 h 590308"/>
                <a:gd name="connsiteX497" fmla="*/ 51357 w 821508"/>
                <a:gd name="connsiteY497" fmla="*/ 136241 h 590308"/>
                <a:gd name="connsiteX498" fmla="*/ 51357 w 821508"/>
                <a:gd name="connsiteY498" fmla="*/ 136880 h 590308"/>
                <a:gd name="connsiteX499" fmla="*/ 47789 w 821508"/>
                <a:gd name="connsiteY499" fmla="*/ 140278 h 590308"/>
                <a:gd name="connsiteX500" fmla="*/ 44592 w 821508"/>
                <a:gd name="connsiteY500" fmla="*/ 141724 h 590308"/>
                <a:gd name="connsiteX501" fmla="*/ 43516 w 821508"/>
                <a:gd name="connsiteY501" fmla="*/ 142969 h 590308"/>
                <a:gd name="connsiteX502" fmla="*/ 42506 w 821508"/>
                <a:gd name="connsiteY502" fmla="*/ 147107 h 590308"/>
                <a:gd name="connsiteX503" fmla="*/ 42741 w 821508"/>
                <a:gd name="connsiteY503" fmla="*/ 154272 h 590308"/>
                <a:gd name="connsiteX504" fmla="*/ 39914 w 821508"/>
                <a:gd name="connsiteY504" fmla="*/ 155281 h 590308"/>
                <a:gd name="connsiteX505" fmla="*/ 42876 w 821508"/>
                <a:gd name="connsiteY505" fmla="*/ 159116 h 590308"/>
                <a:gd name="connsiteX506" fmla="*/ 43953 w 821508"/>
                <a:gd name="connsiteY506" fmla="*/ 161874 h 590308"/>
                <a:gd name="connsiteX507" fmla="*/ 42876 w 821508"/>
                <a:gd name="connsiteY507" fmla="*/ 165507 h 590308"/>
                <a:gd name="connsiteX508" fmla="*/ 40284 w 821508"/>
                <a:gd name="connsiteY508" fmla="*/ 168199 h 590308"/>
                <a:gd name="connsiteX509" fmla="*/ 39713 w 821508"/>
                <a:gd name="connsiteY509" fmla="*/ 171596 h 590308"/>
                <a:gd name="connsiteX510" fmla="*/ 39140 w 821508"/>
                <a:gd name="connsiteY510" fmla="*/ 175566 h 590308"/>
                <a:gd name="connsiteX511" fmla="*/ 39847 w 821508"/>
                <a:gd name="connsiteY511" fmla="*/ 178257 h 590308"/>
                <a:gd name="connsiteX512" fmla="*/ 40217 w 821508"/>
                <a:gd name="connsiteY512" fmla="*/ 184917 h 590308"/>
                <a:gd name="connsiteX513" fmla="*/ 41025 w 821508"/>
                <a:gd name="connsiteY513" fmla="*/ 187743 h 590308"/>
                <a:gd name="connsiteX514" fmla="*/ 46241 w 821508"/>
                <a:gd name="connsiteY514" fmla="*/ 187878 h 590308"/>
                <a:gd name="connsiteX515" fmla="*/ 46376 w 821508"/>
                <a:gd name="connsiteY515" fmla="*/ 190401 h 590308"/>
                <a:gd name="connsiteX516" fmla="*/ 45232 w 821508"/>
                <a:gd name="connsiteY516" fmla="*/ 194168 h 590308"/>
                <a:gd name="connsiteX517" fmla="*/ 43616 w 821508"/>
                <a:gd name="connsiteY517" fmla="*/ 198239 h 590308"/>
                <a:gd name="connsiteX518" fmla="*/ 43414 w 821508"/>
                <a:gd name="connsiteY518" fmla="*/ 201502 h 590308"/>
                <a:gd name="connsiteX519" fmla="*/ 42977 w 821508"/>
                <a:gd name="connsiteY519" fmla="*/ 204832 h 590308"/>
                <a:gd name="connsiteX520" fmla="*/ 43347 w 821508"/>
                <a:gd name="connsiteY520" fmla="*/ 206918 h 590308"/>
                <a:gd name="connsiteX521" fmla="*/ 46174 w 821508"/>
                <a:gd name="connsiteY521" fmla="*/ 209374 h 590308"/>
                <a:gd name="connsiteX522" fmla="*/ 50953 w 821508"/>
                <a:gd name="connsiteY522" fmla="*/ 212132 h 590308"/>
                <a:gd name="connsiteX523" fmla="*/ 55093 w 821508"/>
                <a:gd name="connsiteY523" fmla="*/ 215597 h 590308"/>
                <a:gd name="connsiteX524" fmla="*/ 59501 w 821508"/>
                <a:gd name="connsiteY524" fmla="*/ 220878 h 590308"/>
                <a:gd name="connsiteX525" fmla="*/ 62833 w 821508"/>
                <a:gd name="connsiteY525" fmla="*/ 223469 h 590308"/>
                <a:gd name="connsiteX526" fmla="*/ 66165 w 821508"/>
                <a:gd name="connsiteY526" fmla="*/ 225420 h 590308"/>
                <a:gd name="connsiteX527" fmla="*/ 66603 w 821508"/>
                <a:gd name="connsiteY527" fmla="*/ 227808 h 590308"/>
                <a:gd name="connsiteX528" fmla="*/ 66232 w 821508"/>
                <a:gd name="connsiteY528" fmla="*/ 230836 h 590308"/>
                <a:gd name="connsiteX529" fmla="*/ 65862 w 821508"/>
                <a:gd name="connsiteY529" fmla="*/ 233022 h 590308"/>
                <a:gd name="connsiteX530" fmla="*/ 65290 w 821508"/>
                <a:gd name="connsiteY530" fmla="*/ 234906 h 590308"/>
                <a:gd name="connsiteX531" fmla="*/ 64617 w 821508"/>
                <a:gd name="connsiteY531" fmla="*/ 237530 h 590308"/>
                <a:gd name="connsiteX532" fmla="*/ 63540 w 821508"/>
                <a:gd name="connsiteY532" fmla="*/ 238472 h 590308"/>
                <a:gd name="connsiteX533" fmla="*/ 63102 w 821508"/>
                <a:gd name="connsiteY533" fmla="*/ 240356 h 590308"/>
                <a:gd name="connsiteX534" fmla="*/ 63304 w 821508"/>
                <a:gd name="connsiteY534" fmla="*/ 242980 h 590308"/>
                <a:gd name="connsiteX535" fmla="*/ 64011 w 821508"/>
                <a:gd name="connsiteY535" fmla="*/ 244796 h 590308"/>
                <a:gd name="connsiteX536" fmla="*/ 65761 w 821508"/>
                <a:gd name="connsiteY536" fmla="*/ 246478 h 590308"/>
                <a:gd name="connsiteX537" fmla="*/ 67713 w 821508"/>
                <a:gd name="connsiteY537" fmla="*/ 247925 h 590308"/>
                <a:gd name="connsiteX538" fmla="*/ 70675 w 821508"/>
                <a:gd name="connsiteY538" fmla="*/ 249506 h 590308"/>
                <a:gd name="connsiteX539" fmla="*/ 74141 w 821508"/>
                <a:gd name="connsiteY539" fmla="*/ 249876 h 590308"/>
                <a:gd name="connsiteX540" fmla="*/ 77776 w 821508"/>
                <a:gd name="connsiteY540" fmla="*/ 249876 h 590308"/>
                <a:gd name="connsiteX541" fmla="*/ 82117 w 821508"/>
                <a:gd name="connsiteY541" fmla="*/ 249304 h 590308"/>
                <a:gd name="connsiteX542" fmla="*/ 85887 w 821508"/>
                <a:gd name="connsiteY542" fmla="*/ 247218 h 590308"/>
                <a:gd name="connsiteX543" fmla="*/ 89925 w 821508"/>
                <a:gd name="connsiteY543" fmla="*/ 244830 h 590308"/>
                <a:gd name="connsiteX544" fmla="*/ 93055 w 821508"/>
                <a:gd name="connsiteY544" fmla="*/ 242307 h 590308"/>
                <a:gd name="connsiteX545" fmla="*/ 96319 w 821508"/>
                <a:gd name="connsiteY545" fmla="*/ 237967 h 590308"/>
                <a:gd name="connsiteX546" fmla="*/ 98271 w 821508"/>
                <a:gd name="connsiteY546" fmla="*/ 234704 h 590308"/>
                <a:gd name="connsiteX547" fmla="*/ 105305 w 821508"/>
                <a:gd name="connsiteY547" fmla="*/ 228245 h 590308"/>
                <a:gd name="connsiteX548" fmla="*/ 109579 w 821508"/>
                <a:gd name="connsiteY548" fmla="*/ 222796 h 590308"/>
                <a:gd name="connsiteX549" fmla="*/ 114796 w 821508"/>
                <a:gd name="connsiteY549" fmla="*/ 219028 h 590308"/>
                <a:gd name="connsiteX550" fmla="*/ 119003 w 821508"/>
                <a:gd name="connsiteY550" fmla="*/ 214823 h 590308"/>
                <a:gd name="connsiteX551" fmla="*/ 120685 w 821508"/>
                <a:gd name="connsiteY551" fmla="*/ 211257 h 590308"/>
                <a:gd name="connsiteX552" fmla="*/ 124017 w 821508"/>
                <a:gd name="connsiteY552" fmla="*/ 209575 h 590308"/>
                <a:gd name="connsiteX553" fmla="*/ 127416 w 821508"/>
                <a:gd name="connsiteY553" fmla="*/ 208263 h 590308"/>
                <a:gd name="connsiteX554" fmla="*/ 129166 w 821508"/>
                <a:gd name="connsiteY554" fmla="*/ 206514 h 590308"/>
                <a:gd name="connsiteX555" fmla="*/ 131118 w 821508"/>
                <a:gd name="connsiteY555" fmla="*/ 205707 h 590308"/>
                <a:gd name="connsiteX556" fmla="*/ 134012 w 821508"/>
                <a:gd name="connsiteY556" fmla="*/ 206279 h 590308"/>
                <a:gd name="connsiteX557" fmla="*/ 136536 w 821508"/>
                <a:gd name="connsiteY557" fmla="*/ 208533 h 590308"/>
                <a:gd name="connsiteX558" fmla="*/ 136772 w 821508"/>
                <a:gd name="connsiteY558" fmla="*/ 209844 h 590308"/>
                <a:gd name="connsiteX559" fmla="*/ 136705 w 821508"/>
                <a:gd name="connsiteY559" fmla="*/ 212300 h 590308"/>
                <a:gd name="connsiteX560" fmla="*/ 135628 w 821508"/>
                <a:gd name="connsiteY560" fmla="*/ 214621 h 590308"/>
                <a:gd name="connsiteX561" fmla="*/ 134988 w 821508"/>
                <a:gd name="connsiteY561" fmla="*/ 216438 h 590308"/>
                <a:gd name="connsiteX562" fmla="*/ 134484 w 821508"/>
                <a:gd name="connsiteY562" fmla="*/ 218322 h 590308"/>
                <a:gd name="connsiteX563" fmla="*/ 134282 w 821508"/>
                <a:gd name="connsiteY563" fmla="*/ 220710 h 590308"/>
                <a:gd name="connsiteX564" fmla="*/ 134416 w 821508"/>
                <a:gd name="connsiteY564" fmla="*/ 222964 h 590308"/>
                <a:gd name="connsiteX565" fmla="*/ 134787 w 821508"/>
                <a:gd name="connsiteY565" fmla="*/ 225151 h 590308"/>
                <a:gd name="connsiteX566" fmla="*/ 135729 w 821508"/>
                <a:gd name="connsiteY566" fmla="*/ 226967 h 590308"/>
                <a:gd name="connsiteX567" fmla="*/ 137243 w 821508"/>
                <a:gd name="connsiteY567" fmla="*/ 228548 h 590308"/>
                <a:gd name="connsiteX568" fmla="*/ 139431 w 821508"/>
                <a:gd name="connsiteY568" fmla="*/ 231441 h 590308"/>
                <a:gd name="connsiteX569" fmla="*/ 143402 w 821508"/>
                <a:gd name="connsiteY569" fmla="*/ 234570 h 590308"/>
                <a:gd name="connsiteX570" fmla="*/ 145657 w 821508"/>
                <a:gd name="connsiteY570" fmla="*/ 236521 h 590308"/>
                <a:gd name="connsiteX571" fmla="*/ 147845 w 821508"/>
                <a:gd name="connsiteY571" fmla="*/ 238707 h 590308"/>
                <a:gd name="connsiteX572" fmla="*/ 151042 w 821508"/>
                <a:gd name="connsiteY572" fmla="*/ 241970 h 590308"/>
                <a:gd name="connsiteX573" fmla="*/ 154441 w 821508"/>
                <a:gd name="connsiteY573" fmla="*/ 243854 h 590308"/>
                <a:gd name="connsiteX574" fmla="*/ 157571 w 821508"/>
                <a:gd name="connsiteY574" fmla="*/ 247992 h 590308"/>
                <a:gd name="connsiteX575" fmla="*/ 158278 w 821508"/>
                <a:gd name="connsiteY575" fmla="*/ 251524 h 590308"/>
                <a:gd name="connsiteX576" fmla="*/ 157907 w 821508"/>
                <a:gd name="connsiteY576" fmla="*/ 255056 h 590308"/>
                <a:gd name="connsiteX577" fmla="*/ 157470 w 821508"/>
                <a:gd name="connsiteY577" fmla="*/ 258824 h 590308"/>
                <a:gd name="connsiteX578" fmla="*/ 158244 w 821508"/>
                <a:gd name="connsiteY578" fmla="*/ 263298 h 590308"/>
                <a:gd name="connsiteX579" fmla="*/ 158446 w 821508"/>
                <a:gd name="connsiteY579" fmla="*/ 266998 h 590308"/>
                <a:gd name="connsiteX580" fmla="*/ 162484 w 821508"/>
                <a:gd name="connsiteY580" fmla="*/ 270699 h 590308"/>
                <a:gd name="connsiteX581" fmla="*/ 166489 w 821508"/>
                <a:gd name="connsiteY581" fmla="*/ 273962 h 590308"/>
                <a:gd name="connsiteX582" fmla="*/ 167566 w 821508"/>
                <a:gd name="connsiteY582" fmla="*/ 274500 h 590308"/>
                <a:gd name="connsiteX583" fmla="*/ 168542 w 821508"/>
                <a:gd name="connsiteY583" fmla="*/ 277965 h 590308"/>
                <a:gd name="connsiteX584" fmla="*/ 168879 w 821508"/>
                <a:gd name="connsiteY584" fmla="*/ 280790 h 590308"/>
                <a:gd name="connsiteX585" fmla="*/ 168778 w 821508"/>
                <a:gd name="connsiteY585" fmla="*/ 283280 h 590308"/>
                <a:gd name="connsiteX586" fmla="*/ 168677 w 821508"/>
                <a:gd name="connsiteY586" fmla="*/ 288494 h 590308"/>
                <a:gd name="connsiteX587" fmla="*/ 168778 w 821508"/>
                <a:gd name="connsiteY587" fmla="*/ 290109 h 590308"/>
                <a:gd name="connsiteX588" fmla="*/ 170730 w 821508"/>
                <a:gd name="connsiteY588" fmla="*/ 293372 h 590308"/>
                <a:gd name="connsiteX589" fmla="*/ 175744 w 821508"/>
                <a:gd name="connsiteY589" fmla="*/ 295659 h 590308"/>
                <a:gd name="connsiteX590" fmla="*/ 177797 w 821508"/>
                <a:gd name="connsiteY590" fmla="*/ 296298 h 590308"/>
                <a:gd name="connsiteX591" fmla="*/ 179884 w 821508"/>
                <a:gd name="connsiteY591" fmla="*/ 298586 h 590308"/>
                <a:gd name="connsiteX592" fmla="*/ 180523 w 821508"/>
                <a:gd name="connsiteY592" fmla="*/ 301176 h 590308"/>
                <a:gd name="connsiteX593" fmla="*/ 180187 w 821508"/>
                <a:gd name="connsiteY593" fmla="*/ 303565 h 590308"/>
                <a:gd name="connsiteX594" fmla="*/ 179412 w 821508"/>
                <a:gd name="connsiteY594" fmla="*/ 305415 h 590308"/>
                <a:gd name="connsiteX595" fmla="*/ 177461 w 821508"/>
                <a:gd name="connsiteY595" fmla="*/ 309014 h 590308"/>
                <a:gd name="connsiteX596" fmla="*/ 174095 w 821508"/>
                <a:gd name="connsiteY596" fmla="*/ 311201 h 590308"/>
                <a:gd name="connsiteX597" fmla="*/ 171706 w 821508"/>
                <a:gd name="connsiteY597" fmla="*/ 312715 h 590308"/>
                <a:gd name="connsiteX598" fmla="*/ 169417 w 821508"/>
                <a:gd name="connsiteY598" fmla="*/ 313253 h 590308"/>
                <a:gd name="connsiteX599" fmla="*/ 166489 w 821508"/>
                <a:gd name="connsiteY599" fmla="*/ 313791 h 590308"/>
                <a:gd name="connsiteX600" fmla="*/ 165177 w 821508"/>
                <a:gd name="connsiteY600" fmla="*/ 314767 h 590308"/>
                <a:gd name="connsiteX601" fmla="*/ 162888 w 821508"/>
                <a:gd name="connsiteY601" fmla="*/ 315540 h 590308"/>
                <a:gd name="connsiteX602" fmla="*/ 161576 w 821508"/>
                <a:gd name="connsiteY602" fmla="*/ 317828 h 590308"/>
                <a:gd name="connsiteX603" fmla="*/ 160936 w 821508"/>
                <a:gd name="connsiteY603" fmla="*/ 319779 h 590308"/>
                <a:gd name="connsiteX604" fmla="*/ 161710 w 821508"/>
                <a:gd name="connsiteY604" fmla="*/ 321831 h 590308"/>
                <a:gd name="connsiteX605" fmla="*/ 163763 w 821508"/>
                <a:gd name="connsiteY605" fmla="*/ 323782 h 590308"/>
                <a:gd name="connsiteX606" fmla="*/ 166254 w 821508"/>
                <a:gd name="connsiteY606" fmla="*/ 324421 h 590308"/>
                <a:gd name="connsiteX607" fmla="*/ 170595 w 821508"/>
                <a:gd name="connsiteY607" fmla="*/ 325060 h 590308"/>
                <a:gd name="connsiteX608" fmla="*/ 171470 w 821508"/>
                <a:gd name="connsiteY608" fmla="*/ 326372 h 590308"/>
                <a:gd name="connsiteX609" fmla="*/ 172547 w 821508"/>
                <a:gd name="connsiteY609" fmla="*/ 327449 h 590308"/>
                <a:gd name="connsiteX610" fmla="*/ 175038 w 821508"/>
                <a:gd name="connsiteY610" fmla="*/ 329501 h 590308"/>
                <a:gd name="connsiteX611" fmla="*/ 177864 w 821508"/>
                <a:gd name="connsiteY611" fmla="*/ 330140 h 590308"/>
                <a:gd name="connsiteX612" fmla="*/ 180153 w 821508"/>
                <a:gd name="connsiteY612" fmla="*/ 330779 h 590308"/>
                <a:gd name="connsiteX613" fmla="*/ 180927 w 821508"/>
                <a:gd name="connsiteY613" fmla="*/ 327415 h 590308"/>
                <a:gd name="connsiteX614" fmla="*/ 178841 w 821508"/>
                <a:gd name="connsiteY614" fmla="*/ 325128 h 590308"/>
                <a:gd name="connsiteX615" fmla="*/ 179278 w 821508"/>
                <a:gd name="connsiteY615" fmla="*/ 323816 h 590308"/>
                <a:gd name="connsiteX616" fmla="*/ 182206 w 821508"/>
                <a:gd name="connsiteY616" fmla="*/ 323916 h 590308"/>
                <a:gd name="connsiteX617" fmla="*/ 183619 w 821508"/>
                <a:gd name="connsiteY617" fmla="*/ 324993 h 590308"/>
                <a:gd name="connsiteX618" fmla="*/ 185134 w 821508"/>
                <a:gd name="connsiteY618" fmla="*/ 327381 h 590308"/>
                <a:gd name="connsiteX619" fmla="*/ 187961 w 821508"/>
                <a:gd name="connsiteY619" fmla="*/ 328088 h 590308"/>
                <a:gd name="connsiteX620" fmla="*/ 190249 w 821508"/>
                <a:gd name="connsiteY620" fmla="*/ 327045 h 590308"/>
                <a:gd name="connsiteX621" fmla="*/ 193076 w 821508"/>
                <a:gd name="connsiteY621" fmla="*/ 327045 h 590308"/>
                <a:gd name="connsiteX622" fmla="*/ 194524 w 821508"/>
                <a:gd name="connsiteY622" fmla="*/ 326103 h 590308"/>
                <a:gd name="connsiteX623" fmla="*/ 194961 w 821508"/>
                <a:gd name="connsiteY623" fmla="*/ 325027 h 590308"/>
                <a:gd name="connsiteX624" fmla="*/ 197586 w 821508"/>
                <a:gd name="connsiteY624" fmla="*/ 322840 h 590308"/>
                <a:gd name="connsiteX625" fmla="*/ 200177 w 821508"/>
                <a:gd name="connsiteY625" fmla="*/ 322134 h 590308"/>
                <a:gd name="connsiteX626" fmla="*/ 200446 w 821508"/>
                <a:gd name="connsiteY626" fmla="*/ 319409 h 590308"/>
                <a:gd name="connsiteX627" fmla="*/ 199875 w 821508"/>
                <a:gd name="connsiteY627" fmla="*/ 316886 h 590308"/>
                <a:gd name="connsiteX628" fmla="*/ 199101 w 821508"/>
                <a:gd name="connsiteY628" fmla="*/ 315439 h 590308"/>
                <a:gd name="connsiteX629" fmla="*/ 200446 w 821508"/>
                <a:gd name="connsiteY629" fmla="*/ 313959 h 590308"/>
                <a:gd name="connsiteX630" fmla="*/ 202466 w 821508"/>
                <a:gd name="connsiteY630" fmla="*/ 313152 h 590308"/>
                <a:gd name="connsiteX631" fmla="*/ 205259 w 821508"/>
                <a:gd name="connsiteY631" fmla="*/ 313152 h 590308"/>
                <a:gd name="connsiteX632" fmla="*/ 206942 w 821508"/>
                <a:gd name="connsiteY632" fmla="*/ 315507 h 590308"/>
                <a:gd name="connsiteX633" fmla="*/ 207851 w 821508"/>
                <a:gd name="connsiteY633" fmla="*/ 317693 h 590308"/>
                <a:gd name="connsiteX634" fmla="*/ 207851 w 821508"/>
                <a:gd name="connsiteY634" fmla="*/ 319241 h 590308"/>
                <a:gd name="connsiteX635" fmla="*/ 208591 w 821508"/>
                <a:gd name="connsiteY635" fmla="*/ 320889 h 590308"/>
                <a:gd name="connsiteX636" fmla="*/ 210543 w 821508"/>
                <a:gd name="connsiteY636" fmla="*/ 322975 h 590308"/>
                <a:gd name="connsiteX637" fmla="*/ 213101 w 821508"/>
                <a:gd name="connsiteY637" fmla="*/ 324589 h 590308"/>
                <a:gd name="connsiteX638" fmla="*/ 213101 w 821508"/>
                <a:gd name="connsiteY638" fmla="*/ 326170 h 590308"/>
                <a:gd name="connsiteX639" fmla="*/ 212764 w 821508"/>
                <a:gd name="connsiteY639" fmla="*/ 327516 h 590308"/>
                <a:gd name="connsiteX640" fmla="*/ 213976 w 821508"/>
                <a:gd name="connsiteY640" fmla="*/ 328895 h 590308"/>
                <a:gd name="connsiteX641" fmla="*/ 216365 w 821508"/>
                <a:gd name="connsiteY641" fmla="*/ 329164 h 590308"/>
                <a:gd name="connsiteX642" fmla="*/ 217779 w 821508"/>
                <a:gd name="connsiteY642" fmla="*/ 329366 h 590308"/>
                <a:gd name="connsiteX643" fmla="*/ 219798 w 821508"/>
                <a:gd name="connsiteY643" fmla="*/ 331183 h 590308"/>
                <a:gd name="connsiteX644" fmla="*/ 223870 w 821508"/>
                <a:gd name="connsiteY644" fmla="*/ 333537 h 590308"/>
                <a:gd name="connsiteX645" fmla="*/ 225654 w 821508"/>
                <a:gd name="connsiteY645" fmla="*/ 333975 h 590308"/>
                <a:gd name="connsiteX646" fmla="*/ 229490 w 821508"/>
                <a:gd name="connsiteY646" fmla="*/ 335522 h 590308"/>
                <a:gd name="connsiteX647" fmla="*/ 232755 w 821508"/>
                <a:gd name="connsiteY647" fmla="*/ 334547 h 590308"/>
                <a:gd name="connsiteX648" fmla="*/ 235043 w 821508"/>
                <a:gd name="connsiteY648" fmla="*/ 335320 h 590308"/>
                <a:gd name="connsiteX649" fmla="*/ 237534 w 821508"/>
                <a:gd name="connsiteY649" fmla="*/ 337507 h 590308"/>
                <a:gd name="connsiteX650" fmla="*/ 240024 w 821508"/>
                <a:gd name="connsiteY650" fmla="*/ 338987 h 590308"/>
                <a:gd name="connsiteX651" fmla="*/ 242515 w 821508"/>
                <a:gd name="connsiteY651" fmla="*/ 339256 h 590308"/>
                <a:gd name="connsiteX652" fmla="*/ 243491 w 821508"/>
                <a:gd name="connsiteY652" fmla="*/ 339256 h 590308"/>
                <a:gd name="connsiteX653" fmla="*/ 244029 w 821508"/>
                <a:gd name="connsiteY653" fmla="*/ 340568 h 590308"/>
                <a:gd name="connsiteX654" fmla="*/ 245006 w 821508"/>
                <a:gd name="connsiteY654" fmla="*/ 341981 h 590308"/>
                <a:gd name="connsiteX655" fmla="*/ 249885 w 821508"/>
                <a:gd name="connsiteY655" fmla="*/ 342856 h 590308"/>
                <a:gd name="connsiteX656" fmla="*/ 251534 w 821508"/>
                <a:gd name="connsiteY656" fmla="*/ 342957 h 590308"/>
                <a:gd name="connsiteX657" fmla="*/ 252847 w 821508"/>
                <a:gd name="connsiteY657" fmla="*/ 346758 h 590308"/>
                <a:gd name="connsiteX658" fmla="*/ 253486 w 821508"/>
                <a:gd name="connsiteY658" fmla="*/ 348843 h 590308"/>
                <a:gd name="connsiteX659" fmla="*/ 255674 w 821508"/>
                <a:gd name="connsiteY659" fmla="*/ 352006 h 590308"/>
                <a:gd name="connsiteX660" fmla="*/ 258602 w 821508"/>
                <a:gd name="connsiteY660" fmla="*/ 354495 h 590308"/>
                <a:gd name="connsiteX661" fmla="*/ 261429 w 821508"/>
                <a:gd name="connsiteY661" fmla="*/ 354293 h 590308"/>
                <a:gd name="connsiteX662" fmla="*/ 263078 w 821508"/>
                <a:gd name="connsiteY662" fmla="*/ 356581 h 590308"/>
                <a:gd name="connsiteX663" fmla="*/ 263852 w 821508"/>
                <a:gd name="connsiteY663" fmla="*/ 359743 h 590308"/>
                <a:gd name="connsiteX664" fmla="*/ 262337 w 821508"/>
                <a:gd name="connsiteY664" fmla="*/ 363342 h 590308"/>
                <a:gd name="connsiteX665" fmla="*/ 261698 w 821508"/>
                <a:gd name="connsiteY665" fmla="*/ 364856 h 590308"/>
                <a:gd name="connsiteX666" fmla="*/ 262237 w 821508"/>
                <a:gd name="connsiteY666" fmla="*/ 367682 h 590308"/>
                <a:gd name="connsiteX667" fmla="*/ 263852 w 821508"/>
                <a:gd name="connsiteY667" fmla="*/ 369094 h 590308"/>
                <a:gd name="connsiteX668" fmla="*/ 264491 w 821508"/>
                <a:gd name="connsiteY668" fmla="*/ 372358 h 590308"/>
                <a:gd name="connsiteX669" fmla="*/ 263852 w 821508"/>
                <a:gd name="connsiteY669" fmla="*/ 375183 h 590308"/>
                <a:gd name="connsiteX670" fmla="*/ 262674 w 821508"/>
                <a:gd name="connsiteY670" fmla="*/ 376159 h 590308"/>
                <a:gd name="connsiteX671" fmla="*/ 265064 w 821508"/>
                <a:gd name="connsiteY671" fmla="*/ 379422 h 590308"/>
                <a:gd name="connsiteX672" fmla="*/ 266814 w 821508"/>
                <a:gd name="connsiteY672" fmla="*/ 379758 h 590308"/>
                <a:gd name="connsiteX673" fmla="*/ 269539 w 821508"/>
                <a:gd name="connsiteY673" fmla="*/ 379960 h 590308"/>
                <a:gd name="connsiteX674" fmla="*/ 273241 w 821508"/>
                <a:gd name="connsiteY674" fmla="*/ 380397 h 590308"/>
                <a:gd name="connsiteX675" fmla="*/ 274991 w 821508"/>
                <a:gd name="connsiteY675" fmla="*/ 375890 h 590308"/>
                <a:gd name="connsiteX676" fmla="*/ 276237 w 821508"/>
                <a:gd name="connsiteY676" fmla="*/ 373434 h 590308"/>
                <a:gd name="connsiteX677" fmla="*/ 277718 w 821508"/>
                <a:gd name="connsiteY677" fmla="*/ 371046 h 590308"/>
                <a:gd name="connsiteX678" fmla="*/ 278256 w 821508"/>
                <a:gd name="connsiteY678" fmla="*/ 369263 h 590308"/>
                <a:gd name="connsiteX679" fmla="*/ 279030 w 821508"/>
                <a:gd name="connsiteY679" fmla="*/ 366874 h 590308"/>
                <a:gd name="connsiteX680" fmla="*/ 279838 w 821508"/>
                <a:gd name="connsiteY680" fmla="*/ 364587 h 590308"/>
                <a:gd name="connsiteX681" fmla="*/ 281588 w 821508"/>
                <a:gd name="connsiteY681" fmla="*/ 363006 h 590308"/>
                <a:gd name="connsiteX682" fmla="*/ 282026 w 821508"/>
                <a:gd name="connsiteY682" fmla="*/ 361324 h 590308"/>
                <a:gd name="connsiteX683" fmla="*/ 281352 w 821508"/>
                <a:gd name="connsiteY683" fmla="*/ 359978 h 590308"/>
                <a:gd name="connsiteX684" fmla="*/ 279939 w 821508"/>
                <a:gd name="connsiteY684" fmla="*/ 358195 h 590308"/>
                <a:gd name="connsiteX685" fmla="*/ 280309 w 821508"/>
                <a:gd name="connsiteY685" fmla="*/ 356883 h 590308"/>
                <a:gd name="connsiteX686" fmla="*/ 281992 w 821508"/>
                <a:gd name="connsiteY686" fmla="*/ 356244 h 590308"/>
                <a:gd name="connsiteX687" fmla="*/ 285424 w 821508"/>
                <a:gd name="connsiteY687" fmla="*/ 354293 h 590308"/>
                <a:gd name="connsiteX688" fmla="*/ 288151 w 821508"/>
                <a:gd name="connsiteY688" fmla="*/ 351972 h 590308"/>
                <a:gd name="connsiteX689" fmla="*/ 289901 w 821508"/>
                <a:gd name="connsiteY689" fmla="*/ 349752 h 590308"/>
                <a:gd name="connsiteX690" fmla="*/ 292795 w 821508"/>
                <a:gd name="connsiteY690" fmla="*/ 346926 h 590308"/>
                <a:gd name="connsiteX691" fmla="*/ 293939 w 821508"/>
                <a:gd name="connsiteY691" fmla="*/ 345580 h 590308"/>
                <a:gd name="connsiteX692" fmla="*/ 296228 w 821508"/>
                <a:gd name="connsiteY692" fmla="*/ 344369 h 590308"/>
                <a:gd name="connsiteX693" fmla="*/ 300064 w 821508"/>
                <a:gd name="connsiteY693" fmla="*/ 342048 h 590308"/>
                <a:gd name="connsiteX694" fmla="*/ 303632 w 821508"/>
                <a:gd name="connsiteY694" fmla="*/ 341308 h 590308"/>
                <a:gd name="connsiteX695" fmla="*/ 306088 w 821508"/>
                <a:gd name="connsiteY695" fmla="*/ 341611 h 590308"/>
                <a:gd name="connsiteX696" fmla="*/ 308612 w 821508"/>
                <a:gd name="connsiteY696" fmla="*/ 344874 h 590308"/>
                <a:gd name="connsiteX697" fmla="*/ 309858 w 821508"/>
                <a:gd name="connsiteY697" fmla="*/ 347902 h 590308"/>
                <a:gd name="connsiteX698" fmla="*/ 308478 w 821508"/>
                <a:gd name="connsiteY698" fmla="*/ 350290 h 590308"/>
                <a:gd name="connsiteX699" fmla="*/ 306088 w 821508"/>
                <a:gd name="connsiteY699" fmla="*/ 352039 h 590308"/>
                <a:gd name="connsiteX700" fmla="*/ 304069 w 821508"/>
                <a:gd name="connsiteY700" fmla="*/ 353418 h 590308"/>
                <a:gd name="connsiteX701" fmla="*/ 303362 w 821508"/>
                <a:gd name="connsiteY701" fmla="*/ 356244 h 590308"/>
                <a:gd name="connsiteX702" fmla="*/ 302689 w 821508"/>
                <a:gd name="connsiteY702" fmla="*/ 358061 h 590308"/>
                <a:gd name="connsiteX703" fmla="*/ 301242 w 821508"/>
                <a:gd name="connsiteY703" fmla="*/ 363208 h 590308"/>
                <a:gd name="connsiteX704" fmla="*/ 300805 w 821508"/>
                <a:gd name="connsiteY704" fmla="*/ 365091 h 590308"/>
                <a:gd name="connsiteX705" fmla="*/ 300232 w 821508"/>
                <a:gd name="connsiteY705" fmla="*/ 369364 h 590308"/>
                <a:gd name="connsiteX706" fmla="*/ 299728 w 821508"/>
                <a:gd name="connsiteY706" fmla="*/ 374645 h 590308"/>
                <a:gd name="connsiteX707" fmla="*/ 299661 w 821508"/>
                <a:gd name="connsiteY707" fmla="*/ 378043 h 590308"/>
                <a:gd name="connsiteX708" fmla="*/ 302185 w 821508"/>
                <a:gd name="connsiteY708" fmla="*/ 382618 h 590308"/>
                <a:gd name="connsiteX709" fmla="*/ 304776 w 821508"/>
                <a:gd name="connsiteY709" fmla="*/ 383425 h 590308"/>
                <a:gd name="connsiteX710" fmla="*/ 309185 w 821508"/>
                <a:gd name="connsiteY710" fmla="*/ 382988 h 590308"/>
                <a:gd name="connsiteX711" fmla="*/ 312819 w 821508"/>
                <a:gd name="connsiteY711" fmla="*/ 383492 h 590308"/>
                <a:gd name="connsiteX712" fmla="*/ 314031 w 821508"/>
                <a:gd name="connsiteY712" fmla="*/ 385443 h 590308"/>
                <a:gd name="connsiteX713" fmla="*/ 314031 w 821508"/>
                <a:gd name="connsiteY713" fmla="*/ 388908 h 590308"/>
                <a:gd name="connsiteX714" fmla="*/ 314468 w 821508"/>
                <a:gd name="connsiteY714" fmla="*/ 390489 h 590308"/>
                <a:gd name="connsiteX715" fmla="*/ 313661 w 821508"/>
                <a:gd name="connsiteY715" fmla="*/ 392003 h 590308"/>
                <a:gd name="connsiteX716" fmla="*/ 313021 w 821508"/>
                <a:gd name="connsiteY716" fmla="*/ 395333 h 590308"/>
                <a:gd name="connsiteX717" fmla="*/ 313223 w 821508"/>
                <a:gd name="connsiteY717" fmla="*/ 397856 h 590308"/>
                <a:gd name="connsiteX718" fmla="*/ 316992 w 821508"/>
                <a:gd name="connsiteY718" fmla="*/ 401624 h 590308"/>
                <a:gd name="connsiteX719" fmla="*/ 320964 w 821508"/>
                <a:gd name="connsiteY719" fmla="*/ 401052 h 590308"/>
                <a:gd name="connsiteX720" fmla="*/ 323925 w 821508"/>
                <a:gd name="connsiteY720" fmla="*/ 399606 h 590308"/>
                <a:gd name="connsiteX721" fmla="*/ 326752 w 821508"/>
                <a:gd name="connsiteY721" fmla="*/ 400682 h 590308"/>
                <a:gd name="connsiteX722" fmla="*/ 329276 w 821508"/>
                <a:gd name="connsiteY722" fmla="*/ 404383 h 590308"/>
                <a:gd name="connsiteX723" fmla="*/ 330017 w 821508"/>
                <a:gd name="connsiteY723" fmla="*/ 406266 h 590308"/>
                <a:gd name="connsiteX724" fmla="*/ 327392 w 821508"/>
                <a:gd name="connsiteY724" fmla="*/ 411783 h 590308"/>
                <a:gd name="connsiteX725" fmla="*/ 325810 w 821508"/>
                <a:gd name="connsiteY725" fmla="*/ 414407 h 590308"/>
                <a:gd name="connsiteX726" fmla="*/ 329276 w 821508"/>
                <a:gd name="connsiteY726" fmla="*/ 418814 h 590308"/>
                <a:gd name="connsiteX727" fmla="*/ 330017 w 821508"/>
                <a:gd name="connsiteY727" fmla="*/ 421942 h 590308"/>
                <a:gd name="connsiteX728" fmla="*/ 332911 w 821508"/>
                <a:gd name="connsiteY728" fmla="*/ 425273 h 590308"/>
                <a:gd name="connsiteX729" fmla="*/ 333349 w 821508"/>
                <a:gd name="connsiteY729" fmla="*/ 427594 h 590308"/>
                <a:gd name="connsiteX730" fmla="*/ 333349 w 821508"/>
                <a:gd name="connsiteY730" fmla="*/ 429612 h 590308"/>
                <a:gd name="connsiteX731" fmla="*/ 335974 w 821508"/>
                <a:gd name="connsiteY731" fmla="*/ 431631 h 590308"/>
                <a:gd name="connsiteX732" fmla="*/ 338801 w 821508"/>
                <a:gd name="connsiteY732" fmla="*/ 431563 h 590308"/>
                <a:gd name="connsiteX733" fmla="*/ 340887 w 821508"/>
                <a:gd name="connsiteY733" fmla="*/ 430924 h 590308"/>
                <a:gd name="connsiteX734" fmla="*/ 341829 w 821508"/>
                <a:gd name="connsiteY734" fmla="*/ 430924 h 590308"/>
                <a:gd name="connsiteX735" fmla="*/ 343277 w 821508"/>
                <a:gd name="connsiteY735" fmla="*/ 432236 h 590308"/>
                <a:gd name="connsiteX736" fmla="*/ 344118 w 821508"/>
                <a:gd name="connsiteY736" fmla="*/ 433212 h 590308"/>
                <a:gd name="connsiteX737" fmla="*/ 345464 w 821508"/>
                <a:gd name="connsiteY737" fmla="*/ 435196 h 590308"/>
                <a:gd name="connsiteX738" fmla="*/ 345195 w 821508"/>
                <a:gd name="connsiteY738" fmla="*/ 437450 h 590308"/>
                <a:gd name="connsiteX739" fmla="*/ 344118 w 821508"/>
                <a:gd name="connsiteY739" fmla="*/ 438527 h 590308"/>
                <a:gd name="connsiteX740" fmla="*/ 343580 w 821508"/>
                <a:gd name="connsiteY740" fmla="*/ 440982 h 590308"/>
                <a:gd name="connsiteX741" fmla="*/ 343580 w 821508"/>
                <a:gd name="connsiteY741" fmla="*/ 442799 h 590308"/>
                <a:gd name="connsiteX742" fmla="*/ 345027 w 821508"/>
                <a:gd name="connsiteY742" fmla="*/ 444750 h 590308"/>
                <a:gd name="connsiteX743" fmla="*/ 346272 w 821508"/>
                <a:gd name="connsiteY743" fmla="*/ 445255 h 590308"/>
                <a:gd name="connsiteX744" fmla="*/ 347753 w 821508"/>
                <a:gd name="connsiteY744" fmla="*/ 446466 h 590308"/>
                <a:gd name="connsiteX745" fmla="*/ 349200 w 821508"/>
                <a:gd name="connsiteY745" fmla="*/ 447105 h 590308"/>
                <a:gd name="connsiteX746" fmla="*/ 350647 w 821508"/>
                <a:gd name="connsiteY746" fmla="*/ 448215 h 590308"/>
                <a:gd name="connsiteX747" fmla="*/ 351791 w 821508"/>
                <a:gd name="connsiteY747" fmla="*/ 449022 h 590308"/>
                <a:gd name="connsiteX748" fmla="*/ 354147 w 821508"/>
                <a:gd name="connsiteY748" fmla="*/ 448484 h 590308"/>
                <a:gd name="connsiteX749" fmla="*/ 356099 w 821508"/>
                <a:gd name="connsiteY749" fmla="*/ 447643 h 590308"/>
                <a:gd name="connsiteX750" fmla="*/ 357008 w 821508"/>
                <a:gd name="connsiteY750" fmla="*/ 447004 h 590308"/>
                <a:gd name="connsiteX751" fmla="*/ 357715 w 821508"/>
                <a:gd name="connsiteY751" fmla="*/ 446466 h 590308"/>
                <a:gd name="connsiteX752" fmla="*/ 360171 w 821508"/>
                <a:gd name="connsiteY752" fmla="*/ 445793 h 590308"/>
                <a:gd name="connsiteX753" fmla="*/ 361787 w 821508"/>
                <a:gd name="connsiteY753" fmla="*/ 446230 h 590308"/>
                <a:gd name="connsiteX754" fmla="*/ 363705 w 821508"/>
                <a:gd name="connsiteY754" fmla="*/ 447441 h 590308"/>
                <a:gd name="connsiteX755" fmla="*/ 364109 w 821508"/>
                <a:gd name="connsiteY755" fmla="*/ 448753 h 590308"/>
                <a:gd name="connsiteX756" fmla="*/ 363671 w 821508"/>
                <a:gd name="connsiteY756" fmla="*/ 449863 h 590308"/>
                <a:gd name="connsiteX757" fmla="*/ 362729 w 821508"/>
                <a:gd name="connsiteY757" fmla="*/ 451175 h 590308"/>
                <a:gd name="connsiteX758" fmla="*/ 361013 w 821508"/>
                <a:gd name="connsiteY758" fmla="*/ 453698 h 590308"/>
                <a:gd name="connsiteX759" fmla="*/ 360205 w 821508"/>
                <a:gd name="connsiteY759" fmla="*/ 455111 h 590308"/>
                <a:gd name="connsiteX760" fmla="*/ 359229 w 821508"/>
                <a:gd name="connsiteY760" fmla="*/ 456726 h 590308"/>
                <a:gd name="connsiteX761" fmla="*/ 357815 w 821508"/>
                <a:gd name="connsiteY761" fmla="*/ 461099 h 590308"/>
                <a:gd name="connsiteX762" fmla="*/ 355864 w 821508"/>
                <a:gd name="connsiteY762" fmla="*/ 464362 h 590308"/>
                <a:gd name="connsiteX763" fmla="*/ 352027 w 821508"/>
                <a:gd name="connsiteY763" fmla="*/ 466885 h 590308"/>
                <a:gd name="connsiteX764" fmla="*/ 349133 w 821508"/>
                <a:gd name="connsiteY764" fmla="*/ 469408 h 590308"/>
                <a:gd name="connsiteX765" fmla="*/ 347450 w 821508"/>
                <a:gd name="connsiteY765" fmla="*/ 472099 h 590308"/>
                <a:gd name="connsiteX766" fmla="*/ 348594 w 821508"/>
                <a:gd name="connsiteY766" fmla="*/ 474992 h 590308"/>
                <a:gd name="connsiteX767" fmla="*/ 352061 w 821508"/>
                <a:gd name="connsiteY767" fmla="*/ 475295 h 590308"/>
                <a:gd name="connsiteX768" fmla="*/ 353945 w 821508"/>
                <a:gd name="connsiteY768" fmla="*/ 476439 h 590308"/>
                <a:gd name="connsiteX769" fmla="*/ 357412 w 821508"/>
                <a:gd name="connsiteY769" fmla="*/ 478188 h 590308"/>
                <a:gd name="connsiteX770" fmla="*/ 359431 w 821508"/>
                <a:gd name="connsiteY770" fmla="*/ 481653 h 590308"/>
                <a:gd name="connsiteX771" fmla="*/ 358994 w 821508"/>
                <a:gd name="connsiteY771" fmla="*/ 484411 h 590308"/>
                <a:gd name="connsiteX772" fmla="*/ 357109 w 821508"/>
                <a:gd name="connsiteY772" fmla="*/ 487742 h 590308"/>
                <a:gd name="connsiteX773" fmla="*/ 355224 w 821508"/>
                <a:gd name="connsiteY773" fmla="*/ 491375 h 590308"/>
                <a:gd name="connsiteX774" fmla="*/ 354484 w 821508"/>
                <a:gd name="connsiteY774" fmla="*/ 493258 h 590308"/>
                <a:gd name="connsiteX775" fmla="*/ 354484 w 821508"/>
                <a:gd name="connsiteY775" fmla="*/ 495445 h 590308"/>
                <a:gd name="connsiteX776" fmla="*/ 356066 w 821508"/>
                <a:gd name="connsiteY776" fmla="*/ 497329 h 590308"/>
                <a:gd name="connsiteX777" fmla="*/ 360979 w 821508"/>
                <a:gd name="connsiteY777" fmla="*/ 497833 h 590308"/>
                <a:gd name="connsiteX778" fmla="*/ 365186 w 821508"/>
                <a:gd name="connsiteY778" fmla="*/ 497632 h 590308"/>
                <a:gd name="connsiteX779" fmla="*/ 368652 w 821508"/>
                <a:gd name="connsiteY779" fmla="*/ 497632 h 590308"/>
                <a:gd name="connsiteX780" fmla="*/ 370234 w 821508"/>
                <a:gd name="connsiteY780" fmla="*/ 499515 h 590308"/>
                <a:gd name="connsiteX781" fmla="*/ 371681 w 821508"/>
                <a:gd name="connsiteY781" fmla="*/ 503283 h 590308"/>
                <a:gd name="connsiteX782" fmla="*/ 372422 w 821508"/>
                <a:gd name="connsiteY782" fmla="*/ 505907 h 590308"/>
                <a:gd name="connsiteX783" fmla="*/ 372422 w 821508"/>
                <a:gd name="connsiteY783" fmla="*/ 508363 h 590308"/>
                <a:gd name="connsiteX784" fmla="*/ 373566 w 821508"/>
                <a:gd name="connsiteY784" fmla="*/ 510684 h 590308"/>
                <a:gd name="connsiteX785" fmla="*/ 376898 w 821508"/>
                <a:gd name="connsiteY785" fmla="*/ 516201 h 590308"/>
                <a:gd name="connsiteX786" fmla="*/ 379792 w 821508"/>
                <a:gd name="connsiteY786" fmla="*/ 521852 h 590308"/>
                <a:gd name="connsiteX787" fmla="*/ 380667 w 821508"/>
                <a:gd name="connsiteY787" fmla="*/ 525620 h 590308"/>
                <a:gd name="connsiteX788" fmla="*/ 381980 w 821508"/>
                <a:gd name="connsiteY788" fmla="*/ 529387 h 590308"/>
                <a:gd name="connsiteX789" fmla="*/ 384301 w 821508"/>
                <a:gd name="connsiteY789" fmla="*/ 532415 h 590308"/>
                <a:gd name="connsiteX790" fmla="*/ 386826 w 821508"/>
                <a:gd name="connsiteY790" fmla="*/ 534299 h 590308"/>
                <a:gd name="connsiteX791" fmla="*/ 388643 w 821508"/>
                <a:gd name="connsiteY791" fmla="*/ 536923 h 590308"/>
                <a:gd name="connsiteX792" fmla="*/ 388643 w 821508"/>
                <a:gd name="connsiteY792" fmla="*/ 540253 h 590308"/>
                <a:gd name="connsiteX793" fmla="*/ 389787 w 821508"/>
                <a:gd name="connsiteY793" fmla="*/ 540388 h 590308"/>
                <a:gd name="connsiteX794" fmla="*/ 393254 w 821508"/>
                <a:gd name="connsiteY794" fmla="*/ 541699 h 590308"/>
                <a:gd name="connsiteX795" fmla="*/ 395710 w 821508"/>
                <a:gd name="connsiteY795" fmla="*/ 541565 h 590308"/>
                <a:gd name="connsiteX796" fmla="*/ 396855 w 821508"/>
                <a:gd name="connsiteY796" fmla="*/ 541868 h 590308"/>
                <a:gd name="connsiteX797" fmla="*/ 401196 w 821508"/>
                <a:gd name="connsiteY797" fmla="*/ 547216 h 590308"/>
                <a:gd name="connsiteX798" fmla="*/ 404528 w 821508"/>
                <a:gd name="connsiteY798" fmla="*/ 551556 h 590308"/>
                <a:gd name="connsiteX799" fmla="*/ 406413 w 821508"/>
                <a:gd name="connsiteY799" fmla="*/ 555189 h 590308"/>
                <a:gd name="connsiteX800" fmla="*/ 406413 w 821508"/>
                <a:gd name="connsiteY800" fmla="*/ 557376 h 590308"/>
                <a:gd name="connsiteX801" fmla="*/ 403519 w 821508"/>
                <a:gd name="connsiteY801" fmla="*/ 559125 h 590308"/>
                <a:gd name="connsiteX802" fmla="*/ 400994 w 821508"/>
                <a:gd name="connsiteY802" fmla="*/ 560134 h 590308"/>
                <a:gd name="connsiteX803" fmla="*/ 400792 w 821508"/>
                <a:gd name="connsiteY803" fmla="*/ 561580 h 590308"/>
                <a:gd name="connsiteX804" fmla="*/ 400792 w 821508"/>
                <a:gd name="connsiteY804" fmla="*/ 564642 h 590308"/>
                <a:gd name="connsiteX805" fmla="*/ 399917 w 821508"/>
                <a:gd name="connsiteY805" fmla="*/ 567972 h 590308"/>
                <a:gd name="connsiteX806" fmla="*/ 399480 w 821508"/>
                <a:gd name="connsiteY806" fmla="*/ 569856 h 590308"/>
                <a:gd name="connsiteX807" fmla="*/ 399042 w 821508"/>
                <a:gd name="connsiteY807" fmla="*/ 572614 h 590308"/>
                <a:gd name="connsiteX808" fmla="*/ 399042 w 821508"/>
                <a:gd name="connsiteY808" fmla="*/ 575070 h 590308"/>
                <a:gd name="connsiteX809" fmla="*/ 396855 w 821508"/>
                <a:gd name="connsiteY809" fmla="*/ 577257 h 590308"/>
                <a:gd name="connsiteX810" fmla="*/ 394835 w 821508"/>
                <a:gd name="connsiteY810" fmla="*/ 578838 h 590308"/>
                <a:gd name="connsiteX811" fmla="*/ 393086 w 821508"/>
                <a:gd name="connsiteY811" fmla="*/ 581024 h 590308"/>
                <a:gd name="connsiteX812" fmla="*/ 391941 w 821508"/>
                <a:gd name="connsiteY812" fmla="*/ 582471 h 590308"/>
                <a:gd name="connsiteX813" fmla="*/ 392143 w 821508"/>
                <a:gd name="connsiteY813" fmla="*/ 584489 h 590308"/>
                <a:gd name="connsiteX814" fmla="*/ 395408 w 821508"/>
                <a:gd name="connsiteY814" fmla="*/ 584691 h 590308"/>
                <a:gd name="connsiteX815" fmla="*/ 397427 w 821508"/>
                <a:gd name="connsiteY815" fmla="*/ 582807 h 590308"/>
                <a:gd name="connsiteX816" fmla="*/ 399009 w 821508"/>
                <a:gd name="connsiteY816" fmla="*/ 581293 h 590308"/>
                <a:gd name="connsiteX817" fmla="*/ 401028 w 821508"/>
                <a:gd name="connsiteY817" fmla="*/ 581361 h 590308"/>
                <a:gd name="connsiteX818" fmla="*/ 401903 w 821508"/>
                <a:gd name="connsiteY818" fmla="*/ 582942 h 590308"/>
                <a:gd name="connsiteX819" fmla="*/ 402273 w 821508"/>
                <a:gd name="connsiteY819" fmla="*/ 585767 h 590308"/>
                <a:gd name="connsiteX820" fmla="*/ 402341 w 821508"/>
                <a:gd name="connsiteY820" fmla="*/ 587449 h 590308"/>
                <a:gd name="connsiteX821" fmla="*/ 402206 w 821508"/>
                <a:gd name="connsiteY821" fmla="*/ 588257 h 590308"/>
                <a:gd name="connsiteX822" fmla="*/ 401028 w 821508"/>
                <a:gd name="connsiteY822" fmla="*/ 590309 h 590308"/>
                <a:gd name="connsiteX823" fmla="*/ 403014 w 821508"/>
                <a:gd name="connsiteY823" fmla="*/ 590073 h 590308"/>
                <a:gd name="connsiteX824" fmla="*/ 408230 w 821508"/>
                <a:gd name="connsiteY824" fmla="*/ 587214 h 590308"/>
                <a:gd name="connsiteX825" fmla="*/ 412975 w 821508"/>
                <a:gd name="connsiteY825" fmla="*/ 585364 h 590308"/>
                <a:gd name="connsiteX826" fmla="*/ 418932 w 821508"/>
                <a:gd name="connsiteY826" fmla="*/ 583615 h 590308"/>
                <a:gd name="connsiteX827" fmla="*/ 423779 w 821508"/>
                <a:gd name="connsiteY827" fmla="*/ 578939 h 590308"/>
                <a:gd name="connsiteX828" fmla="*/ 426572 w 821508"/>
                <a:gd name="connsiteY828" fmla="*/ 573489 h 590308"/>
                <a:gd name="connsiteX829" fmla="*/ 427548 w 821508"/>
                <a:gd name="connsiteY829" fmla="*/ 568039 h 590308"/>
                <a:gd name="connsiteX830" fmla="*/ 428995 w 821508"/>
                <a:gd name="connsiteY830" fmla="*/ 562421 h 590308"/>
                <a:gd name="connsiteX831" fmla="*/ 432360 w 821508"/>
                <a:gd name="connsiteY831" fmla="*/ 558654 h 590308"/>
                <a:gd name="connsiteX832" fmla="*/ 435759 w 821508"/>
                <a:gd name="connsiteY832" fmla="*/ 555391 h 590308"/>
                <a:gd name="connsiteX833" fmla="*/ 438923 w 821508"/>
                <a:gd name="connsiteY833" fmla="*/ 552632 h 590308"/>
                <a:gd name="connsiteX834" fmla="*/ 443702 w 821508"/>
                <a:gd name="connsiteY834" fmla="*/ 548192 h 590308"/>
                <a:gd name="connsiteX835" fmla="*/ 445654 w 821508"/>
                <a:gd name="connsiteY835" fmla="*/ 543886 h 590308"/>
                <a:gd name="connsiteX836" fmla="*/ 447741 w 821508"/>
                <a:gd name="connsiteY836" fmla="*/ 540522 h 590308"/>
                <a:gd name="connsiteX837" fmla="*/ 447741 w 821508"/>
                <a:gd name="connsiteY837" fmla="*/ 535106 h 590308"/>
                <a:gd name="connsiteX838" fmla="*/ 447135 w 821508"/>
                <a:gd name="connsiteY838" fmla="*/ 532785 h 590308"/>
                <a:gd name="connsiteX839" fmla="*/ 448077 w 821508"/>
                <a:gd name="connsiteY839" fmla="*/ 530834 h 590308"/>
                <a:gd name="connsiteX840" fmla="*/ 451173 w 821508"/>
                <a:gd name="connsiteY840" fmla="*/ 529051 h 590308"/>
                <a:gd name="connsiteX841" fmla="*/ 453832 w 821508"/>
                <a:gd name="connsiteY841" fmla="*/ 529051 h 590308"/>
                <a:gd name="connsiteX842" fmla="*/ 457871 w 821508"/>
                <a:gd name="connsiteY842" fmla="*/ 526057 h 590308"/>
                <a:gd name="connsiteX843" fmla="*/ 460428 w 821508"/>
                <a:gd name="connsiteY843" fmla="*/ 524140 h 590308"/>
                <a:gd name="connsiteX844" fmla="*/ 460428 w 821508"/>
                <a:gd name="connsiteY844" fmla="*/ 521247 h 590308"/>
                <a:gd name="connsiteX845" fmla="*/ 460428 w 821508"/>
                <a:gd name="connsiteY845" fmla="*/ 519295 h 590308"/>
                <a:gd name="connsiteX846" fmla="*/ 458948 w 821508"/>
                <a:gd name="connsiteY846" fmla="*/ 517714 h 590308"/>
                <a:gd name="connsiteX847" fmla="*/ 458476 w 821508"/>
                <a:gd name="connsiteY847" fmla="*/ 514889 h 590308"/>
                <a:gd name="connsiteX848" fmla="*/ 459015 w 821508"/>
                <a:gd name="connsiteY848" fmla="*/ 511256 h 590308"/>
                <a:gd name="connsiteX849" fmla="*/ 459722 w 821508"/>
                <a:gd name="connsiteY849" fmla="*/ 505873 h 590308"/>
                <a:gd name="connsiteX850" fmla="*/ 460462 w 821508"/>
                <a:gd name="connsiteY850" fmla="*/ 501096 h 590308"/>
                <a:gd name="connsiteX851" fmla="*/ 460462 w 821508"/>
                <a:gd name="connsiteY851" fmla="*/ 497295 h 590308"/>
                <a:gd name="connsiteX852" fmla="*/ 463727 w 821508"/>
                <a:gd name="connsiteY852" fmla="*/ 491106 h 590308"/>
                <a:gd name="connsiteX853" fmla="*/ 465476 w 821508"/>
                <a:gd name="connsiteY853" fmla="*/ 488717 h 590308"/>
                <a:gd name="connsiteX854" fmla="*/ 472308 w 821508"/>
                <a:gd name="connsiteY854" fmla="*/ 483301 h 590308"/>
                <a:gd name="connsiteX855" fmla="*/ 476111 w 821508"/>
                <a:gd name="connsiteY855" fmla="*/ 479702 h 590308"/>
                <a:gd name="connsiteX856" fmla="*/ 479914 w 821508"/>
                <a:gd name="connsiteY856" fmla="*/ 476943 h 590308"/>
                <a:gd name="connsiteX857" fmla="*/ 484054 w 821508"/>
                <a:gd name="connsiteY857" fmla="*/ 475160 h 590308"/>
                <a:gd name="connsiteX858" fmla="*/ 488597 w 821508"/>
                <a:gd name="connsiteY858" fmla="*/ 475160 h 590308"/>
                <a:gd name="connsiteX859" fmla="*/ 492198 w 821508"/>
                <a:gd name="connsiteY859" fmla="*/ 475934 h 590308"/>
                <a:gd name="connsiteX860" fmla="*/ 494319 w 821508"/>
                <a:gd name="connsiteY860" fmla="*/ 478760 h 590308"/>
                <a:gd name="connsiteX861" fmla="*/ 496439 w 821508"/>
                <a:gd name="connsiteY861" fmla="*/ 480946 h 590308"/>
                <a:gd name="connsiteX862" fmla="*/ 496439 w 821508"/>
                <a:gd name="connsiteY862" fmla="*/ 483032 h 590308"/>
                <a:gd name="connsiteX863" fmla="*/ 496439 w 821508"/>
                <a:gd name="connsiteY863" fmla="*/ 484781 h 590308"/>
                <a:gd name="connsiteX864" fmla="*/ 496977 w 821508"/>
                <a:gd name="connsiteY864" fmla="*/ 487170 h 590308"/>
                <a:gd name="connsiteX865" fmla="*/ 500343 w 821508"/>
                <a:gd name="connsiteY865" fmla="*/ 487809 h 590308"/>
                <a:gd name="connsiteX866" fmla="*/ 502093 w 821508"/>
                <a:gd name="connsiteY866" fmla="*/ 489323 h 590308"/>
                <a:gd name="connsiteX867" fmla="*/ 505694 w 821508"/>
                <a:gd name="connsiteY867" fmla="*/ 490836 h 590308"/>
                <a:gd name="connsiteX868" fmla="*/ 506905 w 821508"/>
                <a:gd name="connsiteY868" fmla="*/ 491711 h 590308"/>
                <a:gd name="connsiteX869" fmla="*/ 506905 w 821508"/>
                <a:gd name="connsiteY869" fmla="*/ 495176 h 590308"/>
                <a:gd name="connsiteX870" fmla="*/ 506266 w 821508"/>
                <a:gd name="connsiteY870" fmla="*/ 496252 h 590308"/>
                <a:gd name="connsiteX871" fmla="*/ 506367 w 821508"/>
                <a:gd name="connsiteY871" fmla="*/ 498002 h 590308"/>
                <a:gd name="connsiteX872" fmla="*/ 506905 w 821508"/>
                <a:gd name="connsiteY872" fmla="*/ 498977 h 590308"/>
                <a:gd name="connsiteX873" fmla="*/ 509396 w 821508"/>
                <a:gd name="connsiteY873" fmla="*/ 500625 h 590308"/>
                <a:gd name="connsiteX874" fmla="*/ 512761 w 821508"/>
                <a:gd name="connsiteY874" fmla="*/ 502038 h 590308"/>
                <a:gd name="connsiteX875" fmla="*/ 515252 w 821508"/>
                <a:gd name="connsiteY875" fmla="*/ 501601 h 590308"/>
                <a:gd name="connsiteX876" fmla="*/ 517843 w 821508"/>
                <a:gd name="connsiteY876" fmla="*/ 501803 h 590308"/>
                <a:gd name="connsiteX877" fmla="*/ 525550 w 821508"/>
                <a:gd name="connsiteY877" fmla="*/ 502678 h 590308"/>
                <a:gd name="connsiteX878" fmla="*/ 536959 w 821508"/>
                <a:gd name="connsiteY878" fmla="*/ 502038 h 590308"/>
                <a:gd name="connsiteX879" fmla="*/ 541974 w 821508"/>
                <a:gd name="connsiteY879" fmla="*/ 503216 h 590308"/>
                <a:gd name="connsiteX880" fmla="*/ 544262 w 821508"/>
                <a:gd name="connsiteY880" fmla="*/ 505840 h 590308"/>
                <a:gd name="connsiteX881" fmla="*/ 550791 w 821508"/>
                <a:gd name="connsiteY881" fmla="*/ 507252 h 590308"/>
                <a:gd name="connsiteX882" fmla="*/ 556882 w 821508"/>
                <a:gd name="connsiteY882" fmla="*/ 507791 h 590308"/>
                <a:gd name="connsiteX883" fmla="*/ 563512 w 821508"/>
                <a:gd name="connsiteY883" fmla="*/ 506815 h 590308"/>
                <a:gd name="connsiteX884" fmla="*/ 567315 w 821508"/>
                <a:gd name="connsiteY884" fmla="*/ 504965 h 590308"/>
                <a:gd name="connsiteX885" fmla="*/ 571556 w 821508"/>
                <a:gd name="connsiteY885" fmla="*/ 503552 h 590308"/>
                <a:gd name="connsiteX886" fmla="*/ 576234 w 821508"/>
                <a:gd name="connsiteY886" fmla="*/ 501601 h 590308"/>
                <a:gd name="connsiteX887" fmla="*/ 579936 w 821508"/>
                <a:gd name="connsiteY887" fmla="*/ 500827 h 590308"/>
                <a:gd name="connsiteX888" fmla="*/ 582662 w 821508"/>
                <a:gd name="connsiteY888" fmla="*/ 501029 h 590308"/>
                <a:gd name="connsiteX889" fmla="*/ 589931 w 821508"/>
                <a:gd name="connsiteY889" fmla="*/ 501265 h 590308"/>
                <a:gd name="connsiteX890" fmla="*/ 596460 w 821508"/>
                <a:gd name="connsiteY890" fmla="*/ 501265 h 590308"/>
                <a:gd name="connsiteX891" fmla="*/ 598210 w 821508"/>
                <a:gd name="connsiteY891" fmla="*/ 500289 h 590308"/>
                <a:gd name="connsiteX892" fmla="*/ 601677 w 821508"/>
                <a:gd name="connsiteY892" fmla="*/ 497262 h 590308"/>
                <a:gd name="connsiteX893" fmla="*/ 602451 w 821508"/>
                <a:gd name="connsiteY893" fmla="*/ 495849 h 590308"/>
                <a:gd name="connsiteX894" fmla="*/ 605480 w 821508"/>
                <a:gd name="connsiteY894" fmla="*/ 490836 h 590308"/>
                <a:gd name="connsiteX895" fmla="*/ 608643 w 821508"/>
                <a:gd name="connsiteY895" fmla="*/ 486699 h 590308"/>
                <a:gd name="connsiteX896" fmla="*/ 609518 w 821508"/>
                <a:gd name="connsiteY896" fmla="*/ 479971 h 590308"/>
                <a:gd name="connsiteX897" fmla="*/ 609518 w 821508"/>
                <a:gd name="connsiteY897" fmla="*/ 472570 h 590308"/>
                <a:gd name="connsiteX898" fmla="*/ 606355 w 821508"/>
                <a:gd name="connsiteY898" fmla="*/ 468971 h 590308"/>
                <a:gd name="connsiteX899" fmla="*/ 601777 w 821508"/>
                <a:gd name="connsiteY899" fmla="*/ 465708 h 590308"/>
                <a:gd name="connsiteX900" fmla="*/ 596898 w 821508"/>
                <a:gd name="connsiteY900" fmla="*/ 463420 h 590308"/>
                <a:gd name="connsiteX901" fmla="*/ 593431 w 821508"/>
                <a:gd name="connsiteY901" fmla="*/ 461906 h 590308"/>
                <a:gd name="connsiteX902" fmla="*/ 590705 w 821508"/>
                <a:gd name="connsiteY902" fmla="*/ 458542 h 590308"/>
                <a:gd name="connsiteX903" fmla="*/ 587878 w 821508"/>
                <a:gd name="connsiteY903" fmla="*/ 455279 h 590308"/>
                <a:gd name="connsiteX904" fmla="*/ 588215 w 821508"/>
                <a:gd name="connsiteY904" fmla="*/ 450704 h 590308"/>
                <a:gd name="connsiteX905" fmla="*/ 588753 w 821508"/>
                <a:gd name="connsiteY905" fmla="*/ 447441 h 590308"/>
                <a:gd name="connsiteX906" fmla="*/ 584176 w 821508"/>
                <a:gd name="connsiteY906" fmla="*/ 444178 h 590308"/>
                <a:gd name="connsiteX907" fmla="*/ 583436 w 821508"/>
                <a:gd name="connsiteY907" fmla="*/ 438325 h 590308"/>
                <a:gd name="connsiteX908" fmla="*/ 583537 w 821508"/>
                <a:gd name="connsiteY908" fmla="*/ 434725 h 590308"/>
                <a:gd name="connsiteX909" fmla="*/ 585825 w 821508"/>
                <a:gd name="connsiteY909" fmla="*/ 432505 h 590308"/>
                <a:gd name="connsiteX910" fmla="*/ 589628 w 821508"/>
                <a:gd name="connsiteY910" fmla="*/ 431900 h 590308"/>
                <a:gd name="connsiteX911" fmla="*/ 592960 w 821508"/>
                <a:gd name="connsiteY911" fmla="*/ 430117 h 590308"/>
                <a:gd name="connsiteX912" fmla="*/ 598951 w 821508"/>
                <a:gd name="connsiteY912" fmla="*/ 430319 h 590308"/>
                <a:gd name="connsiteX913" fmla="*/ 602518 w 821508"/>
                <a:gd name="connsiteY913" fmla="*/ 429982 h 590308"/>
                <a:gd name="connsiteX914" fmla="*/ 606893 w 821508"/>
                <a:gd name="connsiteY914" fmla="*/ 429982 h 590308"/>
                <a:gd name="connsiteX915" fmla="*/ 607802 w 821508"/>
                <a:gd name="connsiteY915" fmla="*/ 431462 h 590308"/>
                <a:gd name="connsiteX916" fmla="*/ 609484 w 821508"/>
                <a:gd name="connsiteY916" fmla="*/ 433683 h 590308"/>
                <a:gd name="connsiteX917" fmla="*/ 612379 w 821508"/>
                <a:gd name="connsiteY917" fmla="*/ 433514 h 590308"/>
                <a:gd name="connsiteX918" fmla="*/ 614768 w 821508"/>
                <a:gd name="connsiteY918" fmla="*/ 430420 h 590308"/>
                <a:gd name="connsiteX919" fmla="*/ 617797 w 821508"/>
                <a:gd name="connsiteY919" fmla="*/ 427594 h 590308"/>
                <a:gd name="connsiteX920" fmla="*/ 621432 w 821508"/>
                <a:gd name="connsiteY920" fmla="*/ 423523 h 590308"/>
                <a:gd name="connsiteX921" fmla="*/ 626884 w 821508"/>
                <a:gd name="connsiteY921" fmla="*/ 420563 h 590308"/>
                <a:gd name="connsiteX922" fmla="*/ 629980 w 821508"/>
                <a:gd name="connsiteY922" fmla="*/ 418747 h 590308"/>
                <a:gd name="connsiteX923" fmla="*/ 635937 w 821508"/>
                <a:gd name="connsiteY923" fmla="*/ 417805 h 590308"/>
                <a:gd name="connsiteX924" fmla="*/ 641658 w 821508"/>
                <a:gd name="connsiteY924" fmla="*/ 417805 h 590308"/>
                <a:gd name="connsiteX925" fmla="*/ 648052 w 821508"/>
                <a:gd name="connsiteY925" fmla="*/ 416425 h 590308"/>
                <a:gd name="connsiteX926" fmla="*/ 652630 w 821508"/>
                <a:gd name="connsiteY926" fmla="*/ 415046 h 590308"/>
                <a:gd name="connsiteX927" fmla="*/ 656399 w 821508"/>
                <a:gd name="connsiteY927" fmla="*/ 412221 h 590308"/>
                <a:gd name="connsiteX928" fmla="*/ 660976 w 821508"/>
                <a:gd name="connsiteY928" fmla="*/ 406872 h 590308"/>
                <a:gd name="connsiteX929" fmla="*/ 663938 w 821508"/>
                <a:gd name="connsiteY929" fmla="*/ 403407 h 590308"/>
                <a:gd name="connsiteX930" fmla="*/ 668178 w 821508"/>
                <a:gd name="connsiteY930" fmla="*/ 399337 h 590308"/>
                <a:gd name="connsiteX931" fmla="*/ 670399 w 821508"/>
                <a:gd name="connsiteY931" fmla="*/ 392306 h 590308"/>
                <a:gd name="connsiteX932" fmla="*/ 670399 w 821508"/>
                <a:gd name="connsiteY932" fmla="*/ 387394 h 590308"/>
                <a:gd name="connsiteX933" fmla="*/ 670399 w 821508"/>
                <a:gd name="connsiteY933" fmla="*/ 383257 h 590308"/>
                <a:gd name="connsiteX934" fmla="*/ 670399 w 821508"/>
                <a:gd name="connsiteY934" fmla="*/ 378682 h 590308"/>
                <a:gd name="connsiteX935" fmla="*/ 672452 w 821508"/>
                <a:gd name="connsiteY935" fmla="*/ 375217 h 590308"/>
                <a:gd name="connsiteX936" fmla="*/ 675649 w 821508"/>
                <a:gd name="connsiteY936" fmla="*/ 371147 h 590308"/>
                <a:gd name="connsiteX937" fmla="*/ 677164 w 821508"/>
                <a:gd name="connsiteY937" fmla="*/ 369128 h 590308"/>
                <a:gd name="connsiteX938" fmla="*/ 679351 w 821508"/>
                <a:gd name="connsiteY938" fmla="*/ 366942 h 590308"/>
                <a:gd name="connsiteX939" fmla="*/ 682044 w 821508"/>
                <a:gd name="connsiteY939" fmla="*/ 365293 h 590308"/>
                <a:gd name="connsiteX940" fmla="*/ 682750 w 821508"/>
                <a:gd name="connsiteY940" fmla="*/ 364486 h 590308"/>
                <a:gd name="connsiteX941" fmla="*/ 685006 w 821508"/>
                <a:gd name="connsiteY941" fmla="*/ 363914 h 590308"/>
                <a:gd name="connsiteX942" fmla="*/ 686957 w 821508"/>
                <a:gd name="connsiteY942" fmla="*/ 363914 h 590308"/>
                <a:gd name="connsiteX943" fmla="*/ 689414 w 821508"/>
                <a:gd name="connsiteY943" fmla="*/ 366101 h 590308"/>
                <a:gd name="connsiteX944" fmla="*/ 691501 w 821508"/>
                <a:gd name="connsiteY944" fmla="*/ 369633 h 590308"/>
                <a:gd name="connsiteX945" fmla="*/ 692073 w 821508"/>
                <a:gd name="connsiteY945" fmla="*/ 371819 h 590308"/>
                <a:gd name="connsiteX946" fmla="*/ 694159 w 821508"/>
                <a:gd name="connsiteY946" fmla="*/ 372189 h 590308"/>
                <a:gd name="connsiteX947" fmla="*/ 696919 w 821508"/>
                <a:gd name="connsiteY947" fmla="*/ 371180 h 590308"/>
                <a:gd name="connsiteX948" fmla="*/ 698063 w 821508"/>
                <a:gd name="connsiteY948" fmla="*/ 369094 h 590308"/>
                <a:gd name="connsiteX949" fmla="*/ 699208 w 821508"/>
                <a:gd name="connsiteY949" fmla="*/ 363948 h 590308"/>
                <a:gd name="connsiteX950" fmla="*/ 700015 w 821508"/>
                <a:gd name="connsiteY950" fmla="*/ 361257 h 590308"/>
                <a:gd name="connsiteX951" fmla="*/ 701900 w 821508"/>
                <a:gd name="connsiteY951" fmla="*/ 359373 h 590308"/>
                <a:gd name="connsiteX952" fmla="*/ 705097 w 821508"/>
                <a:gd name="connsiteY952" fmla="*/ 357859 h 590308"/>
                <a:gd name="connsiteX953" fmla="*/ 708227 w 821508"/>
                <a:gd name="connsiteY953" fmla="*/ 356177 h 590308"/>
                <a:gd name="connsiteX954" fmla="*/ 709742 w 821508"/>
                <a:gd name="connsiteY954" fmla="*/ 355302 h 590308"/>
                <a:gd name="connsiteX955" fmla="*/ 712434 w 821508"/>
                <a:gd name="connsiteY955" fmla="*/ 353351 h 590308"/>
                <a:gd name="connsiteX956" fmla="*/ 713679 w 821508"/>
                <a:gd name="connsiteY956" fmla="*/ 351400 h 590308"/>
                <a:gd name="connsiteX957" fmla="*/ 713679 w 821508"/>
                <a:gd name="connsiteY957" fmla="*/ 349079 h 590308"/>
                <a:gd name="connsiteX958" fmla="*/ 713477 w 821508"/>
                <a:gd name="connsiteY958" fmla="*/ 340467 h 590308"/>
                <a:gd name="connsiteX959" fmla="*/ 713881 w 821508"/>
                <a:gd name="connsiteY959" fmla="*/ 333235 h 590308"/>
                <a:gd name="connsiteX960" fmla="*/ 713881 w 821508"/>
                <a:gd name="connsiteY960" fmla="*/ 324825 h 590308"/>
                <a:gd name="connsiteX961" fmla="*/ 715631 w 821508"/>
                <a:gd name="connsiteY961" fmla="*/ 315708 h 590308"/>
                <a:gd name="connsiteX962" fmla="*/ 715631 w 821508"/>
                <a:gd name="connsiteY962" fmla="*/ 310932 h 590308"/>
                <a:gd name="connsiteX963" fmla="*/ 714251 w 821508"/>
                <a:gd name="connsiteY963" fmla="*/ 306794 h 590308"/>
                <a:gd name="connsiteX964" fmla="*/ 712602 w 821508"/>
                <a:gd name="connsiteY964" fmla="*/ 303598 h 590308"/>
                <a:gd name="connsiteX965" fmla="*/ 713174 w 821508"/>
                <a:gd name="connsiteY965" fmla="*/ 301277 h 590308"/>
                <a:gd name="connsiteX966" fmla="*/ 714857 w 821508"/>
                <a:gd name="connsiteY966" fmla="*/ 298889 h 590308"/>
                <a:gd name="connsiteX967" fmla="*/ 715934 w 821508"/>
                <a:gd name="connsiteY967" fmla="*/ 297005 h 590308"/>
                <a:gd name="connsiteX968" fmla="*/ 718963 w 821508"/>
                <a:gd name="connsiteY968" fmla="*/ 294616 h 590308"/>
                <a:gd name="connsiteX969" fmla="*/ 720545 w 821508"/>
                <a:gd name="connsiteY969" fmla="*/ 293977 h 590308"/>
                <a:gd name="connsiteX970" fmla="*/ 722429 w 821508"/>
                <a:gd name="connsiteY970" fmla="*/ 293607 h 590308"/>
                <a:gd name="connsiteX971" fmla="*/ 723876 w 821508"/>
                <a:gd name="connsiteY971" fmla="*/ 293338 h 590308"/>
                <a:gd name="connsiteX972" fmla="*/ 726131 w 821508"/>
                <a:gd name="connsiteY972" fmla="*/ 292665 h 590308"/>
                <a:gd name="connsiteX973" fmla="*/ 728655 w 821508"/>
                <a:gd name="connsiteY973" fmla="*/ 292665 h 590308"/>
                <a:gd name="connsiteX974" fmla="*/ 731718 w 821508"/>
                <a:gd name="connsiteY974" fmla="*/ 294616 h 590308"/>
                <a:gd name="connsiteX975" fmla="*/ 735050 w 821508"/>
                <a:gd name="connsiteY975" fmla="*/ 298586 h 590308"/>
                <a:gd name="connsiteX976" fmla="*/ 738752 w 821508"/>
                <a:gd name="connsiteY976" fmla="*/ 299898 h 590308"/>
                <a:gd name="connsiteX977" fmla="*/ 743968 w 821508"/>
                <a:gd name="connsiteY977" fmla="*/ 300201 h 590308"/>
                <a:gd name="connsiteX978" fmla="*/ 745483 w 821508"/>
                <a:gd name="connsiteY978" fmla="*/ 300402 h 590308"/>
                <a:gd name="connsiteX979" fmla="*/ 746930 w 821508"/>
                <a:gd name="connsiteY979" fmla="*/ 302589 h 590308"/>
                <a:gd name="connsiteX980" fmla="*/ 746930 w 821508"/>
                <a:gd name="connsiteY980" fmla="*/ 305717 h 590308"/>
                <a:gd name="connsiteX981" fmla="*/ 745988 w 821508"/>
                <a:gd name="connsiteY981" fmla="*/ 309485 h 590308"/>
                <a:gd name="connsiteX982" fmla="*/ 746930 w 821508"/>
                <a:gd name="connsiteY982" fmla="*/ 312748 h 590308"/>
                <a:gd name="connsiteX983" fmla="*/ 746189 w 821508"/>
                <a:gd name="connsiteY983" fmla="*/ 315944 h 590308"/>
                <a:gd name="connsiteX984" fmla="*/ 746324 w 821508"/>
                <a:gd name="connsiteY984" fmla="*/ 319140 h 590308"/>
                <a:gd name="connsiteX985" fmla="*/ 750800 w 821508"/>
                <a:gd name="connsiteY985" fmla="*/ 321730 h 590308"/>
                <a:gd name="connsiteX986" fmla="*/ 757194 w 821508"/>
                <a:gd name="connsiteY986" fmla="*/ 327381 h 590308"/>
                <a:gd name="connsiteX987" fmla="*/ 762175 w 821508"/>
                <a:gd name="connsiteY987" fmla="*/ 332360 h 590308"/>
                <a:gd name="connsiteX988" fmla="*/ 766820 w 821508"/>
                <a:gd name="connsiteY988" fmla="*/ 336128 h 590308"/>
                <a:gd name="connsiteX989" fmla="*/ 769276 w 821508"/>
                <a:gd name="connsiteY989" fmla="*/ 337440 h 590308"/>
                <a:gd name="connsiteX990" fmla="*/ 774695 w 821508"/>
                <a:gd name="connsiteY990" fmla="*/ 338314 h 590308"/>
                <a:gd name="connsiteX991" fmla="*/ 774695 w 821508"/>
                <a:gd name="connsiteY991" fmla="*/ 335287 h 590308"/>
                <a:gd name="connsiteX992" fmla="*/ 772844 w 821508"/>
                <a:gd name="connsiteY992" fmla="*/ 331687 h 590308"/>
                <a:gd name="connsiteX993" fmla="*/ 772507 w 821508"/>
                <a:gd name="connsiteY993" fmla="*/ 329063 h 590308"/>
                <a:gd name="connsiteX994" fmla="*/ 772709 w 821508"/>
                <a:gd name="connsiteY994" fmla="*/ 327415 h 590308"/>
                <a:gd name="connsiteX995" fmla="*/ 773887 w 821508"/>
                <a:gd name="connsiteY995" fmla="*/ 326540 h 590308"/>
                <a:gd name="connsiteX996" fmla="*/ 774661 w 821508"/>
                <a:gd name="connsiteY996" fmla="*/ 326439 h 590308"/>
                <a:gd name="connsiteX997" fmla="*/ 776849 w 821508"/>
                <a:gd name="connsiteY997" fmla="*/ 326776 h 590308"/>
                <a:gd name="connsiteX998" fmla="*/ 778700 w 821508"/>
                <a:gd name="connsiteY998" fmla="*/ 329938 h 590308"/>
                <a:gd name="connsiteX999" fmla="*/ 779844 w 821508"/>
                <a:gd name="connsiteY999" fmla="*/ 333638 h 590308"/>
                <a:gd name="connsiteX1000" fmla="*/ 782604 w 821508"/>
                <a:gd name="connsiteY1000" fmla="*/ 338079 h 590308"/>
                <a:gd name="connsiteX1001" fmla="*/ 784455 w 821508"/>
                <a:gd name="connsiteY1001" fmla="*/ 341678 h 590308"/>
                <a:gd name="connsiteX1002" fmla="*/ 786104 w 821508"/>
                <a:gd name="connsiteY1002" fmla="*/ 344706 h 590308"/>
                <a:gd name="connsiteX1003" fmla="*/ 788594 w 821508"/>
                <a:gd name="connsiteY1003" fmla="*/ 347868 h 590308"/>
                <a:gd name="connsiteX1004" fmla="*/ 788594 w 821508"/>
                <a:gd name="connsiteY1004" fmla="*/ 350895 h 590308"/>
                <a:gd name="connsiteX1005" fmla="*/ 793373 w 821508"/>
                <a:gd name="connsiteY1005" fmla="*/ 354091 h 590308"/>
                <a:gd name="connsiteX1006" fmla="*/ 795965 w 821508"/>
                <a:gd name="connsiteY1006" fmla="*/ 353351 h 590308"/>
                <a:gd name="connsiteX1007" fmla="*/ 797984 w 821508"/>
                <a:gd name="connsiteY1007" fmla="*/ 352914 h 590308"/>
                <a:gd name="connsiteX1008" fmla="*/ 800171 w 821508"/>
                <a:gd name="connsiteY1008" fmla="*/ 354091 h 590308"/>
                <a:gd name="connsiteX1009" fmla="*/ 801114 w 821508"/>
                <a:gd name="connsiteY1009" fmla="*/ 357186 h 590308"/>
                <a:gd name="connsiteX1010" fmla="*/ 802729 w 821508"/>
                <a:gd name="connsiteY1010" fmla="*/ 357388 h 590308"/>
                <a:gd name="connsiteX1011" fmla="*/ 804681 w 821508"/>
                <a:gd name="connsiteY1011" fmla="*/ 356143 h 590308"/>
                <a:gd name="connsiteX1012" fmla="*/ 804681 w 821508"/>
                <a:gd name="connsiteY1012" fmla="*/ 353385 h 590308"/>
                <a:gd name="connsiteX1013" fmla="*/ 802594 w 821508"/>
                <a:gd name="connsiteY1013" fmla="*/ 351804 h 590308"/>
                <a:gd name="connsiteX1014" fmla="*/ 801518 w 821508"/>
                <a:gd name="connsiteY1014" fmla="*/ 350492 h 590308"/>
                <a:gd name="connsiteX1015" fmla="*/ 800710 w 821508"/>
                <a:gd name="connsiteY1015" fmla="*/ 349348 h 590308"/>
                <a:gd name="connsiteX1016" fmla="*/ 798690 w 821508"/>
                <a:gd name="connsiteY1016" fmla="*/ 348339 h 590308"/>
                <a:gd name="connsiteX1017" fmla="*/ 796671 w 821508"/>
                <a:gd name="connsiteY1017" fmla="*/ 347464 h 590308"/>
                <a:gd name="connsiteX1018" fmla="*/ 795662 w 821508"/>
                <a:gd name="connsiteY1018" fmla="*/ 345580 h 590308"/>
                <a:gd name="connsiteX1019" fmla="*/ 793777 w 821508"/>
                <a:gd name="connsiteY1019" fmla="*/ 342116 h 590308"/>
                <a:gd name="connsiteX1020" fmla="*/ 792128 w 821508"/>
                <a:gd name="connsiteY1020" fmla="*/ 340097 h 590308"/>
                <a:gd name="connsiteX1021" fmla="*/ 791253 w 821508"/>
                <a:gd name="connsiteY1021" fmla="*/ 337911 h 590308"/>
                <a:gd name="connsiteX1022" fmla="*/ 789435 w 821508"/>
                <a:gd name="connsiteY1022" fmla="*/ 335085 h 590308"/>
                <a:gd name="connsiteX1023" fmla="*/ 788123 w 821508"/>
                <a:gd name="connsiteY1023" fmla="*/ 331250 h 590308"/>
                <a:gd name="connsiteX1024" fmla="*/ 787988 w 821508"/>
                <a:gd name="connsiteY1024" fmla="*/ 328794 h 590308"/>
                <a:gd name="connsiteX1025" fmla="*/ 788224 w 821508"/>
                <a:gd name="connsiteY1025" fmla="*/ 327146 h 590308"/>
                <a:gd name="connsiteX1026" fmla="*/ 788156 w 821508"/>
                <a:gd name="connsiteY1026" fmla="*/ 324959 h 590308"/>
                <a:gd name="connsiteX1027" fmla="*/ 784017 w 821508"/>
                <a:gd name="connsiteY1027" fmla="*/ 322773 h 590308"/>
                <a:gd name="connsiteX1028" fmla="*/ 782267 w 821508"/>
                <a:gd name="connsiteY1028" fmla="*/ 322134 h 590308"/>
                <a:gd name="connsiteX1029" fmla="*/ 781325 w 821508"/>
                <a:gd name="connsiteY1029" fmla="*/ 320048 h 590308"/>
                <a:gd name="connsiteX1030" fmla="*/ 781762 w 821508"/>
                <a:gd name="connsiteY1030" fmla="*/ 317222 h 590308"/>
                <a:gd name="connsiteX1031" fmla="*/ 781459 w 821508"/>
                <a:gd name="connsiteY1031" fmla="*/ 315843 h 590308"/>
                <a:gd name="connsiteX1032" fmla="*/ 777690 w 821508"/>
                <a:gd name="connsiteY1032" fmla="*/ 315776 h 590308"/>
                <a:gd name="connsiteX1033" fmla="*/ 775503 w 821508"/>
                <a:gd name="connsiteY1033" fmla="*/ 317660 h 590308"/>
                <a:gd name="connsiteX1034" fmla="*/ 773113 w 821508"/>
                <a:gd name="connsiteY1034" fmla="*/ 318231 h 590308"/>
                <a:gd name="connsiteX1035" fmla="*/ 770589 w 821508"/>
                <a:gd name="connsiteY1035" fmla="*/ 315338 h 590308"/>
                <a:gd name="connsiteX1036" fmla="*/ 771397 w 821508"/>
                <a:gd name="connsiteY1036" fmla="*/ 311705 h 590308"/>
                <a:gd name="connsiteX1037" fmla="*/ 775402 w 821508"/>
                <a:gd name="connsiteY1037" fmla="*/ 308510 h 590308"/>
                <a:gd name="connsiteX1038" fmla="*/ 776781 w 821508"/>
                <a:gd name="connsiteY1038" fmla="*/ 307433 h 590308"/>
                <a:gd name="connsiteX1039" fmla="*/ 783445 w 821508"/>
                <a:gd name="connsiteY1039" fmla="*/ 302959 h 590308"/>
                <a:gd name="connsiteX1040" fmla="*/ 787719 w 821508"/>
                <a:gd name="connsiteY1040" fmla="*/ 299259 h 590308"/>
                <a:gd name="connsiteX1041" fmla="*/ 790614 w 821508"/>
                <a:gd name="connsiteY1041" fmla="*/ 297375 h 590308"/>
                <a:gd name="connsiteX1042" fmla="*/ 796907 w 821508"/>
                <a:gd name="connsiteY1042" fmla="*/ 294179 h 590308"/>
                <a:gd name="connsiteX1043" fmla="*/ 799666 w 821508"/>
                <a:gd name="connsiteY1043" fmla="*/ 293237 h 590308"/>
                <a:gd name="connsiteX1044" fmla="*/ 802797 w 821508"/>
                <a:gd name="connsiteY1044" fmla="*/ 293103 h 590308"/>
                <a:gd name="connsiteX1045" fmla="*/ 806566 w 821508"/>
                <a:gd name="connsiteY1045" fmla="*/ 292228 h 590308"/>
                <a:gd name="connsiteX1046" fmla="*/ 808013 w 821508"/>
                <a:gd name="connsiteY1046" fmla="*/ 289335 h 590308"/>
                <a:gd name="connsiteX1047" fmla="*/ 808450 w 821508"/>
                <a:gd name="connsiteY1047" fmla="*/ 287518 h 590308"/>
                <a:gd name="connsiteX1048" fmla="*/ 811782 w 821508"/>
                <a:gd name="connsiteY1048" fmla="*/ 286879 h 590308"/>
                <a:gd name="connsiteX1049" fmla="*/ 814037 w 821508"/>
                <a:gd name="connsiteY1049" fmla="*/ 285433 h 590308"/>
                <a:gd name="connsiteX1050" fmla="*/ 816730 w 821508"/>
                <a:gd name="connsiteY1050" fmla="*/ 283414 h 590308"/>
                <a:gd name="connsiteX1051" fmla="*/ 819254 w 821508"/>
                <a:gd name="connsiteY1051" fmla="*/ 282035 h 590308"/>
                <a:gd name="connsiteX1052" fmla="*/ 819960 w 821508"/>
                <a:gd name="connsiteY1052" fmla="*/ 280790 h 590308"/>
                <a:gd name="connsiteX1053" fmla="*/ 819960 w 821508"/>
                <a:gd name="connsiteY1053" fmla="*/ 279647 h 590308"/>
                <a:gd name="connsiteX1054" fmla="*/ 818816 w 821508"/>
                <a:gd name="connsiteY1054" fmla="*/ 275946 h 590308"/>
                <a:gd name="connsiteX1055" fmla="*/ 817504 w 821508"/>
                <a:gd name="connsiteY1055" fmla="*/ 272986 h 590308"/>
                <a:gd name="connsiteX1056" fmla="*/ 814609 w 821508"/>
                <a:gd name="connsiteY1056" fmla="*/ 270968 h 590308"/>
                <a:gd name="connsiteX1057" fmla="*/ 814744 w 821508"/>
                <a:gd name="connsiteY1057" fmla="*/ 268882 h 590308"/>
                <a:gd name="connsiteX1058" fmla="*/ 816292 w 821508"/>
                <a:gd name="connsiteY1058" fmla="*/ 265451 h 590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</a:cxnLst>
              <a:rect l="l" t="t" r="r" b="b"/>
              <a:pathLst>
                <a:path w="821508" h="590308">
                  <a:moveTo>
                    <a:pt x="816292" y="265451"/>
                  </a:moveTo>
                  <a:cubicBezTo>
                    <a:pt x="816561" y="265316"/>
                    <a:pt x="817369" y="263802"/>
                    <a:pt x="817604" y="263702"/>
                  </a:cubicBezTo>
                  <a:cubicBezTo>
                    <a:pt x="817806" y="263634"/>
                    <a:pt x="818681" y="262827"/>
                    <a:pt x="819186" y="262625"/>
                  </a:cubicBezTo>
                  <a:cubicBezTo>
                    <a:pt x="819691" y="262423"/>
                    <a:pt x="820566" y="261683"/>
                    <a:pt x="820566" y="261683"/>
                  </a:cubicBezTo>
                  <a:lnTo>
                    <a:pt x="821508" y="258925"/>
                  </a:lnTo>
                  <a:lnTo>
                    <a:pt x="821138" y="256671"/>
                  </a:lnTo>
                  <a:lnTo>
                    <a:pt x="819691" y="254148"/>
                  </a:lnTo>
                  <a:cubicBezTo>
                    <a:pt x="819691" y="254148"/>
                    <a:pt x="818176" y="252399"/>
                    <a:pt x="818109" y="252197"/>
                  </a:cubicBezTo>
                  <a:cubicBezTo>
                    <a:pt x="818042" y="251961"/>
                    <a:pt x="816797" y="250818"/>
                    <a:pt x="816797" y="250818"/>
                  </a:cubicBezTo>
                  <a:lnTo>
                    <a:pt x="816730" y="248429"/>
                  </a:lnTo>
                  <a:cubicBezTo>
                    <a:pt x="816730" y="248429"/>
                    <a:pt x="817100" y="246747"/>
                    <a:pt x="817739" y="246545"/>
                  </a:cubicBezTo>
                  <a:cubicBezTo>
                    <a:pt x="818379" y="246343"/>
                    <a:pt x="819388" y="245301"/>
                    <a:pt x="819691" y="245233"/>
                  </a:cubicBezTo>
                  <a:cubicBezTo>
                    <a:pt x="819994" y="245166"/>
                    <a:pt x="820499" y="244359"/>
                    <a:pt x="820499" y="244359"/>
                  </a:cubicBezTo>
                  <a:cubicBezTo>
                    <a:pt x="820499" y="244359"/>
                    <a:pt x="820196" y="242778"/>
                    <a:pt x="819927" y="242778"/>
                  </a:cubicBezTo>
                  <a:cubicBezTo>
                    <a:pt x="819624" y="242778"/>
                    <a:pt x="818547" y="241768"/>
                    <a:pt x="818547" y="241768"/>
                  </a:cubicBezTo>
                  <a:lnTo>
                    <a:pt x="818614" y="237698"/>
                  </a:lnTo>
                  <a:lnTo>
                    <a:pt x="817672" y="235108"/>
                  </a:lnTo>
                  <a:cubicBezTo>
                    <a:pt x="817672" y="235108"/>
                    <a:pt x="816730" y="232282"/>
                    <a:pt x="816730" y="231979"/>
                  </a:cubicBezTo>
                  <a:cubicBezTo>
                    <a:pt x="816730" y="231677"/>
                    <a:pt x="817672" y="229389"/>
                    <a:pt x="817672" y="229389"/>
                  </a:cubicBezTo>
                  <a:cubicBezTo>
                    <a:pt x="817672" y="229389"/>
                    <a:pt x="817739" y="227203"/>
                    <a:pt x="817739" y="227001"/>
                  </a:cubicBezTo>
                  <a:cubicBezTo>
                    <a:pt x="817739" y="226799"/>
                    <a:pt x="817941" y="223098"/>
                    <a:pt x="817941" y="223098"/>
                  </a:cubicBezTo>
                  <a:lnTo>
                    <a:pt x="817133" y="221719"/>
                  </a:lnTo>
                  <a:lnTo>
                    <a:pt x="815686" y="220845"/>
                  </a:lnTo>
                  <a:lnTo>
                    <a:pt x="812220" y="219465"/>
                  </a:lnTo>
                  <a:lnTo>
                    <a:pt x="810200" y="218153"/>
                  </a:lnTo>
                  <a:cubicBezTo>
                    <a:pt x="810200" y="218153"/>
                    <a:pt x="808619" y="216842"/>
                    <a:pt x="808114" y="216842"/>
                  </a:cubicBezTo>
                  <a:cubicBezTo>
                    <a:pt x="807609" y="216842"/>
                    <a:pt x="805590" y="216404"/>
                    <a:pt x="805590" y="216404"/>
                  </a:cubicBezTo>
                  <a:lnTo>
                    <a:pt x="803268" y="215900"/>
                  </a:lnTo>
                  <a:lnTo>
                    <a:pt x="801618" y="215900"/>
                  </a:lnTo>
                  <a:lnTo>
                    <a:pt x="800104" y="215193"/>
                  </a:lnTo>
                  <a:cubicBezTo>
                    <a:pt x="800104" y="215193"/>
                    <a:pt x="798791" y="215698"/>
                    <a:pt x="798152" y="216068"/>
                  </a:cubicBezTo>
                  <a:cubicBezTo>
                    <a:pt x="797513" y="216438"/>
                    <a:pt x="796402" y="217312"/>
                    <a:pt x="796267" y="217582"/>
                  </a:cubicBezTo>
                  <a:cubicBezTo>
                    <a:pt x="796133" y="217884"/>
                    <a:pt x="795258" y="218658"/>
                    <a:pt x="795191" y="218961"/>
                  </a:cubicBezTo>
                  <a:cubicBezTo>
                    <a:pt x="795123" y="219264"/>
                    <a:pt x="793945" y="220407"/>
                    <a:pt x="793945" y="220407"/>
                  </a:cubicBezTo>
                  <a:lnTo>
                    <a:pt x="792936" y="222224"/>
                  </a:lnTo>
                  <a:cubicBezTo>
                    <a:pt x="792936" y="222224"/>
                    <a:pt x="791993" y="222224"/>
                    <a:pt x="791489" y="222661"/>
                  </a:cubicBezTo>
                  <a:cubicBezTo>
                    <a:pt x="790984" y="223098"/>
                    <a:pt x="790748" y="223166"/>
                    <a:pt x="790479" y="223166"/>
                  </a:cubicBezTo>
                  <a:cubicBezTo>
                    <a:pt x="790176" y="223166"/>
                    <a:pt x="788965" y="223098"/>
                    <a:pt x="788965" y="223098"/>
                  </a:cubicBezTo>
                  <a:lnTo>
                    <a:pt x="787585" y="222897"/>
                  </a:lnTo>
                  <a:lnTo>
                    <a:pt x="786003" y="222897"/>
                  </a:lnTo>
                  <a:lnTo>
                    <a:pt x="783983" y="222392"/>
                  </a:lnTo>
                  <a:cubicBezTo>
                    <a:pt x="783983" y="222392"/>
                    <a:pt x="782234" y="220710"/>
                    <a:pt x="781964" y="220576"/>
                  </a:cubicBezTo>
                  <a:cubicBezTo>
                    <a:pt x="781661" y="220441"/>
                    <a:pt x="777387" y="217514"/>
                    <a:pt x="777185" y="217312"/>
                  </a:cubicBezTo>
                  <a:cubicBezTo>
                    <a:pt x="776950" y="217077"/>
                    <a:pt x="772339" y="213915"/>
                    <a:pt x="772339" y="213915"/>
                  </a:cubicBezTo>
                  <a:lnTo>
                    <a:pt x="768502" y="212098"/>
                  </a:lnTo>
                  <a:lnTo>
                    <a:pt x="763084" y="210215"/>
                  </a:lnTo>
                  <a:lnTo>
                    <a:pt x="759820" y="209273"/>
                  </a:lnTo>
                  <a:cubicBezTo>
                    <a:pt x="759820" y="209273"/>
                    <a:pt x="755411" y="208465"/>
                    <a:pt x="754906" y="208465"/>
                  </a:cubicBezTo>
                  <a:cubicBezTo>
                    <a:pt x="754401" y="208465"/>
                    <a:pt x="751945" y="208095"/>
                    <a:pt x="751945" y="208095"/>
                  </a:cubicBezTo>
                  <a:cubicBezTo>
                    <a:pt x="751945" y="208095"/>
                    <a:pt x="749252" y="207523"/>
                    <a:pt x="748377" y="206346"/>
                  </a:cubicBezTo>
                  <a:cubicBezTo>
                    <a:pt x="747502" y="205202"/>
                    <a:pt x="744540" y="202074"/>
                    <a:pt x="744372" y="201704"/>
                  </a:cubicBezTo>
                  <a:cubicBezTo>
                    <a:pt x="744237" y="201334"/>
                    <a:pt x="741612" y="198441"/>
                    <a:pt x="741612" y="198441"/>
                  </a:cubicBezTo>
                  <a:cubicBezTo>
                    <a:pt x="741612" y="198441"/>
                    <a:pt x="740468" y="197129"/>
                    <a:pt x="740367" y="196355"/>
                  </a:cubicBezTo>
                  <a:cubicBezTo>
                    <a:pt x="740300" y="195548"/>
                    <a:pt x="739795" y="192823"/>
                    <a:pt x="739795" y="192520"/>
                  </a:cubicBezTo>
                  <a:cubicBezTo>
                    <a:pt x="739795" y="192217"/>
                    <a:pt x="738785" y="189055"/>
                    <a:pt x="738718" y="188752"/>
                  </a:cubicBezTo>
                  <a:cubicBezTo>
                    <a:pt x="738651" y="188450"/>
                    <a:pt x="736968" y="186667"/>
                    <a:pt x="736699" y="185927"/>
                  </a:cubicBezTo>
                  <a:cubicBezTo>
                    <a:pt x="736429" y="185187"/>
                    <a:pt x="735016" y="182731"/>
                    <a:pt x="734949" y="182529"/>
                  </a:cubicBezTo>
                  <a:cubicBezTo>
                    <a:pt x="734881" y="182327"/>
                    <a:pt x="735218" y="180780"/>
                    <a:pt x="735454" y="180073"/>
                  </a:cubicBezTo>
                  <a:cubicBezTo>
                    <a:pt x="735655" y="179333"/>
                    <a:pt x="736329" y="177685"/>
                    <a:pt x="736396" y="177180"/>
                  </a:cubicBezTo>
                  <a:cubicBezTo>
                    <a:pt x="736463" y="176676"/>
                    <a:pt x="736463" y="175162"/>
                    <a:pt x="736530" y="174927"/>
                  </a:cubicBezTo>
                  <a:cubicBezTo>
                    <a:pt x="736598" y="174725"/>
                    <a:pt x="736598" y="172471"/>
                    <a:pt x="736598" y="172168"/>
                  </a:cubicBezTo>
                  <a:cubicBezTo>
                    <a:pt x="736598" y="171865"/>
                    <a:pt x="736901" y="170789"/>
                    <a:pt x="736901" y="170789"/>
                  </a:cubicBezTo>
                  <a:lnTo>
                    <a:pt x="737406" y="169275"/>
                  </a:lnTo>
                  <a:cubicBezTo>
                    <a:pt x="737406" y="169275"/>
                    <a:pt x="736968" y="167829"/>
                    <a:pt x="734949" y="167829"/>
                  </a:cubicBezTo>
                  <a:cubicBezTo>
                    <a:pt x="732930" y="167829"/>
                    <a:pt x="731819" y="167627"/>
                    <a:pt x="731314" y="167829"/>
                  </a:cubicBezTo>
                  <a:cubicBezTo>
                    <a:pt x="730809" y="168030"/>
                    <a:pt x="729867" y="167829"/>
                    <a:pt x="729295" y="168266"/>
                  </a:cubicBezTo>
                  <a:cubicBezTo>
                    <a:pt x="728723" y="168703"/>
                    <a:pt x="727713" y="168266"/>
                    <a:pt x="727107" y="169006"/>
                  </a:cubicBezTo>
                  <a:cubicBezTo>
                    <a:pt x="726535" y="169746"/>
                    <a:pt x="725458" y="170822"/>
                    <a:pt x="725155" y="171394"/>
                  </a:cubicBezTo>
                  <a:cubicBezTo>
                    <a:pt x="724886" y="171966"/>
                    <a:pt x="724011" y="173076"/>
                    <a:pt x="723775" y="174153"/>
                  </a:cubicBezTo>
                  <a:cubicBezTo>
                    <a:pt x="723540" y="175229"/>
                    <a:pt x="723338" y="175734"/>
                    <a:pt x="722766" y="176474"/>
                  </a:cubicBezTo>
                  <a:cubicBezTo>
                    <a:pt x="722194" y="177214"/>
                    <a:pt x="721891" y="177853"/>
                    <a:pt x="721319" y="178661"/>
                  </a:cubicBezTo>
                  <a:cubicBezTo>
                    <a:pt x="720747" y="179468"/>
                    <a:pt x="719804" y="180343"/>
                    <a:pt x="719636" y="180679"/>
                  </a:cubicBezTo>
                  <a:cubicBezTo>
                    <a:pt x="719501" y="181049"/>
                    <a:pt x="719568" y="181419"/>
                    <a:pt x="719064" y="182260"/>
                  </a:cubicBezTo>
                  <a:cubicBezTo>
                    <a:pt x="718559" y="183135"/>
                    <a:pt x="717684" y="184447"/>
                    <a:pt x="717751" y="184648"/>
                  </a:cubicBezTo>
                  <a:cubicBezTo>
                    <a:pt x="717819" y="184850"/>
                    <a:pt x="717886" y="185658"/>
                    <a:pt x="717549" y="186229"/>
                  </a:cubicBezTo>
                  <a:cubicBezTo>
                    <a:pt x="717179" y="186801"/>
                    <a:pt x="717179" y="188618"/>
                    <a:pt x="716742" y="189358"/>
                  </a:cubicBezTo>
                  <a:cubicBezTo>
                    <a:pt x="716304" y="190098"/>
                    <a:pt x="716170" y="191679"/>
                    <a:pt x="715799" y="192049"/>
                  </a:cubicBezTo>
                  <a:cubicBezTo>
                    <a:pt x="715429" y="192419"/>
                    <a:pt x="715295" y="194303"/>
                    <a:pt x="714790" y="194808"/>
                  </a:cubicBezTo>
                  <a:cubicBezTo>
                    <a:pt x="714285" y="195312"/>
                    <a:pt x="713410" y="195312"/>
                    <a:pt x="713208" y="195514"/>
                  </a:cubicBezTo>
                  <a:cubicBezTo>
                    <a:pt x="712972" y="195716"/>
                    <a:pt x="711121" y="195447"/>
                    <a:pt x="711121" y="194808"/>
                  </a:cubicBezTo>
                  <a:cubicBezTo>
                    <a:pt x="711121" y="194168"/>
                    <a:pt x="710112" y="193563"/>
                    <a:pt x="710112" y="192486"/>
                  </a:cubicBezTo>
                  <a:cubicBezTo>
                    <a:pt x="710112" y="191410"/>
                    <a:pt x="709304" y="189358"/>
                    <a:pt x="709237" y="189156"/>
                  </a:cubicBezTo>
                  <a:cubicBezTo>
                    <a:pt x="709169" y="188954"/>
                    <a:pt x="707588" y="186532"/>
                    <a:pt x="707487" y="186263"/>
                  </a:cubicBezTo>
                  <a:cubicBezTo>
                    <a:pt x="707419" y="185960"/>
                    <a:pt x="706814" y="183067"/>
                    <a:pt x="706780" y="182798"/>
                  </a:cubicBezTo>
                  <a:cubicBezTo>
                    <a:pt x="706713" y="182495"/>
                    <a:pt x="706477" y="182226"/>
                    <a:pt x="706073" y="180847"/>
                  </a:cubicBezTo>
                  <a:cubicBezTo>
                    <a:pt x="705636" y="179468"/>
                    <a:pt x="704188" y="178156"/>
                    <a:pt x="704188" y="178156"/>
                  </a:cubicBezTo>
                  <a:lnTo>
                    <a:pt x="702438" y="175835"/>
                  </a:lnTo>
                  <a:lnTo>
                    <a:pt x="700419" y="174826"/>
                  </a:lnTo>
                  <a:lnTo>
                    <a:pt x="697727" y="175196"/>
                  </a:lnTo>
                  <a:lnTo>
                    <a:pt x="695775" y="175936"/>
                  </a:lnTo>
                  <a:lnTo>
                    <a:pt x="691063" y="178694"/>
                  </a:lnTo>
                  <a:cubicBezTo>
                    <a:pt x="691063" y="178694"/>
                    <a:pt x="688875" y="180948"/>
                    <a:pt x="688741" y="181150"/>
                  </a:cubicBezTo>
                  <a:cubicBezTo>
                    <a:pt x="688606" y="181352"/>
                    <a:pt x="687092" y="183404"/>
                    <a:pt x="686991" y="183673"/>
                  </a:cubicBezTo>
                  <a:cubicBezTo>
                    <a:pt x="686924" y="183976"/>
                    <a:pt x="686924" y="186364"/>
                    <a:pt x="686924" y="186364"/>
                  </a:cubicBezTo>
                  <a:lnTo>
                    <a:pt x="687462" y="188954"/>
                  </a:lnTo>
                  <a:lnTo>
                    <a:pt x="689515" y="190973"/>
                  </a:lnTo>
                  <a:lnTo>
                    <a:pt x="689515" y="192486"/>
                  </a:lnTo>
                  <a:cubicBezTo>
                    <a:pt x="689515" y="192486"/>
                    <a:pt x="688270" y="193058"/>
                    <a:pt x="687630" y="193563"/>
                  </a:cubicBezTo>
                  <a:cubicBezTo>
                    <a:pt x="686991" y="194067"/>
                    <a:pt x="684366" y="195951"/>
                    <a:pt x="684366" y="195951"/>
                  </a:cubicBezTo>
                  <a:cubicBezTo>
                    <a:pt x="684366" y="195951"/>
                    <a:pt x="681977" y="196590"/>
                    <a:pt x="681674" y="196691"/>
                  </a:cubicBezTo>
                  <a:cubicBezTo>
                    <a:pt x="681371" y="196759"/>
                    <a:pt x="677837" y="196826"/>
                    <a:pt x="677332" y="196826"/>
                  </a:cubicBezTo>
                  <a:cubicBezTo>
                    <a:pt x="676827" y="196826"/>
                    <a:pt x="674000" y="196523"/>
                    <a:pt x="673698" y="196893"/>
                  </a:cubicBezTo>
                  <a:cubicBezTo>
                    <a:pt x="673428" y="197263"/>
                    <a:pt x="668784" y="199282"/>
                    <a:pt x="668784" y="199282"/>
                  </a:cubicBezTo>
                  <a:lnTo>
                    <a:pt x="662625" y="200964"/>
                  </a:lnTo>
                  <a:lnTo>
                    <a:pt x="660370" y="202915"/>
                  </a:lnTo>
                  <a:lnTo>
                    <a:pt x="658486" y="206178"/>
                  </a:lnTo>
                  <a:lnTo>
                    <a:pt x="655962" y="209508"/>
                  </a:lnTo>
                  <a:cubicBezTo>
                    <a:pt x="655962" y="209508"/>
                    <a:pt x="654649" y="209945"/>
                    <a:pt x="654380" y="210013"/>
                  </a:cubicBezTo>
                  <a:cubicBezTo>
                    <a:pt x="654110" y="210080"/>
                    <a:pt x="649163" y="209878"/>
                    <a:pt x="649163" y="209878"/>
                  </a:cubicBezTo>
                  <a:lnTo>
                    <a:pt x="647985" y="210887"/>
                  </a:lnTo>
                  <a:cubicBezTo>
                    <a:pt x="647985" y="210887"/>
                    <a:pt x="647178" y="214016"/>
                    <a:pt x="647043" y="214352"/>
                  </a:cubicBezTo>
                  <a:cubicBezTo>
                    <a:pt x="646908" y="214722"/>
                    <a:pt x="645865" y="217884"/>
                    <a:pt x="646101" y="218423"/>
                  </a:cubicBezTo>
                  <a:cubicBezTo>
                    <a:pt x="646303" y="218927"/>
                    <a:pt x="647312" y="223334"/>
                    <a:pt x="647312" y="223334"/>
                  </a:cubicBezTo>
                  <a:lnTo>
                    <a:pt x="649197" y="228750"/>
                  </a:lnTo>
                  <a:cubicBezTo>
                    <a:pt x="649197" y="228750"/>
                    <a:pt x="650274" y="231946"/>
                    <a:pt x="650274" y="232215"/>
                  </a:cubicBezTo>
                  <a:cubicBezTo>
                    <a:pt x="650274" y="232518"/>
                    <a:pt x="649836" y="234603"/>
                    <a:pt x="649836" y="234603"/>
                  </a:cubicBezTo>
                  <a:cubicBezTo>
                    <a:pt x="649836" y="234603"/>
                    <a:pt x="648120" y="235108"/>
                    <a:pt x="647649" y="235343"/>
                  </a:cubicBezTo>
                  <a:cubicBezTo>
                    <a:pt x="647211" y="235545"/>
                    <a:pt x="643812" y="236487"/>
                    <a:pt x="643307" y="236588"/>
                  </a:cubicBezTo>
                  <a:cubicBezTo>
                    <a:pt x="642803" y="236655"/>
                    <a:pt x="641120" y="236790"/>
                    <a:pt x="640783" y="237160"/>
                  </a:cubicBezTo>
                  <a:cubicBezTo>
                    <a:pt x="640413" y="237530"/>
                    <a:pt x="639706" y="237967"/>
                    <a:pt x="639202" y="238304"/>
                  </a:cubicBezTo>
                  <a:cubicBezTo>
                    <a:pt x="638697" y="238640"/>
                    <a:pt x="636879" y="239750"/>
                    <a:pt x="636879" y="239750"/>
                  </a:cubicBezTo>
                  <a:cubicBezTo>
                    <a:pt x="636879" y="239750"/>
                    <a:pt x="635062" y="241331"/>
                    <a:pt x="634927" y="241567"/>
                  </a:cubicBezTo>
                  <a:cubicBezTo>
                    <a:pt x="634793" y="241768"/>
                    <a:pt x="633682" y="242643"/>
                    <a:pt x="632908" y="242643"/>
                  </a:cubicBezTo>
                  <a:cubicBezTo>
                    <a:pt x="632100" y="242643"/>
                    <a:pt x="629273" y="242206"/>
                    <a:pt x="628432" y="242206"/>
                  </a:cubicBezTo>
                  <a:cubicBezTo>
                    <a:pt x="627557" y="242206"/>
                    <a:pt x="625740" y="241701"/>
                    <a:pt x="625235" y="241567"/>
                  </a:cubicBezTo>
                  <a:cubicBezTo>
                    <a:pt x="624730" y="241432"/>
                    <a:pt x="622475" y="239616"/>
                    <a:pt x="622475" y="239616"/>
                  </a:cubicBezTo>
                  <a:lnTo>
                    <a:pt x="618942" y="237429"/>
                  </a:lnTo>
                  <a:cubicBezTo>
                    <a:pt x="618942" y="237429"/>
                    <a:pt x="616619" y="236050"/>
                    <a:pt x="615980" y="234906"/>
                  </a:cubicBezTo>
                  <a:cubicBezTo>
                    <a:pt x="615340" y="233762"/>
                    <a:pt x="614230" y="231778"/>
                    <a:pt x="613725" y="230634"/>
                  </a:cubicBezTo>
                  <a:cubicBezTo>
                    <a:pt x="613220" y="229456"/>
                    <a:pt x="611706" y="227068"/>
                    <a:pt x="611638" y="226866"/>
                  </a:cubicBezTo>
                  <a:cubicBezTo>
                    <a:pt x="611537" y="226664"/>
                    <a:pt x="609013" y="222897"/>
                    <a:pt x="609013" y="222897"/>
                  </a:cubicBezTo>
                  <a:lnTo>
                    <a:pt x="602047" y="217111"/>
                  </a:lnTo>
                  <a:lnTo>
                    <a:pt x="597638" y="212838"/>
                  </a:lnTo>
                  <a:lnTo>
                    <a:pt x="595451" y="207052"/>
                  </a:lnTo>
                  <a:lnTo>
                    <a:pt x="592691" y="203352"/>
                  </a:lnTo>
                  <a:lnTo>
                    <a:pt x="587979" y="199517"/>
                  </a:lnTo>
                  <a:lnTo>
                    <a:pt x="584075" y="195682"/>
                  </a:lnTo>
                  <a:cubicBezTo>
                    <a:pt x="584075" y="195682"/>
                    <a:pt x="581551" y="192049"/>
                    <a:pt x="581248" y="191780"/>
                  </a:cubicBezTo>
                  <a:cubicBezTo>
                    <a:pt x="580945" y="191477"/>
                    <a:pt x="579061" y="188080"/>
                    <a:pt x="579061" y="188080"/>
                  </a:cubicBezTo>
                  <a:lnTo>
                    <a:pt x="577916" y="184379"/>
                  </a:lnTo>
                  <a:lnTo>
                    <a:pt x="575157" y="177349"/>
                  </a:lnTo>
                  <a:lnTo>
                    <a:pt x="573642" y="172134"/>
                  </a:lnTo>
                  <a:lnTo>
                    <a:pt x="573003" y="165608"/>
                  </a:lnTo>
                  <a:lnTo>
                    <a:pt x="572868" y="159587"/>
                  </a:lnTo>
                  <a:lnTo>
                    <a:pt x="572498" y="156828"/>
                  </a:lnTo>
                  <a:lnTo>
                    <a:pt x="570849" y="154070"/>
                  </a:lnTo>
                  <a:lnTo>
                    <a:pt x="568661" y="150941"/>
                  </a:lnTo>
                  <a:lnTo>
                    <a:pt x="565195" y="148755"/>
                  </a:lnTo>
                  <a:cubicBezTo>
                    <a:pt x="565195" y="148755"/>
                    <a:pt x="562099" y="148116"/>
                    <a:pt x="561359" y="148116"/>
                  </a:cubicBezTo>
                  <a:cubicBezTo>
                    <a:pt x="560652" y="148116"/>
                    <a:pt x="558229" y="148116"/>
                    <a:pt x="558229" y="148116"/>
                  </a:cubicBezTo>
                  <a:cubicBezTo>
                    <a:pt x="558229" y="148116"/>
                    <a:pt x="556411" y="149259"/>
                    <a:pt x="556277" y="150134"/>
                  </a:cubicBezTo>
                  <a:cubicBezTo>
                    <a:pt x="556142" y="151009"/>
                    <a:pt x="554829" y="153229"/>
                    <a:pt x="554762" y="153599"/>
                  </a:cubicBezTo>
                  <a:cubicBezTo>
                    <a:pt x="554695" y="153969"/>
                    <a:pt x="554190" y="156795"/>
                    <a:pt x="554325" y="157064"/>
                  </a:cubicBezTo>
                  <a:cubicBezTo>
                    <a:pt x="554459" y="157367"/>
                    <a:pt x="553517" y="161773"/>
                    <a:pt x="553517" y="161773"/>
                  </a:cubicBezTo>
                  <a:cubicBezTo>
                    <a:pt x="553517" y="161773"/>
                    <a:pt x="551498" y="164532"/>
                    <a:pt x="551262" y="164599"/>
                  </a:cubicBezTo>
                  <a:cubicBezTo>
                    <a:pt x="551060" y="164666"/>
                    <a:pt x="547493" y="166988"/>
                    <a:pt x="547493" y="166988"/>
                  </a:cubicBezTo>
                  <a:lnTo>
                    <a:pt x="544901" y="167290"/>
                  </a:lnTo>
                  <a:cubicBezTo>
                    <a:pt x="544901" y="167290"/>
                    <a:pt x="540560" y="166281"/>
                    <a:pt x="540257" y="166550"/>
                  </a:cubicBezTo>
                  <a:cubicBezTo>
                    <a:pt x="539988" y="166853"/>
                    <a:pt x="538171" y="167795"/>
                    <a:pt x="538002" y="168501"/>
                  </a:cubicBezTo>
                  <a:cubicBezTo>
                    <a:pt x="537867" y="169208"/>
                    <a:pt x="538069" y="171697"/>
                    <a:pt x="538204" y="172134"/>
                  </a:cubicBezTo>
                  <a:cubicBezTo>
                    <a:pt x="538339" y="172572"/>
                    <a:pt x="540594" y="175599"/>
                    <a:pt x="540728" y="175835"/>
                  </a:cubicBezTo>
                  <a:cubicBezTo>
                    <a:pt x="540863" y="176037"/>
                    <a:pt x="541233" y="177920"/>
                    <a:pt x="541805" y="178728"/>
                  </a:cubicBezTo>
                  <a:cubicBezTo>
                    <a:pt x="542377" y="179535"/>
                    <a:pt x="543185" y="180746"/>
                    <a:pt x="543118" y="181318"/>
                  </a:cubicBezTo>
                  <a:cubicBezTo>
                    <a:pt x="543050" y="181890"/>
                    <a:pt x="543824" y="184783"/>
                    <a:pt x="543690" y="185018"/>
                  </a:cubicBezTo>
                  <a:cubicBezTo>
                    <a:pt x="543555" y="185254"/>
                    <a:pt x="540122" y="192856"/>
                    <a:pt x="540122" y="192856"/>
                  </a:cubicBezTo>
                  <a:lnTo>
                    <a:pt x="535243" y="199484"/>
                  </a:lnTo>
                  <a:lnTo>
                    <a:pt x="529690" y="198071"/>
                  </a:lnTo>
                  <a:cubicBezTo>
                    <a:pt x="529690" y="198071"/>
                    <a:pt x="528175" y="199921"/>
                    <a:pt x="527838" y="200022"/>
                  </a:cubicBezTo>
                  <a:cubicBezTo>
                    <a:pt x="527502" y="200123"/>
                    <a:pt x="525988" y="201098"/>
                    <a:pt x="525651" y="201233"/>
                  </a:cubicBezTo>
                  <a:cubicBezTo>
                    <a:pt x="525348" y="201334"/>
                    <a:pt x="524339" y="202107"/>
                    <a:pt x="523362" y="201334"/>
                  </a:cubicBezTo>
                  <a:cubicBezTo>
                    <a:pt x="522386" y="200560"/>
                    <a:pt x="519559" y="197633"/>
                    <a:pt x="519559" y="197633"/>
                  </a:cubicBezTo>
                  <a:cubicBezTo>
                    <a:pt x="519559" y="197633"/>
                    <a:pt x="519357" y="196658"/>
                    <a:pt x="519795" y="195581"/>
                  </a:cubicBezTo>
                  <a:cubicBezTo>
                    <a:pt x="520232" y="194505"/>
                    <a:pt x="520670" y="193092"/>
                    <a:pt x="520771" y="190905"/>
                  </a:cubicBezTo>
                  <a:cubicBezTo>
                    <a:pt x="520872" y="188719"/>
                    <a:pt x="520569" y="187340"/>
                    <a:pt x="520569" y="187340"/>
                  </a:cubicBezTo>
                  <a:cubicBezTo>
                    <a:pt x="520569" y="187340"/>
                    <a:pt x="518516" y="186566"/>
                    <a:pt x="518180" y="186700"/>
                  </a:cubicBezTo>
                  <a:cubicBezTo>
                    <a:pt x="517843" y="186801"/>
                    <a:pt x="515554" y="186936"/>
                    <a:pt x="515252" y="187474"/>
                  </a:cubicBezTo>
                  <a:cubicBezTo>
                    <a:pt x="514915" y="188012"/>
                    <a:pt x="514814" y="189324"/>
                    <a:pt x="513603" y="189762"/>
                  </a:cubicBezTo>
                  <a:cubicBezTo>
                    <a:pt x="512391" y="190199"/>
                    <a:pt x="509800" y="191612"/>
                    <a:pt x="509362" y="190199"/>
                  </a:cubicBezTo>
                  <a:cubicBezTo>
                    <a:pt x="508924" y="188786"/>
                    <a:pt x="508386" y="187373"/>
                    <a:pt x="508285" y="187037"/>
                  </a:cubicBezTo>
                  <a:cubicBezTo>
                    <a:pt x="508184" y="186700"/>
                    <a:pt x="504146" y="182159"/>
                    <a:pt x="503843" y="181184"/>
                  </a:cubicBezTo>
                  <a:cubicBezTo>
                    <a:pt x="503506" y="180208"/>
                    <a:pt x="503304" y="178997"/>
                    <a:pt x="502867" y="178156"/>
                  </a:cubicBezTo>
                  <a:cubicBezTo>
                    <a:pt x="502429" y="177281"/>
                    <a:pt x="501453" y="175532"/>
                    <a:pt x="500141" y="174792"/>
                  </a:cubicBezTo>
                  <a:cubicBezTo>
                    <a:pt x="498828" y="174018"/>
                    <a:pt x="495362" y="171193"/>
                    <a:pt x="495362" y="171193"/>
                  </a:cubicBezTo>
                  <a:cubicBezTo>
                    <a:pt x="495362" y="171193"/>
                    <a:pt x="493073" y="168367"/>
                    <a:pt x="492535" y="167829"/>
                  </a:cubicBezTo>
                  <a:cubicBezTo>
                    <a:pt x="491996" y="167290"/>
                    <a:pt x="492905" y="165036"/>
                    <a:pt x="492905" y="165036"/>
                  </a:cubicBezTo>
                  <a:lnTo>
                    <a:pt x="492165" y="163725"/>
                  </a:lnTo>
                  <a:lnTo>
                    <a:pt x="490583" y="162278"/>
                  </a:lnTo>
                  <a:lnTo>
                    <a:pt x="489573" y="161269"/>
                  </a:lnTo>
                  <a:lnTo>
                    <a:pt x="488126" y="159183"/>
                  </a:lnTo>
                  <a:lnTo>
                    <a:pt x="487857" y="158039"/>
                  </a:lnTo>
                  <a:lnTo>
                    <a:pt x="488093" y="156727"/>
                  </a:lnTo>
                  <a:cubicBezTo>
                    <a:pt x="488093" y="156727"/>
                    <a:pt x="488160" y="155786"/>
                    <a:pt x="488900" y="155651"/>
                  </a:cubicBezTo>
                  <a:cubicBezTo>
                    <a:pt x="489607" y="155516"/>
                    <a:pt x="490347" y="155348"/>
                    <a:pt x="490347" y="155348"/>
                  </a:cubicBezTo>
                  <a:lnTo>
                    <a:pt x="491592" y="154844"/>
                  </a:lnTo>
                  <a:cubicBezTo>
                    <a:pt x="491592" y="154844"/>
                    <a:pt x="491391" y="154541"/>
                    <a:pt x="492232" y="154541"/>
                  </a:cubicBezTo>
                  <a:cubicBezTo>
                    <a:pt x="493107" y="154541"/>
                    <a:pt x="494184" y="154339"/>
                    <a:pt x="494184" y="154339"/>
                  </a:cubicBezTo>
                  <a:lnTo>
                    <a:pt x="494689" y="153195"/>
                  </a:lnTo>
                  <a:cubicBezTo>
                    <a:pt x="494689" y="153195"/>
                    <a:pt x="494891" y="152186"/>
                    <a:pt x="494991" y="151883"/>
                  </a:cubicBezTo>
                  <a:cubicBezTo>
                    <a:pt x="495059" y="151581"/>
                    <a:pt x="495429" y="150874"/>
                    <a:pt x="495866" y="151244"/>
                  </a:cubicBezTo>
                  <a:cubicBezTo>
                    <a:pt x="496304" y="151614"/>
                    <a:pt x="497011" y="152388"/>
                    <a:pt x="497751" y="152556"/>
                  </a:cubicBezTo>
                  <a:cubicBezTo>
                    <a:pt x="498492" y="152691"/>
                    <a:pt x="499872" y="152422"/>
                    <a:pt x="500141" y="152489"/>
                  </a:cubicBezTo>
                  <a:cubicBezTo>
                    <a:pt x="500443" y="152556"/>
                    <a:pt x="501453" y="149293"/>
                    <a:pt x="501453" y="149293"/>
                  </a:cubicBezTo>
                  <a:lnTo>
                    <a:pt x="498559" y="147544"/>
                  </a:lnTo>
                  <a:lnTo>
                    <a:pt x="494285" y="146467"/>
                  </a:lnTo>
                  <a:lnTo>
                    <a:pt x="490448" y="146467"/>
                  </a:lnTo>
                  <a:cubicBezTo>
                    <a:pt x="490448" y="146467"/>
                    <a:pt x="487116" y="144651"/>
                    <a:pt x="486814" y="144584"/>
                  </a:cubicBezTo>
                  <a:cubicBezTo>
                    <a:pt x="486510" y="144516"/>
                    <a:pt x="483616" y="144012"/>
                    <a:pt x="482842" y="144079"/>
                  </a:cubicBezTo>
                  <a:cubicBezTo>
                    <a:pt x="482035" y="144146"/>
                    <a:pt x="480015" y="143844"/>
                    <a:pt x="479713" y="144079"/>
                  </a:cubicBezTo>
                  <a:cubicBezTo>
                    <a:pt x="479409" y="144315"/>
                    <a:pt x="477458" y="144651"/>
                    <a:pt x="476582" y="144651"/>
                  </a:cubicBezTo>
                  <a:cubicBezTo>
                    <a:pt x="475707" y="144651"/>
                    <a:pt x="472813" y="144348"/>
                    <a:pt x="472611" y="144348"/>
                  </a:cubicBezTo>
                  <a:cubicBezTo>
                    <a:pt x="472409" y="144348"/>
                    <a:pt x="470659" y="144651"/>
                    <a:pt x="470424" y="144853"/>
                  </a:cubicBezTo>
                  <a:cubicBezTo>
                    <a:pt x="470222" y="145055"/>
                    <a:pt x="469347" y="146097"/>
                    <a:pt x="469347" y="146367"/>
                  </a:cubicBezTo>
                  <a:cubicBezTo>
                    <a:pt x="469347" y="146669"/>
                    <a:pt x="468909" y="146804"/>
                    <a:pt x="468606" y="146804"/>
                  </a:cubicBezTo>
                  <a:cubicBezTo>
                    <a:pt x="468304" y="146804"/>
                    <a:pt x="465207" y="145862"/>
                    <a:pt x="465039" y="145425"/>
                  </a:cubicBezTo>
                  <a:cubicBezTo>
                    <a:pt x="464904" y="144987"/>
                    <a:pt x="465476" y="143877"/>
                    <a:pt x="464231" y="143944"/>
                  </a:cubicBezTo>
                  <a:cubicBezTo>
                    <a:pt x="462986" y="144045"/>
                    <a:pt x="461977" y="144617"/>
                    <a:pt x="461606" y="144819"/>
                  </a:cubicBezTo>
                  <a:cubicBezTo>
                    <a:pt x="461236" y="145021"/>
                    <a:pt x="460226" y="147510"/>
                    <a:pt x="460024" y="147712"/>
                  </a:cubicBezTo>
                  <a:cubicBezTo>
                    <a:pt x="459823" y="147914"/>
                    <a:pt x="458375" y="148519"/>
                    <a:pt x="458375" y="148519"/>
                  </a:cubicBezTo>
                  <a:cubicBezTo>
                    <a:pt x="458375" y="148519"/>
                    <a:pt x="457669" y="150706"/>
                    <a:pt x="457298" y="150841"/>
                  </a:cubicBezTo>
                  <a:cubicBezTo>
                    <a:pt x="456928" y="150975"/>
                    <a:pt x="455043" y="152590"/>
                    <a:pt x="454774" y="152657"/>
                  </a:cubicBezTo>
                  <a:cubicBezTo>
                    <a:pt x="454472" y="152724"/>
                    <a:pt x="452116" y="151648"/>
                    <a:pt x="451443" y="150403"/>
                  </a:cubicBezTo>
                  <a:cubicBezTo>
                    <a:pt x="450803" y="149159"/>
                    <a:pt x="450568" y="149327"/>
                    <a:pt x="450803" y="148149"/>
                  </a:cubicBezTo>
                  <a:cubicBezTo>
                    <a:pt x="451039" y="147006"/>
                    <a:pt x="451308" y="146838"/>
                    <a:pt x="451308" y="145963"/>
                  </a:cubicBezTo>
                  <a:cubicBezTo>
                    <a:pt x="451308" y="145088"/>
                    <a:pt x="451308" y="143776"/>
                    <a:pt x="451308" y="143776"/>
                  </a:cubicBezTo>
                  <a:cubicBezTo>
                    <a:pt x="451308" y="143776"/>
                    <a:pt x="451375" y="141522"/>
                    <a:pt x="451240" y="141321"/>
                  </a:cubicBezTo>
                  <a:cubicBezTo>
                    <a:pt x="451106" y="141119"/>
                    <a:pt x="449154" y="138495"/>
                    <a:pt x="449154" y="138495"/>
                  </a:cubicBezTo>
                  <a:lnTo>
                    <a:pt x="445957" y="131464"/>
                  </a:lnTo>
                  <a:cubicBezTo>
                    <a:pt x="445957" y="131464"/>
                    <a:pt x="445385" y="128874"/>
                    <a:pt x="445452" y="128638"/>
                  </a:cubicBezTo>
                  <a:cubicBezTo>
                    <a:pt x="445519" y="128437"/>
                    <a:pt x="446024" y="125005"/>
                    <a:pt x="446394" y="124501"/>
                  </a:cubicBezTo>
                  <a:cubicBezTo>
                    <a:pt x="446765" y="123996"/>
                    <a:pt x="447471" y="123189"/>
                    <a:pt x="447774" y="122920"/>
                  </a:cubicBezTo>
                  <a:cubicBezTo>
                    <a:pt x="448077" y="122617"/>
                    <a:pt x="449794" y="120397"/>
                    <a:pt x="450029" y="120296"/>
                  </a:cubicBezTo>
                  <a:cubicBezTo>
                    <a:pt x="450231" y="120229"/>
                    <a:pt x="453226" y="118210"/>
                    <a:pt x="453226" y="118210"/>
                  </a:cubicBezTo>
                  <a:cubicBezTo>
                    <a:pt x="453226" y="118210"/>
                    <a:pt x="454673" y="115956"/>
                    <a:pt x="454673" y="115754"/>
                  </a:cubicBezTo>
                  <a:cubicBezTo>
                    <a:pt x="454673" y="115553"/>
                    <a:pt x="453058" y="113803"/>
                    <a:pt x="452419" y="113299"/>
                  </a:cubicBezTo>
                  <a:cubicBezTo>
                    <a:pt x="451745" y="112794"/>
                    <a:pt x="449020" y="110910"/>
                    <a:pt x="448649" y="110843"/>
                  </a:cubicBezTo>
                  <a:cubicBezTo>
                    <a:pt x="448279" y="110776"/>
                    <a:pt x="445957" y="108724"/>
                    <a:pt x="445688" y="108589"/>
                  </a:cubicBezTo>
                  <a:cubicBezTo>
                    <a:pt x="445418" y="108455"/>
                    <a:pt x="442423" y="105898"/>
                    <a:pt x="442423" y="105898"/>
                  </a:cubicBezTo>
                  <a:lnTo>
                    <a:pt x="439461" y="100247"/>
                  </a:lnTo>
                  <a:lnTo>
                    <a:pt x="440404" y="97051"/>
                  </a:lnTo>
                  <a:cubicBezTo>
                    <a:pt x="440404" y="97051"/>
                    <a:pt x="438822" y="93283"/>
                    <a:pt x="438216" y="93283"/>
                  </a:cubicBezTo>
                  <a:cubicBezTo>
                    <a:pt x="437644" y="93283"/>
                    <a:pt x="435457" y="91837"/>
                    <a:pt x="435087" y="91837"/>
                  </a:cubicBezTo>
                  <a:cubicBezTo>
                    <a:pt x="434716" y="91837"/>
                    <a:pt x="432697" y="92341"/>
                    <a:pt x="432697" y="92341"/>
                  </a:cubicBezTo>
                  <a:cubicBezTo>
                    <a:pt x="432697" y="92341"/>
                    <a:pt x="430442" y="94427"/>
                    <a:pt x="430375" y="94662"/>
                  </a:cubicBezTo>
                  <a:cubicBezTo>
                    <a:pt x="430307" y="94898"/>
                    <a:pt x="428120" y="95604"/>
                    <a:pt x="428120" y="95604"/>
                  </a:cubicBezTo>
                  <a:cubicBezTo>
                    <a:pt x="428120" y="95604"/>
                    <a:pt x="427380" y="95604"/>
                    <a:pt x="427043" y="95537"/>
                  </a:cubicBezTo>
                  <a:cubicBezTo>
                    <a:pt x="426673" y="95470"/>
                    <a:pt x="421826" y="93519"/>
                    <a:pt x="421826" y="93519"/>
                  </a:cubicBezTo>
                  <a:cubicBezTo>
                    <a:pt x="421826" y="93519"/>
                    <a:pt x="421019" y="93384"/>
                    <a:pt x="419740" y="93149"/>
                  </a:cubicBezTo>
                  <a:cubicBezTo>
                    <a:pt x="418427" y="92947"/>
                    <a:pt x="417283" y="92408"/>
                    <a:pt x="417048" y="92274"/>
                  </a:cubicBezTo>
                  <a:cubicBezTo>
                    <a:pt x="416846" y="92139"/>
                    <a:pt x="416475" y="91265"/>
                    <a:pt x="416173" y="90895"/>
                  </a:cubicBezTo>
                  <a:cubicBezTo>
                    <a:pt x="415869" y="90525"/>
                    <a:pt x="414860" y="89516"/>
                    <a:pt x="414557" y="89280"/>
                  </a:cubicBezTo>
                  <a:cubicBezTo>
                    <a:pt x="414288" y="89078"/>
                    <a:pt x="413043" y="87867"/>
                    <a:pt x="412740" y="87800"/>
                  </a:cubicBezTo>
                  <a:cubicBezTo>
                    <a:pt x="412470" y="87733"/>
                    <a:pt x="411091" y="87262"/>
                    <a:pt x="410788" y="87262"/>
                  </a:cubicBezTo>
                  <a:cubicBezTo>
                    <a:pt x="410519" y="87262"/>
                    <a:pt x="408701" y="87262"/>
                    <a:pt x="408701" y="87262"/>
                  </a:cubicBezTo>
                  <a:cubicBezTo>
                    <a:pt x="408701" y="87262"/>
                    <a:pt x="405807" y="87262"/>
                    <a:pt x="404999" y="87262"/>
                  </a:cubicBezTo>
                  <a:cubicBezTo>
                    <a:pt x="404191" y="87262"/>
                    <a:pt x="401735" y="87262"/>
                    <a:pt x="401735" y="87262"/>
                  </a:cubicBezTo>
                  <a:lnTo>
                    <a:pt x="399480" y="90020"/>
                  </a:lnTo>
                  <a:lnTo>
                    <a:pt x="392076" y="94225"/>
                  </a:lnTo>
                  <a:lnTo>
                    <a:pt x="385984" y="98060"/>
                  </a:lnTo>
                  <a:cubicBezTo>
                    <a:pt x="385984" y="98060"/>
                    <a:pt x="382350" y="101323"/>
                    <a:pt x="382148" y="101323"/>
                  </a:cubicBezTo>
                  <a:cubicBezTo>
                    <a:pt x="381946" y="101323"/>
                    <a:pt x="378883" y="103207"/>
                    <a:pt x="378614" y="103207"/>
                  </a:cubicBezTo>
                  <a:cubicBezTo>
                    <a:pt x="378345" y="103207"/>
                    <a:pt x="374407" y="104452"/>
                    <a:pt x="374407" y="104452"/>
                  </a:cubicBezTo>
                  <a:cubicBezTo>
                    <a:pt x="374407" y="104452"/>
                    <a:pt x="370200" y="104384"/>
                    <a:pt x="369628" y="104452"/>
                  </a:cubicBezTo>
                  <a:cubicBezTo>
                    <a:pt x="369056" y="104519"/>
                    <a:pt x="365287" y="103812"/>
                    <a:pt x="364984" y="103812"/>
                  </a:cubicBezTo>
                  <a:cubicBezTo>
                    <a:pt x="364715" y="103812"/>
                    <a:pt x="358388" y="102803"/>
                    <a:pt x="358388" y="102803"/>
                  </a:cubicBezTo>
                  <a:lnTo>
                    <a:pt x="348325" y="100280"/>
                  </a:lnTo>
                  <a:lnTo>
                    <a:pt x="341089" y="95436"/>
                  </a:lnTo>
                  <a:lnTo>
                    <a:pt x="336310" y="91298"/>
                  </a:lnTo>
                  <a:cubicBezTo>
                    <a:pt x="336310" y="91298"/>
                    <a:pt x="333416" y="88170"/>
                    <a:pt x="333113" y="87968"/>
                  </a:cubicBezTo>
                  <a:cubicBezTo>
                    <a:pt x="332810" y="87733"/>
                    <a:pt x="330488" y="85142"/>
                    <a:pt x="330589" y="84940"/>
                  </a:cubicBezTo>
                  <a:cubicBezTo>
                    <a:pt x="330656" y="84739"/>
                    <a:pt x="330219" y="79289"/>
                    <a:pt x="330219" y="79289"/>
                  </a:cubicBezTo>
                  <a:lnTo>
                    <a:pt x="329714" y="75084"/>
                  </a:lnTo>
                  <a:lnTo>
                    <a:pt x="330791" y="69803"/>
                  </a:lnTo>
                  <a:lnTo>
                    <a:pt x="331868" y="67852"/>
                  </a:lnTo>
                  <a:lnTo>
                    <a:pt x="331733" y="65934"/>
                  </a:lnTo>
                  <a:cubicBezTo>
                    <a:pt x="331733" y="65934"/>
                    <a:pt x="330219" y="64723"/>
                    <a:pt x="329714" y="64723"/>
                  </a:cubicBezTo>
                  <a:cubicBezTo>
                    <a:pt x="329209" y="64723"/>
                    <a:pt x="326954" y="64723"/>
                    <a:pt x="326954" y="64723"/>
                  </a:cubicBezTo>
                  <a:cubicBezTo>
                    <a:pt x="326954" y="64723"/>
                    <a:pt x="325642" y="65093"/>
                    <a:pt x="324363" y="65228"/>
                  </a:cubicBezTo>
                  <a:cubicBezTo>
                    <a:pt x="323050" y="65362"/>
                    <a:pt x="321166" y="65968"/>
                    <a:pt x="320459" y="66304"/>
                  </a:cubicBezTo>
                  <a:cubicBezTo>
                    <a:pt x="319752" y="66674"/>
                    <a:pt x="317767" y="67616"/>
                    <a:pt x="317430" y="67885"/>
                  </a:cubicBezTo>
                  <a:cubicBezTo>
                    <a:pt x="317060" y="68188"/>
                    <a:pt x="315108" y="68760"/>
                    <a:pt x="314738" y="69264"/>
                  </a:cubicBezTo>
                  <a:cubicBezTo>
                    <a:pt x="314368" y="69769"/>
                    <a:pt x="311709" y="72965"/>
                    <a:pt x="311608" y="73234"/>
                  </a:cubicBezTo>
                  <a:cubicBezTo>
                    <a:pt x="311540" y="73537"/>
                    <a:pt x="309656" y="76934"/>
                    <a:pt x="309656" y="76934"/>
                  </a:cubicBezTo>
                  <a:lnTo>
                    <a:pt x="306324" y="79121"/>
                  </a:lnTo>
                  <a:lnTo>
                    <a:pt x="302622" y="82586"/>
                  </a:lnTo>
                  <a:cubicBezTo>
                    <a:pt x="302622" y="82586"/>
                    <a:pt x="300031" y="83662"/>
                    <a:pt x="299661" y="83662"/>
                  </a:cubicBezTo>
                  <a:cubicBezTo>
                    <a:pt x="299290" y="83662"/>
                    <a:pt x="294747" y="85546"/>
                    <a:pt x="294747" y="85546"/>
                  </a:cubicBezTo>
                  <a:lnTo>
                    <a:pt x="291348" y="85849"/>
                  </a:lnTo>
                  <a:cubicBezTo>
                    <a:pt x="291348" y="85849"/>
                    <a:pt x="288655" y="86488"/>
                    <a:pt x="288453" y="86555"/>
                  </a:cubicBezTo>
                  <a:cubicBezTo>
                    <a:pt x="288252" y="86622"/>
                    <a:pt x="285829" y="87363"/>
                    <a:pt x="285054" y="87564"/>
                  </a:cubicBezTo>
                  <a:cubicBezTo>
                    <a:pt x="284246" y="87766"/>
                    <a:pt x="281655" y="87699"/>
                    <a:pt x="281655" y="87699"/>
                  </a:cubicBezTo>
                  <a:cubicBezTo>
                    <a:pt x="281655" y="87699"/>
                    <a:pt x="280073" y="86118"/>
                    <a:pt x="279939" y="85882"/>
                  </a:cubicBezTo>
                  <a:cubicBezTo>
                    <a:pt x="279804" y="85681"/>
                    <a:pt x="278626" y="83797"/>
                    <a:pt x="278256" y="82855"/>
                  </a:cubicBezTo>
                  <a:cubicBezTo>
                    <a:pt x="277886" y="81913"/>
                    <a:pt x="277246" y="81341"/>
                    <a:pt x="276944" y="80096"/>
                  </a:cubicBezTo>
                  <a:cubicBezTo>
                    <a:pt x="276641" y="78852"/>
                    <a:pt x="276506" y="76766"/>
                    <a:pt x="276506" y="76766"/>
                  </a:cubicBezTo>
                  <a:cubicBezTo>
                    <a:pt x="276506" y="76766"/>
                    <a:pt x="275496" y="75252"/>
                    <a:pt x="275194" y="75252"/>
                  </a:cubicBezTo>
                  <a:cubicBezTo>
                    <a:pt x="274891" y="75252"/>
                    <a:pt x="271996" y="74109"/>
                    <a:pt x="271727" y="74109"/>
                  </a:cubicBezTo>
                  <a:cubicBezTo>
                    <a:pt x="271424" y="74109"/>
                    <a:pt x="269035" y="72023"/>
                    <a:pt x="268833" y="71855"/>
                  </a:cubicBezTo>
                  <a:cubicBezTo>
                    <a:pt x="268631" y="71720"/>
                    <a:pt x="265804" y="69971"/>
                    <a:pt x="265804" y="69971"/>
                  </a:cubicBezTo>
                  <a:cubicBezTo>
                    <a:pt x="265804" y="69971"/>
                    <a:pt x="264861" y="69466"/>
                    <a:pt x="264559" y="69399"/>
                  </a:cubicBezTo>
                  <a:cubicBezTo>
                    <a:pt x="264256" y="69332"/>
                    <a:pt x="263246" y="69096"/>
                    <a:pt x="262977" y="69332"/>
                  </a:cubicBezTo>
                  <a:cubicBezTo>
                    <a:pt x="262674" y="69534"/>
                    <a:pt x="261664" y="69971"/>
                    <a:pt x="261395" y="70576"/>
                  </a:cubicBezTo>
                  <a:cubicBezTo>
                    <a:pt x="261092" y="71148"/>
                    <a:pt x="260453" y="72090"/>
                    <a:pt x="260385" y="73099"/>
                  </a:cubicBezTo>
                  <a:cubicBezTo>
                    <a:pt x="260318" y="74109"/>
                    <a:pt x="260688" y="75353"/>
                    <a:pt x="260823" y="76060"/>
                  </a:cubicBezTo>
                  <a:cubicBezTo>
                    <a:pt x="260958" y="76800"/>
                    <a:pt x="261765" y="79087"/>
                    <a:pt x="261765" y="79087"/>
                  </a:cubicBezTo>
                  <a:lnTo>
                    <a:pt x="261563" y="82922"/>
                  </a:lnTo>
                  <a:lnTo>
                    <a:pt x="259309" y="83662"/>
                  </a:lnTo>
                  <a:lnTo>
                    <a:pt x="257054" y="83898"/>
                  </a:lnTo>
                  <a:cubicBezTo>
                    <a:pt x="257054" y="83898"/>
                    <a:pt x="254294" y="83662"/>
                    <a:pt x="253352" y="83595"/>
                  </a:cubicBezTo>
                  <a:cubicBezTo>
                    <a:pt x="252409" y="83528"/>
                    <a:pt x="249212" y="82956"/>
                    <a:pt x="249010" y="82956"/>
                  </a:cubicBezTo>
                  <a:cubicBezTo>
                    <a:pt x="248809" y="82956"/>
                    <a:pt x="246688" y="82451"/>
                    <a:pt x="245544" y="83259"/>
                  </a:cubicBezTo>
                  <a:cubicBezTo>
                    <a:pt x="244400" y="84066"/>
                    <a:pt x="242145" y="85950"/>
                    <a:pt x="241135" y="86791"/>
                  </a:cubicBezTo>
                  <a:cubicBezTo>
                    <a:pt x="240125" y="87665"/>
                    <a:pt x="238174" y="89314"/>
                    <a:pt x="238005" y="89549"/>
                  </a:cubicBezTo>
                  <a:cubicBezTo>
                    <a:pt x="237871" y="89785"/>
                    <a:pt x="236928" y="90188"/>
                    <a:pt x="236322" y="90491"/>
                  </a:cubicBezTo>
                  <a:cubicBezTo>
                    <a:pt x="235751" y="90794"/>
                    <a:pt x="236322" y="91668"/>
                    <a:pt x="234303" y="90928"/>
                  </a:cubicBezTo>
                  <a:cubicBezTo>
                    <a:pt x="232284" y="90188"/>
                    <a:pt x="231981" y="90289"/>
                    <a:pt x="229962" y="88977"/>
                  </a:cubicBezTo>
                  <a:cubicBezTo>
                    <a:pt x="227942" y="87665"/>
                    <a:pt x="226260" y="86387"/>
                    <a:pt x="225822" y="86017"/>
                  </a:cubicBezTo>
                  <a:cubicBezTo>
                    <a:pt x="225385" y="85647"/>
                    <a:pt x="223635" y="84268"/>
                    <a:pt x="222356" y="83326"/>
                  </a:cubicBezTo>
                  <a:cubicBezTo>
                    <a:pt x="221043" y="82384"/>
                    <a:pt x="219024" y="79928"/>
                    <a:pt x="218788" y="79760"/>
                  </a:cubicBezTo>
                  <a:cubicBezTo>
                    <a:pt x="218586" y="79625"/>
                    <a:pt x="211620" y="79625"/>
                    <a:pt x="211620" y="79625"/>
                  </a:cubicBezTo>
                  <a:cubicBezTo>
                    <a:pt x="211620" y="79625"/>
                    <a:pt x="207918" y="76497"/>
                    <a:pt x="207649" y="76060"/>
                  </a:cubicBezTo>
                  <a:cubicBezTo>
                    <a:pt x="207380" y="75622"/>
                    <a:pt x="207211" y="74916"/>
                    <a:pt x="207077" y="74613"/>
                  </a:cubicBezTo>
                  <a:cubicBezTo>
                    <a:pt x="206942" y="74310"/>
                    <a:pt x="203240" y="71922"/>
                    <a:pt x="203038" y="71922"/>
                  </a:cubicBezTo>
                  <a:cubicBezTo>
                    <a:pt x="202803" y="71922"/>
                    <a:pt x="200076" y="70913"/>
                    <a:pt x="200076" y="70913"/>
                  </a:cubicBezTo>
                  <a:cubicBezTo>
                    <a:pt x="200076" y="70913"/>
                    <a:pt x="198562" y="69971"/>
                    <a:pt x="198562" y="69769"/>
                  </a:cubicBezTo>
                  <a:cubicBezTo>
                    <a:pt x="198562" y="69534"/>
                    <a:pt x="198495" y="67751"/>
                    <a:pt x="197485" y="66809"/>
                  </a:cubicBezTo>
                  <a:cubicBezTo>
                    <a:pt x="196475" y="65867"/>
                    <a:pt x="195971" y="64622"/>
                    <a:pt x="194658" y="63983"/>
                  </a:cubicBezTo>
                  <a:cubicBezTo>
                    <a:pt x="193345" y="63344"/>
                    <a:pt x="192336" y="62738"/>
                    <a:pt x="192134" y="62469"/>
                  </a:cubicBezTo>
                  <a:cubicBezTo>
                    <a:pt x="191898" y="62166"/>
                    <a:pt x="189240" y="60148"/>
                    <a:pt x="188937" y="59845"/>
                  </a:cubicBezTo>
                  <a:cubicBezTo>
                    <a:pt x="188634" y="59543"/>
                    <a:pt x="187624" y="58533"/>
                    <a:pt x="187624" y="57827"/>
                  </a:cubicBezTo>
                  <a:cubicBezTo>
                    <a:pt x="187624" y="57121"/>
                    <a:pt x="187557" y="55068"/>
                    <a:pt x="188197" y="54564"/>
                  </a:cubicBezTo>
                  <a:cubicBezTo>
                    <a:pt x="188836" y="54059"/>
                    <a:pt x="189273" y="48475"/>
                    <a:pt x="189273" y="48475"/>
                  </a:cubicBezTo>
                  <a:cubicBezTo>
                    <a:pt x="189273" y="48475"/>
                    <a:pt x="188768" y="45380"/>
                    <a:pt x="188567" y="45212"/>
                  </a:cubicBezTo>
                  <a:cubicBezTo>
                    <a:pt x="188365" y="45078"/>
                    <a:pt x="186244" y="44338"/>
                    <a:pt x="186244" y="44338"/>
                  </a:cubicBezTo>
                  <a:cubicBezTo>
                    <a:pt x="186244" y="44338"/>
                    <a:pt x="183283" y="41747"/>
                    <a:pt x="183047" y="41512"/>
                  </a:cubicBezTo>
                  <a:cubicBezTo>
                    <a:pt x="182845" y="41310"/>
                    <a:pt x="181903" y="39359"/>
                    <a:pt x="181903" y="39123"/>
                  </a:cubicBezTo>
                  <a:cubicBezTo>
                    <a:pt x="181903" y="38888"/>
                    <a:pt x="181600" y="37744"/>
                    <a:pt x="181903" y="37441"/>
                  </a:cubicBezTo>
                  <a:cubicBezTo>
                    <a:pt x="182206" y="37139"/>
                    <a:pt x="184158" y="34986"/>
                    <a:pt x="184494" y="34414"/>
                  </a:cubicBezTo>
                  <a:cubicBezTo>
                    <a:pt x="184865" y="33842"/>
                    <a:pt x="186143" y="33337"/>
                    <a:pt x="186514" y="32900"/>
                  </a:cubicBezTo>
                  <a:cubicBezTo>
                    <a:pt x="186884" y="32463"/>
                    <a:pt x="187389" y="31588"/>
                    <a:pt x="187389" y="31319"/>
                  </a:cubicBezTo>
                  <a:cubicBezTo>
                    <a:pt x="187389" y="31016"/>
                    <a:pt x="187389" y="29502"/>
                    <a:pt x="187322" y="29233"/>
                  </a:cubicBezTo>
                  <a:cubicBezTo>
                    <a:pt x="187254" y="28931"/>
                    <a:pt x="186076" y="26710"/>
                    <a:pt x="185739" y="26542"/>
                  </a:cubicBezTo>
                  <a:cubicBezTo>
                    <a:pt x="185369" y="26408"/>
                    <a:pt x="184595" y="25735"/>
                    <a:pt x="184293" y="25600"/>
                  </a:cubicBezTo>
                  <a:cubicBezTo>
                    <a:pt x="183990" y="25466"/>
                    <a:pt x="182273" y="23144"/>
                    <a:pt x="182273" y="22842"/>
                  </a:cubicBezTo>
                  <a:cubicBezTo>
                    <a:pt x="182273" y="22539"/>
                    <a:pt x="181802" y="21328"/>
                    <a:pt x="181768" y="21025"/>
                  </a:cubicBezTo>
                  <a:cubicBezTo>
                    <a:pt x="181735" y="20722"/>
                    <a:pt x="180658" y="15744"/>
                    <a:pt x="180658" y="15744"/>
                  </a:cubicBezTo>
                  <a:lnTo>
                    <a:pt x="178908" y="13658"/>
                  </a:lnTo>
                  <a:cubicBezTo>
                    <a:pt x="178908" y="13658"/>
                    <a:pt x="177595" y="11909"/>
                    <a:pt x="177595" y="11707"/>
                  </a:cubicBezTo>
                  <a:cubicBezTo>
                    <a:pt x="177595" y="11472"/>
                    <a:pt x="178033" y="9588"/>
                    <a:pt x="178841" y="9184"/>
                  </a:cubicBezTo>
                  <a:cubicBezTo>
                    <a:pt x="179648" y="8747"/>
                    <a:pt x="181230" y="7805"/>
                    <a:pt x="181466" y="6998"/>
                  </a:cubicBezTo>
                  <a:cubicBezTo>
                    <a:pt x="181667" y="6190"/>
                    <a:pt x="181768" y="5316"/>
                    <a:pt x="181667" y="4912"/>
                  </a:cubicBezTo>
                  <a:cubicBezTo>
                    <a:pt x="181600" y="4475"/>
                    <a:pt x="181398" y="2153"/>
                    <a:pt x="180523" y="1851"/>
                  </a:cubicBezTo>
                  <a:cubicBezTo>
                    <a:pt x="179648" y="1548"/>
                    <a:pt x="179446" y="471"/>
                    <a:pt x="177629" y="404"/>
                  </a:cubicBezTo>
                  <a:cubicBezTo>
                    <a:pt x="175812" y="337"/>
                    <a:pt x="174297" y="-470"/>
                    <a:pt x="173490" y="404"/>
                  </a:cubicBezTo>
                  <a:cubicBezTo>
                    <a:pt x="172681" y="1279"/>
                    <a:pt x="170662" y="2153"/>
                    <a:pt x="170461" y="2490"/>
                  </a:cubicBezTo>
                  <a:cubicBezTo>
                    <a:pt x="170258" y="2860"/>
                    <a:pt x="169081" y="2490"/>
                    <a:pt x="168508" y="2793"/>
                  </a:cubicBezTo>
                  <a:cubicBezTo>
                    <a:pt x="167936" y="3095"/>
                    <a:pt x="167499" y="3095"/>
                    <a:pt x="166489" y="3533"/>
                  </a:cubicBezTo>
                  <a:cubicBezTo>
                    <a:pt x="165480" y="3970"/>
                    <a:pt x="164672" y="4172"/>
                    <a:pt x="163898" y="4542"/>
                  </a:cubicBezTo>
                  <a:cubicBezTo>
                    <a:pt x="163090" y="4912"/>
                    <a:pt x="161441" y="4979"/>
                    <a:pt x="160936" y="5046"/>
                  </a:cubicBezTo>
                  <a:cubicBezTo>
                    <a:pt x="160432" y="5114"/>
                    <a:pt x="159052" y="5181"/>
                    <a:pt x="159052" y="5181"/>
                  </a:cubicBezTo>
                  <a:cubicBezTo>
                    <a:pt x="159052" y="5181"/>
                    <a:pt x="157301" y="5383"/>
                    <a:pt x="157100" y="5753"/>
                  </a:cubicBezTo>
                  <a:cubicBezTo>
                    <a:pt x="156864" y="6123"/>
                    <a:pt x="155854" y="6325"/>
                    <a:pt x="155215" y="6829"/>
                  </a:cubicBezTo>
                  <a:cubicBezTo>
                    <a:pt x="154576" y="7334"/>
                    <a:pt x="154340" y="8074"/>
                    <a:pt x="153633" y="8646"/>
                  </a:cubicBezTo>
                  <a:cubicBezTo>
                    <a:pt x="152893" y="9218"/>
                    <a:pt x="151547" y="10092"/>
                    <a:pt x="151446" y="10328"/>
                  </a:cubicBezTo>
                  <a:cubicBezTo>
                    <a:pt x="151378" y="10563"/>
                    <a:pt x="150571" y="10765"/>
                    <a:pt x="150066" y="11135"/>
                  </a:cubicBezTo>
                  <a:cubicBezTo>
                    <a:pt x="149561" y="11505"/>
                    <a:pt x="148753" y="12447"/>
                    <a:pt x="148551" y="12582"/>
                  </a:cubicBezTo>
                  <a:cubicBezTo>
                    <a:pt x="148349" y="12716"/>
                    <a:pt x="146667" y="13456"/>
                    <a:pt x="146667" y="13456"/>
                  </a:cubicBezTo>
                  <a:lnTo>
                    <a:pt x="143840" y="12750"/>
                  </a:lnTo>
                  <a:cubicBezTo>
                    <a:pt x="143840" y="12750"/>
                    <a:pt x="142460" y="12111"/>
                    <a:pt x="142258" y="11303"/>
                  </a:cubicBezTo>
                  <a:cubicBezTo>
                    <a:pt x="142056" y="10496"/>
                    <a:pt x="141618" y="8478"/>
                    <a:pt x="141383" y="8478"/>
                  </a:cubicBezTo>
                  <a:cubicBezTo>
                    <a:pt x="141181" y="8478"/>
                    <a:pt x="138623" y="9924"/>
                    <a:pt x="138623" y="9924"/>
                  </a:cubicBezTo>
                  <a:cubicBezTo>
                    <a:pt x="138623" y="9924"/>
                    <a:pt x="136604" y="10799"/>
                    <a:pt x="136368" y="11068"/>
                  </a:cubicBezTo>
                  <a:cubicBezTo>
                    <a:pt x="136133" y="11371"/>
                    <a:pt x="134349" y="12144"/>
                    <a:pt x="134349" y="12144"/>
                  </a:cubicBezTo>
                  <a:lnTo>
                    <a:pt x="132835" y="13725"/>
                  </a:lnTo>
                  <a:cubicBezTo>
                    <a:pt x="132835" y="13725"/>
                    <a:pt x="132195" y="14466"/>
                    <a:pt x="131690" y="14667"/>
                  </a:cubicBezTo>
                  <a:cubicBezTo>
                    <a:pt x="131185" y="14869"/>
                    <a:pt x="130008" y="14802"/>
                    <a:pt x="129099" y="14869"/>
                  </a:cubicBezTo>
                  <a:cubicBezTo>
                    <a:pt x="128157" y="14936"/>
                    <a:pt x="126777" y="14936"/>
                    <a:pt x="126474" y="14936"/>
                  </a:cubicBezTo>
                  <a:cubicBezTo>
                    <a:pt x="126171" y="14936"/>
                    <a:pt x="120753" y="14365"/>
                    <a:pt x="120753" y="14365"/>
                  </a:cubicBezTo>
                  <a:lnTo>
                    <a:pt x="115334" y="14297"/>
                  </a:lnTo>
                  <a:lnTo>
                    <a:pt x="111565" y="14297"/>
                  </a:lnTo>
                  <a:lnTo>
                    <a:pt x="107829" y="14869"/>
                  </a:lnTo>
                  <a:lnTo>
                    <a:pt x="107223" y="17258"/>
                  </a:lnTo>
                  <a:lnTo>
                    <a:pt x="107223" y="20386"/>
                  </a:lnTo>
                  <a:cubicBezTo>
                    <a:pt x="107223" y="20386"/>
                    <a:pt x="107796" y="21328"/>
                    <a:pt x="107796" y="21631"/>
                  </a:cubicBezTo>
                  <a:cubicBezTo>
                    <a:pt x="107796" y="21934"/>
                    <a:pt x="107156" y="26206"/>
                    <a:pt x="107223" y="26475"/>
                  </a:cubicBezTo>
                  <a:cubicBezTo>
                    <a:pt x="107291" y="26778"/>
                    <a:pt x="107223" y="28561"/>
                    <a:pt x="107223" y="28561"/>
                  </a:cubicBezTo>
                  <a:cubicBezTo>
                    <a:pt x="107223" y="28561"/>
                    <a:pt x="107358" y="31084"/>
                    <a:pt x="107223" y="31184"/>
                  </a:cubicBezTo>
                  <a:cubicBezTo>
                    <a:pt x="107089" y="31252"/>
                    <a:pt x="105843" y="32564"/>
                    <a:pt x="105843" y="32564"/>
                  </a:cubicBezTo>
                  <a:lnTo>
                    <a:pt x="103589" y="33943"/>
                  </a:lnTo>
                  <a:lnTo>
                    <a:pt x="101502" y="34313"/>
                  </a:lnTo>
                  <a:lnTo>
                    <a:pt x="96791" y="35558"/>
                  </a:lnTo>
                  <a:lnTo>
                    <a:pt x="91742" y="35120"/>
                  </a:lnTo>
                  <a:lnTo>
                    <a:pt x="89218" y="35692"/>
                  </a:lnTo>
                  <a:lnTo>
                    <a:pt x="87267" y="36331"/>
                  </a:lnTo>
                  <a:lnTo>
                    <a:pt x="82622" y="37206"/>
                  </a:lnTo>
                  <a:lnTo>
                    <a:pt x="81478" y="39594"/>
                  </a:lnTo>
                  <a:cubicBezTo>
                    <a:pt x="81478" y="39594"/>
                    <a:pt x="80973" y="43227"/>
                    <a:pt x="81107" y="43497"/>
                  </a:cubicBezTo>
                  <a:cubicBezTo>
                    <a:pt x="81242" y="43799"/>
                    <a:pt x="83060" y="47130"/>
                    <a:pt x="83632" y="47634"/>
                  </a:cubicBezTo>
                  <a:cubicBezTo>
                    <a:pt x="84204" y="48139"/>
                    <a:pt x="85516" y="49720"/>
                    <a:pt x="85516" y="49720"/>
                  </a:cubicBezTo>
                  <a:cubicBezTo>
                    <a:pt x="85516" y="49720"/>
                    <a:pt x="87906" y="54497"/>
                    <a:pt x="88108" y="54732"/>
                  </a:cubicBezTo>
                  <a:cubicBezTo>
                    <a:pt x="88310" y="54934"/>
                    <a:pt x="88747" y="57995"/>
                    <a:pt x="88747" y="57995"/>
                  </a:cubicBezTo>
                  <a:cubicBezTo>
                    <a:pt x="88747" y="57995"/>
                    <a:pt x="89386" y="60518"/>
                    <a:pt x="89386" y="60821"/>
                  </a:cubicBezTo>
                  <a:cubicBezTo>
                    <a:pt x="89386" y="61124"/>
                    <a:pt x="90060" y="67852"/>
                    <a:pt x="90060" y="67852"/>
                  </a:cubicBezTo>
                  <a:lnTo>
                    <a:pt x="89791" y="70745"/>
                  </a:lnTo>
                  <a:lnTo>
                    <a:pt x="89791" y="74310"/>
                  </a:lnTo>
                  <a:lnTo>
                    <a:pt x="88545" y="75757"/>
                  </a:lnTo>
                  <a:lnTo>
                    <a:pt x="86862" y="77708"/>
                  </a:lnTo>
                  <a:lnTo>
                    <a:pt x="85348" y="81476"/>
                  </a:lnTo>
                  <a:lnTo>
                    <a:pt x="85045" y="83359"/>
                  </a:lnTo>
                  <a:lnTo>
                    <a:pt x="82588" y="84369"/>
                  </a:lnTo>
                  <a:cubicBezTo>
                    <a:pt x="82588" y="84369"/>
                    <a:pt x="80704" y="83999"/>
                    <a:pt x="80401" y="83662"/>
                  </a:cubicBezTo>
                  <a:cubicBezTo>
                    <a:pt x="80098" y="83292"/>
                    <a:pt x="78516" y="81577"/>
                    <a:pt x="78516" y="81274"/>
                  </a:cubicBezTo>
                  <a:cubicBezTo>
                    <a:pt x="78516" y="80971"/>
                    <a:pt x="78012" y="79525"/>
                    <a:pt x="77776" y="79154"/>
                  </a:cubicBezTo>
                  <a:cubicBezTo>
                    <a:pt x="77574" y="78784"/>
                    <a:pt x="76699" y="77641"/>
                    <a:pt x="76699" y="77641"/>
                  </a:cubicBezTo>
                  <a:cubicBezTo>
                    <a:pt x="76699" y="77641"/>
                    <a:pt x="76429" y="74748"/>
                    <a:pt x="76329" y="74445"/>
                  </a:cubicBezTo>
                  <a:cubicBezTo>
                    <a:pt x="76261" y="74142"/>
                    <a:pt x="75016" y="72359"/>
                    <a:pt x="75016" y="72359"/>
                  </a:cubicBezTo>
                  <a:lnTo>
                    <a:pt x="72997" y="71989"/>
                  </a:lnTo>
                  <a:lnTo>
                    <a:pt x="71852" y="72729"/>
                  </a:lnTo>
                  <a:cubicBezTo>
                    <a:pt x="71852" y="72729"/>
                    <a:pt x="71281" y="73974"/>
                    <a:pt x="71045" y="74109"/>
                  </a:cubicBezTo>
                  <a:cubicBezTo>
                    <a:pt x="70843" y="74243"/>
                    <a:pt x="68790" y="74109"/>
                    <a:pt x="68790" y="74109"/>
                  </a:cubicBezTo>
                  <a:cubicBezTo>
                    <a:pt x="68790" y="74109"/>
                    <a:pt x="67107" y="72157"/>
                    <a:pt x="66973" y="71855"/>
                  </a:cubicBezTo>
                  <a:cubicBezTo>
                    <a:pt x="66838" y="71552"/>
                    <a:pt x="65290" y="70274"/>
                    <a:pt x="65155" y="69836"/>
                  </a:cubicBezTo>
                  <a:cubicBezTo>
                    <a:pt x="65020" y="69399"/>
                    <a:pt x="64718" y="68154"/>
                    <a:pt x="64650" y="67381"/>
                  </a:cubicBezTo>
                  <a:cubicBezTo>
                    <a:pt x="64583" y="66573"/>
                    <a:pt x="63910" y="65228"/>
                    <a:pt x="63775" y="64925"/>
                  </a:cubicBezTo>
                  <a:cubicBezTo>
                    <a:pt x="63641" y="64622"/>
                    <a:pt x="62093" y="62671"/>
                    <a:pt x="62093" y="62671"/>
                  </a:cubicBezTo>
                  <a:cubicBezTo>
                    <a:pt x="62093" y="62671"/>
                    <a:pt x="61588" y="61527"/>
                    <a:pt x="61151" y="61157"/>
                  </a:cubicBezTo>
                  <a:cubicBezTo>
                    <a:pt x="60713" y="60787"/>
                    <a:pt x="59400" y="59711"/>
                    <a:pt x="59400" y="59711"/>
                  </a:cubicBezTo>
                  <a:lnTo>
                    <a:pt x="57650" y="59273"/>
                  </a:lnTo>
                  <a:cubicBezTo>
                    <a:pt x="57650" y="59273"/>
                    <a:pt x="56843" y="59206"/>
                    <a:pt x="56641" y="59273"/>
                  </a:cubicBezTo>
                  <a:cubicBezTo>
                    <a:pt x="56439" y="59341"/>
                    <a:pt x="54386" y="60922"/>
                    <a:pt x="54386" y="60922"/>
                  </a:cubicBezTo>
                  <a:cubicBezTo>
                    <a:pt x="54386" y="60922"/>
                    <a:pt x="53443" y="62066"/>
                    <a:pt x="53309" y="62604"/>
                  </a:cubicBezTo>
                  <a:cubicBezTo>
                    <a:pt x="53174" y="63108"/>
                    <a:pt x="51996" y="63983"/>
                    <a:pt x="51626" y="64858"/>
                  </a:cubicBezTo>
                  <a:cubicBezTo>
                    <a:pt x="51256" y="65732"/>
                    <a:pt x="50414" y="66540"/>
                    <a:pt x="50414" y="66741"/>
                  </a:cubicBezTo>
                  <a:cubicBezTo>
                    <a:pt x="50414" y="66943"/>
                    <a:pt x="48833" y="69769"/>
                    <a:pt x="48833" y="69769"/>
                  </a:cubicBezTo>
                  <a:cubicBezTo>
                    <a:pt x="48833" y="69769"/>
                    <a:pt x="46241" y="71653"/>
                    <a:pt x="46006" y="71787"/>
                  </a:cubicBezTo>
                  <a:cubicBezTo>
                    <a:pt x="45804" y="71922"/>
                    <a:pt x="43818" y="72157"/>
                    <a:pt x="43818" y="72157"/>
                  </a:cubicBezTo>
                  <a:cubicBezTo>
                    <a:pt x="43818" y="72157"/>
                    <a:pt x="40789" y="70072"/>
                    <a:pt x="40688" y="69836"/>
                  </a:cubicBezTo>
                  <a:cubicBezTo>
                    <a:pt x="40621" y="69601"/>
                    <a:pt x="41328" y="69197"/>
                    <a:pt x="40318" y="67953"/>
                  </a:cubicBezTo>
                  <a:cubicBezTo>
                    <a:pt x="39309" y="66708"/>
                    <a:pt x="37491" y="65631"/>
                    <a:pt x="37491" y="65631"/>
                  </a:cubicBezTo>
                  <a:cubicBezTo>
                    <a:pt x="37491" y="65631"/>
                    <a:pt x="36919" y="64824"/>
                    <a:pt x="36616" y="64555"/>
                  </a:cubicBezTo>
                  <a:cubicBezTo>
                    <a:pt x="36313" y="64252"/>
                    <a:pt x="35102" y="62671"/>
                    <a:pt x="35102" y="62671"/>
                  </a:cubicBezTo>
                  <a:cubicBezTo>
                    <a:pt x="35102" y="62671"/>
                    <a:pt x="32914" y="63310"/>
                    <a:pt x="32712" y="63748"/>
                  </a:cubicBezTo>
                  <a:cubicBezTo>
                    <a:pt x="32510" y="64185"/>
                    <a:pt x="30693" y="64185"/>
                    <a:pt x="30693" y="64185"/>
                  </a:cubicBezTo>
                  <a:cubicBezTo>
                    <a:pt x="30693" y="64185"/>
                    <a:pt x="29751" y="62166"/>
                    <a:pt x="29448" y="61796"/>
                  </a:cubicBezTo>
                  <a:cubicBezTo>
                    <a:pt x="29179" y="61426"/>
                    <a:pt x="28000" y="59980"/>
                    <a:pt x="27698" y="59543"/>
                  </a:cubicBezTo>
                  <a:cubicBezTo>
                    <a:pt x="27395" y="59105"/>
                    <a:pt x="25106" y="56280"/>
                    <a:pt x="25106" y="56280"/>
                  </a:cubicBezTo>
                  <a:lnTo>
                    <a:pt x="22717" y="54261"/>
                  </a:lnTo>
                  <a:lnTo>
                    <a:pt x="19385" y="52445"/>
                  </a:lnTo>
                  <a:lnTo>
                    <a:pt x="16794" y="51940"/>
                  </a:lnTo>
                  <a:cubicBezTo>
                    <a:pt x="16794" y="51940"/>
                    <a:pt x="14337" y="51503"/>
                    <a:pt x="14101" y="51503"/>
                  </a:cubicBezTo>
                  <a:cubicBezTo>
                    <a:pt x="13866" y="51503"/>
                    <a:pt x="11476" y="52142"/>
                    <a:pt x="11476" y="52142"/>
                  </a:cubicBezTo>
                  <a:cubicBezTo>
                    <a:pt x="11476" y="52142"/>
                    <a:pt x="10837" y="52007"/>
                    <a:pt x="10029" y="52276"/>
                  </a:cubicBezTo>
                  <a:cubicBezTo>
                    <a:pt x="9221" y="52579"/>
                    <a:pt x="5957" y="52916"/>
                    <a:pt x="5687" y="53017"/>
                  </a:cubicBezTo>
                  <a:cubicBezTo>
                    <a:pt x="5385" y="53084"/>
                    <a:pt x="2221" y="54093"/>
                    <a:pt x="2154" y="54396"/>
                  </a:cubicBezTo>
                  <a:cubicBezTo>
                    <a:pt x="2087" y="54698"/>
                    <a:pt x="1279" y="57221"/>
                    <a:pt x="1346" y="57659"/>
                  </a:cubicBezTo>
                  <a:cubicBezTo>
                    <a:pt x="1414" y="58096"/>
                    <a:pt x="6058" y="60350"/>
                    <a:pt x="6058" y="60350"/>
                  </a:cubicBezTo>
                  <a:lnTo>
                    <a:pt x="8750" y="62738"/>
                  </a:lnTo>
                  <a:lnTo>
                    <a:pt x="9020" y="64824"/>
                  </a:lnTo>
                  <a:lnTo>
                    <a:pt x="9457" y="67448"/>
                  </a:lnTo>
                  <a:lnTo>
                    <a:pt x="9591" y="69769"/>
                  </a:lnTo>
                  <a:cubicBezTo>
                    <a:pt x="9591" y="69769"/>
                    <a:pt x="9524" y="72023"/>
                    <a:pt x="9524" y="72460"/>
                  </a:cubicBezTo>
                  <a:cubicBezTo>
                    <a:pt x="9524" y="72898"/>
                    <a:pt x="9087" y="73772"/>
                    <a:pt x="8851" y="73974"/>
                  </a:cubicBezTo>
                  <a:cubicBezTo>
                    <a:pt x="8649" y="74176"/>
                    <a:pt x="8346" y="75050"/>
                    <a:pt x="7976" y="75286"/>
                  </a:cubicBezTo>
                  <a:cubicBezTo>
                    <a:pt x="7606" y="75488"/>
                    <a:pt x="6596" y="75925"/>
                    <a:pt x="6529" y="76228"/>
                  </a:cubicBezTo>
                  <a:cubicBezTo>
                    <a:pt x="6462" y="76531"/>
                    <a:pt x="5452" y="76968"/>
                    <a:pt x="4644" y="77607"/>
                  </a:cubicBezTo>
                  <a:cubicBezTo>
                    <a:pt x="3837" y="78246"/>
                    <a:pt x="3332" y="78482"/>
                    <a:pt x="2759" y="78986"/>
                  </a:cubicBezTo>
                  <a:cubicBezTo>
                    <a:pt x="2188" y="79491"/>
                    <a:pt x="1380" y="80298"/>
                    <a:pt x="942" y="80870"/>
                  </a:cubicBezTo>
                  <a:cubicBezTo>
                    <a:pt x="505" y="81442"/>
                    <a:pt x="0" y="81745"/>
                    <a:pt x="0" y="82317"/>
                  </a:cubicBezTo>
                  <a:cubicBezTo>
                    <a:pt x="0" y="82889"/>
                    <a:pt x="370" y="85277"/>
                    <a:pt x="740" y="85950"/>
                  </a:cubicBezTo>
                  <a:cubicBezTo>
                    <a:pt x="1110" y="86589"/>
                    <a:pt x="673" y="87766"/>
                    <a:pt x="1750" y="88136"/>
                  </a:cubicBezTo>
                  <a:cubicBezTo>
                    <a:pt x="2827" y="88506"/>
                    <a:pt x="4005" y="88876"/>
                    <a:pt x="4644" y="89280"/>
                  </a:cubicBezTo>
                  <a:cubicBezTo>
                    <a:pt x="5284" y="89717"/>
                    <a:pt x="6899" y="90222"/>
                    <a:pt x="7539" y="90424"/>
                  </a:cubicBezTo>
                  <a:cubicBezTo>
                    <a:pt x="8178" y="90659"/>
                    <a:pt x="10736" y="91298"/>
                    <a:pt x="12250" y="90357"/>
                  </a:cubicBezTo>
                  <a:cubicBezTo>
                    <a:pt x="13765" y="89415"/>
                    <a:pt x="15380" y="88607"/>
                    <a:pt x="15582" y="88170"/>
                  </a:cubicBezTo>
                  <a:cubicBezTo>
                    <a:pt x="15784" y="87733"/>
                    <a:pt x="15885" y="86791"/>
                    <a:pt x="15952" y="86488"/>
                  </a:cubicBezTo>
                  <a:cubicBezTo>
                    <a:pt x="16020" y="86185"/>
                    <a:pt x="19284" y="84840"/>
                    <a:pt x="19957" y="84840"/>
                  </a:cubicBezTo>
                  <a:cubicBezTo>
                    <a:pt x="20597" y="84840"/>
                    <a:pt x="22852" y="86589"/>
                    <a:pt x="23289" y="86656"/>
                  </a:cubicBezTo>
                  <a:cubicBezTo>
                    <a:pt x="23727" y="86723"/>
                    <a:pt x="26554" y="88910"/>
                    <a:pt x="26924" y="89415"/>
                  </a:cubicBezTo>
                  <a:cubicBezTo>
                    <a:pt x="27294" y="89919"/>
                    <a:pt x="27058" y="91534"/>
                    <a:pt x="27125" y="92240"/>
                  </a:cubicBezTo>
                  <a:cubicBezTo>
                    <a:pt x="27193" y="92980"/>
                    <a:pt x="27193" y="94326"/>
                    <a:pt x="27193" y="94326"/>
                  </a:cubicBezTo>
                  <a:lnTo>
                    <a:pt x="24299" y="99170"/>
                  </a:lnTo>
                  <a:lnTo>
                    <a:pt x="21539" y="101491"/>
                  </a:lnTo>
                  <a:lnTo>
                    <a:pt x="22616" y="104620"/>
                  </a:lnTo>
                  <a:lnTo>
                    <a:pt x="24871" y="105124"/>
                  </a:lnTo>
                  <a:lnTo>
                    <a:pt x="28640" y="105932"/>
                  </a:lnTo>
                  <a:cubicBezTo>
                    <a:pt x="28640" y="105932"/>
                    <a:pt x="31736" y="107748"/>
                    <a:pt x="32107" y="107950"/>
                  </a:cubicBezTo>
                  <a:cubicBezTo>
                    <a:pt x="32477" y="108185"/>
                    <a:pt x="35506" y="110204"/>
                    <a:pt x="35640" y="110406"/>
                  </a:cubicBezTo>
                  <a:cubicBezTo>
                    <a:pt x="35775" y="110641"/>
                    <a:pt x="37895" y="111987"/>
                    <a:pt x="37895" y="111987"/>
                  </a:cubicBezTo>
                  <a:cubicBezTo>
                    <a:pt x="37895" y="111987"/>
                    <a:pt x="41530" y="114005"/>
                    <a:pt x="41866" y="114375"/>
                  </a:cubicBezTo>
                  <a:cubicBezTo>
                    <a:pt x="42237" y="114745"/>
                    <a:pt x="44323" y="117335"/>
                    <a:pt x="44828" y="117840"/>
                  </a:cubicBezTo>
                  <a:cubicBezTo>
                    <a:pt x="45333" y="118345"/>
                    <a:pt x="47083" y="119589"/>
                    <a:pt x="46578" y="120229"/>
                  </a:cubicBezTo>
                  <a:cubicBezTo>
                    <a:pt x="46073" y="120868"/>
                    <a:pt x="46073" y="121238"/>
                    <a:pt x="45131" y="121810"/>
                  </a:cubicBezTo>
                  <a:cubicBezTo>
                    <a:pt x="44188" y="122381"/>
                    <a:pt x="42001" y="122886"/>
                    <a:pt x="41159" y="123256"/>
                  </a:cubicBezTo>
                  <a:cubicBezTo>
                    <a:pt x="40284" y="123626"/>
                    <a:pt x="39914" y="123626"/>
                    <a:pt x="39342" y="124265"/>
                  </a:cubicBezTo>
                  <a:cubicBezTo>
                    <a:pt x="38770" y="124904"/>
                    <a:pt x="38097" y="125274"/>
                    <a:pt x="38400" y="125947"/>
                  </a:cubicBezTo>
                  <a:cubicBezTo>
                    <a:pt x="38703" y="126586"/>
                    <a:pt x="44121" y="128706"/>
                    <a:pt x="44121" y="128706"/>
                  </a:cubicBezTo>
                  <a:lnTo>
                    <a:pt x="45064" y="128773"/>
                  </a:lnTo>
                  <a:lnTo>
                    <a:pt x="48429" y="131229"/>
                  </a:lnTo>
                  <a:lnTo>
                    <a:pt x="51357" y="136241"/>
                  </a:lnTo>
                  <a:lnTo>
                    <a:pt x="51357" y="136880"/>
                  </a:lnTo>
                  <a:cubicBezTo>
                    <a:pt x="51357" y="136880"/>
                    <a:pt x="48159" y="140076"/>
                    <a:pt x="47789" y="140278"/>
                  </a:cubicBezTo>
                  <a:cubicBezTo>
                    <a:pt x="47419" y="140480"/>
                    <a:pt x="44592" y="141724"/>
                    <a:pt x="44592" y="141724"/>
                  </a:cubicBezTo>
                  <a:cubicBezTo>
                    <a:pt x="44592" y="141724"/>
                    <a:pt x="43650" y="142229"/>
                    <a:pt x="43516" y="142969"/>
                  </a:cubicBezTo>
                  <a:cubicBezTo>
                    <a:pt x="43381" y="143709"/>
                    <a:pt x="42506" y="147107"/>
                    <a:pt x="42506" y="147107"/>
                  </a:cubicBezTo>
                  <a:lnTo>
                    <a:pt x="42741" y="154272"/>
                  </a:lnTo>
                  <a:lnTo>
                    <a:pt x="39914" y="155281"/>
                  </a:lnTo>
                  <a:lnTo>
                    <a:pt x="42876" y="159116"/>
                  </a:lnTo>
                  <a:cubicBezTo>
                    <a:pt x="42876" y="159116"/>
                    <a:pt x="44054" y="161437"/>
                    <a:pt x="43953" y="161874"/>
                  </a:cubicBezTo>
                  <a:cubicBezTo>
                    <a:pt x="43886" y="162312"/>
                    <a:pt x="42876" y="165507"/>
                    <a:pt x="42876" y="165507"/>
                  </a:cubicBezTo>
                  <a:cubicBezTo>
                    <a:pt x="42876" y="165507"/>
                    <a:pt x="40487" y="167526"/>
                    <a:pt x="40284" y="168199"/>
                  </a:cubicBezTo>
                  <a:cubicBezTo>
                    <a:pt x="40049" y="168838"/>
                    <a:pt x="39713" y="171596"/>
                    <a:pt x="39713" y="171596"/>
                  </a:cubicBezTo>
                  <a:lnTo>
                    <a:pt x="39140" y="175566"/>
                  </a:lnTo>
                  <a:lnTo>
                    <a:pt x="39847" y="178257"/>
                  </a:lnTo>
                  <a:lnTo>
                    <a:pt x="40217" y="184917"/>
                  </a:lnTo>
                  <a:lnTo>
                    <a:pt x="41025" y="187743"/>
                  </a:lnTo>
                  <a:lnTo>
                    <a:pt x="46241" y="187878"/>
                  </a:lnTo>
                  <a:cubicBezTo>
                    <a:pt x="46241" y="187878"/>
                    <a:pt x="46612" y="189963"/>
                    <a:pt x="46376" y="190401"/>
                  </a:cubicBezTo>
                  <a:cubicBezTo>
                    <a:pt x="46174" y="190838"/>
                    <a:pt x="45434" y="193428"/>
                    <a:pt x="45232" y="194168"/>
                  </a:cubicBezTo>
                  <a:cubicBezTo>
                    <a:pt x="44996" y="194908"/>
                    <a:pt x="43684" y="197431"/>
                    <a:pt x="43616" y="198239"/>
                  </a:cubicBezTo>
                  <a:cubicBezTo>
                    <a:pt x="43549" y="199046"/>
                    <a:pt x="43549" y="200694"/>
                    <a:pt x="43414" y="201502"/>
                  </a:cubicBezTo>
                  <a:cubicBezTo>
                    <a:pt x="43280" y="202309"/>
                    <a:pt x="42977" y="204092"/>
                    <a:pt x="42977" y="204832"/>
                  </a:cubicBezTo>
                  <a:cubicBezTo>
                    <a:pt x="42977" y="205572"/>
                    <a:pt x="42674" y="205909"/>
                    <a:pt x="43347" y="206918"/>
                  </a:cubicBezTo>
                  <a:cubicBezTo>
                    <a:pt x="43986" y="207927"/>
                    <a:pt x="46174" y="209374"/>
                    <a:pt x="46174" y="209374"/>
                  </a:cubicBezTo>
                  <a:cubicBezTo>
                    <a:pt x="46174" y="209374"/>
                    <a:pt x="50751" y="212065"/>
                    <a:pt x="50953" y="212132"/>
                  </a:cubicBezTo>
                  <a:cubicBezTo>
                    <a:pt x="51155" y="212199"/>
                    <a:pt x="54420" y="215160"/>
                    <a:pt x="55093" y="215597"/>
                  </a:cubicBezTo>
                  <a:cubicBezTo>
                    <a:pt x="55732" y="216034"/>
                    <a:pt x="59501" y="220878"/>
                    <a:pt x="59501" y="220878"/>
                  </a:cubicBezTo>
                  <a:lnTo>
                    <a:pt x="62833" y="223469"/>
                  </a:lnTo>
                  <a:lnTo>
                    <a:pt x="66165" y="225420"/>
                  </a:lnTo>
                  <a:cubicBezTo>
                    <a:pt x="66165" y="225420"/>
                    <a:pt x="66670" y="227236"/>
                    <a:pt x="66603" y="227808"/>
                  </a:cubicBezTo>
                  <a:cubicBezTo>
                    <a:pt x="66535" y="228380"/>
                    <a:pt x="66299" y="230331"/>
                    <a:pt x="66232" y="230836"/>
                  </a:cubicBezTo>
                  <a:cubicBezTo>
                    <a:pt x="66165" y="231340"/>
                    <a:pt x="66064" y="232349"/>
                    <a:pt x="65862" y="233022"/>
                  </a:cubicBezTo>
                  <a:cubicBezTo>
                    <a:pt x="65660" y="233661"/>
                    <a:pt x="65290" y="234536"/>
                    <a:pt x="65290" y="234906"/>
                  </a:cubicBezTo>
                  <a:cubicBezTo>
                    <a:pt x="65290" y="235276"/>
                    <a:pt x="64617" y="237530"/>
                    <a:pt x="64617" y="237530"/>
                  </a:cubicBezTo>
                  <a:cubicBezTo>
                    <a:pt x="64617" y="237530"/>
                    <a:pt x="63540" y="238035"/>
                    <a:pt x="63540" y="238472"/>
                  </a:cubicBezTo>
                  <a:cubicBezTo>
                    <a:pt x="63540" y="238909"/>
                    <a:pt x="63035" y="239716"/>
                    <a:pt x="63102" y="240356"/>
                  </a:cubicBezTo>
                  <a:cubicBezTo>
                    <a:pt x="63170" y="240995"/>
                    <a:pt x="63035" y="242172"/>
                    <a:pt x="63304" y="242980"/>
                  </a:cubicBezTo>
                  <a:cubicBezTo>
                    <a:pt x="63607" y="243787"/>
                    <a:pt x="63809" y="244662"/>
                    <a:pt x="64011" y="244796"/>
                  </a:cubicBezTo>
                  <a:cubicBezTo>
                    <a:pt x="64213" y="244931"/>
                    <a:pt x="65525" y="246310"/>
                    <a:pt x="65761" y="246478"/>
                  </a:cubicBezTo>
                  <a:cubicBezTo>
                    <a:pt x="65963" y="246613"/>
                    <a:pt x="67141" y="247487"/>
                    <a:pt x="67713" y="247925"/>
                  </a:cubicBezTo>
                  <a:cubicBezTo>
                    <a:pt x="68285" y="248362"/>
                    <a:pt x="69968" y="249438"/>
                    <a:pt x="70675" y="249506"/>
                  </a:cubicBezTo>
                  <a:cubicBezTo>
                    <a:pt x="71415" y="249573"/>
                    <a:pt x="73199" y="249707"/>
                    <a:pt x="74141" y="249876"/>
                  </a:cubicBezTo>
                  <a:cubicBezTo>
                    <a:pt x="75083" y="250010"/>
                    <a:pt x="75790" y="249876"/>
                    <a:pt x="77776" y="249876"/>
                  </a:cubicBezTo>
                  <a:cubicBezTo>
                    <a:pt x="79728" y="249876"/>
                    <a:pt x="80670" y="249808"/>
                    <a:pt x="82117" y="249304"/>
                  </a:cubicBezTo>
                  <a:cubicBezTo>
                    <a:pt x="83564" y="248799"/>
                    <a:pt x="85247" y="247353"/>
                    <a:pt x="85887" y="247218"/>
                  </a:cubicBezTo>
                  <a:cubicBezTo>
                    <a:pt x="86526" y="247084"/>
                    <a:pt x="89286" y="245570"/>
                    <a:pt x="89925" y="244830"/>
                  </a:cubicBezTo>
                  <a:cubicBezTo>
                    <a:pt x="90565" y="244123"/>
                    <a:pt x="92617" y="242576"/>
                    <a:pt x="93055" y="242307"/>
                  </a:cubicBezTo>
                  <a:cubicBezTo>
                    <a:pt x="93493" y="242038"/>
                    <a:pt x="96319" y="237967"/>
                    <a:pt x="96319" y="237967"/>
                  </a:cubicBezTo>
                  <a:lnTo>
                    <a:pt x="98271" y="234704"/>
                  </a:lnTo>
                  <a:cubicBezTo>
                    <a:pt x="98271" y="234704"/>
                    <a:pt x="105171" y="228481"/>
                    <a:pt x="105305" y="228245"/>
                  </a:cubicBezTo>
                  <a:cubicBezTo>
                    <a:pt x="105440" y="228044"/>
                    <a:pt x="109579" y="222796"/>
                    <a:pt x="109579" y="222796"/>
                  </a:cubicBezTo>
                  <a:lnTo>
                    <a:pt x="114796" y="219028"/>
                  </a:lnTo>
                  <a:lnTo>
                    <a:pt x="119003" y="214823"/>
                  </a:lnTo>
                  <a:cubicBezTo>
                    <a:pt x="119003" y="214823"/>
                    <a:pt x="120180" y="211627"/>
                    <a:pt x="120685" y="211257"/>
                  </a:cubicBezTo>
                  <a:cubicBezTo>
                    <a:pt x="121190" y="210887"/>
                    <a:pt x="124017" y="209575"/>
                    <a:pt x="124017" y="209575"/>
                  </a:cubicBezTo>
                  <a:cubicBezTo>
                    <a:pt x="124017" y="209575"/>
                    <a:pt x="127147" y="208263"/>
                    <a:pt x="127416" y="208263"/>
                  </a:cubicBezTo>
                  <a:cubicBezTo>
                    <a:pt x="127685" y="208263"/>
                    <a:pt x="129166" y="206514"/>
                    <a:pt x="129166" y="206514"/>
                  </a:cubicBezTo>
                  <a:lnTo>
                    <a:pt x="131118" y="205707"/>
                  </a:lnTo>
                  <a:lnTo>
                    <a:pt x="134012" y="206279"/>
                  </a:lnTo>
                  <a:lnTo>
                    <a:pt x="136536" y="208533"/>
                  </a:lnTo>
                  <a:cubicBezTo>
                    <a:pt x="136536" y="208533"/>
                    <a:pt x="136772" y="209542"/>
                    <a:pt x="136772" y="209844"/>
                  </a:cubicBezTo>
                  <a:cubicBezTo>
                    <a:pt x="136772" y="210147"/>
                    <a:pt x="136907" y="211728"/>
                    <a:pt x="136705" y="212300"/>
                  </a:cubicBezTo>
                  <a:cubicBezTo>
                    <a:pt x="136503" y="212872"/>
                    <a:pt x="135695" y="214319"/>
                    <a:pt x="135628" y="214621"/>
                  </a:cubicBezTo>
                  <a:cubicBezTo>
                    <a:pt x="135561" y="214924"/>
                    <a:pt x="135191" y="215832"/>
                    <a:pt x="134988" y="216438"/>
                  </a:cubicBezTo>
                  <a:cubicBezTo>
                    <a:pt x="134787" y="217010"/>
                    <a:pt x="134618" y="217514"/>
                    <a:pt x="134484" y="218322"/>
                  </a:cubicBezTo>
                  <a:cubicBezTo>
                    <a:pt x="134349" y="219129"/>
                    <a:pt x="134282" y="220138"/>
                    <a:pt x="134282" y="220710"/>
                  </a:cubicBezTo>
                  <a:cubicBezTo>
                    <a:pt x="134282" y="221282"/>
                    <a:pt x="134282" y="222392"/>
                    <a:pt x="134416" y="222964"/>
                  </a:cubicBezTo>
                  <a:cubicBezTo>
                    <a:pt x="134551" y="223536"/>
                    <a:pt x="134551" y="224713"/>
                    <a:pt x="134787" y="225151"/>
                  </a:cubicBezTo>
                  <a:cubicBezTo>
                    <a:pt x="134988" y="225588"/>
                    <a:pt x="135729" y="226967"/>
                    <a:pt x="135729" y="226967"/>
                  </a:cubicBezTo>
                  <a:cubicBezTo>
                    <a:pt x="135729" y="226967"/>
                    <a:pt x="136873" y="227909"/>
                    <a:pt x="137243" y="228548"/>
                  </a:cubicBezTo>
                  <a:cubicBezTo>
                    <a:pt x="137614" y="229187"/>
                    <a:pt x="137984" y="229927"/>
                    <a:pt x="139431" y="231441"/>
                  </a:cubicBezTo>
                  <a:cubicBezTo>
                    <a:pt x="140878" y="232955"/>
                    <a:pt x="143066" y="234334"/>
                    <a:pt x="143402" y="234570"/>
                  </a:cubicBezTo>
                  <a:cubicBezTo>
                    <a:pt x="143772" y="234771"/>
                    <a:pt x="145657" y="236521"/>
                    <a:pt x="145657" y="236521"/>
                  </a:cubicBezTo>
                  <a:lnTo>
                    <a:pt x="147845" y="238707"/>
                  </a:lnTo>
                  <a:lnTo>
                    <a:pt x="151042" y="241970"/>
                  </a:lnTo>
                  <a:lnTo>
                    <a:pt x="154441" y="243854"/>
                  </a:lnTo>
                  <a:lnTo>
                    <a:pt x="157571" y="247992"/>
                  </a:lnTo>
                  <a:lnTo>
                    <a:pt x="158278" y="251524"/>
                  </a:lnTo>
                  <a:lnTo>
                    <a:pt x="157907" y="255056"/>
                  </a:lnTo>
                  <a:lnTo>
                    <a:pt x="157470" y="258824"/>
                  </a:lnTo>
                  <a:lnTo>
                    <a:pt x="158244" y="263298"/>
                  </a:lnTo>
                  <a:lnTo>
                    <a:pt x="158446" y="266998"/>
                  </a:lnTo>
                  <a:lnTo>
                    <a:pt x="162484" y="270699"/>
                  </a:lnTo>
                  <a:lnTo>
                    <a:pt x="166489" y="273962"/>
                  </a:lnTo>
                  <a:lnTo>
                    <a:pt x="167566" y="274500"/>
                  </a:lnTo>
                  <a:lnTo>
                    <a:pt x="168542" y="277965"/>
                  </a:lnTo>
                  <a:cubicBezTo>
                    <a:pt x="168542" y="277965"/>
                    <a:pt x="168879" y="280353"/>
                    <a:pt x="168879" y="280790"/>
                  </a:cubicBezTo>
                  <a:cubicBezTo>
                    <a:pt x="168879" y="281228"/>
                    <a:pt x="168778" y="283280"/>
                    <a:pt x="168778" y="283280"/>
                  </a:cubicBezTo>
                  <a:lnTo>
                    <a:pt x="168677" y="288494"/>
                  </a:lnTo>
                  <a:lnTo>
                    <a:pt x="168778" y="290109"/>
                  </a:lnTo>
                  <a:lnTo>
                    <a:pt x="170730" y="293372"/>
                  </a:lnTo>
                  <a:lnTo>
                    <a:pt x="175744" y="295659"/>
                  </a:lnTo>
                  <a:cubicBezTo>
                    <a:pt x="175744" y="295659"/>
                    <a:pt x="177359" y="295895"/>
                    <a:pt x="177797" y="296298"/>
                  </a:cubicBezTo>
                  <a:cubicBezTo>
                    <a:pt x="178235" y="296736"/>
                    <a:pt x="179446" y="297947"/>
                    <a:pt x="179884" y="298586"/>
                  </a:cubicBezTo>
                  <a:cubicBezTo>
                    <a:pt x="180321" y="299225"/>
                    <a:pt x="180321" y="300739"/>
                    <a:pt x="180523" y="301176"/>
                  </a:cubicBezTo>
                  <a:cubicBezTo>
                    <a:pt x="180759" y="301613"/>
                    <a:pt x="180321" y="303026"/>
                    <a:pt x="180187" y="303565"/>
                  </a:cubicBezTo>
                  <a:cubicBezTo>
                    <a:pt x="180086" y="304103"/>
                    <a:pt x="180287" y="303901"/>
                    <a:pt x="179412" y="305415"/>
                  </a:cubicBezTo>
                  <a:cubicBezTo>
                    <a:pt x="178538" y="306929"/>
                    <a:pt x="178874" y="308039"/>
                    <a:pt x="177461" y="309014"/>
                  </a:cubicBezTo>
                  <a:cubicBezTo>
                    <a:pt x="176047" y="309990"/>
                    <a:pt x="175408" y="310629"/>
                    <a:pt x="174095" y="311201"/>
                  </a:cubicBezTo>
                  <a:cubicBezTo>
                    <a:pt x="172783" y="311739"/>
                    <a:pt x="172244" y="312277"/>
                    <a:pt x="171706" y="312715"/>
                  </a:cubicBezTo>
                  <a:cubicBezTo>
                    <a:pt x="171167" y="313152"/>
                    <a:pt x="170393" y="312815"/>
                    <a:pt x="169417" y="313253"/>
                  </a:cubicBezTo>
                  <a:cubicBezTo>
                    <a:pt x="168441" y="313690"/>
                    <a:pt x="167229" y="313354"/>
                    <a:pt x="166489" y="313791"/>
                  </a:cubicBezTo>
                  <a:cubicBezTo>
                    <a:pt x="165715" y="314228"/>
                    <a:pt x="165177" y="314767"/>
                    <a:pt x="165177" y="314767"/>
                  </a:cubicBezTo>
                  <a:lnTo>
                    <a:pt x="162888" y="315540"/>
                  </a:lnTo>
                  <a:lnTo>
                    <a:pt x="161576" y="317828"/>
                  </a:lnTo>
                  <a:lnTo>
                    <a:pt x="160936" y="319779"/>
                  </a:lnTo>
                  <a:lnTo>
                    <a:pt x="161710" y="321831"/>
                  </a:lnTo>
                  <a:lnTo>
                    <a:pt x="163763" y="323782"/>
                  </a:lnTo>
                  <a:lnTo>
                    <a:pt x="166254" y="324421"/>
                  </a:lnTo>
                  <a:lnTo>
                    <a:pt x="170595" y="325060"/>
                  </a:lnTo>
                  <a:lnTo>
                    <a:pt x="171470" y="326372"/>
                  </a:lnTo>
                  <a:lnTo>
                    <a:pt x="172547" y="327449"/>
                  </a:lnTo>
                  <a:lnTo>
                    <a:pt x="175038" y="329501"/>
                  </a:lnTo>
                  <a:lnTo>
                    <a:pt x="177864" y="330140"/>
                  </a:lnTo>
                  <a:lnTo>
                    <a:pt x="180153" y="330779"/>
                  </a:lnTo>
                  <a:lnTo>
                    <a:pt x="180927" y="327415"/>
                  </a:lnTo>
                  <a:lnTo>
                    <a:pt x="178841" y="325128"/>
                  </a:lnTo>
                  <a:lnTo>
                    <a:pt x="179278" y="323816"/>
                  </a:lnTo>
                  <a:lnTo>
                    <a:pt x="182206" y="323916"/>
                  </a:lnTo>
                  <a:lnTo>
                    <a:pt x="183619" y="324993"/>
                  </a:lnTo>
                  <a:lnTo>
                    <a:pt x="185134" y="327381"/>
                  </a:lnTo>
                  <a:lnTo>
                    <a:pt x="187961" y="328088"/>
                  </a:lnTo>
                  <a:lnTo>
                    <a:pt x="190249" y="327045"/>
                  </a:lnTo>
                  <a:lnTo>
                    <a:pt x="193076" y="327045"/>
                  </a:lnTo>
                  <a:lnTo>
                    <a:pt x="194524" y="326103"/>
                  </a:lnTo>
                  <a:lnTo>
                    <a:pt x="194961" y="325027"/>
                  </a:lnTo>
                  <a:cubicBezTo>
                    <a:pt x="194961" y="325027"/>
                    <a:pt x="197216" y="322840"/>
                    <a:pt x="197586" y="322840"/>
                  </a:cubicBezTo>
                  <a:cubicBezTo>
                    <a:pt x="197956" y="322840"/>
                    <a:pt x="200177" y="322134"/>
                    <a:pt x="200177" y="322134"/>
                  </a:cubicBezTo>
                  <a:lnTo>
                    <a:pt x="200446" y="319409"/>
                  </a:lnTo>
                  <a:cubicBezTo>
                    <a:pt x="200446" y="319409"/>
                    <a:pt x="199942" y="316987"/>
                    <a:pt x="199875" y="316886"/>
                  </a:cubicBezTo>
                  <a:cubicBezTo>
                    <a:pt x="199807" y="316785"/>
                    <a:pt x="199101" y="315439"/>
                    <a:pt x="199101" y="315439"/>
                  </a:cubicBezTo>
                  <a:lnTo>
                    <a:pt x="200446" y="313959"/>
                  </a:lnTo>
                  <a:lnTo>
                    <a:pt x="202466" y="313152"/>
                  </a:lnTo>
                  <a:lnTo>
                    <a:pt x="205259" y="313152"/>
                  </a:lnTo>
                  <a:lnTo>
                    <a:pt x="206942" y="315507"/>
                  </a:lnTo>
                  <a:lnTo>
                    <a:pt x="207851" y="317693"/>
                  </a:lnTo>
                  <a:lnTo>
                    <a:pt x="207851" y="319241"/>
                  </a:lnTo>
                  <a:lnTo>
                    <a:pt x="208591" y="320889"/>
                  </a:lnTo>
                  <a:cubicBezTo>
                    <a:pt x="208591" y="320889"/>
                    <a:pt x="210409" y="322840"/>
                    <a:pt x="210543" y="322975"/>
                  </a:cubicBezTo>
                  <a:cubicBezTo>
                    <a:pt x="210644" y="323076"/>
                    <a:pt x="213101" y="324589"/>
                    <a:pt x="213101" y="324589"/>
                  </a:cubicBezTo>
                  <a:lnTo>
                    <a:pt x="213101" y="326170"/>
                  </a:lnTo>
                  <a:cubicBezTo>
                    <a:pt x="213101" y="326170"/>
                    <a:pt x="212730" y="327415"/>
                    <a:pt x="212764" y="327516"/>
                  </a:cubicBezTo>
                  <a:cubicBezTo>
                    <a:pt x="212798" y="327617"/>
                    <a:pt x="213740" y="328828"/>
                    <a:pt x="213976" y="328895"/>
                  </a:cubicBezTo>
                  <a:cubicBezTo>
                    <a:pt x="214245" y="328962"/>
                    <a:pt x="215894" y="328996"/>
                    <a:pt x="216365" y="329164"/>
                  </a:cubicBezTo>
                  <a:cubicBezTo>
                    <a:pt x="216837" y="329299"/>
                    <a:pt x="217341" y="329030"/>
                    <a:pt x="217779" y="329366"/>
                  </a:cubicBezTo>
                  <a:cubicBezTo>
                    <a:pt x="218216" y="329736"/>
                    <a:pt x="219697" y="331115"/>
                    <a:pt x="219798" y="331183"/>
                  </a:cubicBezTo>
                  <a:cubicBezTo>
                    <a:pt x="219899" y="331250"/>
                    <a:pt x="223870" y="333537"/>
                    <a:pt x="223870" y="333537"/>
                  </a:cubicBezTo>
                  <a:lnTo>
                    <a:pt x="225654" y="333975"/>
                  </a:lnTo>
                  <a:lnTo>
                    <a:pt x="229490" y="335522"/>
                  </a:lnTo>
                  <a:lnTo>
                    <a:pt x="232755" y="334547"/>
                  </a:lnTo>
                  <a:lnTo>
                    <a:pt x="235043" y="335320"/>
                  </a:lnTo>
                  <a:lnTo>
                    <a:pt x="237534" y="337507"/>
                  </a:lnTo>
                  <a:lnTo>
                    <a:pt x="240024" y="338987"/>
                  </a:lnTo>
                  <a:lnTo>
                    <a:pt x="242515" y="339256"/>
                  </a:lnTo>
                  <a:lnTo>
                    <a:pt x="243491" y="339256"/>
                  </a:lnTo>
                  <a:lnTo>
                    <a:pt x="244029" y="340568"/>
                  </a:lnTo>
                  <a:cubicBezTo>
                    <a:pt x="244029" y="340568"/>
                    <a:pt x="244702" y="341779"/>
                    <a:pt x="245006" y="341981"/>
                  </a:cubicBezTo>
                  <a:cubicBezTo>
                    <a:pt x="245342" y="342183"/>
                    <a:pt x="249885" y="342856"/>
                    <a:pt x="249885" y="342856"/>
                  </a:cubicBezTo>
                  <a:lnTo>
                    <a:pt x="251534" y="342957"/>
                  </a:lnTo>
                  <a:lnTo>
                    <a:pt x="252847" y="346758"/>
                  </a:lnTo>
                  <a:lnTo>
                    <a:pt x="253486" y="348843"/>
                  </a:lnTo>
                  <a:lnTo>
                    <a:pt x="255674" y="352006"/>
                  </a:lnTo>
                  <a:lnTo>
                    <a:pt x="258602" y="354495"/>
                  </a:lnTo>
                  <a:lnTo>
                    <a:pt x="261429" y="354293"/>
                  </a:lnTo>
                  <a:cubicBezTo>
                    <a:pt x="261429" y="354293"/>
                    <a:pt x="262943" y="356244"/>
                    <a:pt x="263078" y="356581"/>
                  </a:cubicBezTo>
                  <a:cubicBezTo>
                    <a:pt x="263179" y="356917"/>
                    <a:pt x="263852" y="359743"/>
                    <a:pt x="263852" y="359743"/>
                  </a:cubicBezTo>
                  <a:lnTo>
                    <a:pt x="262337" y="363342"/>
                  </a:lnTo>
                  <a:cubicBezTo>
                    <a:pt x="262337" y="363342"/>
                    <a:pt x="261698" y="364217"/>
                    <a:pt x="261698" y="364856"/>
                  </a:cubicBezTo>
                  <a:cubicBezTo>
                    <a:pt x="261698" y="365495"/>
                    <a:pt x="261799" y="367143"/>
                    <a:pt x="262237" y="367682"/>
                  </a:cubicBezTo>
                  <a:cubicBezTo>
                    <a:pt x="262674" y="368220"/>
                    <a:pt x="263852" y="369094"/>
                    <a:pt x="263852" y="369094"/>
                  </a:cubicBezTo>
                  <a:lnTo>
                    <a:pt x="264491" y="372358"/>
                  </a:lnTo>
                  <a:lnTo>
                    <a:pt x="263852" y="375183"/>
                  </a:lnTo>
                  <a:lnTo>
                    <a:pt x="262674" y="376159"/>
                  </a:lnTo>
                  <a:cubicBezTo>
                    <a:pt x="262674" y="376159"/>
                    <a:pt x="264626" y="379085"/>
                    <a:pt x="265064" y="379422"/>
                  </a:cubicBezTo>
                  <a:cubicBezTo>
                    <a:pt x="265501" y="379758"/>
                    <a:pt x="265703" y="379220"/>
                    <a:pt x="266814" y="379758"/>
                  </a:cubicBezTo>
                  <a:cubicBezTo>
                    <a:pt x="267890" y="380297"/>
                    <a:pt x="267890" y="379657"/>
                    <a:pt x="269539" y="379960"/>
                  </a:cubicBezTo>
                  <a:cubicBezTo>
                    <a:pt x="271155" y="380297"/>
                    <a:pt x="272367" y="380734"/>
                    <a:pt x="273241" y="380397"/>
                  </a:cubicBezTo>
                  <a:cubicBezTo>
                    <a:pt x="274116" y="380061"/>
                    <a:pt x="274991" y="375890"/>
                    <a:pt x="274991" y="375890"/>
                  </a:cubicBezTo>
                  <a:cubicBezTo>
                    <a:pt x="274991" y="375890"/>
                    <a:pt x="276169" y="373670"/>
                    <a:pt x="276237" y="373434"/>
                  </a:cubicBezTo>
                  <a:cubicBezTo>
                    <a:pt x="276304" y="373232"/>
                    <a:pt x="277718" y="371046"/>
                    <a:pt x="277718" y="371046"/>
                  </a:cubicBezTo>
                  <a:cubicBezTo>
                    <a:pt x="277718" y="371046"/>
                    <a:pt x="278256" y="369532"/>
                    <a:pt x="278256" y="369263"/>
                  </a:cubicBezTo>
                  <a:cubicBezTo>
                    <a:pt x="278256" y="368994"/>
                    <a:pt x="279030" y="367244"/>
                    <a:pt x="279030" y="366874"/>
                  </a:cubicBezTo>
                  <a:cubicBezTo>
                    <a:pt x="279030" y="366504"/>
                    <a:pt x="279670" y="364654"/>
                    <a:pt x="279838" y="364587"/>
                  </a:cubicBezTo>
                  <a:cubicBezTo>
                    <a:pt x="280006" y="364520"/>
                    <a:pt x="281588" y="363006"/>
                    <a:pt x="281588" y="363006"/>
                  </a:cubicBezTo>
                  <a:lnTo>
                    <a:pt x="282026" y="361324"/>
                  </a:lnTo>
                  <a:cubicBezTo>
                    <a:pt x="282026" y="361324"/>
                    <a:pt x="281857" y="360281"/>
                    <a:pt x="281352" y="359978"/>
                  </a:cubicBezTo>
                  <a:cubicBezTo>
                    <a:pt x="280881" y="359642"/>
                    <a:pt x="279905" y="358532"/>
                    <a:pt x="279939" y="358195"/>
                  </a:cubicBezTo>
                  <a:cubicBezTo>
                    <a:pt x="279972" y="357859"/>
                    <a:pt x="279972" y="357152"/>
                    <a:pt x="280309" y="356883"/>
                  </a:cubicBezTo>
                  <a:cubicBezTo>
                    <a:pt x="280646" y="356614"/>
                    <a:pt x="281992" y="356244"/>
                    <a:pt x="281992" y="356244"/>
                  </a:cubicBezTo>
                  <a:lnTo>
                    <a:pt x="285424" y="354293"/>
                  </a:lnTo>
                  <a:cubicBezTo>
                    <a:pt x="285424" y="354293"/>
                    <a:pt x="288083" y="352174"/>
                    <a:pt x="288151" y="351972"/>
                  </a:cubicBezTo>
                  <a:cubicBezTo>
                    <a:pt x="288218" y="351770"/>
                    <a:pt x="289901" y="349752"/>
                    <a:pt x="289901" y="349752"/>
                  </a:cubicBezTo>
                  <a:cubicBezTo>
                    <a:pt x="289901" y="349752"/>
                    <a:pt x="292526" y="347027"/>
                    <a:pt x="292795" y="346926"/>
                  </a:cubicBezTo>
                  <a:cubicBezTo>
                    <a:pt x="293064" y="346825"/>
                    <a:pt x="293939" y="345580"/>
                    <a:pt x="293939" y="345580"/>
                  </a:cubicBezTo>
                  <a:lnTo>
                    <a:pt x="296228" y="344369"/>
                  </a:lnTo>
                  <a:lnTo>
                    <a:pt x="300064" y="342048"/>
                  </a:lnTo>
                  <a:lnTo>
                    <a:pt x="303632" y="341308"/>
                  </a:lnTo>
                  <a:lnTo>
                    <a:pt x="306088" y="341611"/>
                  </a:lnTo>
                  <a:lnTo>
                    <a:pt x="308612" y="344874"/>
                  </a:lnTo>
                  <a:lnTo>
                    <a:pt x="309858" y="347902"/>
                  </a:lnTo>
                  <a:lnTo>
                    <a:pt x="308478" y="350290"/>
                  </a:lnTo>
                  <a:cubicBezTo>
                    <a:pt x="308478" y="350290"/>
                    <a:pt x="306391" y="351669"/>
                    <a:pt x="306088" y="352039"/>
                  </a:cubicBezTo>
                  <a:cubicBezTo>
                    <a:pt x="305785" y="352409"/>
                    <a:pt x="304069" y="353418"/>
                    <a:pt x="304069" y="353418"/>
                  </a:cubicBezTo>
                  <a:cubicBezTo>
                    <a:pt x="304069" y="353418"/>
                    <a:pt x="303396" y="356009"/>
                    <a:pt x="303362" y="356244"/>
                  </a:cubicBezTo>
                  <a:cubicBezTo>
                    <a:pt x="303295" y="356480"/>
                    <a:pt x="302689" y="358061"/>
                    <a:pt x="302689" y="358061"/>
                  </a:cubicBezTo>
                  <a:lnTo>
                    <a:pt x="301242" y="363208"/>
                  </a:lnTo>
                  <a:lnTo>
                    <a:pt x="300805" y="365091"/>
                  </a:lnTo>
                  <a:cubicBezTo>
                    <a:pt x="300805" y="365091"/>
                    <a:pt x="300232" y="368994"/>
                    <a:pt x="300232" y="369364"/>
                  </a:cubicBezTo>
                  <a:cubicBezTo>
                    <a:pt x="300232" y="369734"/>
                    <a:pt x="299728" y="374645"/>
                    <a:pt x="299728" y="374645"/>
                  </a:cubicBezTo>
                  <a:cubicBezTo>
                    <a:pt x="299728" y="374645"/>
                    <a:pt x="299526" y="377673"/>
                    <a:pt x="299661" y="378043"/>
                  </a:cubicBezTo>
                  <a:cubicBezTo>
                    <a:pt x="299795" y="378413"/>
                    <a:pt x="302185" y="382618"/>
                    <a:pt x="302185" y="382618"/>
                  </a:cubicBezTo>
                  <a:lnTo>
                    <a:pt x="304776" y="383425"/>
                  </a:lnTo>
                  <a:lnTo>
                    <a:pt x="309185" y="382988"/>
                  </a:lnTo>
                  <a:cubicBezTo>
                    <a:pt x="309185" y="382988"/>
                    <a:pt x="312516" y="383492"/>
                    <a:pt x="312819" y="383492"/>
                  </a:cubicBezTo>
                  <a:cubicBezTo>
                    <a:pt x="313089" y="383492"/>
                    <a:pt x="314031" y="385443"/>
                    <a:pt x="314031" y="385443"/>
                  </a:cubicBezTo>
                  <a:lnTo>
                    <a:pt x="314031" y="388908"/>
                  </a:lnTo>
                  <a:lnTo>
                    <a:pt x="314468" y="390489"/>
                  </a:lnTo>
                  <a:lnTo>
                    <a:pt x="313661" y="392003"/>
                  </a:lnTo>
                  <a:cubicBezTo>
                    <a:pt x="313661" y="392003"/>
                    <a:pt x="313021" y="394896"/>
                    <a:pt x="313021" y="395333"/>
                  </a:cubicBezTo>
                  <a:cubicBezTo>
                    <a:pt x="313021" y="395771"/>
                    <a:pt x="312752" y="397285"/>
                    <a:pt x="313223" y="397856"/>
                  </a:cubicBezTo>
                  <a:cubicBezTo>
                    <a:pt x="313728" y="398428"/>
                    <a:pt x="315680" y="401557"/>
                    <a:pt x="316992" y="401624"/>
                  </a:cubicBezTo>
                  <a:cubicBezTo>
                    <a:pt x="318305" y="401691"/>
                    <a:pt x="320190" y="401119"/>
                    <a:pt x="320964" y="401052"/>
                  </a:cubicBezTo>
                  <a:cubicBezTo>
                    <a:pt x="321771" y="400985"/>
                    <a:pt x="323925" y="399606"/>
                    <a:pt x="323925" y="399606"/>
                  </a:cubicBezTo>
                  <a:cubicBezTo>
                    <a:pt x="323925" y="399606"/>
                    <a:pt x="326315" y="400110"/>
                    <a:pt x="326752" y="400682"/>
                  </a:cubicBezTo>
                  <a:cubicBezTo>
                    <a:pt x="327190" y="401254"/>
                    <a:pt x="329276" y="404383"/>
                    <a:pt x="329276" y="404383"/>
                  </a:cubicBezTo>
                  <a:lnTo>
                    <a:pt x="330017" y="406266"/>
                  </a:lnTo>
                  <a:cubicBezTo>
                    <a:pt x="330017" y="406266"/>
                    <a:pt x="327762" y="411178"/>
                    <a:pt x="327392" y="411783"/>
                  </a:cubicBezTo>
                  <a:cubicBezTo>
                    <a:pt x="327022" y="412355"/>
                    <a:pt x="325877" y="413869"/>
                    <a:pt x="325810" y="414407"/>
                  </a:cubicBezTo>
                  <a:cubicBezTo>
                    <a:pt x="325743" y="414912"/>
                    <a:pt x="329276" y="418814"/>
                    <a:pt x="329276" y="418814"/>
                  </a:cubicBezTo>
                  <a:lnTo>
                    <a:pt x="330017" y="421942"/>
                  </a:lnTo>
                  <a:lnTo>
                    <a:pt x="332911" y="425273"/>
                  </a:lnTo>
                  <a:lnTo>
                    <a:pt x="333349" y="427594"/>
                  </a:lnTo>
                  <a:cubicBezTo>
                    <a:pt x="333349" y="427594"/>
                    <a:pt x="333551" y="429410"/>
                    <a:pt x="333349" y="429612"/>
                  </a:cubicBezTo>
                  <a:cubicBezTo>
                    <a:pt x="333147" y="429848"/>
                    <a:pt x="334661" y="431631"/>
                    <a:pt x="335974" y="431631"/>
                  </a:cubicBezTo>
                  <a:cubicBezTo>
                    <a:pt x="337286" y="431631"/>
                    <a:pt x="338296" y="431631"/>
                    <a:pt x="338801" y="431563"/>
                  </a:cubicBezTo>
                  <a:cubicBezTo>
                    <a:pt x="339305" y="431496"/>
                    <a:pt x="340685" y="430924"/>
                    <a:pt x="340887" y="430924"/>
                  </a:cubicBezTo>
                  <a:cubicBezTo>
                    <a:pt x="341089" y="430924"/>
                    <a:pt x="341459" y="430790"/>
                    <a:pt x="341829" y="430924"/>
                  </a:cubicBezTo>
                  <a:cubicBezTo>
                    <a:pt x="342200" y="431059"/>
                    <a:pt x="343277" y="432236"/>
                    <a:pt x="343277" y="432236"/>
                  </a:cubicBezTo>
                  <a:lnTo>
                    <a:pt x="344118" y="433212"/>
                  </a:lnTo>
                  <a:lnTo>
                    <a:pt x="345464" y="435196"/>
                  </a:lnTo>
                  <a:lnTo>
                    <a:pt x="345195" y="437450"/>
                  </a:lnTo>
                  <a:lnTo>
                    <a:pt x="344118" y="438527"/>
                  </a:lnTo>
                  <a:lnTo>
                    <a:pt x="343580" y="440982"/>
                  </a:lnTo>
                  <a:lnTo>
                    <a:pt x="343580" y="442799"/>
                  </a:lnTo>
                  <a:cubicBezTo>
                    <a:pt x="343580" y="442799"/>
                    <a:pt x="344959" y="444649"/>
                    <a:pt x="345027" y="444750"/>
                  </a:cubicBezTo>
                  <a:cubicBezTo>
                    <a:pt x="345094" y="444851"/>
                    <a:pt x="346104" y="445255"/>
                    <a:pt x="346272" y="445255"/>
                  </a:cubicBezTo>
                  <a:cubicBezTo>
                    <a:pt x="346440" y="445255"/>
                    <a:pt x="347753" y="446466"/>
                    <a:pt x="347753" y="446466"/>
                  </a:cubicBezTo>
                  <a:lnTo>
                    <a:pt x="349200" y="447105"/>
                  </a:lnTo>
                  <a:lnTo>
                    <a:pt x="350647" y="448215"/>
                  </a:lnTo>
                  <a:cubicBezTo>
                    <a:pt x="350647" y="448215"/>
                    <a:pt x="350714" y="449190"/>
                    <a:pt x="351791" y="449022"/>
                  </a:cubicBezTo>
                  <a:cubicBezTo>
                    <a:pt x="352868" y="448820"/>
                    <a:pt x="353508" y="448720"/>
                    <a:pt x="354147" y="448484"/>
                  </a:cubicBezTo>
                  <a:cubicBezTo>
                    <a:pt x="354787" y="448215"/>
                    <a:pt x="355897" y="447778"/>
                    <a:pt x="356099" y="447643"/>
                  </a:cubicBezTo>
                  <a:cubicBezTo>
                    <a:pt x="356301" y="447508"/>
                    <a:pt x="356806" y="447105"/>
                    <a:pt x="357008" y="447004"/>
                  </a:cubicBezTo>
                  <a:cubicBezTo>
                    <a:pt x="357210" y="446903"/>
                    <a:pt x="357715" y="446466"/>
                    <a:pt x="357715" y="446466"/>
                  </a:cubicBezTo>
                  <a:cubicBezTo>
                    <a:pt x="357715" y="446466"/>
                    <a:pt x="359936" y="445793"/>
                    <a:pt x="360171" y="445793"/>
                  </a:cubicBezTo>
                  <a:cubicBezTo>
                    <a:pt x="360440" y="445793"/>
                    <a:pt x="361383" y="446197"/>
                    <a:pt x="361787" y="446230"/>
                  </a:cubicBezTo>
                  <a:cubicBezTo>
                    <a:pt x="362224" y="446264"/>
                    <a:pt x="363705" y="447441"/>
                    <a:pt x="363705" y="447441"/>
                  </a:cubicBezTo>
                  <a:lnTo>
                    <a:pt x="364109" y="448753"/>
                  </a:lnTo>
                  <a:cubicBezTo>
                    <a:pt x="364109" y="448753"/>
                    <a:pt x="363840" y="449661"/>
                    <a:pt x="363671" y="449863"/>
                  </a:cubicBezTo>
                  <a:cubicBezTo>
                    <a:pt x="363537" y="450065"/>
                    <a:pt x="362897" y="450872"/>
                    <a:pt x="362729" y="451175"/>
                  </a:cubicBezTo>
                  <a:cubicBezTo>
                    <a:pt x="362561" y="451444"/>
                    <a:pt x="361147" y="453665"/>
                    <a:pt x="361013" y="453698"/>
                  </a:cubicBezTo>
                  <a:cubicBezTo>
                    <a:pt x="360912" y="453732"/>
                    <a:pt x="360205" y="455010"/>
                    <a:pt x="360205" y="455111"/>
                  </a:cubicBezTo>
                  <a:cubicBezTo>
                    <a:pt x="360205" y="455212"/>
                    <a:pt x="359229" y="456726"/>
                    <a:pt x="359229" y="456726"/>
                  </a:cubicBezTo>
                  <a:lnTo>
                    <a:pt x="357815" y="461099"/>
                  </a:lnTo>
                  <a:lnTo>
                    <a:pt x="355864" y="464362"/>
                  </a:lnTo>
                  <a:lnTo>
                    <a:pt x="352027" y="466885"/>
                  </a:lnTo>
                  <a:lnTo>
                    <a:pt x="349133" y="469408"/>
                  </a:lnTo>
                  <a:lnTo>
                    <a:pt x="347450" y="472099"/>
                  </a:lnTo>
                  <a:lnTo>
                    <a:pt x="348594" y="474992"/>
                  </a:lnTo>
                  <a:lnTo>
                    <a:pt x="352061" y="475295"/>
                  </a:lnTo>
                  <a:lnTo>
                    <a:pt x="353945" y="476439"/>
                  </a:lnTo>
                  <a:lnTo>
                    <a:pt x="357412" y="478188"/>
                  </a:lnTo>
                  <a:lnTo>
                    <a:pt x="359431" y="481653"/>
                  </a:lnTo>
                  <a:lnTo>
                    <a:pt x="358994" y="484411"/>
                  </a:lnTo>
                  <a:lnTo>
                    <a:pt x="357109" y="487742"/>
                  </a:lnTo>
                  <a:lnTo>
                    <a:pt x="355224" y="491375"/>
                  </a:lnTo>
                  <a:lnTo>
                    <a:pt x="354484" y="493258"/>
                  </a:lnTo>
                  <a:cubicBezTo>
                    <a:pt x="354484" y="493258"/>
                    <a:pt x="354349" y="494402"/>
                    <a:pt x="354484" y="495445"/>
                  </a:cubicBezTo>
                  <a:cubicBezTo>
                    <a:pt x="354618" y="496454"/>
                    <a:pt x="354787" y="497329"/>
                    <a:pt x="356066" y="497329"/>
                  </a:cubicBezTo>
                  <a:cubicBezTo>
                    <a:pt x="357345" y="497329"/>
                    <a:pt x="358522" y="497833"/>
                    <a:pt x="360979" y="497833"/>
                  </a:cubicBezTo>
                  <a:cubicBezTo>
                    <a:pt x="363436" y="497833"/>
                    <a:pt x="364614" y="497632"/>
                    <a:pt x="365186" y="497632"/>
                  </a:cubicBezTo>
                  <a:cubicBezTo>
                    <a:pt x="365758" y="497632"/>
                    <a:pt x="368652" y="497632"/>
                    <a:pt x="368652" y="497632"/>
                  </a:cubicBezTo>
                  <a:lnTo>
                    <a:pt x="370234" y="499515"/>
                  </a:lnTo>
                  <a:cubicBezTo>
                    <a:pt x="370234" y="499515"/>
                    <a:pt x="371243" y="502846"/>
                    <a:pt x="371681" y="503283"/>
                  </a:cubicBezTo>
                  <a:cubicBezTo>
                    <a:pt x="372119" y="503720"/>
                    <a:pt x="372253" y="505470"/>
                    <a:pt x="372422" y="505907"/>
                  </a:cubicBezTo>
                  <a:cubicBezTo>
                    <a:pt x="372556" y="506344"/>
                    <a:pt x="371849" y="507791"/>
                    <a:pt x="372422" y="508363"/>
                  </a:cubicBezTo>
                  <a:cubicBezTo>
                    <a:pt x="372994" y="508934"/>
                    <a:pt x="373431" y="510112"/>
                    <a:pt x="373566" y="510684"/>
                  </a:cubicBezTo>
                  <a:cubicBezTo>
                    <a:pt x="373701" y="511256"/>
                    <a:pt x="376898" y="516201"/>
                    <a:pt x="376898" y="516201"/>
                  </a:cubicBezTo>
                  <a:lnTo>
                    <a:pt x="379792" y="521852"/>
                  </a:lnTo>
                  <a:lnTo>
                    <a:pt x="380667" y="525620"/>
                  </a:lnTo>
                  <a:lnTo>
                    <a:pt x="381980" y="529387"/>
                  </a:lnTo>
                  <a:lnTo>
                    <a:pt x="384301" y="532415"/>
                  </a:lnTo>
                  <a:lnTo>
                    <a:pt x="386826" y="534299"/>
                  </a:lnTo>
                  <a:lnTo>
                    <a:pt x="388643" y="536923"/>
                  </a:lnTo>
                  <a:lnTo>
                    <a:pt x="388643" y="540253"/>
                  </a:lnTo>
                  <a:lnTo>
                    <a:pt x="389787" y="540388"/>
                  </a:lnTo>
                  <a:cubicBezTo>
                    <a:pt x="389787" y="540388"/>
                    <a:pt x="392682" y="541699"/>
                    <a:pt x="393254" y="541699"/>
                  </a:cubicBezTo>
                  <a:cubicBezTo>
                    <a:pt x="393826" y="541699"/>
                    <a:pt x="395710" y="541565"/>
                    <a:pt x="395710" y="541565"/>
                  </a:cubicBezTo>
                  <a:lnTo>
                    <a:pt x="396855" y="541868"/>
                  </a:lnTo>
                  <a:lnTo>
                    <a:pt x="401196" y="547216"/>
                  </a:lnTo>
                  <a:lnTo>
                    <a:pt x="404528" y="551556"/>
                  </a:lnTo>
                  <a:lnTo>
                    <a:pt x="406413" y="555189"/>
                  </a:lnTo>
                  <a:cubicBezTo>
                    <a:pt x="406413" y="555189"/>
                    <a:pt x="406850" y="556938"/>
                    <a:pt x="406413" y="557376"/>
                  </a:cubicBezTo>
                  <a:cubicBezTo>
                    <a:pt x="405975" y="557813"/>
                    <a:pt x="403519" y="559125"/>
                    <a:pt x="403519" y="559125"/>
                  </a:cubicBezTo>
                  <a:lnTo>
                    <a:pt x="400994" y="560134"/>
                  </a:lnTo>
                  <a:lnTo>
                    <a:pt x="400792" y="561580"/>
                  </a:lnTo>
                  <a:lnTo>
                    <a:pt x="400792" y="564642"/>
                  </a:lnTo>
                  <a:lnTo>
                    <a:pt x="399917" y="567972"/>
                  </a:lnTo>
                  <a:cubicBezTo>
                    <a:pt x="399917" y="567972"/>
                    <a:pt x="399480" y="569284"/>
                    <a:pt x="399480" y="569856"/>
                  </a:cubicBezTo>
                  <a:cubicBezTo>
                    <a:pt x="399480" y="570428"/>
                    <a:pt x="399042" y="572614"/>
                    <a:pt x="399042" y="572614"/>
                  </a:cubicBezTo>
                  <a:lnTo>
                    <a:pt x="399042" y="575070"/>
                  </a:lnTo>
                  <a:lnTo>
                    <a:pt x="396855" y="577257"/>
                  </a:lnTo>
                  <a:cubicBezTo>
                    <a:pt x="396855" y="577257"/>
                    <a:pt x="394970" y="578400"/>
                    <a:pt x="394835" y="578838"/>
                  </a:cubicBezTo>
                  <a:cubicBezTo>
                    <a:pt x="394701" y="579275"/>
                    <a:pt x="393086" y="581024"/>
                    <a:pt x="393086" y="581024"/>
                  </a:cubicBezTo>
                  <a:lnTo>
                    <a:pt x="391941" y="582471"/>
                  </a:lnTo>
                  <a:cubicBezTo>
                    <a:pt x="391941" y="582471"/>
                    <a:pt x="391874" y="584489"/>
                    <a:pt x="392143" y="584489"/>
                  </a:cubicBezTo>
                  <a:cubicBezTo>
                    <a:pt x="392412" y="584489"/>
                    <a:pt x="395038" y="584691"/>
                    <a:pt x="395408" y="584691"/>
                  </a:cubicBezTo>
                  <a:cubicBezTo>
                    <a:pt x="395778" y="584691"/>
                    <a:pt x="396989" y="583244"/>
                    <a:pt x="397427" y="582807"/>
                  </a:cubicBezTo>
                  <a:cubicBezTo>
                    <a:pt x="397864" y="582370"/>
                    <a:pt x="398807" y="581428"/>
                    <a:pt x="399009" y="581293"/>
                  </a:cubicBezTo>
                  <a:cubicBezTo>
                    <a:pt x="399244" y="581159"/>
                    <a:pt x="401028" y="581361"/>
                    <a:pt x="401028" y="581361"/>
                  </a:cubicBezTo>
                  <a:cubicBezTo>
                    <a:pt x="401028" y="581361"/>
                    <a:pt x="401533" y="582437"/>
                    <a:pt x="401903" y="582942"/>
                  </a:cubicBezTo>
                  <a:cubicBezTo>
                    <a:pt x="402273" y="583446"/>
                    <a:pt x="402273" y="585767"/>
                    <a:pt x="402273" y="585767"/>
                  </a:cubicBezTo>
                  <a:lnTo>
                    <a:pt x="402341" y="587449"/>
                  </a:lnTo>
                  <a:lnTo>
                    <a:pt x="402206" y="588257"/>
                  </a:lnTo>
                  <a:cubicBezTo>
                    <a:pt x="402206" y="588257"/>
                    <a:pt x="401533" y="589401"/>
                    <a:pt x="401028" y="590309"/>
                  </a:cubicBezTo>
                  <a:lnTo>
                    <a:pt x="403014" y="590073"/>
                  </a:lnTo>
                  <a:lnTo>
                    <a:pt x="408230" y="587214"/>
                  </a:lnTo>
                  <a:lnTo>
                    <a:pt x="412975" y="585364"/>
                  </a:lnTo>
                  <a:lnTo>
                    <a:pt x="418932" y="583615"/>
                  </a:lnTo>
                  <a:lnTo>
                    <a:pt x="423779" y="578939"/>
                  </a:lnTo>
                  <a:lnTo>
                    <a:pt x="426572" y="573489"/>
                  </a:lnTo>
                  <a:lnTo>
                    <a:pt x="427548" y="568039"/>
                  </a:lnTo>
                  <a:lnTo>
                    <a:pt x="428995" y="562421"/>
                  </a:lnTo>
                  <a:lnTo>
                    <a:pt x="432360" y="558654"/>
                  </a:lnTo>
                  <a:lnTo>
                    <a:pt x="435759" y="555391"/>
                  </a:lnTo>
                  <a:lnTo>
                    <a:pt x="438923" y="552632"/>
                  </a:lnTo>
                  <a:lnTo>
                    <a:pt x="443702" y="548192"/>
                  </a:lnTo>
                  <a:cubicBezTo>
                    <a:pt x="443702" y="548192"/>
                    <a:pt x="445486" y="544054"/>
                    <a:pt x="445654" y="543886"/>
                  </a:cubicBezTo>
                  <a:cubicBezTo>
                    <a:pt x="445822" y="543718"/>
                    <a:pt x="447741" y="540522"/>
                    <a:pt x="447741" y="540522"/>
                  </a:cubicBezTo>
                  <a:lnTo>
                    <a:pt x="447741" y="535106"/>
                  </a:lnTo>
                  <a:cubicBezTo>
                    <a:pt x="447741" y="535106"/>
                    <a:pt x="447135" y="532987"/>
                    <a:pt x="447135" y="532785"/>
                  </a:cubicBezTo>
                  <a:cubicBezTo>
                    <a:pt x="447135" y="532549"/>
                    <a:pt x="447909" y="530935"/>
                    <a:pt x="448077" y="530834"/>
                  </a:cubicBezTo>
                  <a:cubicBezTo>
                    <a:pt x="448245" y="530733"/>
                    <a:pt x="451173" y="529051"/>
                    <a:pt x="451173" y="529051"/>
                  </a:cubicBezTo>
                  <a:lnTo>
                    <a:pt x="453832" y="529051"/>
                  </a:lnTo>
                  <a:cubicBezTo>
                    <a:pt x="453832" y="529051"/>
                    <a:pt x="457265" y="526225"/>
                    <a:pt x="457871" y="526057"/>
                  </a:cubicBezTo>
                  <a:cubicBezTo>
                    <a:pt x="458476" y="525889"/>
                    <a:pt x="460428" y="524140"/>
                    <a:pt x="460428" y="524140"/>
                  </a:cubicBezTo>
                  <a:cubicBezTo>
                    <a:pt x="460428" y="524140"/>
                    <a:pt x="460327" y="521650"/>
                    <a:pt x="460428" y="521247"/>
                  </a:cubicBezTo>
                  <a:cubicBezTo>
                    <a:pt x="460529" y="520877"/>
                    <a:pt x="460428" y="519295"/>
                    <a:pt x="460428" y="519295"/>
                  </a:cubicBezTo>
                  <a:lnTo>
                    <a:pt x="458948" y="517714"/>
                  </a:lnTo>
                  <a:lnTo>
                    <a:pt x="458476" y="514889"/>
                  </a:lnTo>
                  <a:lnTo>
                    <a:pt x="459015" y="511256"/>
                  </a:lnTo>
                  <a:lnTo>
                    <a:pt x="459722" y="505873"/>
                  </a:lnTo>
                  <a:lnTo>
                    <a:pt x="460462" y="501096"/>
                  </a:lnTo>
                  <a:cubicBezTo>
                    <a:pt x="460462" y="501096"/>
                    <a:pt x="460125" y="497833"/>
                    <a:pt x="460462" y="497295"/>
                  </a:cubicBezTo>
                  <a:cubicBezTo>
                    <a:pt x="460799" y="496757"/>
                    <a:pt x="463727" y="491106"/>
                    <a:pt x="463727" y="491106"/>
                  </a:cubicBezTo>
                  <a:lnTo>
                    <a:pt x="465476" y="488717"/>
                  </a:lnTo>
                  <a:lnTo>
                    <a:pt x="472308" y="483301"/>
                  </a:lnTo>
                  <a:lnTo>
                    <a:pt x="476111" y="479702"/>
                  </a:lnTo>
                  <a:lnTo>
                    <a:pt x="479914" y="476943"/>
                  </a:lnTo>
                  <a:lnTo>
                    <a:pt x="484054" y="475160"/>
                  </a:lnTo>
                  <a:lnTo>
                    <a:pt x="488597" y="475160"/>
                  </a:lnTo>
                  <a:lnTo>
                    <a:pt x="492198" y="475934"/>
                  </a:lnTo>
                  <a:lnTo>
                    <a:pt x="494319" y="478760"/>
                  </a:lnTo>
                  <a:lnTo>
                    <a:pt x="496439" y="480946"/>
                  </a:lnTo>
                  <a:lnTo>
                    <a:pt x="496439" y="483032"/>
                  </a:lnTo>
                  <a:lnTo>
                    <a:pt x="496439" y="484781"/>
                  </a:lnTo>
                  <a:lnTo>
                    <a:pt x="496977" y="487170"/>
                  </a:lnTo>
                  <a:lnTo>
                    <a:pt x="500343" y="487809"/>
                  </a:lnTo>
                  <a:lnTo>
                    <a:pt x="502093" y="489323"/>
                  </a:lnTo>
                  <a:lnTo>
                    <a:pt x="505694" y="490836"/>
                  </a:lnTo>
                  <a:lnTo>
                    <a:pt x="506905" y="491711"/>
                  </a:lnTo>
                  <a:lnTo>
                    <a:pt x="506905" y="495176"/>
                  </a:lnTo>
                  <a:lnTo>
                    <a:pt x="506266" y="496252"/>
                  </a:lnTo>
                  <a:lnTo>
                    <a:pt x="506367" y="498002"/>
                  </a:lnTo>
                  <a:cubicBezTo>
                    <a:pt x="506367" y="498002"/>
                    <a:pt x="506266" y="498540"/>
                    <a:pt x="506905" y="498977"/>
                  </a:cubicBezTo>
                  <a:cubicBezTo>
                    <a:pt x="507545" y="499415"/>
                    <a:pt x="509396" y="500625"/>
                    <a:pt x="509396" y="500625"/>
                  </a:cubicBezTo>
                  <a:lnTo>
                    <a:pt x="512761" y="502038"/>
                  </a:lnTo>
                  <a:lnTo>
                    <a:pt x="515252" y="501601"/>
                  </a:lnTo>
                  <a:cubicBezTo>
                    <a:pt x="515252" y="501601"/>
                    <a:pt x="516429" y="501803"/>
                    <a:pt x="517843" y="501803"/>
                  </a:cubicBezTo>
                  <a:cubicBezTo>
                    <a:pt x="519257" y="501803"/>
                    <a:pt x="525550" y="502678"/>
                    <a:pt x="525550" y="502678"/>
                  </a:cubicBezTo>
                  <a:lnTo>
                    <a:pt x="536959" y="502038"/>
                  </a:lnTo>
                  <a:lnTo>
                    <a:pt x="541974" y="503216"/>
                  </a:lnTo>
                  <a:lnTo>
                    <a:pt x="544262" y="505840"/>
                  </a:lnTo>
                  <a:cubicBezTo>
                    <a:pt x="544262" y="505840"/>
                    <a:pt x="550353" y="507252"/>
                    <a:pt x="550791" y="507252"/>
                  </a:cubicBezTo>
                  <a:cubicBezTo>
                    <a:pt x="551229" y="507252"/>
                    <a:pt x="556882" y="507791"/>
                    <a:pt x="556882" y="507791"/>
                  </a:cubicBezTo>
                  <a:lnTo>
                    <a:pt x="563512" y="506815"/>
                  </a:lnTo>
                  <a:lnTo>
                    <a:pt x="567315" y="504965"/>
                  </a:lnTo>
                  <a:lnTo>
                    <a:pt x="571556" y="503552"/>
                  </a:lnTo>
                  <a:lnTo>
                    <a:pt x="576234" y="501601"/>
                  </a:lnTo>
                  <a:lnTo>
                    <a:pt x="579936" y="500827"/>
                  </a:lnTo>
                  <a:lnTo>
                    <a:pt x="582662" y="501029"/>
                  </a:lnTo>
                  <a:lnTo>
                    <a:pt x="589931" y="501265"/>
                  </a:lnTo>
                  <a:lnTo>
                    <a:pt x="596460" y="501265"/>
                  </a:lnTo>
                  <a:lnTo>
                    <a:pt x="598210" y="500289"/>
                  </a:lnTo>
                  <a:lnTo>
                    <a:pt x="601677" y="497262"/>
                  </a:lnTo>
                  <a:lnTo>
                    <a:pt x="602451" y="495849"/>
                  </a:lnTo>
                  <a:lnTo>
                    <a:pt x="605480" y="490836"/>
                  </a:lnTo>
                  <a:lnTo>
                    <a:pt x="608643" y="486699"/>
                  </a:lnTo>
                  <a:lnTo>
                    <a:pt x="609518" y="479971"/>
                  </a:lnTo>
                  <a:lnTo>
                    <a:pt x="609518" y="472570"/>
                  </a:lnTo>
                  <a:lnTo>
                    <a:pt x="606355" y="468971"/>
                  </a:lnTo>
                  <a:lnTo>
                    <a:pt x="601777" y="465708"/>
                  </a:lnTo>
                  <a:lnTo>
                    <a:pt x="596898" y="463420"/>
                  </a:lnTo>
                  <a:cubicBezTo>
                    <a:pt x="596898" y="463420"/>
                    <a:pt x="593532" y="462344"/>
                    <a:pt x="593431" y="461906"/>
                  </a:cubicBezTo>
                  <a:cubicBezTo>
                    <a:pt x="593330" y="461469"/>
                    <a:pt x="590806" y="458879"/>
                    <a:pt x="590705" y="458542"/>
                  </a:cubicBezTo>
                  <a:cubicBezTo>
                    <a:pt x="590604" y="458206"/>
                    <a:pt x="587878" y="455279"/>
                    <a:pt x="587878" y="455279"/>
                  </a:cubicBezTo>
                  <a:lnTo>
                    <a:pt x="588215" y="450704"/>
                  </a:lnTo>
                  <a:lnTo>
                    <a:pt x="588753" y="447441"/>
                  </a:lnTo>
                  <a:lnTo>
                    <a:pt x="584176" y="444178"/>
                  </a:lnTo>
                  <a:lnTo>
                    <a:pt x="583436" y="438325"/>
                  </a:lnTo>
                  <a:cubicBezTo>
                    <a:pt x="583436" y="438325"/>
                    <a:pt x="583200" y="435062"/>
                    <a:pt x="583537" y="434725"/>
                  </a:cubicBezTo>
                  <a:cubicBezTo>
                    <a:pt x="583873" y="434389"/>
                    <a:pt x="585825" y="432505"/>
                    <a:pt x="585825" y="432505"/>
                  </a:cubicBezTo>
                  <a:lnTo>
                    <a:pt x="589628" y="431900"/>
                  </a:lnTo>
                  <a:lnTo>
                    <a:pt x="592960" y="430117"/>
                  </a:lnTo>
                  <a:lnTo>
                    <a:pt x="598951" y="430319"/>
                  </a:lnTo>
                  <a:lnTo>
                    <a:pt x="602518" y="429982"/>
                  </a:lnTo>
                  <a:lnTo>
                    <a:pt x="606893" y="429982"/>
                  </a:lnTo>
                  <a:lnTo>
                    <a:pt x="607802" y="431462"/>
                  </a:lnTo>
                  <a:lnTo>
                    <a:pt x="609484" y="433683"/>
                  </a:lnTo>
                  <a:cubicBezTo>
                    <a:pt x="609484" y="433683"/>
                    <a:pt x="612278" y="433683"/>
                    <a:pt x="612379" y="433514"/>
                  </a:cubicBezTo>
                  <a:cubicBezTo>
                    <a:pt x="612480" y="433346"/>
                    <a:pt x="614600" y="430487"/>
                    <a:pt x="614768" y="430420"/>
                  </a:cubicBezTo>
                  <a:cubicBezTo>
                    <a:pt x="614936" y="430352"/>
                    <a:pt x="617797" y="427594"/>
                    <a:pt x="617797" y="427594"/>
                  </a:cubicBezTo>
                  <a:lnTo>
                    <a:pt x="621432" y="423523"/>
                  </a:lnTo>
                  <a:lnTo>
                    <a:pt x="626884" y="420563"/>
                  </a:lnTo>
                  <a:lnTo>
                    <a:pt x="629980" y="418747"/>
                  </a:lnTo>
                  <a:lnTo>
                    <a:pt x="635937" y="417805"/>
                  </a:lnTo>
                  <a:lnTo>
                    <a:pt x="641658" y="417805"/>
                  </a:lnTo>
                  <a:lnTo>
                    <a:pt x="648052" y="416425"/>
                  </a:lnTo>
                  <a:lnTo>
                    <a:pt x="652630" y="415046"/>
                  </a:lnTo>
                  <a:lnTo>
                    <a:pt x="656399" y="412221"/>
                  </a:lnTo>
                  <a:lnTo>
                    <a:pt x="660976" y="406872"/>
                  </a:lnTo>
                  <a:cubicBezTo>
                    <a:pt x="660976" y="406872"/>
                    <a:pt x="663668" y="403474"/>
                    <a:pt x="663938" y="403407"/>
                  </a:cubicBezTo>
                  <a:cubicBezTo>
                    <a:pt x="664207" y="403340"/>
                    <a:pt x="668178" y="399337"/>
                    <a:pt x="668178" y="399337"/>
                  </a:cubicBezTo>
                  <a:lnTo>
                    <a:pt x="670399" y="392306"/>
                  </a:lnTo>
                  <a:lnTo>
                    <a:pt x="670399" y="387394"/>
                  </a:lnTo>
                  <a:lnTo>
                    <a:pt x="670399" y="383257"/>
                  </a:lnTo>
                  <a:lnTo>
                    <a:pt x="670399" y="378682"/>
                  </a:lnTo>
                  <a:cubicBezTo>
                    <a:pt x="670399" y="378682"/>
                    <a:pt x="672217" y="375284"/>
                    <a:pt x="672452" y="375217"/>
                  </a:cubicBezTo>
                  <a:cubicBezTo>
                    <a:pt x="672654" y="375150"/>
                    <a:pt x="675649" y="371147"/>
                    <a:pt x="675649" y="371147"/>
                  </a:cubicBezTo>
                  <a:lnTo>
                    <a:pt x="677164" y="369128"/>
                  </a:lnTo>
                  <a:lnTo>
                    <a:pt x="679351" y="366942"/>
                  </a:lnTo>
                  <a:lnTo>
                    <a:pt x="682044" y="365293"/>
                  </a:lnTo>
                  <a:lnTo>
                    <a:pt x="682750" y="364486"/>
                  </a:lnTo>
                  <a:lnTo>
                    <a:pt x="685006" y="363914"/>
                  </a:lnTo>
                  <a:lnTo>
                    <a:pt x="686957" y="363914"/>
                  </a:lnTo>
                  <a:cubicBezTo>
                    <a:pt x="686957" y="363914"/>
                    <a:pt x="689145" y="365798"/>
                    <a:pt x="689414" y="366101"/>
                  </a:cubicBezTo>
                  <a:cubicBezTo>
                    <a:pt x="689717" y="366403"/>
                    <a:pt x="691501" y="369633"/>
                    <a:pt x="691501" y="369633"/>
                  </a:cubicBezTo>
                  <a:lnTo>
                    <a:pt x="692073" y="371819"/>
                  </a:lnTo>
                  <a:lnTo>
                    <a:pt x="694159" y="372189"/>
                  </a:lnTo>
                  <a:lnTo>
                    <a:pt x="696919" y="371180"/>
                  </a:lnTo>
                  <a:lnTo>
                    <a:pt x="698063" y="369094"/>
                  </a:lnTo>
                  <a:lnTo>
                    <a:pt x="699208" y="363948"/>
                  </a:lnTo>
                  <a:lnTo>
                    <a:pt x="700015" y="361257"/>
                  </a:lnTo>
                  <a:cubicBezTo>
                    <a:pt x="700015" y="361257"/>
                    <a:pt x="701530" y="359507"/>
                    <a:pt x="701900" y="359373"/>
                  </a:cubicBezTo>
                  <a:cubicBezTo>
                    <a:pt x="702270" y="359238"/>
                    <a:pt x="705097" y="357859"/>
                    <a:pt x="705097" y="357859"/>
                  </a:cubicBezTo>
                  <a:cubicBezTo>
                    <a:pt x="705097" y="357859"/>
                    <a:pt x="707722" y="356412"/>
                    <a:pt x="708227" y="356177"/>
                  </a:cubicBezTo>
                  <a:cubicBezTo>
                    <a:pt x="708732" y="355975"/>
                    <a:pt x="709539" y="355302"/>
                    <a:pt x="709742" y="355302"/>
                  </a:cubicBezTo>
                  <a:cubicBezTo>
                    <a:pt x="709943" y="355302"/>
                    <a:pt x="712131" y="353688"/>
                    <a:pt x="712434" y="353351"/>
                  </a:cubicBezTo>
                  <a:cubicBezTo>
                    <a:pt x="712703" y="352981"/>
                    <a:pt x="713612" y="351636"/>
                    <a:pt x="713679" y="351400"/>
                  </a:cubicBezTo>
                  <a:cubicBezTo>
                    <a:pt x="713746" y="351198"/>
                    <a:pt x="713679" y="349079"/>
                    <a:pt x="713679" y="349079"/>
                  </a:cubicBezTo>
                  <a:lnTo>
                    <a:pt x="713477" y="340467"/>
                  </a:lnTo>
                  <a:lnTo>
                    <a:pt x="713881" y="333235"/>
                  </a:lnTo>
                  <a:lnTo>
                    <a:pt x="713881" y="324825"/>
                  </a:lnTo>
                  <a:lnTo>
                    <a:pt x="715631" y="315708"/>
                  </a:lnTo>
                  <a:lnTo>
                    <a:pt x="715631" y="310932"/>
                  </a:lnTo>
                  <a:cubicBezTo>
                    <a:pt x="715631" y="310932"/>
                    <a:pt x="714319" y="307669"/>
                    <a:pt x="714251" y="306794"/>
                  </a:cubicBezTo>
                  <a:cubicBezTo>
                    <a:pt x="714184" y="305919"/>
                    <a:pt x="712669" y="303834"/>
                    <a:pt x="712602" y="303598"/>
                  </a:cubicBezTo>
                  <a:cubicBezTo>
                    <a:pt x="712535" y="303396"/>
                    <a:pt x="713174" y="301580"/>
                    <a:pt x="713174" y="301277"/>
                  </a:cubicBezTo>
                  <a:cubicBezTo>
                    <a:pt x="713174" y="300974"/>
                    <a:pt x="714689" y="299090"/>
                    <a:pt x="714857" y="298889"/>
                  </a:cubicBezTo>
                  <a:cubicBezTo>
                    <a:pt x="714991" y="298687"/>
                    <a:pt x="715934" y="297005"/>
                    <a:pt x="715934" y="297005"/>
                  </a:cubicBezTo>
                  <a:lnTo>
                    <a:pt x="718963" y="294616"/>
                  </a:lnTo>
                  <a:cubicBezTo>
                    <a:pt x="718963" y="294616"/>
                    <a:pt x="720275" y="293977"/>
                    <a:pt x="720545" y="293977"/>
                  </a:cubicBezTo>
                  <a:cubicBezTo>
                    <a:pt x="720847" y="293977"/>
                    <a:pt x="722126" y="293775"/>
                    <a:pt x="722429" y="293607"/>
                  </a:cubicBezTo>
                  <a:cubicBezTo>
                    <a:pt x="722698" y="293473"/>
                    <a:pt x="723876" y="293338"/>
                    <a:pt x="723876" y="293338"/>
                  </a:cubicBezTo>
                  <a:cubicBezTo>
                    <a:pt x="723876" y="293338"/>
                    <a:pt x="725761" y="292665"/>
                    <a:pt x="726131" y="292665"/>
                  </a:cubicBezTo>
                  <a:cubicBezTo>
                    <a:pt x="726501" y="292665"/>
                    <a:pt x="728655" y="292665"/>
                    <a:pt x="728655" y="292665"/>
                  </a:cubicBezTo>
                  <a:lnTo>
                    <a:pt x="731718" y="294616"/>
                  </a:lnTo>
                  <a:lnTo>
                    <a:pt x="735050" y="298586"/>
                  </a:lnTo>
                  <a:cubicBezTo>
                    <a:pt x="735050" y="298586"/>
                    <a:pt x="738449" y="299898"/>
                    <a:pt x="738752" y="299898"/>
                  </a:cubicBezTo>
                  <a:cubicBezTo>
                    <a:pt x="739021" y="299898"/>
                    <a:pt x="743968" y="300201"/>
                    <a:pt x="743968" y="300201"/>
                  </a:cubicBezTo>
                  <a:cubicBezTo>
                    <a:pt x="743968" y="300201"/>
                    <a:pt x="745281" y="300335"/>
                    <a:pt x="745483" y="300402"/>
                  </a:cubicBezTo>
                  <a:cubicBezTo>
                    <a:pt x="745684" y="300470"/>
                    <a:pt x="746930" y="302589"/>
                    <a:pt x="746930" y="302589"/>
                  </a:cubicBezTo>
                  <a:lnTo>
                    <a:pt x="746930" y="305717"/>
                  </a:lnTo>
                  <a:lnTo>
                    <a:pt x="745988" y="309485"/>
                  </a:lnTo>
                  <a:lnTo>
                    <a:pt x="746930" y="312748"/>
                  </a:lnTo>
                  <a:cubicBezTo>
                    <a:pt x="746930" y="312748"/>
                    <a:pt x="746358" y="315641"/>
                    <a:pt x="746189" y="315944"/>
                  </a:cubicBezTo>
                  <a:cubicBezTo>
                    <a:pt x="746055" y="316247"/>
                    <a:pt x="746324" y="319140"/>
                    <a:pt x="746324" y="319140"/>
                  </a:cubicBezTo>
                  <a:cubicBezTo>
                    <a:pt x="746324" y="319140"/>
                    <a:pt x="750531" y="321730"/>
                    <a:pt x="750800" y="321730"/>
                  </a:cubicBezTo>
                  <a:cubicBezTo>
                    <a:pt x="751103" y="321730"/>
                    <a:pt x="757194" y="327381"/>
                    <a:pt x="757194" y="327381"/>
                  </a:cubicBezTo>
                  <a:lnTo>
                    <a:pt x="762175" y="332360"/>
                  </a:lnTo>
                  <a:lnTo>
                    <a:pt x="766820" y="336128"/>
                  </a:lnTo>
                  <a:lnTo>
                    <a:pt x="769276" y="337440"/>
                  </a:lnTo>
                  <a:lnTo>
                    <a:pt x="774695" y="338314"/>
                  </a:lnTo>
                  <a:lnTo>
                    <a:pt x="774695" y="335287"/>
                  </a:lnTo>
                  <a:lnTo>
                    <a:pt x="772844" y="331687"/>
                  </a:lnTo>
                  <a:lnTo>
                    <a:pt x="772507" y="329063"/>
                  </a:lnTo>
                  <a:lnTo>
                    <a:pt x="772709" y="327415"/>
                  </a:lnTo>
                  <a:lnTo>
                    <a:pt x="773887" y="326540"/>
                  </a:lnTo>
                  <a:lnTo>
                    <a:pt x="774661" y="326439"/>
                  </a:lnTo>
                  <a:lnTo>
                    <a:pt x="776849" y="326776"/>
                  </a:lnTo>
                  <a:lnTo>
                    <a:pt x="778700" y="329938"/>
                  </a:lnTo>
                  <a:lnTo>
                    <a:pt x="779844" y="333638"/>
                  </a:lnTo>
                  <a:lnTo>
                    <a:pt x="782604" y="338079"/>
                  </a:lnTo>
                  <a:lnTo>
                    <a:pt x="784455" y="341678"/>
                  </a:lnTo>
                  <a:lnTo>
                    <a:pt x="786104" y="344706"/>
                  </a:lnTo>
                  <a:lnTo>
                    <a:pt x="788594" y="347868"/>
                  </a:lnTo>
                  <a:lnTo>
                    <a:pt x="788594" y="350895"/>
                  </a:lnTo>
                  <a:cubicBezTo>
                    <a:pt x="788594" y="350895"/>
                    <a:pt x="792801" y="354091"/>
                    <a:pt x="793373" y="354091"/>
                  </a:cubicBezTo>
                  <a:cubicBezTo>
                    <a:pt x="793945" y="354091"/>
                    <a:pt x="795965" y="353351"/>
                    <a:pt x="795965" y="353351"/>
                  </a:cubicBezTo>
                  <a:cubicBezTo>
                    <a:pt x="795965" y="353351"/>
                    <a:pt x="797647" y="352914"/>
                    <a:pt x="797984" y="352914"/>
                  </a:cubicBezTo>
                  <a:cubicBezTo>
                    <a:pt x="798354" y="352914"/>
                    <a:pt x="800171" y="354091"/>
                    <a:pt x="800171" y="354091"/>
                  </a:cubicBezTo>
                  <a:cubicBezTo>
                    <a:pt x="800171" y="354091"/>
                    <a:pt x="800811" y="357186"/>
                    <a:pt x="801114" y="357186"/>
                  </a:cubicBezTo>
                  <a:cubicBezTo>
                    <a:pt x="801417" y="357186"/>
                    <a:pt x="801989" y="357489"/>
                    <a:pt x="802729" y="357388"/>
                  </a:cubicBezTo>
                  <a:cubicBezTo>
                    <a:pt x="803436" y="357321"/>
                    <a:pt x="804614" y="356816"/>
                    <a:pt x="804681" y="356143"/>
                  </a:cubicBezTo>
                  <a:cubicBezTo>
                    <a:pt x="804748" y="355504"/>
                    <a:pt x="805623" y="354125"/>
                    <a:pt x="804681" y="353385"/>
                  </a:cubicBezTo>
                  <a:cubicBezTo>
                    <a:pt x="803739" y="352645"/>
                    <a:pt x="802797" y="351871"/>
                    <a:pt x="802594" y="351804"/>
                  </a:cubicBezTo>
                  <a:cubicBezTo>
                    <a:pt x="802393" y="351736"/>
                    <a:pt x="801518" y="350492"/>
                    <a:pt x="801518" y="350492"/>
                  </a:cubicBezTo>
                  <a:lnTo>
                    <a:pt x="800710" y="349348"/>
                  </a:lnTo>
                  <a:lnTo>
                    <a:pt x="798690" y="348339"/>
                  </a:lnTo>
                  <a:lnTo>
                    <a:pt x="796671" y="347464"/>
                  </a:lnTo>
                  <a:cubicBezTo>
                    <a:pt x="796671" y="347464"/>
                    <a:pt x="796032" y="346758"/>
                    <a:pt x="795662" y="345580"/>
                  </a:cubicBezTo>
                  <a:cubicBezTo>
                    <a:pt x="795291" y="344403"/>
                    <a:pt x="793945" y="342317"/>
                    <a:pt x="793777" y="342116"/>
                  </a:cubicBezTo>
                  <a:cubicBezTo>
                    <a:pt x="793642" y="341880"/>
                    <a:pt x="792128" y="340097"/>
                    <a:pt x="792128" y="340097"/>
                  </a:cubicBezTo>
                  <a:cubicBezTo>
                    <a:pt x="792128" y="340097"/>
                    <a:pt x="791320" y="338213"/>
                    <a:pt x="791253" y="337911"/>
                  </a:cubicBezTo>
                  <a:cubicBezTo>
                    <a:pt x="791185" y="337608"/>
                    <a:pt x="789435" y="335085"/>
                    <a:pt x="789435" y="335085"/>
                  </a:cubicBezTo>
                  <a:cubicBezTo>
                    <a:pt x="789435" y="335085"/>
                    <a:pt x="788123" y="331519"/>
                    <a:pt x="788123" y="331250"/>
                  </a:cubicBezTo>
                  <a:cubicBezTo>
                    <a:pt x="788123" y="330947"/>
                    <a:pt x="787988" y="328794"/>
                    <a:pt x="787988" y="328794"/>
                  </a:cubicBezTo>
                  <a:cubicBezTo>
                    <a:pt x="787988" y="328794"/>
                    <a:pt x="788224" y="327852"/>
                    <a:pt x="788224" y="327146"/>
                  </a:cubicBezTo>
                  <a:cubicBezTo>
                    <a:pt x="788224" y="326406"/>
                    <a:pt x="788594" y="325329"/>
                    <a:pt x="788156" y="324959"/>
                  </a:cubicBezTo>
                  <a:cubicBezTo>
                    <a:pt x="787719" y="324589"/>
                    <a:pt x="784455" y="322773"/>
                    <a:pt x="784017" y="322773"/>
                  </a:cubicBezTo>
                  <a:cubicBezTo>
                    <a:pt x="783579" y="322773"/>
                    <a:pt x="782267" y="322134"/>
                    <a:pt x="782267" y="322134"/>
                  </a:cubicBezTo>
                  <a:cubicBezTo>
                    <a:pt x="782267" y="322134"/>
                    <a:pt x="781123" y="320620"/>
                    <a:pt x="781325" y="320048"/>
                  </a:cubicBezTo>
                  <a:cubicBezTo>
                    <a:pt x="781560" y="319476"/>
                    <a:pt x="781762" y="317222"/>
                    <a:pt x="781762" y="317222"/>
                  </a:cubicBezTo>
                  <a:cubicBezTo>
                    <a:pt x="781762" y="317222"/>
                    <a:pt x="782200" y="316011"/>
                    <a:pt x="781459" y="315843"/>
                  </a:cubicBezTo>
                  <a:cubicBezTo>
                    <a:pt x="780719" y="315708"/>
                    <a:pt x="778195" y="315406"/>
                    <a:pt x="777690" y="315776"/>
                  </a:cubicBezTo>
                  <a:cubicBezTo>
                    <a:pt x="777185" y="316146"/>
                    <a:pt x="775738" y="317592"/>
                    <a:pt x="775503" y="317660"/>
                  </a:cubicBezTo>
                  <a:cubicBezTo>
                    <a:pt x="775301" y="317727"/>
                    <a:pt x="773988" y="318669"/>
                    <a:pt x="773113" y="318231"/>
                  </a:cubicBezTo>
                  <a:cubicBezTo>
                    <a:pt x="772238" y="317794"/>
                    <a:pt x="770353" y="316045"/>
                    <a:pt x="770589" y="315338"/>
                  </a:cubicBezTo>
                  <a:cubicBezTo>
                    <a:pt x="770791" y="314598"/>
                    <a:pt x="771161" y="311941"/>
                    <a:pt x="771397" y="311705"/>
                  </a:cubicBezTo>
                  <a:cubicBezTo>
                    <a:pt x="771632" y="311503"/>
                    <a:pt x="775402" y="308510"/>
                    <a:pt x="775402" y="308510"/>
                  </a:cubicBezTo>
                  <a:lnTo>
                    <a:pt x="776781" y="307433"/>
                  </a:lnTo>
                  <a:lnTo>
                    <a:pt x="783445" y="302959"/>
                  </a:lnTo>
                  <a:lnTo>
                    <a:pt x="787719" y="299259"/>
                  </a:lnTo>
                  <a:lnTo>
                    <a:pt x="790614" y="297375"/>
                  </a:lnTo>
                  <a:lnTo>
                    <a:pt x="796907" y="294179"/>
                  </a:lnTo>
                  <a:lnTo>
                    <a:pt x="799666" y="293237"/>
                  </a:lnTo>
                  <a:lnTo>
                    <a:pt x="802797" y="293103"/>
                  </a:lnTo>
                  <a:cubicBezTo>
                    <a:pt x="802797" y="293103"/>
                    <a:pt x="806431" y="292531"/>
                    <a:pt x="806566" y="292228"/>
                  </a:cubicBezTo>
                  <a:cubicBezTo>
                    <a:pt x="806700" y="291925"/>
                    <a:pt x="808013" y="289335"/>
                    <a:pt x="808013" y="289335"/>
                  </a:cubicBezTo>
                  <a:cubicBezTo>
                    <a:pt x="808013" y="289335"/>
                    <a:pt x="808249" y="287586"/>
                    <a:pt x="808450" y="287518"/>
                  </a:cubicBezTo>
                  <a:cubicBezTo>
                    <a:pt x="808652" y="287451"/>
                    <a:pt x="810907" y="287216"/>
                    <a:pt x="811782" y="286879"/>
                  </a:cubicBezTo>
                  <a:cubicBezTo>
                    <a:pt x="812657" y="286509"/>
                    <a:pt x="813667" y="285803"/>
                    <a:pt x="814037" y="285433"/>
                  </a:cubicBezTo>
                  <a:cubicBezTo>
                    <a:pt x="814407" y="285063"/>
                    <a:pt x="816225" y="283616"/>
                    <a:pt x="816730" y="283414"/>
                  </a:cubicBezTo>
                  <a:cubicBezTo>
                    <a:pt x="817234" y="283213"/>
                    <a:pt x="819254" y="282035"/>
                    <a:pt x="819254" y="282035"/>
                  </a:cubicBezTo>
                  <a:lnTo>
                    <a:pt x="819960" y="280790"/>
                  </a:lnTo>
                  <a:lnTo>
                    <a:pt x="819960" y="279647"/>
                  </a:lnTo>
                  <a:cubicBezTo>
                    <a:pt x="819960" y="279647"/>
                    <a:pt x="818816" y="276249"/>
                    <a:pt x="818816" y="275946"/>
                  </a:cubicBezTo>
                  <a:cubicBezTo>
                    <a:pt x="818816" y="275644"/>
                    <a:pt x="817504" y="272986"/>
                    <a:pt x="817504" y="272986"/>
                  </a:cubicBezTo>
                  <a:lnTo>
                    <a:pt x="814609" y="270968"/>
                  </a:lnTo>
                  <a:lnTo>
                    <a:pt x="814744" y="268882"/>
                  </a:lnTo>
                  <a:cubicBezTo>
                    <a:pt x="814609" y="268546"/>
                    <a:pt x="815989" y="265585"/>
                    <a:pt x="816292" y="265451"/>
                  </a:cubicBez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37" name="Freeform 903">
              <a:extLst>
                <a:ext uri="{FF2B5EF4-FFF2-40B4-BE49-F238E27FC236}">
                  <a16:creationId xmlns:a16="http://schemas.microsoft.com/office/drawing/2014/main" id="{AE19FBDC-7FC0-D602-0A0C-0E29C838AE31}"/>
                </a:ext>
              </a:extLst>
            </p:cNvPr>
            <p:cNvSpPr/>
            <p:nvPr/>
          </p:nvSpPr>
          <p:spPr>
            <a:xfrm>
              <a:off x="8185600" y="1718655"/>
              <a:ext cx="577811" cy="526277"/>
            </a:xfrm>
            <a:custGeom>
              <a:avLst/>
              <a:gdLst>
                <a:gd name="connsiteX0" fmla="*/ 1109167 w 1109339"/>
                <a:gd name="connsiteY0" fmla="*/ 386721 h 1010399"/>
                <a:gd name="connsiteX1" fmla="*/ 1109066 w 1109339"/>
                <a:gd name="connsiteY1" fmla="*/ 385577 h 1010399"/>
                <a:gd name="connsiteX2" fmla="*/ 1109066 w 1109339"/>
                <a:gd name="connsiteY2" fmla="*/ 384871 h 1010399"/>
                <a:gd name="connsiteX3" fmla="*/ 1108359 w 1109339"/>
                <a:gd name="connsiteY3" fmla="*/ 383391 h 1010399"/>
                <a:gd name="connsiteX4" fmla="*/ 1106508 w 1109339"/>
                <a:gd name="connsiteY4" fmla="*/ 383761 h 1010399"/>
                <a:gd name="connsiteX5" fmla="*/ 1105263 w 1109339"/>
                <a:gd name="connsiteY5" fmla="*/ 384636 h 1010399"/>
                <a:gd name="connsiteX6" fmla="*/ 1104926 w 1109339"/>
                <a:gd name="connsiteY6" fmla="*/ 385779 h 1010399"/>
                <a:gd name="connsiteX7" fmla="*/ 1104051 w 1109339"/>
                <a:gd name="connsiteY7" fmla="*/ 387630 h 1010399"/>
                <a:gd name="connsiteX8" fmla="*/ 1102133 w 1109339"/>
                <a:gd name="connsiteY8" fmla="*/ 388403 h 1010399"/>
                <a:gd name="connsiteX9" fmla="*/ 1099912 w 1109339"/>
                <a:gd name="connsiteY9" fmla="*/ 388841 h 1010399"/>
                <a:gd name="connsiteX10" fmla="*/ 1097691 w 1109339"/>
                <a:gd name="connsiteY10" fmla="*/ 389917 h 1010399"/>
                <a:gd name="connsiteX11" fmla="*/ 1095301 w 1109339"/>
                <a:gd name="connsiteY11" fmla="*/ 390455 h 1010399"/>
                <a:gd name="connsiteX12" fmla="*/ 1091060 w 1109339"/>
                <a:gd name="connsiteY12" fmla="*/ 391397 h 1010399"/>
                <a:gd name="connsiteX13" fmla="*/ 1082142 w 1109339"/>
                <a:gd name="connsiteY13" fmla="*/ 391128 h 1010399"/>
                <a:gd name="connsiteX14" fmla="*/ 1076387 w 1109339"/>
                <a:gd name="connsiteY14" fmla="*/ 391397 h 1010399"/>
                <a:gd name="connsiteX15" fmla="*/ 1071642 w 1109339"/>
                <a:gd name="connsiteY15" fmla="*/ 392474 h 1010399"/>
                <a:gd name="connsiteX16" fmla="*/ 1065921 w 1109339"/>
                <a:gd name="connsiteY16" fmla="*/ 396712 h 1010399"/>
                <a:gd name="connsiteX17" fmla="*/ 1061041 w 1109339"/>
                <a:gd name="connsiteY17" fmla="*/ 398832 h 1010399"/>
                <a:gd name="connsiteX18" fmla="*/ 1048252 w 1109339"/>
                <a:gd name="connsiteY18" fmla="*/ 405122 h 1010399"/>
                <a:gd name="connsiteX19" fmla="*/ 1041689 w 1109339"/>
                <a:gd name="connsiteY19" fmla="*/ 410605 h 1010399"/>
                <a:gd name="connsiteX20" fmla="*/ 1032569 w 1109339"/>
                <a:gd name="connsiteY20" fmla="*/ 415281 h 1010399"/>
                <a:gd name="connsiteX21" fmla="*/ 1011434 w 1109339"/>
                <a:gd name="connsiteY21" fmla="*/ 432236 h 1010399"/>
                <a:gd name="connsiteX22" fmla="*/ 1001977 w 1109339"/>
                <a:gd name="connsiteY22" fmla="*/ 439401 h 1010399"/>
                <a:gd name="connsiteX23" fmla="*/ 990467 w 1109339"/>
                <a:gd name="connsiteY23" fmla="*/ 441588 h 1010399"/>
                <a:gd name="connsiteX24" fmla="*/ 978721 w 1109339"/>
                <a:gd name="connsiteY24" fmla="*/ 445927 h 1010399"/>
                <a:gd name="connsiteX25" fmla="*/ 971115 w 1109339"/>
                <a:gd name="connsiteY25" fmla="*/ 453328 h 1010399"/>
                <a:gd name="connsiteX26" fmla="*/ 963712 w 1109339"/>
                <a:gd name="connsiteY26" fmla="*/ 460056 h 1010399"/>
                <a:gd name="connsiteX27" fmla="*/ 955668 w 1109339"/>
                <a:gd name="connsiteY27" fmla="*/ 467120 h 1010399"/>
                <a:gd name="connsiteX28" fmla="*/ 951428 w 1109339"/>
                <a:gd name="connsiteY28" fmla="*/ 475160 h 1010399"/>
                <a:gd name="connsiteX29" fmla="*/ 945673 w 1109339"/>
                <a:gd name="connsiteY29" fmla="*/ 477885 h 1010399"/>
                <a:gd name="connsiteX30" fmla="*/ 942980 w 1109339"/>
                <a:gd name="connsiteY30" fmla="*/ 477885 h 1010399"/>
                <a:gd name="connsiteX31" fmla="*/ 940355 w 1109339"/>
                <a:gd name="connsiteY31" fmla="*/ 479836 h 1010399"/>
                <a:gd name="connsiteX32" fmla="*/ 939480 w 1109339"/>
                <a:gd name="connsiteY32" fmla="*/ 486463 h 1010399"/>
                <a:gd name="connsiteX33" fmla="*/ 939918 w 1109339"/>
                <a:gd name="connsiteY33" fmla="*/ 492753 h 1010399"/>
                <a:gd name="connsiteX34" fmla="*/ 940120 w 1109339"/>
                <a:gd name="connsiteY34" fmla="*/ 494604 h 1010399"/>
                <a:gd name="connsiteX35" fmla="*/ 939346 w 1109339"/>
                <a:gd name="connsiteY35" fmla="*/ 497766 h 1010399"/>
                <a:gd name="connsiteX36" fmla="*/ 937293 w 1109339"/>
                <a:gd name="connsiteY36" fmla="*/ 498977 h 1010399"/>
                <a:gd name="connsiteX37" fmla="*/ 935543 w 1109339"/>
                <a:gd name="connsiteY37" fmla="*/ 500289 h 1010399"/>
                <a:gd name="connsiteX38" fmla="*/ 930865 w 1109339"/>
                <a:gd name="connsiteY38" fmla="*/ 500726 h 1010399"/>
                <a:gd name="connsiteX39" fmla="*/ 919658 w 1109339"/>
                <a:gd name="connsiteY39" fmla="*/ 500928 h 1010399"/>
                <a:gd name="connsiteX40" fmla="*/ 913364 w 1109339"/>
                <a:gd name="connsiteY40" fmla="*/ 506377 h 1010399"/>
                <a:gd name="connsiteX41" fmla="*/ 906297 w 1109339"/>
                <a:gd name="connsiteY41" fmla="*/ 510179 h 1010399"/>
                <a:gd name="connsiteX42" fmla="*/ 902494 w 1109339"/>
                <a:gd name="connsiteY42" fmla="*/ 512668 h 1010399"/>
                <a:gd name="connsiteX43" fmla="*/ 896402 w 1109339"/>
                <a:gd name="connsiteY43" fmla="*/ 514451 h 1010399"/>
                <a:gd name="connsiteX44" fmla="*/ 890648 w 1109339"/>
                <a:gd name="connsiteY44" fmla="*/ 516133 h 1010399"/>
                <a:gd name="connsiteX45" fmla="*/ 880315 w 1109339"/>
                <a:gd name="connsiteY45" fmla="*/ 516133 h 1010399"/>
                <a:gd name="connsiteX46" fmla="*/ 857834 w 1109339"/>
                <a:gd name="connsiteY46" fmla="*/ 516772 h 1010399"/>
                <a:gd name="connsiteX47" fmla="*/ 852416 w 1109339"/>
                <a:gd name="connsiteY47" fmla="*/ 517108 h 1010399"/>
                <a:gd name="connsiteX48" fmla="*/ 847402 w 1109339"/>
                <a:gd name="connsiteY48" fmla="*/ 518757 h 1010399"/>
                <a:gd name="connsiteX49" fmla="*/ 841646 w 1109339"/>
                <a:gd name="connsiteY49" fmla="*/ 521919 h 1010399"/>
                <a:gd name="connsiteX50" fmla="*/ 835555 w 1109339"/>
                <a:gd name="connsiteY50" fmla="*/ 522558 h 1010399"/>
                <a:gd name="connsiteX51" fmla="*/ 829463 w 1109339"/>
                <a:gd name="connsiteY51" fmla="*/ 524509 h 1010399"/>
                <a:gd name="connsiteX52" fmla="*/ 824348 w 1109339"/>
                <a:gd name="connsiteY52" fmla="*/ 526359 h 1010399"/>
                <a:gd name="connsiteX53" fmla="*/ 817819 w 1109339"/>
                <a:gd name="connsiteY53" fmla="*/ 526696 h 1010399"/>
                <a:gd name="connsiteX54" fmla="*/ 813242 w 1109339"/>
                <a:gd name="connsiteY54" fmla="*/ 525485 h 1010399"/>
                <a:gd name="connsiteX55" fmla="*/ 807790 w 1109339"/>
                <a:gd name="connsiteY55" fmla="*/ 517108 h 1010399"/>
                <a:gd name="connsiteX56" fmla="*/ 803785 w 1109339"/>
                <a:gd name="connsiteY56" fmla="*/ 509607 h 1010399"/>
                <a:gd name="connsiteX57" fmla="*/ 798468 w 1109339"/>
                <a:gd name="connsiteY57" fmla="*/ 505368 h 1010399"/>
                <a:gd name="connsiteX58" fmla="*/ 796078 w 1109339"/>
                <a:gd name="connsiteY58" fmla="*/ 503619 h 1010399"/>
                <a:gd name="connsiteX59" fmla="*/ 790963 w 1109339"/>
                <a:gd name="connsiteY59" fmla="*/ 500894 h 1010399"/>
                <a:gd name="connsiteX60" fmla="*/ 787429 w 1109339"/>
                <a:gd name="connsiteY60" fmla="*/ 498169 h 1010399"/>
                <a:gd name="connsiteX61" fmla="*/ 782044 w 1109339"/>
                <a:gd name="connsiteY61" fmla="*/ 494368 h 1010399"/>
                <a:gd name="connsiteX62" fmla="*/ 782044 w 1109339"/>
                <a:gd name="connsiteY62" fmla="*/ 490903 h 1010399"/>
                <a:gd name="connsiteX63" fmla="*/ 782044 w 1109339"/>
                <a:gd name="connsiteY63" fmla="*/ 485689 h 1010399"/>
                <a:gd name="connsiteX64" fmla="*/ 782044 w 1109339"/>
                <a:gd name="connsiteY64" fmla="*/ 483940 h 1010399"/>
                <a:gd name="connsiteX65" fmla="*/ 784332 w 1109339"/>
                <a:gd name="connsiteY65" fmla="*/ 477952 h 1010399"/>
                <a:gd name="connsiteX66" fmla="*/ 785746 w 1109339"/>
                <a:gd name="connsiteY66" fmla="*/ 475227 h 1010399"/>
                <a:gd name="connsiteX67" fmla="*/ 787059 w 1109339"/>
                <a:gd name="connsiteY67" fmla="*/ 470787 h 1010399"/>
                <a:gd name="connsiteX68" fmla="*/ 786823 w 1109339"/>
                <a:gd name="connsiteY68" fmla="*/ 466010 h 1010399"/>
                <a:gd name="connsiteX69" fmla="*/ 786621 w 1109339"/>
                <a:gd name="connsiteY69" fmla="*/ 461435 h 1010399"/>
                <a:gd name="connsiteX70" fmla="*/ 786285 w 1109339"/>
                <a:gd name="connsiteY70" fmla="*/ 456557 h 1010399"/>
                <a:gd name="connsiteX71" fmla="*/ 784332 w 1109339"/>
                <a:gd name="connsiteY71" fmla="*/ 449056 h 1010399"/>
                <a:gd name="connsiteX72" fmla="*/ 780765 w 1109339"/>
                <a:gd name="connsiteY72" fmla="*/ 444817 h 1010399"/>
                <a:gd name="connsiteX73" fmla="*/ 776323 w 1109339"/>
                <a:gd name="connsiteY73" fmla="*/ 443068 h 1010399"/>
                <a:gd name="connsiteX74" fmla="*/ 772621 w 1109339"/>
                <a:gd name="connsiteY74" fmla="*/ 442832 h 1010399"/>
                <a:gd name="connsiteX75" fmla="*/ 766193 w 1109339"/>
                <a:gd name="connsiteY75" fmla="*/ 442496 h 1010399"/>
                <a:gd name="connsiteX76" fmla="*/ 763265 w 1109339"/>
                <a:gd name="connsiteY76" fmla="*/ 440982 h 1010399"/>
                <a:gd name="connsiteX77" fmla="*/ 761616 w 1109339"/>
                <a:gd name="connsiteY77" fmla="*/ 437517 h 1010399"/>
                <a:gd name="connsiteX78" fmla="*/ 760674 w 1109339"/>
                <a:gd name="connsiteY78" fmla="*/ 434456 h 1010399"/>
                <a:gd name="connsiteX79" fmla="*/ 759428 w 1109339"/>
                <a:gd name="connsiteY79" fmla="*/ 430756 h 1010399"/>
                <a:gd name="connsiteX80" fmla="*/ 759428 w 1109339"/>
                <a:gd name="connsiteY80" fmla="*/ 428266 h 1010399"/>
                <a:gd name="connsiteX81" fmla="*/ 762457 w 1109339"/>
                <a:gd name="connsiteY81" fmla="*/ 424364 h 1010399"/>
                <a:gd name="connsiteX82" fmla="*/ 763770 w 1109339"/>
                <a:gd name="connsiteY82" fmla="*/ 420226 h 1010399"/>
                <a:gd name="connsiteX83" fmla="*/ 767236 w 1109339"/>
                <a:gd name="connsiteY83" fmla="*/ 417502 h 1010399"/>
                <a:gd name="connsiteX84" fmla="*/ 770400 w 1109339"/>
                <a:gd name="connsiteY84" fmla="*/ 414474 h 1010399"/>
                <a:gd name="connsiteX85" fmla="*/ 773126 w 1109339"/>
                <a:gd name="connsiteY85" fmla="*/ 411446 h 1010399"/>
                <a:gd name="connsiteX86" fmla="*/ 773563 w 1109339"/>
                <a:gd name="connsiteY86" fmla="*/ 408856 h 1010399"/>
                <a:gd name="connsiteX87" fmla="*/ 773227 w 1109339"/>
                <a:gd name="connsiteY87" fmla="*/ 407208 h 1010399"/>
                <a:gd name="connsiteX88" fmla="*/ 771275 w 1109339"/>
                <a:gd name="connsiteY88" fmla="*/ 406333 h 1010399"/>
                <a:gd name="connsiteX89" fmla="*/ 767909 w 1109339"/>
                <a:gd name="connsiteY89" fmla="*/ 405257 h 1010399"/>
                <a:gd name="connsiteX90" fmla="*/ 766731 w 1109339"/>
                <a:gd name="connsiteY90" fmla="*/ 404920 h 1010399"/>
                <a:gd name="connsiteX91" fmla="*/ 761077 w 1109339"/>
                <a:gd name="connsiteY91" fmla="*/ 405459 h 1010399"/>
                <a:gd name="connsiteX92" fmla="*/ 758452 w 1109339"/>
                <a:gd name="connsiteY92" fmla="*/ 405896 h 1010399"/>
                <a:gd name="connsiteX93" fmla="*/ 753337 w 1109339"/>
                <a:gd name="connsiteY93" fmla="*/ 406871 h 1010399"/>
                <a:gd name="connsiteX94" fmla="*/ 749231 w 1109339"/>
                <a:gd name="connsiteY94" fmla="*/ 407073 h 1010399"/>
                <a:gd name="connsiteX95" fmla="*/ 742601 w 1109339"/>
                <a:gd name="connsiteY95" fmla="*/ 408385 h 1010399"/>
                <a:gd name="connsiteX96" fmla="*/ 739572 w 1109339"/>
                <a:gd name="connsiteY96" fmla="*/ 409428 h 1010399"/>
                <a:gd name="connsiteX97" fmla="*/ 736106 w 1109339"/>
                <a:gd name="connsiteY97" fmla="*/ 410034 h 1010399"/>
                <a:gd name="connsiteX98" fmla="*/ 732538 w 1109339"/>
                <a:gd name="connsiteY98" fmla="*/ 410034 h 1010399"/>
                <a:gd name="connsiteX99" fmla="*/ 727759 w 1109339"/>
                <a:gd name="connsiteY99" fmla="*/ 409933 h 1010399"/>
                <a:gd name="connsiteX100" fmla="*/ 722206 w 1109339"/>
                <a:gd name="connsiteY100" fmla="*/ 408520 h 1010399"/>
                <a:gd name="connsiteX101" fmla="*/ 718504 w 1109339"/>
                <a:gd name="connsiteY101" fmla="*/ 405492 h 1010399"/>
                <a:gd name="connsiteX102" fmla="*/ 714701 w 1109339"/>
                <a:gd name="connsiteY102" fmla="*/ 403440 h 1010399"/>
                <a:gd name="connsiteX103" fmla="*/ 711672 w 1109339"/>
                <a:gd name="connsiteY103" fmla="*/ 400076 h 1010399"/>
                <a:gd name="connsiteX104" fmla="*/ 704941 w 1109339"/>
                <a:gd name="connsiteY104" fmla="*/ 394963 h 1010399"/>
                <a:gd name="connsiteX105" fmla="*/ 699187 w 1109339"/>
                <a:gd name="connsiteY105" fmla="*/ 389749 h 1010399"/>
                <a:gd name="connsiteX106" fmla="*/ 695720 w 1109339"/>
                <a:gd name="connsiteY106" fmla="*/ 387360 h 1010399"/>
                <a:gd name="connsiteX107" fmla="*/ 691480 w 1109339"/>
                <a:gd name="connsiteY107" fmla="*/ 383391 h 1010399"/>
                <a:gd name="connsiteX108" fmla="*/ 686364 w 1109339"/>
                <a:gd name="connsiteY108" fmla="*/ 379657 h 1010399"/>
                <a:gd name="connsiteX109" fmla="*/ 681787 w 1109339"/>
                <a:gd name="connsiteY109" fmla="*/ 378782 h 1010399"/>
                <a:gd name="connsiteX110" fmla="*/ 677008 w 1109339"/>
                <a:gd name="connsiteY110" fmla="*/ 377908 h 1010399"/>
                <a:gd name="connsiteX111" fmla="*/ 674282 w 1109339"/>
                <a:gd name="connsiteY111" fmla="*/ 376831 h 1010399"/>
                <a:gd name="connsiteX112" fmla="*/ 673071 w 1109339"/>
                <a:gd name="connsiteY112" fmla="*/ 374645 h 1010399"/>
                <a:gd name="connsiteX113" fmla="*/ 672532 w 1109339"/>
                <a:gd name="connsiteY113" fmla="*/ 371718 h 1010399"/>
                <a:gd name="connsiteX114" fmla="*/ 672532 w 1109339"/>
                <a:gd name="connsiteY114" fmla="*/ 369229 h 1010399"/>
                <a:gd name="connsiteX115" fmla="*/ 672532 w 1109339"/>
                <a:gd name="connsiteY115" fmla="*/ 367479 h 1010399"/>
                <a:gd name="connsiteX116" fmla="*/ 670917 w 1109339"/>
                <a:gd name="connsiteY116" fmla="*/ 364015 h 1010399"/>
                <a:gd name="connsiteX117" fmla="*/ 667888 w 1109339"/>
                <a:gd name="connsiteY117" fmla="*/ 361424 h 1010399"/>
                <a:gd name="connsiteX118" fmla="*/ 664724 w 1109339"/>
                <a:gd name="connsiteY118" fmla="*/ 361424 h 1010399"/>
                <a:gd name="connsiteX119" fmla="*/ 663008 w 1109339"/>
                <a:gd name="connsiteY119" fmla="*/ 361424 h 1010399"/>
                <a:gd name="connsiteX120" fmla="*/ 661258 w 1109339"/>
                <a:gd name="connsiteY120" fmla="*/ 361424 h 1010399"/>
                <a:gd name="connsiteX121" fmla="*/ 658767 w 1109339"/>
                <a:gd name="connsiteY121" fmla="*/ 364889 h 1010399"/>
                <a:gd name="connsiteX122" fmla="*/ 658767 w 1109339"/>
                <a:gd name="connsiteY122" fmla="*/ 366739 h 1010399"/>
                <a:gd name="connsiteX123" fmla="*/ 653450 w 1109339"/>
                <a:gd name="connsiteY123" fmla="*/ 369027 h 1010399"/>
                <a:gd name="connsiteX124" fmla="*/ 649008 w 1109339"/>
                <a:gd name="connsiteY124" fmla="*/ 372189 h 1010399"/>
                <a:gd name="connsiteX125" fmla="*/ 645844 w 1109339"/>
                <a:gd name="connsiteY125" fmla="*/ 373501 h 1010399"/>
                <a:gd name="connsiteX126" fmla="*/ 641267 w 1109339"/>
                <a:gd name="connsiteY126" fmla="*/ 373602 h 1010399"/>
                <a:gd name="connsiteX127" fmla="*/ 638676 w 1109339"/>
                <a:gd name="connsiteY127" fmla="*/ 373602 h 1010399"/>
                <a:gd name="connsiteX128" fmla="*/ 634772 w 1109339"/>
                <a:gd name="connsiteY128" fmla="*/ 374241 h 1010399"/>
                <a:gd name="connsiteX129" fmla="*/ 631070 w 1109339"/>
                <a:gd name="connsiteY129" fmla="*/ 373804 h 1010399"/>
                <a:gd name="connsiteX130" fmla="*/ 624103 w 1109339"/>
                <a:gd name="connsiteY130" fmla="*/ 370978 h 1010399"/>
                <a:gd name="connsiteX131" fmla="*/ 622050 w 1109339"/>
                <a:gd name="connsiteY131" fmla="*/ 369767 h 1010399"/>
                <a:gd name="connsiteX132" fmla="*/ 618786 w 1109339"/>
                <a:gd name="connsiteY132" fmla="*/ 367917 h 1010399"/>
                <a:gd name="connsiteX133" fmla="*/ 613031 w 1109339"/>
                <a:gd name="connsiteY133" fmla="*/ 368354 h 1010399"/>
                <a:gd name="connsiteX134" fmla="*/ 607377 w 1109339"/>
                <a:gd name="connsiteY134" fmla="*/ 368354 h 1010399"/>
                <a:gd name="connsiteX135" fmla="*/ 604112 w 1109339"/>
                <a:gd name="connsiteY135" fmla="*/ 366167 h 1010399"/>
                <a:gd name="connsiteX136" fmla="*/ 601925 w 1109339"/>
                <a:gd name="connsiteY136" fmla="*/ 361391 h 1010399"/>
                <a:gd name="connsiteX137" fmla="*/ 601252 w 1109339"/>
                <a:gd name="connsiteY137" fmla="*/ 358228 h 1010399"/>
                <a:gd name="connsiteX138" fmla="*/ 597785 w 1109339"/>
                <a:gd name="connsiteY138" fmla="*/ 355235 h 1010399"/>
                <a:gd name="connsiteX139" fmla="*/ 595295 w 1109339"/>
                <a:gd name="connsiteY139" fmla="*/ 354427 h 1010399"/>
                <a:gd name="connsiteX140" fmla="*/ 589977 w 1109339"/>
                <a:gd name="connsiteY140" fmla="*/ 354427 h 1010399"/>
                <a:gd name="connsiteX141" fmla="*/ 587487 w 1109339"/>
                <a:gd name="connsiteY141" fmla="*/ 353889 h 1010399"/>
                <a:gd name="connsiteX142" fmla="*/ 584121 w 1109339"/>
                <a:gd name="connsiteY142" fmla="*/ 355403 h 1010399"/>
                <a:gd name="connsiteX143" fmla="*/ 581093 w 1109339"/>
                <a:gd name="connsiteY143" fmla="*/ 357690 h 1010399"/>
                <a:gd name="connsiteX144" fmla="*/ 577391 w 1109339"/>
                <a:gd name="connsiteY144" fmla="*/ 360953 h 1010399"/>
                <a:gd name="connsiteX145" fmla="*/ 575102 w 1109339"/>
                <a:gd name="connsiteY145" fmla="*/ 363005 h 1010399"/>
                <a:gd name="connsiteX146" fmla="*/ 572915 w 1109339"/>
                <a:gd name="connsiteY146" fmla="*/ 363241 h 1010399"/>
                <a:gd name="connsiteX147" fmla="*/ 569886 w 1109339"/>
                <a:gd name="connsiteY147" fmla="*/ 363779 h 1010399"/>
                <a:gd name="connsiteX148" fmla="*/ 567833 w 1109339"/>
                <a:gd name="connsiteY148" fmla="*/ 363981 h 1010399"/>
                <a:gd name="connsiteX149" fmla="*/ 566318 w 1109339"/>
                <a:gd name="connsiteY149" fmla="*/ 364183 h 1010399"/>
                <a:gd name="connsiteX150" fmla="*/ 560765 w 1109339"/>
                <a:gd name="connsiteY150" fmla="*/ 364822 h 1010399"/>
                <a:gd name="connsiteX151" fmla="*/ 558712 w 1109339"/>
                <a:gd name="connsiteY151" fmla="*/ 364822 h 1010399"/>
                <a:gd name="connsiteX152" fmla="*/ 552520 w 1109339"/>
                <a:gd name="connsiteY152" fmla="*/ 364822 h 1010399"/>
                <a:gd name="connsiteX153" fmla="*/ 540573 w 1109339"/>
                <a:gd name="connsiteY153" fmla="*/ 364822 h 1010399"/>
                <a:gd name="connsiteX154" fmla="*/ 536130 w 1109339"/>
                <a:gd name="connsiteY154" fmla="*/ 364822 h 1010399"/>
                <a:gd name="connsiteX155" fmla="*/ 530914 w 1109339"/>
                <a:gd name="connsiteY155" fmla="*/ 363745 h 1010399"/>
                <a:gd name="connsiteX156" fmla="*/ 527312 w 1109339"/>
                <a:gd name="connsiteY156" fmla="*/ 362333 h 1010399"/>
                <a:gd name="connsiteX157" fmla="*/ 523308 w 1109339"/>
                <a:gd name="connsiteY157" fmla="*/ 361559 h 1010399"/>
                <a:gd name="connsiteX158" fmla="*/ 518293 w 1109339"/>
                <a:gd name="connsiteY158" fmla="*/ 358531 h 1010399"/>
                <a:gd name="connsiteX159" fmla="*/ 514053 w 1109339"/>
                <a:gd name="connsiteY159" fmla="*/ 352779 h 1010399"/>
                <a:gd name="connsiteX160" fmla="*/ 513077 w 1109339"/>
                <a:gd name="connsiteY160" fmla="*/ 350390 h 1010399"/>
                <a:gd name="connsiteX161" fmla="*/ 509274 w 1109339"/>
                <a:gd name="connsiteY161" fmla="*/ 346926 h 1010399"/>
                <a:gd name="connsiteX162" fmla="*/ 505370 w 1109339"/>
                <a:gd name="connsiteY162" fmla="*/ 344302 h 1010399"/>
                <a:gd name="connsiteX163" fmla="*/ 505101 w 1109339"/>
                <a:gd name="connsiteY163" fmla="*/ 342014 h 1010399"/>
                <a:gd name="connsiteX164" fmla="*/ 503956 w 1109339"/>
                <a:gd name="connsiteY164" fmla="*/ 338751 h 1010399"/>
                <a:gd name="connsiteX165" fmla="*/ 503956 w 1109339"/>
                <a:gd name="connsiteY165" fmla="*/ 332662 h 1010399"/>
                <a:gd name="connsiteX166" fmla="*/ 501567 w 1109339"/>
                <a:gd name="connsiteY166" fmla="*/ 325161 h 1010399"/>
                <a:gd name="connsiteX167" fmla="*/ 503081 w 1109339"/>
                <a:gd name="connsiteY167" fmla="*/ 308644 h 1010399"/>
                <a:gd name="connsiteX168" fmla="*/ 500356 w 1109339"/>
                <a:gd name="connsiteY168" fmla="*/ 305616 h 1010399"/>
                <a:gd name="connsiteX169" fmla="*/ 496350 w 1109339"/>
                <a:gd name="connsiteY169" fmla="*/ 301916 h 1010399"/>
                <a:gd name="connsiteX170" fmla="*/ 493422 w 1109339"/>
                <a:gd name="connsiteY170" fmla="*/ 298888 h 1010399"/>
                <a:gd name="connsiteX171" fmla="*/ 490158 w 1109339"/>
                <a:gd name="connsiteY171" fmla="*/ 297038 h 1010399"/>
                <a:gd name="connsiteX172" fmla="*/ 487230 w 1109339"/>
                <a:gd name="connsiteY172" fmla="*/ 292598 h 1010399"/>
                <a:gd name="connsiteX173" fmla="*/ 483259 w 1109339"/>
                <a:gd name="connsiteY173" fmla="*/ 287821 h 1010399"/>
                <a:gd name="connsiteX174" fmla="*/ 481341 w 1109339"/>
                <a:gd name="connsiteY174" fmla="*/ 279579 h 1010399"/>
                <a:gd name="connsiteX175" fmla="*/ 481341 w 1109339"/>
                <a:gd name="connsiteY175" fmla="*/ 273625 h 1010399"/>
                <a:gd name="connsiteX176" fmla="*/ 479692 w 1109339"/>
                <a:gd name="connsiteY176" fmla="*/ 267200 h 1010399"/>
                <a:gd name="connsiteX177" fmla="*/ 478951 w 1109339"/>
                <a:gd name="connsiteY177" fmla="*/ 261784 h 1010399"/>
                <a:gd name="connsiteX178" fmla="*/ 477437 w 1109339"/>
                <a:gd name="connsiteY178" fmla="*/ 253845 h 1010399"/>
                <a:gd name="connsiteX179" fmla="*/ 472961 w 1109339"/>
                <a:gd name="connsiteY179" fmla="*/ 246814 h 1010399"/>
                <a:gd name="connsiteX180" fmla="*/ 469326 w 1109339"/>
                <a:gd name="connsiteY180" fmla="*/ 242340 h 1010399"/>
                <a:gd name="connsiteX181" fmla="*/ 463672 w 1109339"/>
                <a:gd name="connsiteY181" fmla="*/ 236386 h 1010399"/>
                <a:gd name="connsiteX182" fmla="*/ 458724 w 1109339"/>
                <a:gd name="connsiteY182" fmla="*/ 231306 h 1010399"/>
                <a:gd name="connsiteX183" fmla="*/ 451489 w 1109339"/>
                <a:gd name="connsiteY183" fmla="*/ 224915 h 1010399"/>
                <a:gd name="connsiteX184" fmla="*/ 447147 w 1109339"/>
                <a:gd name="connsiteY184" fmla="*/ 220272 h 1010399"/>
                <a:gd name="connsiteX185" fmla="*/ 441359 w 1109339"/>
                <a:gd name="connsiteY185" fmla="*/ 216370 h 1010399"/>
                <a:gd name="connsiteX186" fmla="*/ 441359 w 1109339"/>
                <a:gd name="connsiteY186" fmla="*/ 214486 h 1010399"/>
                <a:gd name="connsiteX187" fmla="*/ 439609 w 1109339"/>
                <a:gd name="connsiteY187" fmla="*/ 210281 h 1010399"/>
                <a:gd name="connsiteX188" fmla="*/ 439609 w 1109339"/>
                <a:gd name="connsiteY188" fmla="*/ 205807 h 1010399"/>
                <a:gd name="connsiteX189" fmla="*/ 440349 w 1109339"/>
                <a:gd name="connsiteY189" fmla="*/ 203049 h 1010399"/>
                <a:gd name="connsiteX190" fmla="*/ 443547 w 1109339"/>
                <a:gd name="connsiteY190" fmla="*/ 200593 h 1010399"/>
                <a:gd name="connsiteX191" fmla="*/ 444859 w 1109339"/>
                <a:gd name="connsiteY191" fmla="*/ 197397 h 1010399"/>
                <a:gd name="connsiteX192" fmla="*/ 445734 w 1109339"/>
                <a:gd name="connsiteY192" fmla="*/ 193933 h 1010399"/>
                <a:gd name="connsiteX193" fmla="*/ 445027 w 1109339"/>
                <a:gd name="connsiteY193" fmla="*/ 189963 h 1010399"/>
                <a:gd name="connsiteX194" fmla="*/ 443143 w 1109339"/>
                <a:gd name="connsiteY194" fmla="*/ 185825 h 1010399"/>
                <a:gd name="connsiteX195" fmla="*/ 440518 w 1109339"/>
                <a:gd name="connsiteY195" fmla="*/ 185825 h 1010399"/>
                <a:gd name="connsiteX196" fmla="*/ 438633 w 1109339"/>
                <a:gd name="connsiteY196" fmla="*/ 184816 h 1010399"/>
                <a:gd name="connsiteX197" fmla="*/ 437051 w 1109339"/>
                <a:gd name="connsiteY197" fmla="*/ 188012 h 1010399"/>
                <a:gd name="connsiteX198" fmla="*/ 436176 w 1109339"/>
                <a:gd name="connsiteY198" fmla="*/ 191342 h 1010399"/>
                <a:gd name="connsiteX199" fmla="*/ 436176 w 1109339"/>
                <a:gd name="connsiteY199" fmla="*/ 193663 h 1010399"/>
                <a:gd name="connsiteX200" fmla="*/ 435166 w 1109339"/>
                <a:gd name="connsiteY200" fmla="*/ 196287 h 1010399"/>
                <a:gd name="connsiteX201" fmla="*/ 433854 w 1109339"/>
                <a:gd name="connsiteY201" fmla="*/ 198440 h 1010399"/>
                <a:gd name="connsiteX202" fmla="*/ 432407 w 1109339"/>
                <a:gd name="connsiteY202" fmla="*/ 200761 h 1010399"/>
                <a:gd name="connsiteX203" fmla="*/ 431263 w 1109339"/>
                <a:gd name="connsiteY203" fmla="*/ 201199 h 1010399"/>
                <a:gd name="connsiteX204" fmla="*/ 427796 w 1109339"/>
                <a:gd name="connsiteY204" fmla="*/ 200189 h 1010399"/>
                <a:gd name="connsiteX205" fmla="*/ 426416 w 1109339"/>
                <a:gd name="connsiteY205" fmla="*/ 198306 h 1010399"/>
                <a:gd name="connsiteX206" fmla="*/ 425777 w 1109339"/>
                <a:gd name="connsiteY206" fmla="*/ 195413 h 1010399"/>
                <a:gd name="connsiteX207" fmla="*/ 425777 w 1109339"/>
                <a:gd name="connsiteY207" fmla="*/ 190199 h 1010399"/>
                <a:gd name="connsiteX208" fmla="*/ 423118 w 1109339"/>
                <a:gd name="connsiteY208" fmla="*/ 186868 h 1010399"/>
                <a:gd name="connsiteX209" fmla="*/ 420594 w 1109339"/>
                <a:gd name="connsiteY209" fmla="*/ 181654 h 1010399"/>
                <a:gd name="connsiteX210" fmla="*/ 420594 w 1109339"/>
                <a:gd name="connsiteY210" fmla="*/ 178021 h 1010399"/>
                <a:gd name="connsiteX211" fmla="*/ 422613 w 1109339"/>
                <a:gd name="connsiteY211" fmla="*/ 173379 h 1010399"/>
                <a:gd name="connsiteX212" fmla="*/ 421738 w 1109339"/>
                <a:gd name="connsiteY212" fmla="*/ 170486 h 1010399"/>
                <a:gd name="connsiteX213" fmla="*/ 418406 w 1109339"/>
                <a:gd name="connsiteY213" fmla="*/ 167290 h 1010399"/>
                <a:gd name="connsiteX214" fmla="*/ 415647 w 1109339"/>
                <a:gd name="connsiteY214" fmla="*/ 163825 h 1010399"/>
                <a:gd name="connsiteX215" fmla="*/ 411743 w 1109339"/>
                <a:gd name="connsiteY215" fmla="*/ 160797 h 1010399"/>
                <a:gd name="connsiteX216" fmla="*/ 410161 w 1109339"/>
                <a:gd name="connsiteY216" fmla="*/ 159048 h 1010399"/>
                <a:gd name="connsiteX217" fmla="*/ 410161 w 1109339"/>
                <a:gd name="connsiteY217" fmla="*/ 155415 h 1010399"/>
                <a:gd name="connsiteX218" fmla="*/ 410161 w 1109339"/>
                <a:gd name="connsiteY218" fmla="*/ 153666 h 1010399"/>
                <a:gd name="connsiteX219" fmla="*/ 405517 w 1109339"/>
                <a:gd name="connsiteY219" fmla="*/ 149764 h 1010399"/>
                <a:gd name="connsiteX220" fmla="*/ 398113 w 1109339"/>
                <a:gd name="connsiteY220" fmla="*/ 144852 h 1010399"/>
                <a:gd name="connsiteX221" fmla="*/ 394915 w 1109339"/>
                <a:gd name="connsiteY221" fmla="*/ 141825 h 1010399"/>
                <a:gd name="connsiteX222" fmla="*/ 389396 w 1109339"/>
                <a:gd name="connsiteY222" fmla="*/ 136913 h 1010399"/>
                <a:gd name="connsiteX223" fmla="*/ 384920 w 1109339"/>
                <a:gd name="connsiteY223" fmla="*/ 132136 h 1010399"/>
                <a:gd name="connsiteX224" fmla="*/ 384348 w 1109339"/>
                <a:gd name="connsiteY224" fmla="*/ 126788 h 1010399"/>
                <a:gd name="connsiteX225" fmla="*/ 384348 w 1109339"/>
                <a:gd name="connsiteY225" fmla="*/ 122448 h 1010399"/>
                <a:gd name="connsiteX226" fmla="*/ 385660 w 1109339"/>
                <a:gd name="connsiteY226" fmla="*/ 120127 h 1010399"/>
                <a:gd name="connsiteX227" fmla="*/ 388286 w 1109339"/>
                <a:gd name="connsiteY227" fmla="*/ 116797 h 1010399"/>
                <a:gd name="connsiteX228" fmla="*/ 389430 w 1109339"/>
                <a:gd name="connsiteY228" fmla="*/ 115048 h 1010399"/>
                <a:gd name="connsiteX229" fmla="*/ 388992 w 1109339"/>
                <a:gd name="connsiteY229" fmla="*/ 112726 h 1010399"/>
                <a:gd name="connsiteX230" fmla="*/ 387680 w 1109339"/>
                <a:gd name="connsiteY230" fmla="*/ 109632 h 1010399"/>
                <a:gd name="connsiteX231" fmla="*/ 385391 w 1109339"/>
                <a:gd name="connsiteY231" fmla="*/ 107647 h 1010399"/>
                <a:gd name="connsiteX232" fmla="*/ 379603 w 1109339"/>
                <a:gd name="connsiteY232" fmla="*/ 107647 h 1010399"/>
                <a:gd name="connsiteX233" fmla="*/ 374386 w 1109339"/>
                <a:gd name="connsiteY233" fmla="*/ 107647 h 1010399"/>
                <a:gd name="connsiteX234" fmla="*/ 372636 w 1109339"/>
                <a:gd name="connsiteY234" fmla="*/ 107647 h 1010399"/>
                <a:gd name="connsiteX235" fmla="*/ 371761 w 1109339"/>
                <a:gd name="connsiteY235" fmla="*/ 106638 h 1010399"/>
                <a:gd name="connsiteX236" fmla="*/ 371761 w 1109339"/>
                <a:gd name="connsiteY236" fmla="*/ 103879 h 1010399"/>
                <a:gd name="connsiteX237" fmla="*/ 371761 w 1109339"/>
                <a:gd name="connsiteY237" fmla="*/ 101424 h 1010399"/>
                <a:gd name="connsiteX238" fmla="*/ 372771 w 1109339"/>
                <a:gd name="connsiteY238" fmla="*/ 99540 h 1010399"/>
                <a:gd name="connsiteX239" fmla="*/ 374790 w 1109339"/>
                <a:gd name="connsiteY239" fmla="*/ 97656 h 1010399"/>
                <a:gd name="connsiteX240" fmla="*/ 375968 w 1109339"/>
                <a:gd name="connsiteY240" fmla="*/ 94628 h 1010399"/>
                <a:gd name="connsiteX241" fmla="*/ 376237 w 1109339"/>
                <a:gd name="connsiteY241" fmla="*/ 92173 h 1010399"/>
                <a:gd name="connsiteX242" fmla="*/ 376809 w 1109339"/>
                <a:gd name="connsiteY242" fmla="*/ 88102 h 1010399"/>
                <a:gd name="connsiteX243" fmla="*/ 374925 w 1109339"/>
                <a:gd name="connsiteY243" fmla="*/ 84906 h 1010399"/>
                <a:gd name="connsiteX244" fmla="*/ 371627 w 1109339"/>
                <a:gd name="connsiteY244" fmla="*/ 83023 h 1010399"/>
                <a:gd name="connsiteX245" fmla="*/ 368564 w 1109339"/>
                <a:gd name="connsiteY245" fmla="*/ 82283 h 1010399"/>
                <a:gd name="connsiteX246" fmla="*/ 361901 w 1109339"/>
                <a:gd name="connsiteY246" fmla="*/ 77640 h 1010399"/>
                <a:gd name="connsiteX247" fmla="*/ 357256 w 1109339"/>
                <a:gd name="connsiteY247" fmla="*/ 73166 h 1010399"/>
                <a:gd name="connsiteX248" fmla="*/ 354934 w 1109339"/>
                <a:gd name="connsiteY248" fmla="*/ 70912 h 1010399"/>
                <a:gd name="connsiteX249" fmla="*/ 352477 w 1109339"/>
                <a:gd name="connsiteY249" fmla="*/ 69399 h 1010399"/>
                <a:gd name="connsiteX250" fmla="*/ 350020 w 1109339"/>
                <a:gd name="connsiteY250" fmla="*/ 69399 h 1010399"/>
                <a:gd name="connsiteX251" fmla="*/ 346689 w 1109339"/>
                <a:gd name="connsiteY251" fmla="*/ 68019 h 1010399"/>
                <a:gd name="connsiteX252" fmla="*/ 341338 w 1109339"/>
                <a:gd name="connsiteY252" fmla="*/ 67649 h 1010399"/>
                <a:gd name="connsiteX253" fmla="*/ 341338 w 1109339"/>
                <a:gd name="connsiteY253" fmla="*/ 67649 h 1010399"/>
                <a:gd name="connsiteX254" fmla="*/ 339890 w 1109339"/>
                <a:gd name="connsiteY254" fmla="*/ 64319 h 1010399"/>
                <a:gd name="connsiteX255" fmla="*/ 340765 w 1109339"/>
                <a:gd name="connsiteY255" fmla="*/ 62301 h 1010399"/>
                <a:gd name="connsiteX256" fmla="*/ 342515 w 1109339"/>
                <a:gd name="connsiteY256" fmla="*/ 60417 h 1010399"/>
                <a:gd name="connsiteX257" fmla="*/ 344400 w 1109339"/>
                <a:gd name="connsiteY257" fmla="*/ 58836 h 1010399"/>
                <a:gd name="connsiteX258" fmla="*/ 346857 w 1109339"/>
                <a:gd name="connsiteY258" fmla="*/ 57389 h 1010399"/>
                <a:gd name="connsiteX259" fmla="*/ 347429 w 1109339"/>
                <a:gd name="connsiteY259" fmla="*/ 54496 h 1010399"/>
                <a:gd name="connsiteX260" fmla="*/ 345410 w 1109339"/>
                <a:gd name="connsiteY260" fmla="*/ 52915 h 1010399"/>
                <a:gd name="connsiteX261" fmla="*/ 342953 w 1109339"/>
                <a:gd name="connsiteY261" fmla="*/ 52209 h 1010399"/>
                <a:gd name="connsiteX262" fmla="*/ 339924 w 1109339"/>
                <a:gd name="connsiteY262" fmla="*/ 50628 h 1010399"/>
                <a:gd name="connsiteX263" fmla="*/ 338914 w 1109339"/>
                <a:gd name="connsiteY263" fmla="*/ 48878 h 1010399"/>
                <a:gd name="connsiteX264" fmla="*/ 336323 w 1109339"/>
                <a:gd name="connsiteY264" fmla="*/ 46692 h 1010399"/>
                <a:gd name="connsiteX265" fmla="*/ 334304 w 1109339"/>
                <a:gd name="connsiteY265" fmla="*/ 45380 h 1010399"/>
                <a:gd name="connsiteX266" fmla="*/ 331409 w 1109339"/>
                <a:gd name="connsiteY266" fmla="*/ 44001 h 1010399"/>
                <a:gd name="connsiteX267" fmla="*/ 328078 w 1109339"/>
                <a:gd name="connsiteY267" fmla="*/ 43361 h 1010399"/>
                <a:gd name="connsiteX268" fmla="*/ 325756 w 1109339"/>
                <a:gd name="connsiteY268" fmla="*/ 43361 h 1010399"/>
                <a:gd name="connsiteX269" fmla="*/ 318217 w 1109339"/>
                <a:gd name="connsiteY269" fmla="*/ 42352 h 1010399"/>
                <a:gd name="connsiteX270" fmla="*/ 311856 w 1109339"/>
                <a:gd name="connsiteY270" fmla="*/ 41343 h 1010399"/>
                <a:gd name="connsiteX271" fmla="*/ 309534 w 1109339"/>
                <a:gd name="connsiteY271" fmla="*/ 37710 h 1010399"/>
                <a:gd name="connsiteX272" fmla="*/ 308524 w 1109339"/>
                <a:gd name="connsiteY272" fmla="*/ 31924 h 1010399"/>
                <a:gd name="connsiteX273" fmla="*/ 304620 w 1109339"/>
                <a:gd name="connsiteY273" fmla="*/ 27854 h 1010399"/>
                <a:gd name="connsiteX274" fmla="*/ 300144 w 1109339"/>
                <a:gd name="connsiteY274" fmla="*/ 25768 h 1010399"/>
                <a:gd name="connsiteX275" fmla="*/ 294625 w 1109339"/>
                <a:gd name="connsiteY275" fmla="*/ 24254 h 1010399"/>
                <a:gd name="connsiteX276" fmla="*/ 290990 w 1109339"/>
                <a:gd name="connsiteY276" fmla="*/ 24254 h 1010399"/>
                <a:gd name="connsiteX277" fmla="*/ 287793 w 1109339"/>
                <a:gd name="connsiteY277" fmla="*/ 23615 h 1010399"/>
                <a:gd name="connsiteX278" fmla="*/ 280254 w 1109339"/>
                <a:gd name="connsiteY278" fmla="*/ 20789 h 1010399"/>
                <a:gd name="connsiteX279" fmla="*/ 277057 w 1109339"/>
                <a:gd name="connsiteY279" fmla="*/ 20789 h 1010399"/>
                <a:gd name="connsiteX280" fmla="*/ 275038 w 1109339"/>
                <a:gd name="connsiteY280" fmla="*/ 19040 h 1010399"/>
                <a:gd name="connsiteX281" fmla="*/ 272144 w 1109339"/>
                <a:gd name="connsiteY281" fmla="*/ 18031 h 1010399"/>
                <a:gd name="connsiteX282" fmla="*/ 267937 w 1109339"/>
                <a:gd name="connsiteY282" fmla="*/ 16450 h 1010399"/>
                <a:gd name="connsiteX283" fmla="*/ 265177 w 1109339"/>
                <a:gd name="connsiteY283" fmla="*/ 18199 h 1010399"/>
                <a:gd name="connsiteX284" fmla="*/ 261105 w 1109339"/>
                <a:gd name="connsiteY284" fmla="*/ 19343 h 1010399"/>
                <a:gd name="connsiteX285" fmla="*/ 257201 w 1109339"/>
                <a:gd name="connsiteY285" fmla="*/ 22673 h 1010399"/>
                <a:gd name="connsiteX286" fmla="*/ 254610 w 1109339"/>
                <a:gd name="connsiteY286" fmla="*/ 24422 h 1010399"/>
                <a:gd name="connsiteX287" fmla="*/ 251715 w 1109339"/>
                <a:gd name="connsiteY287" fmla="*/ 25734 h 1010399"/>
                <a:gd name="connsiteX288" fmla="*/ 249258 w 1109339"/>
                <a:gd name="connsiteY288" fmla="*/ 26744 h 1010399"/>
                <a:gd name="connsiteX289" fmla="*/ 243907 w 1109339"/>
                <a:gd name="connsiteY289" fmla="*/ 27484 h 1010399"/>
                <a:gd name="connsiteX290" fmla="*/ 241720 w 1109339"/>
                <a:gd name="connsiteY290" fmla="*/ 26744 h 1010399"/>
                <a:gd name="connsiteX291" fmla="*/ 236806 w 1109339"/>
                <a:gd name="connsiteY291" fmla="*/ 24422 h 1010399"/>
                <a:gd name="connsiteX292" fmla="*/ 233475 w 1109339"/>
                <a:gd name="connsiteY292" fmla="*/ 23110 h 1010399"/>
                <a:gd name="connsiteX293" fmla="*/ 230883 w 1109339"/>
                <a:gd name="connsiteY293" fmla="*/ 22976 h 1010399"/>
                <a:gd name="connsiteX294" fmla="*/ 225364 w 1109339"/>
                <a:gd name="connsiteY294" fmla="*/ 22673 h 1010399"/>
                <a:gd name="connsiteX295" fmla="*/ 221897 w 1109339"/>
                <a:gd name="connsiteY295" fmla="*/ 24120 h 1010399"/>
                <a:gd name="connsiteX296" fmla="*/ 217690 w 1109339"/>
                <a:gd name="connsiteY296" fmla="*/ 23985 h 1010399"/>
                <a:gd name="connsiteX297" fmla="*/ 215066 w 1109339"/>
                <a:gd name="connsiteY297" fmla="*/ 19780 h 1010399"/>
                <a:gd name="connsiteX298" fmla="*/ 213315 w 1109339"/>
                <a:gd name="connsiteY298" fmla="*/ 14431 h 1010399"/>
                <a:gd name="connsiteX299" fmla="*/ 210556 w 1109339"/>
                <a:gd name="connsiteY299" fmla="*/ 12615 h 1010399"/>
                <a:gd name="connsiteX300" fmla="*/ 207224 w 1109339"/>
                <a:gd name="connsiteY300" fmla="*/ 10361 h 1010399"/>
                <a:gd name="connsiteX301" fmla="*/ 202310 w 1109339"/>
                <a:gd name="connsiteY301" fmla="*/ 10361 h 1010399"/>
                <a:gd name="connsiteX302" fmla="*/ 197834 w 1109339"/>
                <a:gd name="connsiteY302" fmla="*/ 9789 h 1010399"/>
                <a:gd name="connsiteX303" fmla="*/ 187267 w 1109339"/>
                <a:gd name="connsiteY303" fmla="*/ 8645 h 1010399"/>
                <a:gd name="connsiteX304" fmla="*/ 184944 w 1109339"/>
                <a:gd name="connsiteY304" fmla="*/ 8645 h 1010399"/>
                <a:gd name="connsiteX305" fmla="*/ 177272 w 1109339"/>
                <a:gd name="connsiteY305" fmla="*/ 7064 h 1010399"/>
                <a:gd name="connsiteX306" fmla="*/ 174814 w 1109339"/>
                <a:gd name="connsiteY306" fmla="*/ 4037 h 1010399"/>
                <a:gd name="connsiteX307" fmla="*/ 172930 w 1109339"/>
                <a:gd name="connsiteY307" fmla="*/ 1716 h 1010399"/>
                <a:gd name="connsiteX308" fmla="*/ 170036 w 1109339"/>
                <a:gd name="connsiteY308" fmla="*/ 572 h 1010399"/>
                <a:gd name="connsiteX309" fmla="*/ 164684 w 1109339"/>
                <a:gd name="connsiteY309" fmla="*/ 0 h 1010399"/>
                <a:gd name="connsiteX310" fmla="*/ 158896 w 1109339"/>
                <a:gd name="connsiteY310" fmla="*/ 0 h 1010399"/>
                <a:gd name="connsiteX311" fmla="*/ 145434 w 1109339"/>
                <a:gd name="connsiteY311" fmla="*/ 0 h 1010399"/>
                <a:gd name="connsiteX312" fmla="*/ 141530 w 1109339"/>
                <a:gd name="connsiteY312" fmla="*/ 0 h 1010399"/>
                <a:gd name="connsiteX313" fmla="*/ 136314 w 1109339"/>
                <a:gd name="connsiteY313" fmla="*/ 0 h 1010399"/>
                <a:gd name="connsiteX314" fmla="*/ 129347 w 1109339"/>
                <a:gd name="connsiteY314" fmla="*/ 0 h 1010399"/>
                <a:gd name="connsiteX315" fmla="*/ 118174 w 1109339"/>
                <a:gd name="connsiteY315" fmla="*/ 1009 h 1010399"/>
                <a:gd name="connsiteX316" fmla="*/ 115280 w 1109339"/>
                <a:gd name="connsiteY316" fmla="*/ 3633 h 1010399"/>
                <a:gd name="connsiteX317" fmla="*/ 110501 w 1109339"/>
                <a:gd name="connsiteY317" fmla="*/ 7535 h 1010399"/>
                <a:gd name="connsiteX318" fmla="*/ 103265 w 1109339"/>
                <a:gd name="connsiteY318" fmla="*/ 10294 h 1010399"/>
                <a:gd name="connsiteX319" fmla="*/ 98620 w 1109339"/>
                <a:gd name="connsiteY319" fmla="*/ 12884 h 1010399"/>
                <a:gd name="connsiteX320" fmla="*/ 89770 w 1109339"/>
                <a:gd name="connsiteY320" fmla="*/ 12009 h 1010399"/>
                <a:gd name="connsiteX321" fmla="*/ 82534 w 1109339"/>
                <a:gd name="connsiteY321" fmla="*/ 9823 h 1010399"/>
                <a:gd name="connsiteX322" fmla="*/ 76880 w 1109339"/>
                <a:gd name="connsiteY322" fmla="*/ 9957 h 1010399"/>
                <a:gd name="connsiteX323" fmla="*/ 71798 w 1109339"/>
                <a:gd name="connsiteY323" fmla="*/ 10832 h 1010399"/>
                <a:gd name="connsiteX324" fmla="*/ 70485 w 1109339"/>
                <a:gd name="connsiteY324" fmla="*/ 12850 h 1010399"/>
                <a:gd name="connsiteX325" fmla="*/ 69476 w 1109339"/>
                <a:gd name="connsiteY325" fmla="*/ 13994 h 1010399"/>
                <a:gd name="connsiteX326" fmla="*/ 66447 w 1109339"/>
                <a:gd name="connsiteY326" fmla="*/ 15003 h 1010399"/>
                <a:gd name="connsiteX327" fmla="*/ 62408 w 1109339"/>
                <a:gd name="connsiteY327" fmla="*/ 16753 h 1010399"/>
                <a:gd name="connsiteX328" fmla="*/ 55004 w 1109339"/>
                <a:gd name="connsiteY328" fmla="*/ 16887 h 1010399"/>
                <a:gd name="connsiteX329" fmla="*/ 51235 w 1109339"/>
                <a:gd name="connsiteY329" fmla="*/ 17459 h 1010399"/>
                <a:gd name="connsiteX330" fmla="*/ 50225 w 1109339"/>
                <a:gd name="connsiteY330" fmla="*/ 18905 h 1010399"/>
                <a:gd name="connsiteX331" fmla="*/ 46456 w 1109339"/>
                <a:gd name="connsiteY331" fmla="*/ 20789 h 1010399"/>
                <a:gd name="connsiteX332" fmla="*/ 44706 w 1109339"/>
                <a:gd name="connsiteY332" fmla="*/ 22539 h 1010399"/>
                <a:gd name="connsiteX333" fmla="*/ 41677 w 1109339"/>
                <a:gd name="connsiteY333" fmla="*/ 23548 h 1010399"/>
                <a:gd name="connsiteX334" fmla="*/ 36764 w 1109339"/>
                <a:gd name="connsiteY334" fmla="*/ 23413 h 1010399"/>
                <a:gd name="connsiteX335" fmla="*/ 34441 w 1109339"/>
                <a:gd name="connsiteY335" fmla="*/ 21967 h 1010399"/>
                <a:gd name="connsiteX336" fmla="*/ 29797 w 1109339"/>
                <a:gd name="connsiteY336" fmla="*/ 19948 h 1010399"/>
                <a:gd name="connsiteX337" fmla="*/ 27643 w 1109339"/>
                <a:gd name="connsiteY337" fmla="*/ 20957 h 1010399"/>
                <a:gd name="connsiteX338" fmla="*/ 22258 w 1109339"/>
                <a:gd name="connsiteY338" fmla="*/ 26744 h 1010399"/>
                <a:gd name="connsiteX339" fmla="*/ 20677 w 1109339"/>
                <a:gd name="connsiteY339" fmla="*/ 28055 h 1010399"/>
                <a:gd name="connsiteX340" fmla="*/ 17782 w 1109339"/>
                <a:gd name="connsiteY340" fmla="*/ 30511 h 1010399"/>
                <a:gd name="connsiteX341" fmla="*/ 14585 w 1109339"/>
                <a:gd name="connsiteY341" fmla="*/ 32832 h 1010399"/>
                <a:gd name="connsiteX342" fmla="*/ 13710 w 1109339"/>
                <a:gd name="connsiteY342" fmla="*/ 34716 h 1010399"/>
                <a:gd name="connsiteX343" fmla="*/ 13710 w 1109339"/>
                <a:gd name="connsiteY343" fmla="*/ 39056 h 1010399"/>
                <a:gd name="connsiteX344" fmla="*/ 17412 w 1109339"/>
                <a:gd name="connsiteY344" fmla="*/ 43092 h 1010399"/>
                <a:gd name="connsiteX345" fmla="*/ 23167 w 1109339"/>
                <a:gd name="connsiteY345" fmla="*/ 47768 h 1010399"/>
                <a:gd name="connsiteX346" fmla="*/ 26869 w 1109339"/>
                <a:gd name="connsiteY346" fmla="*/ 52781 h 1010399"/>
                <a:gd name="connsiteX347" fmla="*/ 31446 w 1109339"/>
                <a:gd name="connsiteY347" fmla="*/ 56582 h 1010399"/>
                <a:gd name="connsiteX348" fmla="*/ 35249 w 1109339"/>
                <a:gd name="connsiteY348" fmla="*/ 60383 h 1010399"/>
                <a:gd name="connsiteX349" fmla="*/ 36124 w 1109339"/>
                <a:gd name="connsiteY349" fmla="*/ 62334 h 1010399"/>
                <a:gd name="connsiteX350" fmla="*/ 37975 w 1109339"/>
                <a:gd name="connsiteY350" fmla="*/ 64824 h 1010399"/>
                <a:gd name="connsiteX351" fmla="*/ 37672 w 1109339"/>
                <a:gd name="connsiteY351" fmla="*/ 67010 h 1010399"/>
                <a:gd name="connsiteX352" fmla="*/ 34408 w 1109339"/>
                <a:gd name="connsiteY352" fmla="*/ 69399 h 1010399"/>
                <a:gd name="connsiteX353" fmla="*/ 30403 w 1109339"/>
                <a:gd name="connsiteY353" fmla="*/ 71148 h 1010399"/>
                <a:gd name="connsiteX354" fmla="*/ 28653 w 1109339"/>
                <a:gd name="connsiteY354" fmla="*/ 72022 h 1010399"/>
                <a:gd name="connsiteX355" fmla="*/ 26802 w 1109339"/>
                <a:gd name="connsiteY355" fmla="*/ 73637 h 1010399"/>
                <a:gd name="connsiteX356" fmla="*/ 27576 w 1109339"/>
                <a:gd name="connsiteY356" fmla="*/ 78515 h 1010399"/>
                <a:gd name="connsiteX357" fmla="*/ 28451 w 1109339"/>
                <a:gd name="connsiteY357" fmla="*/ 79591 h 1010399"/>
                <a:gd name="connsiteX358" fmla="*/ 28114 w 1109339"/>
                <a:gd name="connsiteY358" fmla="*/ 82854 h 1010399"/>
                <a:gd name="connsiteX359" fmla="*/ 26903 w 1109339"/>
                <a:gd name="connsiteY359" fmla="*/ 85882 h 1010399"/>
                <a:gd name="connsiteX360" fmla="*/ 25691 w 1109339"/>
                <a:gd name="connsiteY360" fmla="*/ 88169 h 1010399"/>
                <a:gd name="connsiteX361" fmla="*/ 24278 w 1109339"/>
                <a:gd name="connsiteY361" fmla="*/ 90793 h 1010399"/>
                <a:gd name="connsiteX362" fmla="*/ 21013 w 1109339"/>
                <a:gd name="connsiteY362" fmla="*/ 93384 h 1010399"/>
                <a:gd name="connsiteX363" fmla="*/ 19936 w 1109339"/>
                <a:gd name="connsiteY363" fmla="*/ 96008 h 1010399"/>
                <a:gd name="connsiteX364" fmla="*/ 18422 w 1109339"/>
                <a:gd name="connsiteY364" fmla="*/ 98060 h 1010399"/>
                <a:gd name="connsiteX365" fmla="*/ 14383 w 1109339"/>
                <a:gd name="connsiteY365" fmla="*/ 101087 h 1010399"/>
                <a:gd name="connsiteX366" fmla="*/ 9941 w 1109339"/>
                <a:gd name="connsiteY366" fmla="*/ 102735 h 1010399"/>
                <a:gd name="connsiteX367" fmla="*/ 8426 w 1109339"/>
                <a:gd name="connsiteY367" fmla="*/ 105326 h 1010399"/>
                <a:gd name="connsiteX368" fmla="*/ 10614 w 1109339"/>
                <a:gd name="connsiteY368" fmla="*/ 106402 h 1010399"/>
                <a:gd name="connsiteX369" fmla="*/ 11253 w 1109339"/>
                <a:gd name="connsiteY369" fmla="*/ 108151 h 1010399"/>
                <a:gd name="connsiteX370" fmla="*/ 10614 w 1109339"/>
                <a:gd name="connsiteY370" fmla="*/ 109228 h 1010399"/>
                <a:gd name="connsiteX371" fmla="*/ 7013 w 1109339"/>
                <a:gd name="connsiteY371" fmla="*/ 113466 h 1010399"/>
                <a:gd name="connsiteX372" fmla="*/ 4623 w 1109339"/>
                <a:gd name="connsiteY372" fmla="*/ 114980 h 1010399"/>
                <a:gd name="connsiteX373" fmla="*/ 1258 w 1109339"/>
                <a:gd name="connsiteY373" fmla="*/ 116494 h 1010399"/>
                <a:gd name="connsiteX374" fmla="*/ 1258 w 1109339"/>
                <a:gd name="connsiteY374" fmla="*/ 117907 h 1010399"/>
                <a:gd name="connsiteX375" fmla="*/ 80 w 1109339"/>
                <a:gd name="connsiteY375" fmla="*/ 123659 h 1010399"/>
                <a:gd name="connsiteX376" fmla="*/ 1258 w 1109339"/>
                <a:gd name="connsiteY376" fmla="*/ 124433 h 1010399"/>
                <a:gd name="connsiteX377" fmla="*/ 6710 w 1109339"/>
                <a:gd name="connsiteY377" fmla="*/ 122381 h 1010399"/>
                <a:gd name="connsiteX378" fmla="*/ 8999 w 1109339"/>
                <a:gd name="connsiteY378" fmla="*/ 121944 h 1010399"/>
                <a:gd name="connsiteX379" fmla="*/ 12162 w 1109339"/>
                <a:gd name="connsiteY379" fmla="*/ 121742 h 1010399"/>
                <a:gd name="connsiteX380" fmla="*/ 15090 w 1109339"/>
                <a:gd name="connsiteY380" fmla="*/ 124568 h 1010399"/>
                <a:gd name="connsiteX381" fmla="*/ 16604 w 1109339"/>
                <a:gd name="connsiteY381" fmla="*/ 126956 h 1010399"/>
                <a:gd name="connsiteX382" fmla="*/ 18455 w 1109339"/>
                <a:gd name="connsiteY382" fmla="*/ 127730 h 1010399"/>
                <a:gd name="connsiteX383" fmla="*/ 22797 w 1109339"/>
                <a:gd name="connsiteY383" fmla="*/ 130993 h 1010399"/>
                <a:gd name="connsiteX384" fmla="*/ 28552 w 1109339"/>
                <a:gd name="connsiteY384" fmla="*/ 130454 h 1010399"/>
                <a:gd name="connsiteX385" fmla="*/ 30302 w 1109339"/>
                <a:gd name="connsiteY385" fmla="*/ 129143 h 1010399"/>
                <a:gd name="connsiteX386" fmla="*/ 33667 w 1109339"/>
                <a:gd name="connsiteY386" fmla="*/ 128268 h 1010399"/>
                <a:gd name="connsiteX387" fmla="*/ 38009 w 1109339"/>
                <a:gd name="connsiteY387" fmla="*/ 128032 h 1010399"/>
                <a:gd name="connsiteX388" fmla="*/ 40937 w 1109339"/>
                <a:gd name="connsiteY388" fmla="*/ 129681 h 1010399"/>
                <a:gd name="connsiteX389" fmla="*/ 41374 w 1109339"/>
                <a:gd name="connsiteY389" fmla="*/ 133045 h 1010399"/>
                <a:gd name="connsiteX390" fmla="*/ 41475 w 1109339"/>
                <a:gd name="connsiteY390" fmla="*/ 135770 h 1010399"/>
                <a:gd name="connsiteX391" fmla="*/ 42249 w 1109339"/>
                <a:gd name="connsiteY391" fmla="*/ 137822 h 1010399"/>
                <a:gd name="connsiteX392" fmla="*/ 44302 w 1109339"/>
                <a:gd name="connsiteY392" fmla="*/ 140647 h 1010399"/>
                <a:gd name="connsiteX393" fmla="*/ 46153 w 1109339"/>
                <a:gd name="connsiteY393" fmla="*/ 141858 h 1010399"/>
                <a:gd name="connsiteX394" fmla="*/ 48004 w 1109339"/>
                <a:gd name="connsiteY394" fmla="*/ 143709 h 1010399"/>
                <a:gd name="connsiteX395" fmla="*/ 50629 w 1109339"/>
                <a:gd name="connsiteY395" fmla="*/ 144785 h 1010399"/>
                <a:gd name="connsiteX396" fmla="*/ 53120 w 1109339"/>
                <a:gd name="connsiteY396" fmla="*/ 144449 h 1010399"/>
                <a:gd name="connsiteX397" fmla="*/ 56283 w 1109339"/>
                <a:gd name="connsiteY397" fmla="*/ 144112 h 1010399"/>
                <a:gd name="connsiteX398" fmla="*/ 57697 w 1109339"/>
                <a:gd name="connsiteY398" fmla="*/ 143473 h 1010399"/>
                <a:gd name="connsiteX399" fmla="*/ 60423 w 1109339"/>
                <a:gd name="connsiteY399" fmla="*/ 141522 h 1010399"/>
                <a:gd name="connsiteX400" fmla="*/ 61298 w 1109339"/>
                <a:gd name="connsiteY400" fmla="*/ 139907 h 1010399"/>
                <a:gd name="connsiteX401" fmla="*/ 58908 w 1109339"/>
                <a:gd name="connsiteY401" fmla="*/ 135568 h 1010399"/>
                <a:gd name="connsiteX402" fmla="*/ 60995 w 1109339"/>
                <a:gd name="connsiteY402" fmla="*/ 134592 h 1010399"/>
                <a:gd name="connsiteX403" fmla="*/ 63048 w 1109339"/>
                <a:gd name="connsiteY403" fmla="*/ 134155 h 1010399"/>
                <a:gd name="connsiteX404" fmla="*/ 64461 w 1109339"/>
                <a:gd name="connsiteY404" fmla="*/ 132977 h 1010399"/>
                <a:gd name="connsiteX405" fmla="*/ 65538 w 1109339"/>
                <a:gd name="connsiteY405" fmla="*/ 130253 h 1010399"/>
                <a:gd name="connsiteX406" fmla="*/ 66514 w 1109339"/>
                <a:gd name="connsiteY406" fmla="*/ 126653 h 1010399"/>
                <a:gd name="connsiteX407" fmla="*/ 67153 w 1109339"/>
                <a:gd name="connsiteY407" fmla="*/ 125139 h 1010399"/>
                <a:gd name="connsiteX408" fmla="*/ 68567 w 1109339"/>
                <a:gd name="connsiteY408" fmla="*/ 122415 h 1010399"/>
                <a:gd name="connsiteX409" fmla="*/ 69543 w 1109339"/>
                <a:gd name="connsiteY409" fmla="*/ 119589 h 1010399"/>
                <a:gd name="connsiteX410" fmla="*/ 70855 w 1109339"/>
                <a:gd name="connsiteY410" fmla="*/ 116326 h 1010399"/>
                <a:gd name="connsiteX411" fmla="*/ 72909 w 1109339"/>
                <a:gd name="connsiteY411" fmla="*/ 115989 h 1010399"/>
                <a:gd name="connsiteX412" fmla="*/ 73985 w 1109339"/>
                <a:gd name="connsiteY412" fmla="*/ 116528 h 1010399"/>
                <a:gd name="connsiteX413" fmla="*/ 76375 w 1109339"/>
                <a:gd name="connsiteY413" fmla="*/ 118714 h 1010399"/>
                <a:gd name="connsiteX414" fmla="*/ 79101 w 1109339"/>
                <a:gd name="connsiteY414" fmla="*/ 120665 h 1010399"/>
                <a:gd name="connsiteX415" fmla="*/ 81827 w 1109339"/>
                <a:gd name="connsiteY415" fmla="*/ 121439 h 1010399"/>
                <a:gd name="connsiteX416" fmla="*/ 83476 w 1109339"/>
                <a:gd name="connsiteY416" fmla="*/ 122650 h 1010399"/>
                <a:gd name="connsiteX417" fmla="*/ 84553 w 1109339"/>
                <a:gd name="connsiteY417" fmla="*/ 124938 h 1010399"/>
                <a:gd name="connsiteX418" fmla="*/ 85630 w 1109339"/>
                <a:gd name="connsiteY418" fmla="*/ 127124 h 1010399"/>
                <a:gd name="connsiteX419" fmla="*/ 87683 w 1109339"/>
                <a:gd name="connsiteY419" fmla="*/ 129614 h 1010399"/>
                <a:gd name="connsiteX420" fmla="*/ 88659 w 1109339"/>
                <a:gd name="connsiteY420" fmla="*/ 130825 h 1010399"/>
                <a:gd name="connsiteX421" fmla="*/ 89870 w 1109339"/>
                <a:gd name="connsiteY421" fmla="*/ 133112 h 1010399"/>
                <a:gd name="connsiteX422" fmla="*/ 90846 w 1109339"/>
                <a:gd name="connsiteY422" fmla="*/ 134424 h 1010399"/>
                <a:gd name="connsiteX423" fmla="*/ 91587 w 1109339"/>
                <a:gd name="connsiteY423" fmla="*/ 136476 h 1010399"/>
                <a:gd name="connsiteX424" fmla="*/ 91688 w 1109339"/>
                <a:gd name="connsiteY424" fmla="*/ 138326 h 1010399"/>
                <a:gd name="connsiteX425" fmla="*/ 93640 w 1109339"/>
                <a:gd name="connsiteY425" fmla="*/ 140277 h 1010399"/>
                <a:gd name="connsiteX426" fmla="*/ 96029 w 1109339"/>
                <a:gd name="connsiteY426" fmla="*/ 140176 h 1010399"/>
                <a:gd name="connsiteX427" fmla="*/ 98957 w 1109339"/>
                <a:gd name="connsiteY427" fmla="*/ 140715 h 1010399"/>
                <a:gd name="connsiteX428" fmla="*/ 103198 w 1109339"/>
                <a:gd name="connsiteY428" fmla="*/ 138663 h 1010399"/>
                <a:gd name="connsiteX429" fmla="*/ 104947 w 1109339"/>
                <a:gd name="connsiteY429" fmla="*/ 136375 h 1010399"/>
                <a:gd name="connsiteX430" fmla="*/ 107236 w 1109339"/>
                <a:gd name="connsiteY430" fmla="*/ 136711 h 1010399"/>
                <a:gd name="connsiteX431" fmla="*/ 111578 w 1109339"/>
                <a:gd name="connsiteY431" fmla="*/ 136913 h 1010399"/>
                <a:gd name="connsiteX432" fmla="*/ 116996 w 1109339"/>
                <a:gd name="connsiteY432" fmla="*/ 138427 h 1010399"/>
                <a:gd name="connsiteX433" fmla="*/ 119486 w 1109339"/>
                <a:gd name="connsiteY433" fmla="*/ 139941 h 1010399"/>
                <a:gd name="connsiteX434" fmla="*/ 120260 w 1109339"/>
                <a:gd name="connsiteY434" fmla="*/ 141152 h 1010399"/>
                <a:gd name="connsiteX435" fmla="*/ 119924 w 1109339"/>
                <a:gd name="connsiteY435" fmla="*/ 142228 h 1010399"/>
                <a:gd name="connsiteX436" fmla="*/ 116660 w 1109339"/>
                <a:gd name="connsiteY436" fmla="*/ 143843 h 1010399"/>
                <a:gd name="connsiteX437" fmla="*/ 114909 w 1109339"/>
                <a:gd name="connsiteY437" fmla="*/ 145693 h 1010399"/>
                <a:gd name="connsiteX438" fmla="*/ 111443 w 1109339"/>
                <a:gd name="connsiteY438" fmla="*/ 147543 h 1010399"/>
                <a:gd name="connsiteX439" fmla="*/ 110366 w 1109339"/>
                <a:gd name="connsiteY439" fmla="*/ 150806 h 1010399"/>
                <a:gd name="connsiteX440" fmla="*/ 110568 w 1109339"/>
                <a:gd name="connsiteY440" fmla="*/ 154507 h 1010399"/>
                <a:gd name="connsiteX441" fmla="*/ 111645 w 1109339"/>
                <a:gd name="connsiteY441" fmla="*/ 155045 h 1010399"/>
                <a:gd name="connsiteX442" fmla="*/ 114573 w 1109339"/>
                <a:gd name="connsiteY442" fmla="*/ 159284 h 1010399"/>
                <a:gd name="connsiteX443" fmla="*/ 115986 w 1109339"/>
                <a:gd name="connsiteY443" fmla="*/ 161773 h 1010399"/>
                <a:gd name="connsiteX444" fmla="*/ 116962 w 1109339"/>
                <a:gd name="connsiteY444" fmla="*/ 165036 h 1010399"/>
                <a:gd name="connsiteX445" fmla="*/ 117501 w 1109339"/>
                <a:gd name="connsiteY445" fmla="*/ 168299 h 1010399"/>
                <a:gd name="connsiteX446" fmla="*/ 117837 w 1109339"/>
                <a:gd name="connsiteY446" fmla="*/ 171764 h 1010399"/>
                <a:gd name="connsiteX447" fmla="*/ 119688 w 1109339"/>
                <a:gd name="connsiteY447" fmla="*/ 174590 h 1010399"/>
                <a:gd name="connsiteX448" fmla="*/ 122515 w 1109339"/>
                <a:gd name="connsiteY448" fmla="*/ 177954 h 1010399"/>
                <a:gd name="connsiteX449" fmla="*/ 123929 w 1109339"/>
                <a:gd name="connsiteY449" fmla="*/ 180981 h 1010399"/>
                <a:gd name="connsiteX450" fmla="*/ 123592 w 1109339"/>
                <a:gd name="connsiteY450" fmla="*/ 183269 h 1010399"/>
                <a:gd name="connsiteX451" fmla="*/ 123929 w 1109339"/>
                <a:gd name="connsiteY451" fmla="*/ 187709 h 1010399"/>
                <a:gd name="connsiteX452" fmla="*/ 126318 w 1109339"/>
                <a:gd name="connsiteY452" fmla="*/ 190871 h 1010399"/>
                <a:gd name="connsiteX453" fmla="*/ 129818 w 1109339"/>
                <a:gd name="connsiteY453" fmla="*/ 193798 h 1010399"/>
                <a:gd name="connsiteX454" fmla="*/ 132309 w 1109339"/>
                <a:gd name="connsiteY454" fmla="*/ 195749 h 1010399"/>
                <a:gd name="connsiteX455" fmla="*/ 132208 w 1109339"/>
                <a:gd name="connsiteY455" fmla="*/ 198339 h 1010399"/>
                <a:gd name="connsiteX456" fmla="*/ 136549 w 1109339"/>
                <a:gd name="connsiteY456" fmla="*/ 203789 h 1010399"/>
                <a:gd name="connsiteX457" fmla="*/ 139578 w 1109339"/>
                <a:gd name="connsiteY457" fmla="*/ 206278 h 1010399"/>
                <a:gd name="connsiteX458" fmla="*/ 140083 w 1109339"/>
                <a:gd name="connsiteY458" fmla="*/ 216168 h 1010399"/>
                <a:gd name="connsiteX459" fmla="*/ 138939 w 1109339"/>
                <a:gd name="connsiteY459" fmla="*/ 221181 h 1010399"/>
                <a:gd name="connsiteX460" fmla="*/ 138939 w 1109339"/>
                <a:gd name="connsiteY460" fmla="*/ 226832 h 1010399"/>
                <a:gd name="connsiteX461" fmla="*/ 139376 w 1109339"/>
                <a:gd name="connsiteY461" fmla="*/ 228447 h 1010399"/>
                <a:gd name="connsiteX462" fmla="*/ 145232 w 1109339"/>
                <a:gd name="connsiteY462" fmla="*/ 229658 h 1010399"/>
                <a:gd name="connsiteX463" fmla="*/ 146444 w 1109339"/>
                <a:gd name="connsiteY463" fmla="*/ 229658 h 1010399"/>
                <a:gd name="connsiteX464" fmla="*/ 149170 w 1109339"/>
                <a:gd name="connsiteY464" fmla="*/ 233022 h 1010399"/>
                <a:gd name="connsiteX465" fmla="*/ 149170 w 1109339"/>
                <a:gd name="connsiteY465" fmla="*/ 234872 h 1010399"/>
                <a:gd name="connsiteX466" fmla="*/ 154723 w 1109339"/>
                <a:gd name="connsiteY466" fmla="*/ 234435 h 1010399"/>
                <a:gd name="connsiteX467" fmla="*/ 154723 w 1109339"/>
                <a:gd name="connsiteY467" fmla="*/ 239312 h 1010399"/>
                <a:gd name="connsiteX468" fmla="*/ 160814 w 1109339"/>
                <a:gd name="connsiteY468" fmla="*/ 236588 h 1010399"/>
                <a:gd name="connsiteX469" fmla="*/ 164617 w 1109339"/>
                <a:gd name="connsiteY469" fmla="*/ 236218 h 1010399"/>
                <a:gd name="connsiteX470" fmla="*/ 168959 w 1109339"/>
                <a:gd name="connsiteY470" fmla="*/ 240120 h 1010399"/>
                <a:gd name="connsiteX471" fmla="*/ 171146 w 1109339"/>
                <a:gd name="connsiteY471" fmla="*/ 243585 h 1010399"/>
                <a:gd name="connsiteX472" fmla="*/ 177675 w 1109339"/>
                <a:gd name="connsiteY472" fmla="*/ 237933 h 1010399"/>
                <a:gd name="connsiteX473" fmla="*/ 178988 w 1109339"/>
                <a:gd name="connsiteY473" fmla="*/ 235175 h 1010399"/>
                <a:gd name="connsiteX474" fmla="*/ 184473 w 1109339"/>
                <a:gd name="connsiteY474" fmla="*/ 231710 h 1010399"/>
                <a:gd name="connsiteX475" fmla="*/ 187671 w 1109339"/>
                <a:gd name="connsiteY475" fmla="*/ 227942 h 1010399"/>
                <a:gd name="connsiteX476" fmla="*/ 188983 w 1109339"/>
                <a:gd name="connsiteY476" fmla="*/ 224612 h 1010399"/>
                <a:gd name="connsiteX477" fmla="*/ 193493 w 1109339"/>
                <a:gd name="connsiteY477" fmla="*/ 222728 h 1010399"/>
                <a:gd name="connsiteX478" fmla="*/ 192753 w 1109339"/>
                <a:gd name="connsiteY478" fmla="*/ 219532 h 1010399"/>
                <a:gd name="connsiteX479" fmla="*/ 192315 w 1109339"/>
                <a:gd name="connsiteY479" fmla="*/ 215058 h 1010399"/>
                <a:gd name="connsiteX480" fmla="*/ 194637 w 1109339"/>
                <a:gd name="connsiteY480" fmla="*/ 214318 h 1010399"/>
                <a:gd name="connsiteX481" fmla="*/ 197969 w 1109339"/>
                <a:gd name="connsiteY481" fmla="*/ 218220 h 1010399"/>
                <a:gd name="connsiteX482" fmla="*/ 202176 w 1109339"/>
                <a:gd name="connsiteY482" fmla="*/ 221551 h 1010399"/>
                <a:gd name="connsiteX483" fmla="*/ 206382 w 1109339"/>
                <a:gd name="connsiteY483" fmla="*/ 224006 h 1010399"/>
                <a:gd name="connsiteX484" fmla="*/ 209849 w 1109339"/>
                <a:gd name="connsiteY484" fmla="*/ 224578 h 1010399"/>
                <a:gd name="connsiteX485" fmla="*/ 216512 w 1109339"/>
                <a:gd name="connsiteY485" fmla="*/ 225318 h 1010399"/>
                <a:gd name="connsiteX486" fmla="*/ 218969 w 1109339"/>
                <a:gd name="connsiteY486" fmla="*/ 226193 h 1010399"/>
                <a:gd name="connsiteX487" fmla="*/ 223042 w 1109339"/>
                <a:gd name="connsiteY487" fmla="*/ 226193 h 1010399"/>
                <a:gd name="connsiteX488" fmla="*/ 224186 w 1109339"/>
                <a:gd name="connsiteY488" fmla="*/ 229086 h 1010399"/>
                <a:gd name="connsiteX489" fmla="*/ 228393 w 1109339"/>
                <a:gd name="connsiteY489" fmla="*/ 228951 h 1010399"/>
                <a:gd name="connsiteX490" fmla="*/ 230278 w 1109339"/>
                <a:gd name="connsiteY490" fmla="*/ 226361 h 1010399"/>
                <a:gd name="connsiteX491" fmla="*/ 230849 w 1109339"/>
                <a:gd name="connsiteY491" fmla="*/ 223165 h 1010399"/>
                <a:gd name="connsiteX492" fmla="*/ 231724 w 1109339"/>
                <a:gd name="connsiteY492" fmla="*/ 221147 h 1010399"/>
                <a:gd name="connsiteX493" fmla="*/ 235359 w 1109339"/>
                <a:gd name="connsiteY493" fmla="*/ 220003 h 1010399"/>
                <a:gd name="connsiteX494" fmla="*/ 242157 w 1109339"/>
                <a:gd name="connsiteY494" fmla="*/ 220743 h 1010399"/>
                <a:gd name="connsiteX495" fmla="*/ 241888 w 1109339"/>
                <a:gd name="connsiteY495" fmla="*/ 222627 h 1010399"/>
                <a:gd name="connsiteX496" fmla="*/ 241585 w 1109339"/>
                <a:gd name="connsiteY496" fmla="*/ 224645 h 1010399"/>
                <a:gd name="connsiteX497" fmla="*/ 245657 w 1109339"/>
                <a:gd name="connsiteY497" fmla="*/ 225217 h 1010399"/>
                <a:gd name="connsiteX498" fmla="*/ 247542 w 1109339"/>
                <a:gd name="connsiteY498" fmla="*/ 224780 h 1010399"/>
                <a:gd name="connsiteX499" fmla="*/ 250437 w 1109339"/>
                <a:gd name="connsiteY499" fmla="*/ 222190 h 1010399"/>
                <a:gd name="connsiteX500" fmla="*/ 252456 w 1109339"/>
                <a:gd name="connsiteY500" fmla="*/ 224208 h 1010399"/>
                <a:gd name="connsiteX501" fmla="*/ 255485 w 1109339"/>
                <a:gd name="connsiteY501" fmla="*/ 217985 h 1010399"/>
                <a:gd name="connsiteX502" fmla="*/ 255485 w 1109339"/>
                <a:gd name="connsiteY502" fmla="*/ 216370 h 1010399"/>
                <a:gd name="connsiteX503" fmla="*/ 256629 w 1109339"/>
                <a:gd name="connsiteY503" fmla="*/ 211459 h 1010399"/>
                <a:gd name="connsiteX504" fmla="*/ 259658 w 1109339"/>
                <a:gd name="connsiteY504" fmla="*/ 211156 h 1010399"/>
                <a:gd name="connsiteX505" fmla="*/ 263865 w 1109339"/>
                <a:gd name="connsiteY505" fmla="*/ 212602 h 1010399"/>
                <a:gd name="connsiteX506" fmla="*/ 266624 w 1109339"/>
                <a:gd name="connsiteY506" fmla="*/ 214621 h 1010399"/>
                <a:gd name="connsiteX507" fmla="*/ 269384 w 1109339"/>
                <a:gd name="connsiteY507" fmla="*/ 216942 h 1010399"/>
                <a:gd name="connsiteX508" fmla="*/ 272413 w 1109339"/>
                <a:gd name="connsiteY508" fmla="*/ 218254 h 1010399"/>
                <a:gd name="connsiteX509" fmla="*/ 274163 w 1109339"/>
                <a:gd name="connsiteY509" fmla="*/ 215495 h 1010399"/>
                <a:gd name="connsiteX510" fmla="*/ 274196 w 1109339"/>
                <a:gd name="connsiteY510" fmla="*/ 213578 h 1010399"/>
                <a:gd name="connsiteX511" fmla="*/ 274432 w 1109339"/>
                <a:gd name="connsiteY511" fmla="*/ 211156 h 1010399"/>
                <a:gd name="connsiteX512" fmla="*/ 276889 w 1109339"/>
                <a:gd name="connsiteY512" fmla="*/ 208263 h 1010399"/>
                <a:gd name="connsiteX513" fmla="*/ 284999 w 1109339"/>
                <a:gd name="connsiteY513" fmla="*/ 204798 h 1010399"/>
                <a:gd name="connsiteX514" fmla="*/ 287759 w 1109339"/>
                <a:gd name="connsiteY514" fmla="*/ 199719 h 1010399"/>
                <a:gd name="connsiteX515" fmla="*/ 284697 w 1109339"/>
                <a:gd name="connsiteY515" fmla="*/ 194504 h 1010399"/>
                <a:gd name="connsiteX516" fmla="*/ 286312 w 1109339"/>
                <a:gd name="connsiteY516" fmla="*/ 192486 h 1010399"/>
                <a:gd name="connsiteX517" fmla="*/ 290654 w 1109339"/>
                <a:gd name="connsiteY517" fmla="*/ 192486 h 1010399"/>
                <a:gd name="connsiteX518" fmla="*/ 292909 w 1109339"/>
                <a:gd name="connsiteY518" fmla="*/ 195076 h 1010399"/>
                <a:gd name="connsiteX519" fmla="*/ 295433 w 1109339"/>
                <a:gd name="connsiteY519" fmla="*/ 192755 h 1010399"/>
                <a:gd name="connsiteX520" fmla="*/ 295433 w 1109339"/>
                <a:gd name="connsiteY520" fmla="*/ 188550 h 1010399"/>
                <a:gd name="connsiteX521" fmla="*/ 294558 w 1109339"/>
                <a:gd name="connsiteY521" fmla="*/ 187844 h 1010399"/>
                <a:gd name="connsiteX522" fmla="*/ 294827 w 1109339"/>
                <a:gd name="connsiteY522" fmla="*/ 184513 h 1010399"/>
                <a:gd name="connsiteX523" fmla="*/ 295567 w 1109339"/>
                <a:gd name="connsiteY523" fmla="*/ 182630 h 1010399"/>
                <a:gd name="connsiteX524" fmla="*/ 295567 w 1109339"/>
                <a:gd name="connsiteY524" fmla="*/ 177987 h 1010399"/>
                <a:gd name="connsiteX525" fmla="*/ 296274 w 1109339"/>
                <a:gd name="connsiteY525" fmla="*/ 175397 h 1010399"/>
                <a:gd name="connsiteX526" fmla="*/ 294827 w 1109339"/>
                <a:gd name="connsiteY526" fmla="*/ 173379 h 1010399"/>
                <a:gd name="connsiteX527" fmla="*/ 294389 w 1109339"/>
                <a:gd name="connsiteY527" fmla="*/ 171058 h 1010399"/>
                <a:gd name="connsiteX528" fmla="*/ 295567 w 1109339"/>
                <a:gd name="connsiteY528" fmla="*/ 169611 h 1010399"/>
                <a:gd name="connsiteX529" fmla="*/ 299202 w 1109339"/>
                <a:gd name="connsiteY529" fmla="*/ 169746 h 1010399"/>
                <a:gd name="connsiteX530" fmla="*/ 302264 w 1109339"/>
                <a:gd name="connsiteY530" fmla="*/ 171764 h 1010399"/>
                <a:gd name="connsiteX531" fmla="*/ 301827 w 1109339"/>
                <a:gd name="connsiteY531" fmla="*/ 175229 h 1010399"/>
                <a:gd name="connsiteX532" fmla="*/ 301255 w 1109339"/>
                <a:gd name="connsiteY532" fmla="*/ 178425 h 1010399"/>
                <a:gd name="connsiteX533" fmla="*/ 303274 w 1109339"/>
                <a:gd name="connsiteY533" fmla="*/ 180006 h 1010399"/>
                <a:gd name="connsiteX534" fmla="*/ 306606 w 1109339"/>
                <a:gd name="connsiteY534" fmla="*/ 178626 h 1010399"/>
                <a:gd name="connsiteX535" fmla="*/ 309063 w 1109339"/>
                <a:gd name="connsiteY535" fmla="*/ 177247 h 1010399"/>
                <a:gd name="connsiteX536" fmla="*/ 310173 w 1109339"/>
                <a:gd name="connsiteY536" fmla="*/ 177247 h 1010399"/>
                <a:gd name="connsiteX537" fmla="*/ 315390 w 1109339"/>
                <a:gd name="connsiteY537" fmla="*/ 178391 h 1010399"/>
                <a:gd name="connsiteX538" fmla="*/ 318721 w 1109339"/>
                <a:gd name="connsiteY538" fmla="*/ 180275 h 1010399"/>
                <a:gd name="connsiteX539" fmla="*/ 321178 w 1109339"/>
                <a:gd name="connsiteY539" fmla="*/ 182024 h 1010399"/>
                <a:gd name="connsiteX540" fmla="*/ 324376 w 1109339"/>
                <a:gd name="connsiteY540" fmla="*/ 183605 h 1010399"/>
                <a:gd name="connsiteX541" fmla="*/ 326395 w 1109339"/>
                <a:gd name="connsiteY541" fmla="*/ 184749 h 1010399"/>
                <a:gd name="connsiteX542" fmla="*/ 328145 w 1109339"/>
                <a:gd name="connsiteY542" fmla="*/ 186767 h 1010399"/>
                <a:gd name="connsiteX543" fmla="*/ 329457 w 1109339"/>
                <a:gd name="connsiteY543" fmla="*/ 189358 h 1010399"/>
                <a:gd name="connsiteX544" fmla="*/ 330198 w 1109339"/>
                <a:gd name="connsiteY544" fmla="*/ 190064 h 1010399"/>
                <a:gd name="connsiteX545" fmla="*/ 333227 w 1109339"/>
                <a:gd name="connsiteY545" fmla="*/ 192385 h 1010399"/>
                <a:gd name="connsiteX546" fmla="*/ 334808 w 1109339"/>
                <a:gd name="connsiteY546" fmla="*/ 193697 h 1010399"/>
                <a:gd name="connsiteX547" fmla="*/ 335381 w 1109339"/>
                <a:gd name="connsiteY547" fmla="*/ 197767 h 1010399"/>
                <a:gd name="connsiteX548" fmla="*/ 338275 w 1109339"/>
                <a:gd name="connsiteY548" fmla="*/ 200795 h 1010399"/>
                <a:gd name="connsiteX549" fmla="*/ 341607 w 1109339"/>
                <a:gd name="connsiteY549" fmla="*/ 201939 h 1010399"/>
                <a:gd name="connsiteX550" fmla="*/ 345511 w 1109339"/>
                <a:gd name="connsiteY550" fmla="*/ 203385 h 1010399"/>
                <a:gd name="connsiteX551" fmla="*/ 349280 w 1109339"/>
                <a:gd name="connsiteY551" fmla="*/ 208465 h 1010399"/>
                <a:gd name="connsiteX552" fmla="*/ 351367 w 1109339"/>
                <a:gd name="connsiteY552" fmla="*/ 211492 h 1010399"/>
                <a:gd name="connsiteX553" fmla="*/ 352746 w 1109339"/>
                <a:gd name="connsiteY553" fmla="*/ 213073 h 1010399"/>
                <a:gd name="connsiteX554" fmla="*/ 352746 w 1109339"/>
                <a:gd name="connsiteY554" fmla="*/ 216269 h 1010399"/>
                <a:gd name="connsiteX555" fmla="*/ 352443 w 1109339"/>
                <a:gd name="connsiteY555" fmla="*/ 218456 h 1010399"/>
                <a:gd name="connsiteX556" fmla="*/ 354193 w 1109339"/>
                <a:gd name="connsiteY556" fmla="*/ 220474 h 1010399"/>
                <a:gd name="connsiteX557" fmla="*/ 356381 w 1109339"/>
                <a:gd name="connsiteY557" fmla="*/ 220609 h 1010399"/>
                <a:gd name="connsiteX558" fmla="*/ 359578 w 1109339"/>
                <a:gd name="connsiteY558" fmla="*/ 221181 h 1010399"/>
                <a:gd name="connsiteX559" fmla="*/ 362035 w 1109339"/>
                <a:gd name="connsiteY559" fmla="*/ 224074 h 1010399"/>
                <a:gd name="connsiteX560" fmla="*/ 362776 w 1109339"/>
                <a:gd name="connsiteY560" fmla="*/ 227101 h 1010399"/>
                <a:gd name="connsiteX561" fmla="*/ 364222 w 1109339"/>
                <a:gd name="connsiteY561" fmla="*/ 229120 h 1010399"/>
                <a:gd name="connsiteX562" fmla="*/ 367689 w 1109339"/>
                <a:gd name="connsiteY562" fmla="*/ 228548 h 1010399"/>
                <a:gd name="connsiteX563" fmla="*/ 370011 w 1109339"/>
                <a:gd name="connsiteY563" fmla="*/ 227976 h 1010399"/>
                <a:gd name="connsiteX564" fmla="*/ 372031 w 1109339"/>
                <a:gd name="connsiteY564" fmla="*/ 227673 h 1010399"/>
                <a:gd name="connsiteX565" fmla="*/ 373780 w 1109339"/>
                <a:gd name="connsiteY565" fmla="*/ 229254 h 1010399"/>
                <a:gd name="connsiteX566" fmla="*/ 375665 w 1109339"/>
                <a:gd name="connsiteY566" fmla="*/ 231272 h 1010399"/>
                <a:gd name="connsiteX567" fmla="*/ 375665 w 1109339"/>
                <a:gd name="connsiteY567" fmla="*/ 234166 h 1010399"/>
                <a:gd name="connsiteX568" fmla="*/ 374353 w 1109339"/>
                <a:gd name="connsiteY568" fmla="*/ 236352 h 1010399"/>
                <a:gd name="connsiteX569" fmla="*/ 373780 w 1109339"/>
                <a:gd name="connsiteY569" fmla="*/ 239245 h 1010399"/>
                <a:gd name="connsiteX570" fmla="*/ 374521 w 1109339"/>
                <a:gd name="connsiteY570" fmla="*/ 242138 h 1010399"/>
                <a:gd name="connsiteX571" fmla="*/ 376271 w 1109339"/>
                <a:gd name="connsiteY571" fmla="*/ 244594 h 1010399"/>
                <a:gd name="connsiteX572" fmla="*/ 376574 w 1109339"/>
                <a:gd name="connsiteY572" fmla="*/ 247621 h 1010399"/>
                <a:gd name="connsiteX573" fmla="*/ 374689 w 1109339"/>
                <a:gd name="connsiteY573" fmla="*/ 250514 h 1010399"/>
                <a:gd name="connsiteX574" fmla="*/ 372939 w 1109339"/>
                <a:gd name="connsiteY574" fmla="*/ 252701 h 1010399"/>
                <a:gd name="connsiteX575" fmla="*/ 370617 w 1109339"/>
                <a:gd name="connsiteY575" fmla="*/ 254719 h 1010399"/>
                <a:gd name="connsiteX576" fmla="*/ 368295 w 1109339"/>
                <a:gd name="connsiteY576" fmla="*/ 256031 h 1010399"/>
                <a:gd name="connsiteX577" fmla="*/ 365670 w 1109339"/>
                <a:gd name="connsiteY577" fmla="*/ 257040 h 1010399"/>
                <a:gd name="connsiteX578" fmla="*/ 364088 w 1109339"/>
                <a:gd name="connsiteY578" fmla="*/ 259799 h 1010399"/>
                <a:gd name="connsiteX579" fmla="*/ 363785 w 1109339"/>
                <a:gd name="connsiteY579" fmla="*/ 261380 h 1010399"/>
                <a:gd name="connsiteX580" fmla="*/ 358703 w 1109339"/>
                <a:gd name="connsiteY580" fmla="*/ 263264 h 1010399"/>
                <a:gd name="connsiteX581" fmla="*/ 357391 w 1109339"/>
                <a:gd name="connsiteY581" fmla="*/ 265719 h 1010399"/>
                <a:gd name="connsiteX582" fmla="*/ 359275 w 1109339"/>
                <a:gd name="connsiteY582" fmla="*/ 269487 h 1010399"/>
                <a:gd name="connsiteX583" fmla="*/ 361867 w 1109339"/>
                <a:gd name="connsiteY583" fmla="*/ 273255 h 1010399"/>
                <a:gd name="connsiteX584" fmla="*/ 363011 w 1109339"/>
                <a:gd name="connsiteY584" fmla="*/ 275845 h 1010399"/>
                <a:gd name="connsiteX585" fmla="*/ 363583 w 1109339"/>
                <a:gd name="connsiteY585" fmla="*/ 277863 h 1010399"/>
                <a:gd name="connsiteX586" fmla="*/ 364458 w 1109339"/>
                <a:gd name="connsiteY586" fmla="*/ 282775 h 1010399"/>
                <a:gd name="connsiteX587" fmla="*/ 364155 w 1109339"/>
                <a:gd name="connsiteY587" fmla="*/ 289873 h 1010399"/>
                <a:gd name="connsiteX588" fmla="*/ 361261 w 1109339"/>
                <a:gd name="connsiteY588" fmla="*/ 293943 h 1010399"/>
                <a:gd name="connsiteX589" fmla="*/ 358636 w 1109339"/>
                <a:gd name="connsiteY589" fmla="*/ 297408 h 1010399"/>
                <a:gd name="connsiteX590" fmla="*/ 353285 w 1109339"/>
                <a:gd name="connsiteY590" fmla="*/ 300301 h 1010399"/>
                <a:gd name="connsiteX591" fmla="*/ 350963 w 1109339"/>
                <a:gd name="connsiteY591" fmla="*/ 301176 h 1010399"/>
                <a:gd name="connsiteX592" fmla="*/ 346621 w 1109339"/>
                <a:gd name="connsiteY592" fmla="*/ 301882 h 1010399"/>
                <a:gd name="connsiteX593" fmla="*/ 345881 w 1109339"/>
                <a:gd name="connsiteY593" fmla="*/ 306962 h 1010399"/>
                <a:gd name="connsiteX594" fmla="*/ 346015 w 1109339"/>
                <a:gd name="connsiteY594" fmla="*/ 310864 h 1010399"/>
                <a:gd name="connsiteX595" fmla="*/ 344568 w 1109339"/>
                <a:gd name="connsiteY595" fmla="*/ 317222 h 1010399"/>
                <a:gd name="connsiteX596" fmla="*/ 343693 w 1109339"/>
                <a:gd name="connsiteY596" fmla="*/ 323008 h 1010399"/>
                <a:gd name="connsiteX597" fmla="*/ 342953 w 1109339"/>
                <a:gd name="connsiteY597" fmla="*/ 324892 h 1010399"/>
                <a:gd name="connsiteX598" fmla="*/ 340059 w 1109339"/>
                <a:gd name="connsiteY598" fmla="*/ 332292 h 1010399"/>
                <a:gd name="connsiteX599" fmla="*/ 337030 w 1109339"/>
                <a:gd name="connsiteY599" fmla="*/ 335757 h 1010399"/>
                <a:gd name="connsiteX600" fmla="*/ 334135 w 1109339"/>
                <a:gd name="connsiteY600" fmla="*/ 338078 h 1010399"/>
                <a:gd name="connsiteX601" fmla="*/ 332991 w 1109339"/>
                <a:gd name="connsiteY601" fmla="*/ 341846 h 1010399"/>
                <a:gd name="connsiteX602" fmla="*/ 333563 w 1109339"/>
                <a:gd name="connsiteY602" fmla="*/ 346354 h 1010399"/>
                <a:gd name="connsiteX603" fmla="*/ 334270 w 1109339"/>
                <a:gd name="connsiteY603" fmla="*/ 349549 h 1010399"/>
                <a:gd name="connsiteX604" fmla="*/ 331678 w 1109339"/>
                <a:gd name="connsiteY604" fmla="*/ 353754 h 1010399"/>
                <a:gd name="connsiteX605" fmla="*/ 330231 w 1109339"/>
                <a:gd name="connsiteY605" fmla="*/ 356647 h 1010399"/>
                <a:gd name="connsiteX606" fmla="*/ 328919 w 1109339"/>
                <a:gd name="connsiteY606" fmla="*/ 361155 h 1010399"/>
                <a:gd name="connsiteX607" fmla="*/ 328784 w 1109339"/>
                <a:gd name="connsiteY607" fmla="*/ 365629 h 1010399"/>
                <a:gd name="connsiteX608" fmla="*/ 331376 w 1109339"/>
                <a:gd name="connsiteY608" fmla="*/ 373871 h 1010399"/>
                <a:gd name="connsiteX609" fmla="*/ 331948 w 1109339"/>
                <a:gd name="connsiteY609" fmla="*/ 378345 h 1010399"/>
                <a:gd name="connsiteX610" fmla="*/ 334405 w 1109339"/>
                <a:gd name="connsiteY610" fmla="*/ 382684 h 1010399"/>
                <a:gd name="connsiteX611" fmla="*/ 334270 w 1109339"/>
                <a:gd name="connsiteY611" fmla="*/ 385443 h 1010399"/>
                <a:gd name="connsiteX612" fmla="*/ 331510 w 1109339"/>
                <a:gd name="connsiteY612" fmla="*/ 389211 h 1010399"/>
                <a:gd name="connsiteX613" fmla="*/ 329323 w 1109339"/>
                <a:gd name="connsiteY613" fmla="*/ 390792 h 1010399"/>
                <a:gd name="connsiteX614" fmla="*/ 328448 w 1109339"/>
                <a:gd name="connsiteY614" fmla="*/ 393247 h 1010399"/>
                <a:gd name="connsiteX615" fmla="*/ 330333 w 1109339"/>
                <a:gd name="connsiteY615" fmla="*/ 397721 h 1010399"/>
                <a:gd name="connsiteX616" fmla="*/ 333530 w 1109339"/>
                <a:gd name="connsiteY616" fmla="*/ 401489 h 1010399"/>
                <a:gd name="connsiteX617" fmla="*/ 338309 w 1109339"/>
                <a:gd name="connsiteY617" fmla="*/ 405829 h 1010399"/>
                <a:gd name="connsiteX618" fmla="*/ 339890 w 1109339"/>
                <a:gd name="connsiteY618" fmla="*/ 409159 h 1010399"/>
                <a:gd name="connsiteX619" fmla="*/ 340328 w 1109339"/>
                <a:gd name="connsiteY619" fmla="*/ 410336 h 1010399"/>
                <a:gd name="connsiteX620" fmla="*/ 339015 w 1109339"/>
                <a:gd name="connsiteY620" fmla="*/ 412355 h 1010399"/>
                <a:gd name="connsiteX621" fmla="*/ 340463 w 1109339"/>
                <a:gd name="connsiteY621" fmla="*/ 415550 h 1010399"/>
                <a:gd name="connsiteX622" fmla="*/ 342212 w 1109339"/>
                <a:gd name="connsiteY622" fmla="*/ 418174 h 1010399"/>
                <a:gd name="connsiteX623" fmla="*/ 342078 w 1109339"/>
                <a:gd name="connsiteY623" fmla="*/ 421202 h 1010399"/>
                <a:gd name="connsiteX624" fmla="*/ 341640 w 1109339"/>
                <a:gd name="connsiteY624" fmla="*/ 424970 h 1010399"/>
                <a:gd name="connsiteX625" fmla="*/ 341203 w 1109339"/>
                <a:gd name="connsiteY625" fmla="*/ 428603 h 1010399"/>
                <a:gd name="connsiteX626" fmla="*/ 343525 w 1109339"/>
                <a:gd name="connsiteY626" fmla="*/ 434119 h 1010399"/>
                <a:gd name="connsiteX627" fmla="*/ 341068 w 1109339"/>
                <a:gd name="connsiteY627" fmla="*/ 439771 h 1010399"/>
                <a:gd name="connsiteX628" fmla="*/ 338309 w 1109339"/>
                <a:gd name="connsiteY628" fmla="*/ 445557 h 1010399"/>
                <a:gd name="connsiteX629" fmla="*/ 335280 w 1109339"/>
                <a:gd name="connsiteY629" fmla="*/ 448450 h 1010399"/>
                <a:gd name="connsiteX630" fmla="*/ 331510 w 1109339"/>
                <a:gd name="connsiteY630" fmla="*/ 449022 h 1010399"/>
                <a:gd name="connsiteX631" fmla="*/ 327169 w 1109339"/>
                <a:gd name="connsiteY631" fmla="*/ 446701 h 1010399"/>
                <a:gd name="connsiteX632" fmla="*/ 323534 w 1109339"/>
                <a:gd name="connsiteY632" fmla="*/ 443942 h 1010399"/>
                <a:gd name="connsiteX633" fmla="*/ 319462 w 1109339"/>
                <a:gd name="connsiteY633" fmla="*/ 443505 h 1010399"/>
                <a:gd name="connsiteX634" fmla="*/ 314952 w 1109339"/>
                <a:gd name="connsiteY634" fmla="*/ 444817 h 1010399"/>
                <a:gd name="connsiteX635" fmla="*/ 310039 w 1109339"/>
                <a:gd name="connsiteY635" fmla="*/ 448147 h 1010399"/>
                <a:gd name="connsiteX636" fmla="*/ 308457 w 1109339"/>
                <a:gd name="connsiteY636" fmla="*/ 454101 h 1010399"/>
                <a:gd name="connsiteX637" fmla="*/ 308457 w 1109339"/>
                <a:gd name="connsiteY637" fmla="*/ 457566 h 1010399"/>
                <a:gd name="connsiteX638" fmla="*/ 311049 w 1109339"/>
                <a:gd name="connsiteY638" fmla="*/ 460762 h 1010399"/>
                <a:gd name="connsiteX639" fmla="*/ 312361 w 1109339"/>
                <a:gd name="connsiteY639" fmla="*/ 464092 h 1010399"/>
                <a:gd name="connsiteX640" fmla="*/ 311486 w 1109339"/>
                <a:gd name="connsiteY640" fmla="*/ 467557 h 1010399"/>
                <a:gd name="connsiteX641" fmla="*/ 310341 w 1109339"/>
                <a:gd name="connsiteY641" fmla="*/ 470585 h 1010399"/>
                <a:gd name="connsiteX642" fmla="*/ 309601 w 1109339"/>
                <a:gd name="connsiteY642" fmla="*/ 473781 h 1010399"/>
                <a:gd name="connsiteX643" fmla="*/ 309029 w 1109339"/>
                <a:gd name="connsiteY643" fmla="*/ 474790 h 1010399"/>
                <a:gd name="connsiteX644" fmla="*/ 305697 w 1109339"/>
                <a:gd name="connsiteY644" fmla="*/ 477111 h 1010399"/>
                <a:gd name="connsiteX645" fmla="*/ 303678 w 1109339"/>
                <a:gd name="connsiteY645" fmla="*/ 479735 h 1010399"/>
                <a:gd name="connsiteX646" fmla="*/ 303240 w 1109339"/>
                <a:gd name="connsiteY646" fmla="*/ 482191 h 1010399"/>
                <a:gd name="connsiteX647" fmla="*/ 302668 w 1109339"/>
                <a:gd name="connsiteY647" fmla="*/ 487707 h 1010399"/>
                <a:gd name="connsiteX648" fmla="*/ 302365 w 1109339"/>
                <a:gd name="connsiteY648" fmla="*/ 491912 h 1010399"/>
                <a:gd name="connsiteX649" fmla="*/ 303240 w 1109339"/>
                <a:gd name="connsiteY649" fmla="*/ 496555 h 1010399"/>
                <a:gd name="connsiteX650" fmla="*/ 304418 w 1109339"/>
                <a:gd name="connsiteY650" fmla="*/ 502643 h 1010399"/>
                <a:gd name="connsiteX651" fmla="*/ 303543 w 1109339"/>
                <a:gd name="connsiteY651" fmla="*/ 510044 h 1010399"/>
                <a:gd name="connsiteX652" fmla="*/ 301356 w 1109339"/>
                <a:gd name="connsiteY652" fmla="*/ 511356 h 1010399"/>
                <a:gd name="connsiteX653" fmla="*/ 298461 w 1109339"/>
                <a:gd name="connsiteY653" fmla="*/ 515258 h 1010399"/>
                <a:gd name="connsiteX654" fmla="*/ 298327 w 1109339"/>
                <a:gd name="connsiteY654" fmla="*/ 517142 h 1010399"/>
                <a:gd name="connsiteX655" fmla="*/ 298764 w 1109339"/>
                <a:gd name="connsiteY655" fmla="*/ 519732 h 1010399"/>
                <a:gd name="connsiteX656" fmla="*/ 299067 w 1109339"/>
                <a:gd name="connsiteY656" fmla="*/ 522760 h 1010399"/>
                <a:gd name="connsiteX657" fmla="*/ 298630 w 1109339"/>
                <a:gd name="connsiteY657" fmla="*/ 524947 h 1010399"/>
                <a:gd name="connsiteX658" fmla="*/ 298361 w 1109339"/>
                <a:gd name="connsiteY658" fmla="*/ 532347 h 1010399"/>
                <a:gd name="connsiteX659" fmla="*/ 299942 w 1109339"/>
                <a:gd name="connsiteY659" fmla="*/ 535240 h 1010399"/>
                <a:gd name="connsiteX660" fmla="*/ 301086 w 1109339"/>
                <a:gd name="connsiteY660" fmla="*/ 539714 h 1010399"/>
                <a:gd name="connsiteX661" fmla="*/ 302702 w 1109339"/>
                <a:gd name="connsiteY661" fmla="*/ 542473 h 1010399"/>
                <a:gd name="connsiteX662" fmla="*/ 306034 w 1109339"/>
                <a:gd name="connsiteY662" fmla="*/ 543213 h 1010399"/>
                <a:gd name="connsiteX663" fmla="*/ 304889 w 1109339"/>
                <a:gd name="connsiteY663" fmla="*/ 545971 h 1010399"/>
                <a:gd name="connsiteX664" fmla="*/ 301860 w 1109339"/>
                <a:gd name="connsiteY664" fmla="*/ 547721 h 1010399"/>
                <a:gd name="connsiteX665" fmla="*/ 301995 w 1109339"/>
                <a:gd name="connsiteY665" fmla="*/ 551051 h 1010399"/>
                <a:gd name="connsiteX666" fmla="*/ 304014 w 1109339"/>
                <a:gd name="connsiteY666" fmla="*/ 554684 h 1010399"/>
                <a:gd name="connsiteX667" fmla="*/ 305024 w 1109339"/>
                <a:gd name="connsiteY667" fmla="*/ 557442 h 1010399"/>
                <a:gd name="connsiteX668" fmla="*/ 304587 w 1109339"/>
                <a:gd name="connsiteY668" fmla="*/ 561210 h 1010399"/>
                <a:gd name="connsiteX669" fmla="*/ 304587 w 1109339"/>
                <a:gd name="connsiteY669" fmla="*/ 564978 h 1010399"/>
                <a:gd name="connsiteX670" fmla="*/ 304721 w 1109339"/>
                <a:gd name="connsiteY670" fmla="*/ 568880 h 1010399"/>
                <a:gd name="connsiteX671" fmla="*/ 304014 w 1109339"/>
                <a:gd name="connsiteY671" fmla="*/ 572076 h 1010399"/>
                <a:gd name="connsiteX672" fmla="*/ 301120 w 1109339"/>
                <a:gd name="connsiteY672" fmla="*/ 570764 h 1010399"/>
                <a:gd name="connsiteX673" fmla="*/ 299808 w 1109339"/>
                <a:gd name="connsiteY673" fmla="*/ 568308 h 1010399"/>
                <a:gd name="connsiteX674" fmla="*/ 298226 w 1109339"/>
                <a:gd name="connsiteY674" fmla="*/ 565280 h 1010399"/>
                <a:gd name="connsiteX675" fmla="*/ 297082 w 1109339"/>
                <a:gd name="connsiteY675" fmla="*/ 562387 h 1010399"/>
                <a:gd name="connsiteX676" fmla="*/ 296207 w 1109339"/>
                <a:gd name="connsiteY676" fmla="*/ 560369 h 1010399"/>
                <a:gd name="connsiteX677" fmla="*/ 296072 w 1109339"/>
                <a:gd name="connsiteY677" fmla="*/ 558485 h 1010399"/>
                <a:gd name="connsiteX678" fmla="*/ 297082 w 1109339"/>
                <a:gd name="connsiteY678" fmla="*/ 557341 h 1010399"/>
                <a:gd name="connsiteX679" fmla="*/ 297216 w 1109339"/>
                <a:gd name="connsiteY679" fmla="*/ 554314 h 1010399"/>
                <a:gd name="connsiteX680" fmla="*/ 295332 w 1109339"/>
                <a:gd name="connsiteY680" fmla="*/ 553002 h 1010399"/>
                <a:gd name="connsiteX681" fmla="*/ 293750 w 1109339"/>
                <a:gd name="connsiteY681" fmla="*/ 551825 h 1010399"/>
                <a:gd name="connsiteX682" fmla="*/ 291293 w 1109339"/>
                <a:gd name="connsiteY682" fmla="*/ 551118 h 1010399"/>
                <a:gd name="connsiteX683" fmla="*/ 288399 w 1109339"/>
                <a:gd name="connsiteY683" fmla="*/ 548662 h 1010399"/>
                <a:gd name="connsiteX684" fmla="*/ 286379 w 1109339"/>
                <a:gd name="connsiteY684" fmla="*/ 545904 h 1010399"/>
                <a:gd name="connsiteX685" fmla="*/ 283754 w 1109339"/>
                <a:gd name="connsiteY685" fmla="*/ 543011 h 1010399"/>
                <a:gd name="connsiteX686" fmla="*/ 283182 w 1109339"/>
                <a:gd name="connsiteY686" fmla="*/ 541699 h 1010399"/>
                <a:gd name="connsiteX687" fmla="*/ 283048 w 1109339"/>
                <a:gd name="connsiteY687" fmla="*/ 537931 h 1010399"/>
                <a:gd name="connsiteX688" fmla="*/ 282779 w 1109339"/>
                <a:gd name="connsiteY688" fmla="*/ 536350 h 1010399"/>
                <a:gd name="connsiteX689" fmla="*/ 283216 w 1109339"/>
                <a:gd name="connsiteY689" fmla="*/ 534467 h 1010399"/>
                <a:gd name="connsiteX690" fmla="*/ 283654 w 1109339"/>
                <a:gd name="connsiteY690" fmla="*/ 532885 h 1010399"/>
                <a:gd name="connsiteX691" fmla="*/ 284225 w 1109339"/>
                <a:gd name="connsiteY691" fmla="*/ 529858 h 1010399"/>
                <a:gd name="connsiteX692" fmla="*/ 283788 w 1109339"/>
                <a:gd name="connsiteY692" fmla="*/ 526225 h 1010399"/>
                <a:gd name="connsiteX693" fmla="*/ 281466 w 1109339"/>
                <a:gd name="connsiteY693" fmla="*/ 524476 h 1010399"/>
                <a:gd name="connsiteX694" fmla="*/ 279447 w 1109339"/>
                <a:gd name="connsiteY694" fmla="*/ 521448 h 1010399"/>
                <a:gd name="connsiteX695" fmla="*/ 275678 w 1109339"/>
                <a:gd name="connsiteY695" fmla="*/ 516974 h 1010399"/>
                <a:gd name="connsiteX696" fmla="*/ 273086 w 1109339"/>
                <a:gd name="connsiteY696" fmla="*/ 519732 h 1010399"/>
                <a:gd name="connsiteX697" fmla="*/ 271639 w 1109339"/>
                <a:gd name="connsiteY697" fmla="*/ 522928 h 1010399"/>
                <a:gd name="connsiteX698" fmla="*/ 271504 w 1109339"/>
                <a:gd name="connsiteY698" fmla="*/ 526393 h 1010399"/>
                <a:gd name="connsiteX699" fmla="*/ 272951 w 1109339"/>
                <a:gd name="connsiteY699" fmla="*/ 529723 h 1010399"/>
                <a:gd name="connsiteX700" fmla="*/ 272514 w 1109339"/>
                <a:gd name="connsiteY700" fmla="*/ 531035 h 1010399"/>
                <a:gd name="connsiteX701" fmla="*/ 271201 w 1109339"/>
                <a:gd name="connsiteY701" fmla="*/ 534097 h 1010399"/>
                <a:gd name="connsiteX702" fmla="*/ 269620 w 1109339"/>
                <a:gd name="connsiteY702" fmla="*/ 535543 h 1010399"/>
                <a:gd name="connsiteX703" fmla="*/ 266725 w 1109339"/>
                <a:gd name="connsiteY703" fmla="*/ 536418 h 1010399"/>
                <a:gd name="connsiteX704" fmla="*/ 263965 w 1109339"/>
                <a:gd name="connsiteY704" fmla="*/ 538167 h 1010399"/>
                <a:gd name="connsiteX705" fmla="*/ 260499 w 1109339"/>
                <a:gd name="connsiteY705" fmla="*/ 540185 h 1010399"/>
                <a:gd name="connsiteX706" fmla="*/ 259792 w 1109339"/>
                <a:gd name="connsiteY706" fmla="*/ 542069 h 1010399"/>
                <a:gd name="connsiteX707" fmla="*/ 259220 w 1109339"/>
                <a:gd name="connsiteY707" fmla="*/ 545534 h 1010399"/>
                <a:gd name="connsiteX708" fmla="*/ 258480 w 1109339"/>
                <a:gd name="connsiteY708" fmla="*/ 546678 h 1010399"/>
                <a:gd name="connsiteX709" fmla="*/ 256595 w 1109339"/>
                <a:gd name="connsiteY709" fmla="*/ 549436 h 1010399"/>
                <a:gd name="connsiteX710" fmla="*/ 253701 w 1109339"/>
                <a:gd name="connsiteY710" fmla="*/ 550883 h 1010399"/>
                <a:gd name="connsiteX711" fmla="*/ 248922 w 1109339"/>
                <a:gd name="connsiteY711" fmla="*/ 554078 h 1010399"/>
                <a:gd name="connsiteX712" fmla="*/ 246734 w 1109339"/>
                <a:gd name="connsiteY712" fmla="*/ 558115 h 1010399"/>
                <a:gd name="connsiteX713" fmla="*/ 244581 w 1109339"/>
                <a:gd name="connsiteY713" fmla="*/ 561143 h 1010399"/>
                <a:gd name="connsiteX714" fmla="*/ 240811 w 1109339"/>
                <a:gd name="connsiteY714" fmla="*/ 565920 h 1010399"/>
                <a:gd name="connsiteX715" fmla="*/ 241686 w 1109339"/>
                <a:gd name="connsiteY715" fmla="*/ 569115 h 1010399"/>
                <a:gd name="connsiteX716" fmla="*/ 240542 w 1109339"/>
                <a:gd name="connsiteY716" fmla="*/ 571571 h 1010399"/>
                <a:gd name="connsiteX717" fmla="*/ 238085 w 1109339"/>
                <a:gd name="connsiteY717" fmla="*/ 575776 h 1010399"/>
                <a:gd name="connsiteX718" fmla="*/ 237075 w 1109339"/>
                <a:gd name="connsiteY718" fmla="*/ 577525 h 1010399"/>
                <a:gd name="connsiteX719" fmla="*/ 235326 w 1109339"/>
                <a:gd name="connsiteY719" fmla="*/ 579712 h 1010399"/>
                <a:gd name="connsiteX720" fmla="*/ 231994 w 1109339"/>
                <a:gd name="connsiteY720" fmla="*/ 583345 h 1010399"/>
                <a:gd name="connsiteX721" fmla="*/ 228359 w 1109339"/>
                <a:gd name="connsiteY721" fmla="*/ 586541 h 1010399"/>
                <a:gd name="connsiteX722" fmla="*/ 225330 w 1109339"/>
                <a:gd name="connsiteY722" fmla="*/ 588559 h 1010399"/>
                <a:gd name="connsiteX723" fmla="*/ 223311 w 1109339"/>
                <a:gd name="connsiteY723" fmla="*/ 589434 h 1010399"/>
                <a:gd name="connsiteX724" fmla="*/ 220551 w 1109339"/>
                <a:gd name="connsiteY724" fmla="*/ 590443 h 1010399"/>
                <a:gd name="connsiteX725" fmla="*/ 216210 w 1109339"/>
                <a:gd name="connsiteY725" fmla="*/ 592327 h 1010399"/>
                <a:gd name="connsiteX726" fmla="*/ 214460 w 1109339"/>
                <a:gd name="connsiteY726" fmla="*/ 594076 h 1010399"/>
                <a:gd name="connsiteX727" fmla="*/ 213585 w 1109339"/>
                <a:gd name="connsiteY727" fmla="*/ 597272 h 1010399"/>
                <a:gd name="connsiteX728" fmla="*/ 212878 w 1109339"/>
                <a:gd name="connsiteY728" fmla="*/ 598718 h 1010399"/>
                <a:gd name="connsiteX729" fmla="*/ 212306 w 1109339"/>
                <a:gd name="connsiteY729" fmla="*/ 601611 h 1010399"/>
                <a:gd name="connsiteX730" fmla="*/ 210993 w 1109339"/>
                <a:gd name="connsiteY730" fmla="*/ 605244 h 1010399"/>
                <a:gd name="connsiteX731" fmla="*/ 210724 w 1109339"/>
                <a:gd name="connsiteY731" fmla="*/ 605951 h 1010399"/>
                <a:gd name="connsiteX732" fmla="*/ 210286 w 1109339"/>
                <a:gd name="connsiteY732" fmla="*/ 609416 h 1010399"/>
                <a:gd name="connsiteX733" fmla="*/ 209714 w 1109339"/>
                <a:gd name="connsiteY733" fmla="*/ 611871 h 1010399"/>
                <a:gd name="connsiteX734" fmla="*/ 207123 w 1109339"/>
                <a:gd name="connsiteY734" fmla="*/ 613755 h 1010399"/>
                <a:gd name="connsiteX735" fmla="*/ 204532 w 1109339"/>
                <a:gd name="connsiteY735" fmla="*/ 614058 h 1010399"/>
                <a:gd name="connsiteX736" fmla="*/ 201334 w 1109339"/>
                <a:gd name="connsiteY736" fmla="*/ 613486 h 1010399"/>
                <a:gd name="connsiteX737" fmla="*/ 197868 w 1109339"/>
                <a:gd name="connsiteY737" fmla="*/ 615370 h 1010399"/>
                <a:gd name="connsiteX738" fmla="*/ 195243 w 1109339"/>
                <a:gd name="connsiteY738" fmla="*/ 619003 h 1010399"/>
                <a:gd name="connsiteX739" fmla="*/ 191339 w 1109339"/>
                <a:gd name="connsiteY739" fmla="*/ 621627 h 1010399"/>
                <a:gd name="connsiteX740" fmla="*/ 188310 w 1109339"/>
                <a:gd name="connsiteY740" fmla="*/ 623813 h 1010399"/>
                <a:gd name="connsiteX741" fmla="*/ 185416 w 1109339"/>
                <a:gd name="connsiteY741" fmla="*/ 626572 h 1010399"/>
                <a:gd name="connsiteX742" fmla="*/ 181209 w 1109339"/>
                <a:gd name="connsiteY742" fmla="*/ 629768 h 1010399"/>
                <a:gd name="connsiteX743" fmla="*/ 175420 w 1109339"/>
                <a:gd name="connsiteY743" fmla="*/ 634679 h 1010399"/>
                <a:gd name="connsiteX744" fmla="*/ 170338 w 1109339"/>
                <a:gd name="connsiteY744" fmla="*/ 638749 h 1010399"/>
                <a:gd name="connsiteX745" fmla="*/ 166872 w 1109339"/>
                <a:gd name="connsiteY745" fmla="*/ 642382 h 1010399"/>
                <a:gd name="connsiteX746" fmla="*/ 160646 w 1109339"/>
                <a:gd name="connsiteY746" fmla="*/ 647597 h 1010399"/>
                <a:gd name="connsiteX747" fmla="*/ 156002 w 1109339"/>
                <a:gd name="connsiteY747" fmla="*/ 649480 h 1010399"/>
                <a:gd name="connsiteX748" fmla="*/ 155429 w 1109339"/>
                <a:gd name="connsiteY748" fmla="*/ 653820 h 1010399"/>
                <a:gd name="connsiteX749" fmla="*/ 155867 w 1109339"/>
                <a:gd name="connsiteY749" fmla="*/ 657285 h 1010399"/>
                <a:gd name="connsiteX750" fmla="*/ 154723 w 1109339"/>
                <a:gd name="connsiteY750" fmla="*/ 662062 h 1010399"/>
                <a:gd name="connsiteX751" fmla="*/ 152973 w 1109339"/>
                <a:gd name="connsiteY751" fmla="*/ 666401 h 1010399"/>
                <a:gd name="connsiteX752" fmla="*/ 152838 w 1109339"/>
                <a:gd name="connsiteY752" fmla="*/ 667108 h 1010399"/>
                <a:gd name="connsiteX753" fmla="*/ 151694 w 1109339"/>
                <a:gd name="connsiteY753" fmla="*/ 671010 h 1010399"/>
                <a:gd name="connsiteX754" fmla="*/ 151559 w 1109339"/>
                <a:gd name="connsiteY754" fmla="*/ 674777 h 1010399"/>
                <a:gd name="connsiteX755" fmla="*/ 152569 w 1109339"/>
                <a:gd name="connsiteY755" fmla="*/ 677805 h 1010399"/>
                <a:gd name="connsiteX756" fmla="*/ 153881 w 1109339"/>
                <a:gd name="connsiteY756" fmla="*/ 680833 h 1010399"/>
                <a:gd name="connsiteX757" fmla="*/ 160545 w 1109339"/>
                <a:gd name="connsiteY757" fmla="*/ 687056 h 1010399"/>
                <a:gd name="connsiteX758" fmla="*/ 162430 w 1109339"/>
                <a:gd name="connsiteY758" fmla="*/ 689512 h 1010399"/>
                <a:gd name="connsiteX759" fmla="*/ 169262 w 1109339"/>
                <a:gd name="connsiteY759" fmla="*/ 691833 h 1010399"/>
                <a:gd name="connsiteX760" fmla="*/ 174613 w 1109339"/>
                <a:gd name="connsiteY760" fmla="*/ 691530 h 1010399"/>
                <a:gd name="connsiteX761" fmla="*/ 178517 w 1109339"/>
                <a:gd name="connsiteY761" fmla="*/ 692842 h 1010399"/>
                <a:gd name="connsiteX762" fmla="*/ 180670 w 1109339"/>
                <a:gd name="connsiteY762" fmla="*/ 695163 h 1010399"/>
                <a:gd name="connsiteX763" fmla="*/ 187469 w 1109339"/>
                <a:gd name="connsiteY763" fmla="*/ 695600 h 1010399"/>
                <a:gd name="connsiteX764" fmla="*/ 190800 w 1109339"/>
                <a:gd name="connsiteY764" fmla="*/ 697787 h 1010399"/>
                <a:gd name="connsiteX765" fmla="*/ 187031 w 1109339"/>
                <a:gd name="connsiteY765" fmla="*/ 701420 h 1010399"/>
                <a:gd name="connsiteX766" fmla="*/ 185012 w 1109339"/>
                <a:gd name="connsiteY766" fmla="*/ 702867 h 1010399"/>
                <a:gd name="connsiteX767" fmla="*/ 183262 w 1109339"/>
                <a:gd name="connsiteY767" fmla="*/ 705760 h 1010399"/>
                <a:gd name="connsiteX768" fmla="*/ 182387 w 1109339"/>
                <a:gd name="connsiteY768" fmla="*/ 709662 h 1010399"/>
                <a:gd name="connsiteX769" fmla="*/ 184406 w 1109339"/>
                <a:gd name="connsiteY769" fmla="*/ 712992 h 1010399"/>
                <a:gd name="connsiteX770" fmla="*/ 191642 w 1109339"/>
                <a:gd name="connsiteY770" fmla="*/ 713127 h 1010399"/>
                <a:gd name="connsiteX771" fmla="*/ 192954 w 1109339"/>
                <a:gd name="connsiteY771" fmla="*/ 712555 h 1010399"/>
                <a:gd name="connsiteX772" fmla="*/ 193964 w 1109339"/>
                <a:gd name="connsiteY772" fmla="*/ 712858 h 1010399"/>
                <a:gd name="connsiteX773" fmla="*/ 194973 w 1109339"/>
                <a:gd name="connsiteY773" fmla="*/ 715044 h 1010399"/>
                <a:gd name="connsiteX774" fmla="*/ 194536 w 1109339"/>
                <a:gd name="connsiteY774" fmla="*/ 717937 h 1010399"/>
                <a:gd name="connsiteX775" fmla="*/ 194402 w 1109339"/>
                <a:gd name="connsiteY775" fmla="*/ 719821 h 1010399"/>
                <a:gd name="connsiteX776" fmla="*/ 196858 w 1109339"/>
                <a:gd name="connsiteY776" fmla="*/ 720830 h 1010399"/>
                <a:gd name="connsiteX777" fmla="*/ 197868 w 1109339"/>
                <a:gd name="connsiteY777" fmla="*/ 722277 h 1010399"/>
                <a:gd name="connsiteX778" fmla="*/ 199180 w 1109339"/>
                <a:gd name="connsiteY778" fmla="*/ 725304 h 1010399"/>
                <a:gd name="connsiteX779" fmla="*/ 199483 w 1109339"/>
                <a:gd name="connsiteY779" fmla="*/ 727760 h 1010399"/>
                <a:gd name="connsiteX780" fmla="*/ 200796 w 1109339"/>
                <a:gd name="connsiteY780" fmla="*/ 729341 h 1010399"/>
                <a:gd name="connsiteX781" fmla="*/ 203825 w 1109339"/>
                <a:gd name="connsiteY781" fmla="*/ 730518 h 1010399"/>
                <a:gd name="connsiteX782" fmla="*/ 210623 w 1109339"/>
                <a:gd name="connsiteY782" fmla="*/ 730216 h 1010399"/>
                <a:gd name="connsiteX783" fmla="*/ 213248 w 1109339"/>
                <a:gd name="connsiteY783" fmla="*/ 729913 h 1010399"/>
                <a:gd name="connsiteX784" fmla="*/ 217590 w 1109339"/>
                <a:gd name="connsiteY784" fmla="*/ 729341 h 1010399"/>
                <a:gd name="connsiteX785" fmla="*/ 217892 w 1109339"/>
                <a:gd name="connsiteY785" fmla="*/ 727154 h 1010399"/>
                <a:gd name="connsiteX786" fmla="*/ 220518 w 1109339"/>
                <a:gd name="connsiteY786" fmla="*/ 724127 h 1010399"/>
                <a:gd name="connsiteX787" fmla="*/ 219070 w 1109339"/>
                <a:gd name="connsiteY787" fmla="*/ 720225 h 1010399"/>
                <a:gd name="connsiteX788" fmla="*/ 219070 w 1109339"/>
                <a:gd name="connsiteY788" fmla="*/ 716894 h 1010399"/>
                <a:gd name="connsiteX789" fmla="*/ 220955 w 1109339"/>
                <a:gd name="connsiteY789" fmla="*/ 714640 h 1010399"/>
                <a:gd name="connsiteX790" fmla="*/ 223715 w 1109339"/>
                <a:gd name="connsiteY790" fmla="*/ 714270 h 1010399"/>
                <a:gd name="connsiteX791" fmla="*/ 226912 w 1109339"/>
                <a:gd name="connsiteY791" fmla="*/ 714270 h 1010399"/>
                <a:gd name="connsiteX792" fmla="*/ 229974 w 1109339"/>
                <a:gd name="connsiteY792" fmla="*/ 714136 h 1010399"/>
                <a:gd name="connsiteX793" fmla="*/ 230984 w 1109339"/>
                <a:gd name="connsiteY793" fmla="*/ 713261 h 1010399"/>
                <a:gd name="connsiteX794" fmla="*/ 232128 w 1109339"/>
                <a:gd name="connsiteY794" fmla="*/ 710368 h 1010399"/>
                <a:gd name="connsiteX795" fmla="*/ 233138 w 1109339"/>
                <a:gd name="connsiteY795" fmla="*/ 707038 h 1010399"/>
                <a:gd name="connsiteX796" fmla="*/ 232431 w 1109339"/>
                <a:gd name="connsiteY796" fmla="*/ 706735 h 1010399"/>
                <a:gd name="connsiteX797" fmla="*/ 228662 w 1109339"/>
                <a:gd name="connsiteY797" fmla="*/ 703270 h 1010399"/>
                <a:gd name="connsiteX798" fmla="*/ 228965 w 1109339"/>
                <a:gd name="connsiteY798" fmla="*/ 701252 h 1010399"/>
                <a:gd name="connsiteX799" fmla="*/ 231152 w 1109339"/>
                <a:gd name="connsiteY799" fmla="*/ 699671 h 1010399"/>
                <a:gd name="connsiteX800" fmla="*/ 234047 w 1109339"/>
                <a:gd name="connsiteY800" fmla="*/ 699805 h 1010399"/>
                <a:gd name="connsiteX801" fmla="*/ 236806 w 1109339"/>
                <a:gd name="connsiteY801" fmla="*/ 700377 h 1010399"/>
                <a:gd name="connsiteX802" fmla="*/ 238994 w 1109339"/>
                <a:gd name="connsiteY802" fmla="*/ 700949 h 1010399"/>
                <a:gd name="connsiteX803" fmla="*/ 241753 w 1109339"/>
                <a:gd name="connsiteY803" fmla="*/ 702530 h 1010399"/>
                <a:gd name="connsiteX804" fmla="*/ 241753 w 1109339"/>
                <a:gd name="connsiteY804" fmla="*/ 708182 h 1010399"/>
                <a:gd name="connsiteX805" fmla="*/ 240744 w 1109339"/>
                <a:gd name="connsiteY805" fmla="*/ 711075 h 1010399"/>
                <a:gd name="connsiteX806" fmla="*/ 240475 w 1109339"/>
                <a:gd name="connsiteY806" fmla="*/ 713833 h 1010399"/>
                <a:gd name="connsiteX807" fmla="*/ 244951 w 1109339"/>
                <a:gd name="connsiteY807" fmla="*/ 716592 h 1010399"/>
                <a:gd name="connsiteX808" fmla="*/ 247710 w 1109339"/>
                <a:gd name="connsiteY808" fmla="*/ 715448 h 1010399"/>
                <a:gd name="connsiteX809" fmla="*/ 248585 w 1109339"/>
                <a:gd name="connsiteY809" fmla="*/ 712252 h 1010399"/>
                <a:gd name="connsiteX810" fmla="*/ 248854 w 1109339"/>
                <a:gd name="connsiteY810" fmla="*/ 709359 h 1010399"/>
                <a:gd name="connsiteX811" fmla="*/ 251312 w 1109339"/>
                <a:gd name="connsiteY811" fmla="*/ 707610 h 1010399"/>
                <a:gd name="connsiteX812" fmla="*/ 253768 w 1109339"/>
                <a:gd name="connsiteY812" fmla="*/ 709494 h 1010399"/>
                <a:gd name="connsiteX813" fmla="*/ 254071 w 1109339"/>
                <a:gd name="connsiteY813" fmla="*/ 713127 h 1010399"/>
                <a:gd name="connsiteX814" fmla="*/ 253061 w 1109339"/>
                <a:gd name="connsiteY814" fmla="*/ 716020 h 1010399"/>
                <a:gd name="connsiteX815" fmla="*/ 252052 w 1109339"/>
                <a:gd name="connsiteY815" fmla="*/ 719350 h 1010399"/>
                <a:gd name="connsiteX816" fmla="*/ 252927 w 1109339"/>
                <a:gd name="connsiteY816" fmla="*/ 719922 h 1010399"/>
                <a:gd name="connsiteX817" fmla="*/ 253499 w 1109339"/>
                <a:gd name="connsiteY817" fmla="*/ 722108 h 1010399"/>
                <a:gd name="connsiteX818" fmla="*/ 253364 w 1109339"/>
                <a:gd name="connsiteY818" fmla="*/ 723689 h 1010399"/>
                <a:gd name="connsiteX819" fmla="*/ 252657 w 1109339"/>
                <a:gd name="connsiteY819" fmla="*/ 725136 h 1010399"/>
                <a:gd name="connsiteX820" fmla="*/ 249629 w 1109339"/>
                <a:gd name="connsiteY820" fmla="*/ 727457 h 1010399"/>
                <a:gd name="connsiteX821" fmla="*/ 247004 w 1109339"/>
                <a:gd name="connsiteY821" fmla="*/ 730653 h 1010399"/>
                <a:gd name="connsiteX822" fmla="*/ 245859 w 1109339"/>
                <a:gd name="connsiteY822" fmla="*/ 731225 h 1010399"/>
                <a:gd name="connsiteX823" fmla="*/ 242090 w 1109339"/>
                <a:gd name="connsiteY823" fmla="*/ 731662 h 1010399"/>
                <a:gd name="connsiteX824" fmla="*/ 240643 w 1109339"/>
                <a:gd name="connsiteY824" fmla="*/ 732234 h 1010399"/>
                <a:gd name="connsiteX825" fmla="*/ 238758 w 1109339"/>
                <a:gd name="connsiteY825" fmla="*/ 733243 h 1010399"/>
                <a:gd name="connsiteX826" fmla="*/ 235561 w 1109339"/>
                <a:gd name="connsiteY826" fmla="*/ 734690 h 1010399"/>
                <a:gd name="connsiteX827" fmla="*/ 233676 w 1109339"/>
                <a:gd name="connsiteY827" fmla="*/ 736708 h 1010399"/>
                <a:gd name="connsiteX828" fmla="*/ 231489 w 1109339"/>
                <a:gd name="connsiteY828" fmla="*/ 738457 h 1010399"/>
                <a:gd name="connsiteX829" fmla="*/ 229301 w 1109339"/>
                <a:gd name="connsiteY829" fmla="*/ 740778 h 1010399"/>
                <a:gd name="connsiteX830" fmla="*/ 228426 w 1109339"/>
                <a:gd name="connsiteY830" fmla="*/ 743671 h 1010399"/>
                <a:gd name="connsiteX831" fmla="*/ 226845 w 1109339"/>
                <a:gd name="connsiteY831" fmla="*/ 744546 h 1010399"/>
                <a:gd name="connsiteX832" fmla="*/ 224522 w 1109339"/>
                <a:gd name="connsiteY832" fmla="*/ 742090 h 1010399"/>
                <a:gd name="connsiteX833" fmla="*/ 220753 w 1109339"/>
                <a:gd name="connsiteY833" fmla="*/ 739769 h 1010399"/>
                <a:gd name="connsiteX834" fmla="*/ 217286 w 1109339"/>
                <a:gd name="connsiteY834" fmla="*/ 741956 h 1010399"/>
                <a:gd name="connsiteX835" fmla="*/ 213955 w 1109339"/>
                <a:gd name="connsiteY835" fmla="*/ 742830 h 1010399"/>
                <a:gd name="connsiteX836" fmla="*/ 210185 w 1109339"/>
                <a:gd name="connsiteY836" fmla="*/ 743840 h 1010399"/>
                <a:gd name="connsiteX837" fmla="*/ 208301 w 1109339"/>
                <a:gd name="connsiteY837" fmla="*/ 747473 h 1010399"/>
                <a:gd name="connsiteX838" fmla="*/ 207729 w 1109339"/>
                <a:gd name="connsiteY838" fmla="*/ 750938 h 1010399"/>
                <a:gd name="connsiteX839" fmla="*/ 207998 w 1109339"/>
                <a:gd name="connsiteY839" fmla="*/ 754571 h 1010399"/>
                <a:gd name="connsiteX840" fmla="*/ 208435 w 1109339"/>
                <a:gd name="connsiteY840" fmla="*/ 760794 h 1010399"/>
                <a:gd name="connsiteX841" fmla="*/ 209614 w 1109339"/>
                <a:gd name="connsiteY841" fmla="*/ 763687 h 1010399"/>
                <a:gd name="connsiteX842" fmla="*/ 213080 w 1109339"/>
                <a:gd name="connsiteY842" fmla="*/ 767757 h 1010399"/>
                <a:gd name="connsiteX843" fmla="*/ 214089 w 1109339"/>
                <a:gd name="connsiteY843" fmla="*/ 769305 h 1010399"/>
                <a:gd name="connsiteX844" fmla="*/ 216849 w 1109339"/>
                <a:gd name="connsiteY844" fmla="*/ 774956 h 1010399"/>
                <a:gd name="connsiteX845" fmla="*/ 219440 w 1109339"/>
                <a:gd name="connsiteY845" fmla="*/ 778589 h 1010399"/>
                <a:gd name="connsiteX846" fmla="*/ 219777 w 1109339"/>
                <a:gd name="connsiteY846" fmla="*/ 782660 h 1010399"/>
                <a:gd name="connsiteX847" fmla="*/ 223513 w 1109339"/>
                <a:gd name="connsiteY847" fmla="*/ 782088 h 1010399"/>
                <a:gd name="connsiteX848" fmla="*/ 227282 w 1109339"/>
                <a:gd name="connsiteY848" fmla="*/ 782088 h 1010399"/>
                <a:gd name="connsiteX849" fmla="*/ 232701 w 1109339"/>
                <a:gd name="connsiteY849" fmla="*/ 782155 h 1010399"/>
                <a:gd name="connsiteX850" fmla="*/ 238422 w 1109339"/>
                <a:gd name="connsiteY850" fmla="*/ 782727 h 1010399"/>
                <a:gd name="connsiteX851" fmla="*/ 241047 w 1109339"/>
                <a:gd name="connsiteY851" fmla="*/ 782660 h 1010399"/>
                <a:gd name="connsiteX852" fmla="*/ 243638 w 1109339"/>
                <a:gd name="connsiteY852" fmla="*/ 782458 h 1010399"/>
                <a:gd name="connsiteX853" fmla="*/ 244782 w 1109339"/>
                <a:gd name="connsiteY853" fmla="*/ 781516 h 1010399"/>
                <a:gd name="connsiteX854" fmla="*/ 246297 w 1109339"/>
                <a:gd name="connsiteY854" fmla="*/ 779935 h 1010399"/>
                <a:gd name="connsiteX855" fmla="*/ 248316 w 1109339"/>
                <a:gd name="connsiteY855" fmla="*/ 778858 h 1010399"/>
                <a:gd name="connsiteX856" fmla="*/ 250571 w 1109339"/>
                <a:gd name="connsiteY856" fmla="*/ 777715 h 1010399"/>
                <a:gd name="connsiteX857" fmla="*/ 253331 w 1109339"/>
                <a:gd name="connsiteY857" fmla="*/ 776268 h 1010399"/>
                <a:gd name="connsiteX858" fmla="*/ 254206 w 1109339"/>
                <a:gd name="connsiteY858" fmla="*/ 779094 h 1010399"/>
                <a:gd name="connsiteX859" fmla="*/ 255788 w 1109339"/>
                <a:gd name="connsiteY859" fmla="*/ 780540 h 1010399"/>
                <a:gd name="connsiteX860" fmla="*/ 258614 w 1109339"/>
                <a:gd name="connsiteY860" fmla="*/ 781281 h 1010399"/>
                <a:gd name="connsiteX861" fmla="*/ 260499 w 1109339"/>
                <a:gd name="connsiteY861" fmla="*/ 780406 h 1010399"/>
                <a:gd name="connsiteX862" fmla="*/ 262014 w 1109339"/>
                <a:gd name="connsiteY862" fmla="*/ 778959 h 1010399"/>
                <a:gd name="connsiteX863" fmla="*/ 263394 w 1109339"/>
                <a:gd name="connsiteY863" fmla="*/ 778152 h 1010399"/>
                <a:gd name="connsiteX864" fmla="*/ 265581 w 1109339"/>
                <a:gd name="connsiteY864" fmla="*/ 776470 h 1010399"/>
                <a:gd name="connsiteX865" fmla="*/ 267163 w 1109339"/>
                <a:gd name="connsiteY865" fmla="*/ 774654 h 1010399"/>
                <a:gd name="connsiteX866" fmla="*/ 269047 w 1109339"/>
                <a:gd name="connsiteY866" fmla="*/ 773577 h 1010399"/>
                <a:gd name="connsiteX867" fmla="*/ 270999 w 1109339"/>
                <a:gd name="connsiteY867" fmla="*/ 773005 h 1010399"/>
                <a:gd name="connsiteX868" fmla="*/ 272884 w 1109339"/>
                <a:gd name="connsiteY868" fmla="*/ 772871 h 1010399"/>
                <a:gd name="connsiteX869" fmla="*/ 275846 w 1109339"/>
                <a:gd name="connsiteY869" fmla="*/ 772366 h 1010399"/>
                <a:gd name="connsiteX870" fmla="*/ 278437 w 1109339"/>
                <a:gd name="connsiteY870" fmla="*/ 771357 h 1010399"/>
                <a:gd name="connsiteX871" fmla="*/ 280456 w 1109339"/>
                <a:gd name="connsiteY871" fmla="*/ 770650 h 1010399"/>
                <a:gd name="connsiteX872" fmla="*/ 282408 w 1109339"/>
                <a:gd name="connsiteY872" fmla="*/ 770348 h 1010399"/>
                <a:gd name="connsiteX873" fmla="*/ 285437 w 1109339"/>
                <a:gd name="connsiteY873" fmla="*/ 768262 h 1010399"/>
                <a:gd name="connsiteX874" fmla="*/ 289577 w 1109339"/>
                <a:gd name="connsiteY874" fmla="*/ 768262 h 1010399"/>
                <a:gd name="connsiteX875" fmla="*/ 292471 w 1109339"/>
                <a:gd name="connsiteY875" fmla="*/ 769708 h 1010399"/>
                <a:gd name="connsiteX876" fmla="*/ 293615 w 1109339"/>
                <a:gd name="connsiteY876" fmla="*/ 772736 h 1010399"/>
                <a:gd name="connsiteX877" fmla="*/ 293413 w 1109339"/>
                <a:gd name="connsiteY877" fmla="*/ 774822 h 1010399"/>
                <a:gd name="connsiteX878" fmla="*/ 290788 w 1109339"/>
                <a:gd name="connsiteY878" fmla="*/ 777008 h 1010399"/>
                <a:gd name="connsiteX879" fmla="*/ 289543 w 1109339"/>
                <a:gd name="connsiteY879" fmla="*/ 779531 h 1010399"/>
                <a:gd name="connsiteX880" fmla="*/ 290856 w 1109339"/>
                <a:gd name="connsiteY880" fmla="*/ 781482 h 1010399"/>
                <a:gd name="connsiteX881" fmla="*/ 292605 w 1109339"/>
                <a:gd name="connsiteY881" fmla="*/ 783568 h 1010399"/>
                <a:gd name="connsiteX882" fmla="*/ 293716 w 1109339"/>
                <a:gd name="connsiteY882" fmla="*/ 788849 h 1010399"/>
                <a:gd name="connsiteX883" fmla="*/ 294221 w 1109339"/>
                <a:gd name="connsiteY883" fmla="*/ 790666 h 1010399"/>
                <a:gd name="connsiteX884" fmla="*/ 296240 w 1109339"/>
                <a:gd name="connsiteY884" fmla="*/ 793424 h 1010399"/>
                <a:gd name="connsiteX885" fmla="*/ 297687 w 1109339"/>
                <a:gd name="connsiteY885" fmla="*/ 794366 h 1010399"/>
                <a:gd name="connsiteX886" fmla="*/ 299269 w 1109339"/>
                <a:gd name="connsiteY886" fmla="*/ 797058 h 1010399"/>
                <a:gd name="connsiteX887" fmla="*/ 299336 w 1109339"/>
                <a:gd name="connsiteY887" fmla="*/ 799143 h 1010399"/>
                <a:gd name="connsiteX888" fmla="*/ 298461 w 1109339"/>
                <a:gd name="connsiteY888" fmla="*/ 800724 h 1010399"/>
                <a:gd name="connsiteX889" fmla="*/ 296442 w 1109339"/>
                <a:gd name="connsiteY889" fmla="*/ 802238 h 1010399"/>
                <a:gd name="connsiteX890" fmla="*/ 293851 w 1109339"/>
                <a:gd name="connsiteY890" fmla="*/ 805266 h 1010399"/>
                <a:gd name="connsiteX891" fmla="*/ 293851 w 1109339"/>
                <a:gd name="connsiteY891" fmla="*/ 806914 h 1010399"/>
                <a:gd name="connsiteX892" fmla="*/ 294995 w 1109339"/>
                <a:gd name="connsiteY892" fmla="*/ 809302 h 1010399"/>
                <a:gd name="connsiteX893" fmla="*/ 298192 w 1109339"/>
                <a:gd name="connsiteY893" fmla="*/ 812128 h 1010399"/>
                <a:gd name="connsiteX894" fmla="*/ 300515 w 1109339"/>
                <a:gd name="connsiteY894" fmla="*/ 813003 h 1010399"/>
                <a:gd name="connsiteX895" fmla="*/ 301221 w 1109339"/>
                <a:gd name="connsiteY895" fmla="*/ 816266 h 1010399"/>
                <a:gd name="connsiteX896" fmla="*/ 300144 w 1109339"/>
                <a:gd name="connsiteY896" fmla="*/ 822354 h 1010399"/>
                <a:gd name="connsiteX897" fmla="*/ 299572 w 1109339"/>
                <a:gd name="connsiteY897" fmla="*/ 825618 h 1010399"/>
                <a:gd name="connsiteX898" fmla="*/ 300885 w 1109339"/>
                <a:gd name="connsiteY898" fmla="*/ 827636 h 1010399"/>
                <a:gd name="connsiteX899" fmla="*/ 304082 w 1109339"/>
                <a:gd name="connsiteY899" fmla="*/ 830226 h 1010399"/>
                <a:gd name="connsiteX900" fmla="*/ 306606 w 1109339"/>
                <a:gd name="connsiteY900" fmla="*/ 831740 h 1010399"/>
                <a:gd name="connsiteX901" fmla="*/ 309433 w 1109339"/>
                <a:gd name="connsiteY901" fmla="*/ 834566 h 1010399"/>
                <a:gd name="connsiteX902" fmla="*/ 310510 w 1109339"/>
                <a:gd name="connsiteY902" fmla="*/ 837526 h 1010399"/>
                <a:gd name="connsiteX903" fmla="*/ 312024 w 1109339"/>
                <a:gd name="connsiteY903" fmla="*/ 838670 h 1010399"/>
                <a:gd name="connsiteX904" fmla="*/ 314986 w 1109339"/>
                <a:gd name="connsiteY904" fmla="*/ 839679 h 1010399"/>
                <a:gd name="connsiteX905" fmla="*/ 319025 w 1109339"/>
                <a:gd name="connsiteY905" fmla="*/ 842370 h 1010399"/>
                <a:gd name="connsiteX906" fmla="*/ 319596 w 1109339"/>
                <a:gd name="connsiteY906" fmla="*/ 843817 h 1010399"/>
                <a:gd name="connsiteX907" fmla="*/ 323568 w 1109339"/>
                <a:gd name="connsiteY907" fmla="*/ 847382 h 1010399"/>
                <a:gd name="connsiteX908" fmla="*/ 330736 w 1109339"/>
                <a:gd name="connsiteY908" fmla="*/ 847517 h 1010399"/>
                <a:gd name="connsiteX909" fmla="*/ 334304 w 1109339"/>
                <a:gd name="connsiteY909" fmla="*/ 851049 h 1010399"/>
                <a:gd name="connsiteX910" fmla="*/ 337770 w 1109339"/>
                <a:gd name="connsiteY910" fmla="*/ 853740 h 1010399"/>
                <a:gd name="connsiteX911" fmla="*/ 341909 w 1109339"/>
                <a:gd name="connsiteY911" fmla="*/ 856701 h 1010399"/>
                <a:gd name="connsiteX912" fmla="*/ 346251 w 1109339"/>
                <a:gd name="connsiteY912" fmla="*/ 858652 h 1010399"/>
                <a:gd name="connsiteX913" fmla="*/ 348270 w 1109339"/>
                <a:gd name="connsiteY913" fmla="*/ 858214 h 1010399"/>
                <a:gd name="connsiteX914" fmla="*/ 349953 w 1109339"/>
                <a:gd name="connsiteY914" fmla="*/ 857272 h 1010399"/>
                <a:gd name="connsiteX915" fmla="*/ 353083 w 1109339"/>
                <a:gd name="connsiteY915" fmla="*/ 854514 h 1010399"/>
                <a:gd name="connsiteX916" fmla="*/ 357492 w 1109339"/>
                <a:gd name="connsiteY916" fmla="*/ 850982 h 1010399"/>
                <a:gd name="connsiteX917" fmla="*/ 360958 w 1109339"/>
                <a:gd name="connsiteY917" fmla="*/ 850679 h 1010399"/>
                <a:gd name="connsiteX918" fmla="*/ 365300 w 1109339"/>
                <a:gd name="connsiteY918" fmla="*/ 851318 h 1010399"/>
                <a:gd name="connsiteX919" fmla="*/ 369002 w 1109339"/>
                <a:gd name="connsiteY919" fmla="*/ 851621 h 1010399"/>
                <a:gd name="connsiteX920" fmla="*/ 371256 w 1109339"/>
                <a:gd name="connsiteY920" fmla="*/ 851419 h 1010399"/>
                <a:gd name="connsiteX921" fmla="*/ 373511 w 1109339"/>
                <a:gd name="connsiteY921" fmla="*/ 850679 h 1010399"/>
                <a:gd name="connsiteX922" fmla="*/ 373713 w 1109339"/>
                <a:gd name="connsiteY922" fmla="*/ 846844 h 1010399"/>
                <a:gd name="connsiteX923" fmla="*/ 372771 w 1109339"/>
                <a:gd name="connsiteY923" fmla="*/ 843817 h 1010399"/>
                <a:gd name="connsiteX924" fmla="*/ 372333 w 1109339"/>
                <a:gd name="connsiteY924" fmla="*/ 840856 h 1010399"/>
                <a:gd name="connsiteX925" fmla="*/ 373343 w 1109339"/>
                <a:gd name="connsiteY925" fmla="*/ 838333 h 1010399"/>
                <a:gd name="connsiteX926" fmla="*/ 374925 w 1109339"/>
                <a:gd name="connsiteY926" fmla="*/ 837089 h 1010399"/>
                <a:gd name="connsiteX927" fmla="*/ 376506 w 1109339"/>
                <a:gd name="connsiteY927" fmla="*/ 837156 h 1010399"/>
                <a:gd name="connsiteX928" fmla="*/ 377752 w 1109339"/>
                <a:gd name="connsiteY928" fmla="*/ 837728 h 1010399"/>
                <a:gd name="connsiteX929" fmla="*/ 380781 w 1109339"/>
                <a:gd name="connsiteY929" fmla="*/ 839612 h 1010399"/>
                <a:gd name="connsiteX930" fmla="*/ 383675 w 1109339"/>
                <a:gd name="connsiteY930" fmla="*/ 841866 h 1010399"/>
                <a:gd name="connsiteX931" fmla="*/ 387141 w 1109339"/>
                <a:gd name="connsiteY931" fmla="*/ 843009 h 1010399"/>
                <a:gd name="connsiteX932" fmla="*/ 388454 w 1109339"/>
                <a:gd name="connsiteY932" fmla="*/ 844523 h 1010399"/>
                <a:gd name="connsiteX933" fmla="*/ 388891 w 1109339"/>
                <a:gd name="connsiteY933" fmla="*/ 847853 h 1010399"/>
                <a:gd name="connsiteX934" fmla="*/ 390204 w 1109339"/>
                <a:gd name="connsiteY934" fmla="*/ 850612 h 1010399"/>
                <a:gd name="connsiteX935" fmla="*/ 391886 w 1109339"/>
                <a:gd name="connsiteY935" fmla="*/ 853639 h 1010399"/>
                <a:gd name="connsiteX936" fmla="*/ 393603 w 1109339"/>
                <a:gd name="connsiteY936" fmla="*/ 855456 h 1010399"/>
                <a:gd name="connsiteX937" fmla="*/ 397002 w 1109339"/>
                <a:gd name="connsiteY937" fmla="*/ 855321 h 1010399"/>
                <a:gd name="connsiteX938" fmla="*/ 400401 w 1109339"/>
                <a:gd name="connsiteY938" fmla="*/ 854312 h 1010399"/>
                <a:gd name="connsiteX939" fmla="*/ 403295 w 1109339"/>
                <a:gd name="connsiteY939" fmla="*/ 853572 h 1010399"/>
                <a:gd name="connsiteX940" fmla="*/ 406695 w 1109339"/>
                <a:gd name="connsiteY940" fmla="*/ 853269 h 1010399"/>
                <a:gd name="connsiteX941" fmla="*/ 411608 w 1109339"/>
                <a:gd name="connsiteY941" fmla="*/ 851386 h 1010399"/>
                <a:gd name="connsiteX942" fmla="*/ 414570 w 1109339"/>
                <a:gd name="connsiteY942" fmla="*/ 850309 h 1010399"/>
                <a:gd name="connsiteX943" fmla="*/ 418272 w 1109339"/>
                <a:gd name="connsiteY943" fmla="*/ 846844 h 1010399"/>
                <a:gd name="connsiteX944" fmla="*/ 421604 w 1109339"/>
                <a:gd name="connsiteY944" fmla="*/ 844658 h 1010399"/>
                <a:gd name="connsiteX945" fmla="*/ 423556 w 1109339"/>
                <a:gd name="connsiteY945" fmla="*/ 840957 h 1010399"/>
                <a:gd name="connsiteX946" fmla="*/ 426686 w 1109339"/>
                <a:gd name="connsiteY946" fmla="*/ 836988 h 1010399"/>
                <a:gd name="connsiteX947" fmla="*/ 429378 w 1109339"/>
                <a:gd name="connsiteY947" fmla="*/ 835609 h 1010399"/>
                <a:gd name="connsiteX948" fmla="*/ 432407 w 1109339"/>
                <a:gd name="connsiteY948" fmla="*/ 834027 h 1010399"/>
                <a:gd name="connsiteX949" fmla="*/ 436311 w 1109339"/>
                <a:gd name="connsiteY949" fmla="*/ 832951 h 1010399"/>
                <a:gd name="connsiteX950" fmla="*/ 438902 w 1109339"/>
                <a:gd name="connsiteY950" fmla="*/ 832446 h 1010399"/>
                <a:gd name="connsiteX951" fmla="*/ 441662 w 1109339"/>
                <a:gd name="connsiteY951" fmla="*/ 832446 h 1010399"/>
                <a:gd name="connsiteX952" fmla="*/ 443681 w 1109339"/>
                <a:gd name="connsiteY952" fmla="*/ 833657 h 1010399"/>
                <a:gd name="connsiteX953" fmla="*/ 443816 w 1109339"/>
                <a:gd name="connsiteY953" fmla="*/ 835575 h 1010399"/>
                <a:gd name="connsiteX954" fmla="*/ 442738 w 1109339"/>
                <a:gd name="connsiteY954" fmla="*/ 837526 h 1010399"/>
                <a:gd name="connsiteX955" fmla="*/ 441662 w 1109339"/>
                <a:gd name="connsiteY955" fmla="*/ 842807 h 1010399"/>
                <a:gd name="connsiteX956" fmla="*/ 442167 w 1109339"/>
                <a:gd name="connsiteY956" fmla="*/ 847012 h 1010399"/>
                <a:gd name="connsiteX957" fmla="*/ 442537 w 1109339"/>
                <a:gd name="connsiteY957" fmla="*/ 852664 h 1010399"/>
                <a:gd name="connsiteX958" fmla="*/ 445061 w 1109339"/>
                <a:gd name="connsiteY958" fmla="*/ 855725 h 1010399"/>
                <a:gd name="connsiteX959" fmla="*/ 448258 w 1109339"/>
                <a:gd name="connsiteY959" fmla="*/ 859055 h 1010399"/>
                <a:gd name="connsiteX960" fmla="*/ 453037 w 1109339"/>
                <a:gd name="connsiteY960" fmla="*/ 863193 h 1010399"/>
                <a:gd name="connsiteX961" fmla="*/ 460273 w 1109339"/>
                <a:gd name="connsiteY961" fmla="*/ 868037 h 1010399"/>
                <a:gd name="connsiteX962" fmla="*/ 470335 w 1109339"/>
                <a:gd name="connsiteY962" fmla="*/ 870560 h 1010399"/>
                <a:gd name="connsiteX963" fmla="*/ 476932 w 1109339"/>
                <a:gd name="connsiteY963" fmla="*/ 871569 h 1010399"/>
                <a:gd name="connsiteX964" fmla="*/ 481576 w 1109339"/>
                <a:gd name="connsiteY964" fmla="*/ 872208 h 1010399"/>
                <a:gd name="connsiteX965" fmla="*/ 486355 w 1109339"/>
                <a:gd name="connsiteY965" fmla="*/ 872208 h 1010399"/>
                <a:gd name="connsiteX966" fmla="*/ 490562 w 1109339"/>
                <a:gd name="connsiteY966" fmla="*/ 870964 h 1010399"/>
                <a:gd name="connsiteX967" fmla="*/ 494095 w 1109339"/>
                <a:gd name="connsiteY967" fmla="*/ 869080 h 1010399"/>
                <a:gd name="connsiteX968" fmla="*/ 497932 w 1109339"/>
                <a:gd name="connsiteY968" fmla="*/ 865817 h 1010399"/>
                <a:gd name="connsiteX969" fmla="*/ 504024 w 1109339"/>
                <a:gd name="connsiteY969" fmla="*/ 861982 h 1010399"/>
                <a:gd name="connsiteX970" fmla="*/ 511428 w 1109339"/>
                <a:gd name="connsiteY970" fmla="*/ 857777 h 1010399"/>
                <a:gd name="connsiteX971" fmla="*/ 513683 w 1109339"/>
                <a:gd name="connsiteY971" fmla="*/ 855019 h 1010399"/>
                <a:gd name="connsiteX972" fmla="*/ 516947 w 1109339"/>
                <a:gd name="connsiteY972" fmla="*/ 855019 h 1010399"/>
                <a:gd name="connsiteX973" fmla="*/ 520649 w 1109339"/>
                <a:gd name="connsiteY973" fmla="*/ 855019 h 1010399"/>
                <a:gd name="connsiteX974" fmla="*/ 522735 w 1109339"/>
                <a:gd name="connsiteY974" fmla="*/ 855019 h 1010399"/>
                <a:gd name="connsiteX975" fmla="*/ 524688 w 1109339"/>
                <a:gd name="connsiteY975" fmla="*/ 855557 h 1010399"/>
                <a:gd name="connsiteX976" fmla="*/ 526505 w 1109339"/>
                <a:gd name="connsiteY976" fmla="*/ 857037 h 1010399"/>
                <a:gd name="connsiteX977" fmla="*/ 528121 w 1109339"/>
                <a:gd name="connsiteY977" fmla="*/ 858652 h 1010399"/>
                <a:gd name="connsiteX978" fmla="*/ 528995 w 1109339"/>
                <a:gd name="connsiteY978" fmla="*/ 860031 h 1010399"/>
                <a:gd name="connsiteX979" fmla="*/ 531688 w 1109339"/>
                <a:gd name="connsiteY979" fmla="*/ 860906 h 1010399"/>
                <a:gd name="connsiteX980" fmla="*/ 533774 w 1109339"/>
                <a:gd name="connsiteY980" fmla="*/ 861276 h 1010399"/>
                <a:gd name="connsiteX981" fmla="*/ 538991 w 1109339"/>
                <a:gd name="connsiteY981" fmla="*/ 863294 h 1010399"/>
                <a:gd name="connsiteX982" fmla="*/ 540068 w 1109339"/>
                <a:gd name="connsiteY982" fmla="*/ 863361 h 1010399"/>
                <a:gd name="connsiteX983" fmla="*/ 542323 w 1109339"/>
                <a:gd name="connsiteY983" fmla="*/ 862419 h 1010399"/>
                <a:gd name="connsiteX984" fmla="*/ 544645 w 1109339"/>
                <a:gd name="connsiteY984" fmla="*/ 860098 h 1010399"/>
                <a:gd name="connsiteX985" fmla="*/ 547034 w 1109339"/>
                <a:gd name="connsiteY985" fmla="*/ 859594 h 1010399"/>
                <a:gd name="connsiteX986" fmla="*/ 550164 w 1109339"/>
                <a:gd name="connsiteY986" fmla="*/ 861040 h 1010399"/>
                <a:gd name="connsiteX987" fmla="*/ 552352 w 1109339"/>
                <a:gd name="connsiteY987" fmla="*/ 864808 h 1010399"/>
                <a:gd name="connsiteX988" fmla="*/ 551409 w 1109339"/>
                <a:gd name="connsiteY988" fmla="*/ 868003 h 1010399"/>
                <a:gd name="connsiteX989" fmla="*/ 554371 w 1109339"/>
                <a:gd name="connsiteY989" fmla="*/ 873655 h 1010399"/>
                <a:gd name="connsiteX990" fmla="*/ 557635 w 1109339"/>
                <a:gd name="connsiteY990" fmla="*/ 876346 h 1010399"/>
                <a:gd name="connsiteX991" fmla="*/ 560597 w 1109339"/>
                <a:gd name="connsiteY991" fmla="*/ 878600 h 1010399"/>
                <a:gd name="connsiteX992" fmla="*/ 564366 w 1109339"/>
                <a:gd name="connsiteY992" fmla="*/ 881056 h 1010399"/>
                <a:gd name="connsiteX993" fmla="*/ 566621 w 1109339"/>
                <a:gd name="connsiteY993" fmla="*/ 883511 h 1010399"/>
                <a:gd name="connsiteX994" fmla="*/ 565174 w 1109339"/>
                <a:gd name="connsiteY994" fmla="*/ 885967 h 1010399"/>
                <a:gd name="connsiteX995" fmla="*/ 561977 w 1109339"/>
                <a:gd name="connsiteY995" fmla="*/ 888053 h 1010399"/>
                <a:gd name="connsiteX996" fmla="*/ 559722 w 1109339"/>
                <a:gd name="connsiteY996" fmla="*/ 890677 h 1010399"/>
                <a:gd name="connsiteX997" fmla="*/ 558342 w 1109339"/>
                <a:gd name="connsiteY997" fmla="*/ 892258 h 1010399"/>
                <a:gd name="connsiteX998" fmla="*/ 557400 w 1109339"/>
                <a:gd name="connsiteY998" fmla="*/ 896395 h 1010399"/>
                <a:gd name="connsiteX999" fmla="*/ 557905 w 1109339"/>
                <a:gd name="connsiteY999" fmla="*/ 899221 h 1010399"/>
                <a:gd name="connsiteX1000" fmla="*/ 561102 w 1109339"/>
                <a:gd name="connsiteY1000" fmla="*/ 906252 h 1010399"/>
                <a:gd name="connsiteX1001" fmla="*/ 563188 w 1109339"/>
                <a:gd name="connsiteY1001" fmla="*/ 909077 h 1010399"/>
                <a:gd name="connsiteX1002" fmla="*/ 563256 w 1109339"/>
                <a:gd name="connsiteY1002" fmla="*/ 911533 h 1010399"/>
                <a:gd name="connsiteX1003" fmla="*/ 563256 w 1109339"/>
                <a:gd name="connsiteY1003" fmla="*/ 913720 h 1010399"/>
                <a:gd name="connsiteX1004" fmla="*/ 562751 w 1109339"/>
                <a:gd name="connsiteY1004" fmla="*/ 915906 h 1010399"/>
                <a:gd name="connsiteX1005" fmla="*/ 563391 w 1109339"/>
                <a:gd name="connsiteY1005" fmla="*/ 918160 h 1010399"/>
                <a:gd name="connsiteX1006" fmla="*/ 566722 w 1109339"/>
                <a:gd name="connsiteY1006" fmla="*/ 920414 h 1010399"/>
                <a:gd name="connsiteX1007" fmla="*/ 569246 w 1109339"/>
                <a:gd name="connsiteY1007" fmla="*/ 918598 h 1010399"/>
                <a:gd name="connsiteX1008" fmla="*/ 570323 w 1109339"/>
                <a:gd name="connsiteY1008" fmla="*/ 916276 h 1010399"/>
                <a:gd name="connsiteX1009" fmla="*/ 571972 w 1109339"/>
                <a:gd name="connsiteY1009" fmla="*/ 915469 h 1010399"/>
                <a:gd name="connsiteX1010" fmla="*/ 573554 w 1109339"/>
                <a:gd name="connsiteY1010" fmla="*/ 912576 h 1010399"/>
                <a:gd name="connsiteX1011" fmla="*/ 576179 w 1109339"/>
                <a:gd name="connsiteY1011" fmla="*/ 911701 h 1010399"/>
                <a:gd name="connsiteX1012" fmla="*/ 576987 w 1109339"/>
                <a:gd name="connsiteY1012" fmla="*/ 913182 h 1010399"/>
                <a:gd name="connsiteX1013" fmla="*/ 580554 w 1109339"/>
                <a:gd name="connsiteY1013" fmla="*/ 914561 h 1010399"/>
                <a:gd name="connsiteX1014" fmla="*/ 581295 w 1109339"/>
                <a:gd name="connsiteY1014" fmla="*/ 914123 h 1010399"/>
                <a:gd name="connsiteX1015" fmla="*/ 582372 w 1109339"/>
                <a:gd name="connsiteY1015" fmla="*/ 912610 h 1010399"/>
                <a:gd name="connsiteX1016" fmla="*/ 584559 w 1109339"/>
                <a:gd name="connsiteY1016" fmla="*/ 912105 h 1010399"/>
                <a:gd name="connsiteX1017" fmla="*/ 588530 w 1109339"/>
                <a:gd name="connsiteY1017" fmla="*/ 912408 h 1010399"/>
                <a:gd name="connsiteX1018" fmla="*/ 591660 w 1109339"/>
                <a:gd name="connsiteY1018" fmla="*/ 911836 h 1010399"/>
                <a:gd name="connsiteX1019" fmla="*/ 594790 w 1109339"/>
                <a:gd name="connsiteY1019" fmla="*/ 911836 h 1010399"/>
                <a:gd name="connsiteX1020" fmla="*/ 598761 w 1109339"/>
                <a:gd name="connsiteY1020" fmla="*/ 912341 h 1010399"/>
                <a:gd name="connsiteX1021" fmla="*/ 602396 w 1109339"/>
                <a:gd name="connsiteY1021" fmla="*/ 914224 h 1010399"/>
                <a:gd name="connsiteX1022" fmla="*/ 606233 w 1109339"/>
                <a:gd name="connsiteY1022" fmla="*/ 914224 h 1010399"/>
                <a:gd name="connsiteX1023" fmla="*/ 610507 w 1109339"/>
                <a:gd name="connsiteY1023" fmla="*/ 915301 h 1010399"/>
                <a:gd name="connsiteX1024" fmla="*/ 613401 w 1109339"/>
                <a:gd name="connsiteY1024" fmla="*/ 917050 h 1010399"/>
                <a:gd name="connsiteX1025" fmla="*/ 612089 w 1109339"/>
                <a:gd name="connsiteY1025" fmla="*/ 920246 h 1010399"/>
                <a:gd name="connsiteX1026" fmla="*/ 609699 w 1109339"/>
                <a:gd name="connsiteY1026" fmla="*/ 920313 h 1010399"/>
                <a:gd name="connsiteX1027" fmla="*/ 607814 w 1109339"/>
                <a:gd name="connsiteY1027" fmla="*/ 919001 h 1010399"/>
                <a:gd name="connsiteX1028" fmla="*/ 606939 w 1109339"/>
                <a:gd name="connsiteY1028" fmla="*/ 919640 h 1010399"/>
                <a:gd name="connsiteX1029" fmla="*/ 606637 w 1109339"/>
                <a:gd name="connsiteY1029" fmla="*/ 920952 h 1010399"/>
                <a:gd name="connsiteX1030" fmla="*/ 606132 w 1109339"/>
                <a:gd name="connsiteY1030" fmla="*/ 922096 h 1010399"/>
                <a:gd name="connsiteX1031" fmla="*/ 604180 w 1109339"/>
                <a:gd name="connsiteY1031" fmla="*/ 922298 h 1010399"/>
                <a:gd name="connsiteX1032" fmla="*/ 603540 w 1109339"/>
                <a:gd name="connsiteY1032" fmla="*/ 922601 h 1010399"/>
                <a:gd name="connsiteX1033" fmla="*/ 602295 w 1109339"/>
                <a:gd name="connsiteY1033" fmla="*/ 923105 h 1010399"/>
                <a:gd name="connsiteX1034" fmla="*/ 600848 w 1109339"/>
                <a:gd name="connsiteY1034" fmla="*/ 923408 h 1010399"/>
                <a:gd name="connsiteX1035" fmla="*/ 600040 w 1109339"/>
                <a:gd name="connsiteY1035" fmla="*/ 924484 h 1010399"/>
                <a:gd name="connsiteX1036" fmla="*/ 599838 w 1109339"/>
                <a:gd name="connsiteY1036" fmla="*/ 925796 h 1010399"/>
                <a:gd name="connsiteX1037" fmla="*/ 600141 w 1109339"/>
                <a:gd name="connsiteY1037" fmla="*/ 926940 h 1010399"/>
                <a:gd name="connsiteX1038" fmla="*/ 601588 w 1109339"/>
                <a:gd name="connsiteY1038" fmla="*/ 929026 h 1010399"/>
                <a:gd name="connsiteX1039" fmla="*/ 602598 w 1109339"/>
                <a:gd name="connsiteY1039" fmla="*/ 930035 h 1010399"/>
                <a:gd name="connsiteX1040" fmla="*/ 604180 w 1109339"/>
                <a:gd name="connsiteY1040" fmla="*/ 931481 h 1010399"/>
                <a:gd name="connsiteX1041" fmla="*/ 604920 w 1109339"/>
                <a:gd name="connsiteY1041" fmla="*/ 932793 h 1010399"/>
                <a:gd name="connsiteX1042" fmla="*/ 604550 w 1109339"/>
                <a:gd name="connsiteY1042" fmla="*/ 935586 h 1010399"/>
                <a:gd name="connsiteX1043" fmla="*/ 607377 w 1109339"/>
                <a:gd name="connsiteY1043" fmla="*/ 938949 h 1010399"/>
                <a:gd name="connsiteX1044" fmla="*/ 612156 w 1109339"/>
                <a:gd name="connsiteY1044" fmla="*/ 942549 h 1010399"/>
                <a:gd name="connsiteX1045" fmla="*/ 614882 w 1109339"/>
                <a:gd name="connsiteY1045" fmla="*/ 945913 h 1010399"/>
                <a:gd name="connsiteX1046" fmla="*/ 615858 w 1109339"/>
                <a:gd name="connsiteY1046" fmla="*/ 948940 h 1010399"/>
                <a:gd name="connsiteX1047" fmla="*/ 620334 w 1109339"/>
                <a:gd name="connsiteY1047" fmla="*/ 954794 h 1010399"/>
                <a:gd name="connsiteX1048" fmla="*/ 621411 w 1109339"/>
                <a:gd name="connsiteY1048" fmla="*/ 957956 h 1010399"/>
                <a:gd name="connsiteX1049" fmla="*/ 625651 w 1109339"/>
                <a:gd name="connsiteY1049" fmla="*/ 957519 h 1010399"/>
                <a:gd name="connsiteX1050" fmla="*/ 627267 w 1109339"/>
                <a:gd name="connsiteY1050" fmla="*/ 955231 h 1010399"/>
                <a:gd name="connsiteX1051" fmla="*/ 630195 w 1109339"/>
                <a:gd name="connsiteY1051" fmla="*/ 954457 h 1010399"/>
                <a:gd name="connsiteX1052" fmla="*/ 632584 w 1109339"/>
                <a:gd name="connsiteY1052" fmla="*/ 955097 h 1010399"/>
                <a:gd name="connsiteX1053" fmla="*/ 632786 w 1109339"/>
                <a:gd name="connsiteY1053" fmla="*/ 958662 h 1010399"/>
                <a:gd name="connsiteX1054" fmla="*/ 631810 w 1109339"/>
                <a:gd name="connsiteY1054" fmla="*/ 963338 h 1010399"/>
                <a:gd name="connsiteX1055" fmla="*/ 631608 w 1109339"/>
                <a:gd name="connsiteY1055" fmla="*/ 965390 h 1010399"/>
                <a:gd name="connsiteX1056" fmla="*/ 635411 w 1109339"/>
                <a:gd name="connsiteY1056" fmla="*/ 969091 h 1010399"/>
                <a:gd name="connsiteX1057" fmla="*/ 637700 w 1109339"/>
                <a:gd name="connsiteY1057" fmla="*/ 968990 h 1010399"/>
                <a:gd name="connsiteX1058" fmla="*/ 639887 w 1109339"/>
                <a:gd name="connsiteY1058" fmla="*/ 967779 h 1010399"/>
                <a:gd name="connsiteX1059" fmla="*/ 641738 w 1109339"/>
                <a:gd name="connsiteY1059" fmla="*/ 965828 h 1010399"/>
                <a:gd name="connsiteX1060" fmla="*/ 647291 w 1109339"/>
                <a:gd name="connsiteY1060" fmla="*/ 967240 h 1010399"/>
                <a:gd name="connsiteX1061" fmla="*/ 652171 w 1109339"/>
                <a:gd name="connsiteY1061" fmla="*/ 960613 h 1010399"/>
                <a:gd name="connsiteX1062" fmla="*/ 655705 w 1109339"/>
                <a:gd name="connsiteY1062" fmla="*/ 952775 h 1010399"/>
                <a:gd name="connsiteX1063" fmla="*/ 655133 w 1109339"/>
                <a:gd name="connsiteY1063" fmla="*/ 949075 h 1010399"/>
                <a:gd name="connsiteX1064" fmla="*/ 653820 w 1109339"/>
                <a:gd name="connsiteY1064" fmla="*/ 946485 h 1010399"/>
                <a:gd name="connsiteX1065" fmla="*/ 652743 w 1109339"/>
                <a:gd name="connsiteY1065" fmla="*/ 943592 h 1010399"/>
                <a:gd name="connsiteX1066" fmla="*/ 650219 w 1109339"/>
                <a:gd name="connsiteY1066" fmla="*/ 939891 h 1010399"/>
                <a:gd name="connsiteX1067" fmla="*/ 649984 w 1109339"/>
                <a:gd name="connsiteY1067" fmla="*/ 936258 h 1010399"/>
                <a:gd name="connsiteX1068" fmla="*/ 652238 w 1109339"/>
                <a:gd name="connsiteY1068" fmla="*/ 934307 h 1010399"/>
                <a:gd name="connsiteX1069" fmla="*/ 656883 w 1109339"/>
                <a:gd name="connsiteY1069" fmla="*/ 935047 h 1010399"/>
                <a:gd name="connsiteX1070" fmla="*/ 659474 w 1109339"/>
                <a:gd name="connsiteY1070" fmla="*/ 934745 h 1010399"/>
                <a:gd name="connsiteX1071" fmla="*/ 663243 w 1109339"/>
                <a:gd name="connsiteY1071" fmla="*/ 932356 h 1010399"/>
                <a:gd name="connsiteX1072" fmla="*/ 665498 w 1109339"/>
                <a:gd name="connsiteY1072" fmla="*/ 929530 h 1010399"/>
                <a:gd name="connsiteX1073" fmla="*/ 666306 w 1109339"/>
                <a:gd name="connsiteY1073" fmla="*/ 924821 h 1010399"/>
                <a:gd name="connsiteX1074" fmla="*/ 666744 w 1109339"/>
                <a:gd name="connsiteY1074" fmla="*/ 921356 h 1010399"/>
                <a:gd name="connsiteX1075" fmla="*/ 668258 w 1109339"/>
                <a:gd name="connsiteY1075" fmla="*/ 917891 h 1010399"/>
                <a:gd name="connsiteX1076" fmla="*/ 670210 w 1109339"/>
                <a:gd name="connsiteY1076" fmla="*/ 915873 h 1010399"/>
                <a:gd name="connsiteX1077" fmla="*/ 673340 w 1109339"/>
                <a:gd name="connsiteY1077" fmla="*/ 915873 h 1010399"/>
                <a:gd name="connsiteX1078" fmla="*/ 677176 w 1109339"/>
                <a:gd name="connsiteY1078" fmla="*/ 916512 h 1010399"/>
                <a:gd name="connsiteX1079" fmla="*/ 680643 w 1109339"/>
                <a:gd name="connsiteY1079" fmla="*/ 918698 h 1010399"/>
                <a:gd name="connsiteX1080" fmla="*/ 682831 w 1109339"/>
                <a:gd name="connsiteY1080" fmla="*/ 921827 h 1010399"/>
                <a:gd name="connsiteX1081" fmla="*/ 684480 w 1109339"/>
                <a:gd name="connsiteY1081" fmla="*/ 924585 h 1010399"/>
                <a:gd name="connsiteX1082" fmla="*/ 684850 w 1109339"/>
                <a:gd name="connsiteY1082" fmla="*/ 927344 h 1010399"/>
                <a:gd name="connsiteX1083" fmla="*/ 684985 w 1109339"/>
                <a:gd name="connsiteY1083" fmla="*/ 933365 h 1010399"/>
                <a:gd name="connsiteX1084" fmla="*/ 685624 w 1109339"/>
                <a:gd name="connsiteY1084" fmla="*/ 939891 h 1010399"/>
                <a:gd name="connsiteX1085" fmla="*/ 687138 w 1109339"/>
                <a:gd name="connsiteY1085" fmla="*/ 945106 h 1010399"/>
                <a:gd name="connsiteX1086" fmla="*/ 689898 w 1109339"/>
                <a:gd name="connsiteY1086" fmla="*/ 952136 h 1010399"/>
                <a:gd name="connsiteX1087" fmla="*/ 691042 w 1109339"/>
                <a:gd name="connsiteY1087" fmla="*/ 955837 h 1010399"/>
                <a:gd name="connsiteX1088" fmla="*/ 693230 w 1109339"/>
                <a:gd name="connsiteY1088" fmla="*/ 959537 h 1010399"/>
                <a:gd name="connsiteX1089" fmla="*/ 696057 w 1109339"/>
                <a:gd name="connsiteY1089" fmla="*/ 963439 h 1010399"/>
                <a:gd name="connsiteX1090" fmla="*/ 699961 w 1109339"/>
                <a:gd name="connsiteY1090" fmla="*/ 967274 h 1010399"/>
                <a:gd name="connsiteX1091" fmla="*/ 704672 w 1109339"/>
                <a:gd name="connsiteY1091" fmla="*/ 971109 h 1010399"/>
                <a:gd name="connsiteX1092" fmla="*/ 707432 w 1109339"/>
                <a:gd name="connsiteY1092" fmla="*/ 974809 h 1010399"/>
                <a:gd name="connsiteX1093" fmla="*/ 709619 w 1109339"/>
                <a:gd name="connsiteY1093" fmla="*/ 980595 h 1010399"/>
                <a:gd name="connsiteX1094" fmla="*/ 714028 w 1109339"/>
                <a:gd name="connsiteY1094" fmla="*/ 984868 h 1010399"/>
                <a:gd name="connsiteX1095" fmla="*/ 720995 w 1109339"/>
                <a:gd name="connsiteY1095" fmla="*/ 990654 h 1010399"/>
                <a:gd name="connsiteX1096" fmla="*/ 723620 w 1109339"/>
                <a:gd name="connsiteY1096" fmla="*/ 994623 h 1010399"/>
                <a:gd name="connsiteX1097" fmla="*/ 725706 w 1109339"/>
                <a:gd name="connsiteY1097" fmla="*/ 998391 h 1010399"/>
                <a:gd name="connsiteX1098" fmla="*/ 727961 w 1109339"/>
                <a:gd name="connsiteY1098" fmla="*/ 1002663 h 1010399"/>
                <a:gd name="connsiteX1099" fmla="*/ 730923 w 1109339"/>
                <a:gd name="connsiteY1099" fmla="*/ 1005186 h 1010399"/>
                <a:gd name="connsiteX1100" fmla="*/ 734457 w 1109339"/>
                <a:gd name="connsiteY1100" fmla="*/ 1007372 h 1010399"/>
                <a:gd name="connsiteX1101" fmla="*/ 737216 w 1109339"/>
                <a:gd name="connsiteY1101" fmla="*/ 1009324 h 1010399"/>
                <a:gd name="connsiteX1102" fmla="*/ 740414 w 1109339"/>
                <a:gd name="connsiteY1102" fmla="*/ 1009963 h 1010399"/>
                <a:gd name="connsiteX1103" fmla="*/ 744889 w 1109339"/>
                <a:gd name="connsiteY1103" fmla="*/ 1010400 h 1010399"/>
                <a:gd name="connsiteX1104" fmla="*/ 746909 w 1109339"/>
                <a:gd name="connsiteY1104" fmla="*/ 1009324 h 1010399"/>
                <a:gd name="connsiteX1105" fmla="*/ 748861 w 1109339"/>
                <a:gd name="connsiteY1105" fmla="*/ 1007507 h 1010399"/>
                <a:gd name="connsiteX1106" fmla="*/ 751183 w 1109339"/>
                <a:gd name="connsiteY1106" fmla="*/ 1006061 h 1010399"/>
                <a:gd name="connsiteX1107" fmla="*/ 752765 w 1109339"/>
                <a:gd name="connsiteY1107" fmla="*/ 1004917 h 1010399"/>
                <a:gd name="connsiteX1108" fmla="*/ 755289 w 1109339"/>
                <a:gd name="connsiteY1108" fmla="*/ 1004345 h 1010399"/>
                <a:gd name="connsiteX1109" fmla="*/ 759630 w 1109339"/>
                <a:gd name="connsiteY1109" fmla="*/ 1003100 h 1010399"/>
                <a:gd name="connsiteX1110" fmla="*/ 761818 w 1109339"/>
                <a:gd name="connsiteY1110" fmla="*/ 1002394 h 1010399"/>
                <a:gd name="connsiteX1111" fmla="*/ 762255 w 1109339"/>
                <a:gd name="connsiteY1111" fmla="*/ 1000005 h 1010399"/>
                <a:gd name="connsiteX1112" fmla="*/ 761179 w 1109339"/>
                <a:gd name="connsiteY1112" fmla="*/ 996541 h 1010399"/>
                <a:gd name="connsiteX1113" fmla="*/ 759294 w 1109339"/>
                <a:gd name="connsiteY1113" fmla="*/ 991125 h 1010399"/>
                <a:gd name="connsiteX1114" fmla="*/ 758082 w 1109339"/>
                <a:gd name="connsiteY1114" fmla="*/ 986213 h 1010399"/>
                <a:gd name="connsiteX1115" fmla="*/ 759025 w 1109339"/>
                <a:gd name="connsiteY1115" fmla="*/ 982143 h 1010399"/>
                <a:gd name="connsiteX1116" fmla="*/ 759967 w 1109339"/>
                <a:gd name="connsiteY1116" fmla="*/ 978678 h 1010399"/>
                <a:gd name="connsiteX1117" fmla="*/ 761145 w 1109339"/>
                <a:gd name="connsiteY1117" fmla="*/ 977669 h 1010399"/>
                <a:gd name="connsiteX1118" fmla="*/ 766361 w 1109339"/>
                <a:gd name="connsiteY1118" fmla="*/ 977803 h 1010399"/>
                <a:gd name="connsiteX1119" fmla="*/ 767943 w 1109339"/>
                <a:gd name="connsiteY1119" fmla="*/ 977299 h 1010399"/>
                <a:gd name="connsiteX1120" fmla="*/ 770467 w 1109339"/>
                <a:gd name="connsiteY1120" fmla="*/ 973968 h 1010399"/>
                <a:gd name="connsiteX1121" fmla="*/ 772352 w 1109339"/>
                <a:gd name="connsiteY1121" fmla="*/ 970705 h 1010399"/>
                <a:gd name="connsiteX1122" fmla="*/ 774607 w 1109339"/>
                <a:gd name="connsiteY1122" fmla="*/ 968754 h 1010399"/>
                <a:gd name="connsiteX1123" fmla="*/ 780765 w 1109339"/>
                <a:gd name="connsiteY1123" fmla="*/ 967072 h 1010399"/>
                <a:gd name="connsiteX1124" fmla="*/ 785679 w 1109339"/>
                <a:gd name="connsiteY1124" fmla="*/ 964684 h 1010399"/>
                <a:gd name="connsiteX1125" fmla="*/ 789314 w 1109339"/>
                <a:gd name="connsiteY1125" fmla="*/ 964617 h 1010399"/>
                <a:gd name="connsiteX1126" fmla="*/ 793655 w 1109339"/>
                <a:gd name="connsiteY1126" fmla="*/ 964482 h 1010399"/>
                <a:gd name="connsiteX1127" fmla="*/ 796347 w 1109339"/>
                <a:gd name="connsiteY1127" fmla="*/ 963742 h 1010399"/>
                <a:gd name="connsiteX1128" fmla="*/ 799612 w 1109339"/>
                <a:gd name="connsiteY1128" fmla="*/ 961353 h 1010399"/>
                <a:gd name="connsiteX1129" fmla="*/ 801497 w 1109339"/>
                <a:gd name="connsiteY1129" fmla="*/ 960277 h 1010399"/>
                <a:gd name="connsiteX1130" fmla="*/ 801497 w 1109339"/>
                <a:gd name="connsiteY1130" fmla="*/ 958763 h 1010399"/>
                <a:gd name="connsiteX1131" fmla="*/ 799444 w 1109339"/>
                <a:gd name="connsiteY1131" fmla="*/ 956745 h 1010399"/>
                <a:gd name="connsiteX1132" fmla="*/ 798905 w 1109339"/>
                <a:gd name="connsiteY1132" fmla="*/ 954155 h 1010399"/>
                <a:gd name="connsiteX1133" fmla="*/ 798973 w 1109339"/>
                <a:gd name="connsiteY1133" fmla="*/ 951463 h 1010399"/>
                <a:gd name="connsiteX1134" fmla="*/ 800723 w 1109339"/>
                <a:gd name="connsiteY1134" fmla="*/ 948940 h 1010399"/>
                <a:gd name="connsiteX1135" fmla="*/ 803045 w 1109339"/>
                <a:gd name="connsiteY1135" fmla="*/ 946485 h 1010399"/>
                <a:gd name="connsiteX1136" fmla="*/ 807756 w 1109339"/>
                <a:gd name="connsiteY1136" fmla="*/ 943726 h 1010399"/>
                <a:gd name="connsiteX1137" fmla="*/ 809708 w 1109339"/>
                <a:gd name="connsiteY1137" fmla="*/ 942986 h 1010399"/>
                <a:gd name="connsiteX1138" fmla="*/ 812401 w 1109339"/>
                <a:gd name="connsiteY1138" fmla="*/ 942616 h 1010399"/>
                <a:gd name="connsiteX1139" fmla="*/ 814420 w 1109339"/>
                <a:gd name="connsiteY1139" fmla="*/ 943625 h 1010399"/>
                <a:gd name="connsiteX1140" fmla="*/ 816170 w 1109339"/>
                <a:gd name="connsiteY1140" fmla="*/ 945947 h 1010399"/>
                <a:gd name="connsiteX1141" fmla="*/ 818054 w 1109339"/>
                <a:gd name="connsiteY1141" fmla="*/ 948604 h 1010399"/>
                <a:gd name="connsiteX1142" fmla="*/ 818761 w 1109339"/>
                <a:gd name="connsiteY1142" fmla="*/ 950555 h 1010399"/>
                <a:gd name="connsiteX1143" fmla="*/ 819468 w 1109339"/>
                <a:gd name="connsiteY1143" fmla="*/ 954020 h 1010399"/>
                <a:gd name="connsiteX1144" fmla="*/ 821218 w 1109339"/>
                <a:gd name="connsiteY1144" fmla="*/ 956913 h 1010399"/>
                <a:gd name="connsiteX1145" fmla="*/ 822093 w 1109339"/>
                <a:gd name="connsiteY1145" fmla="*/ 960243 h 1010399"/>
                <a:gd name="connsiteX1146" fmla="*/ 823103 w 1109339"/>
                <a:gd name="connsiteY1146" fmla="*/ 962565 h 1010399"/>
                <a:gd name="connsiteX1147" fmla="*/ 825189 w 1109339"/>
                <a:gd name="connsiteY1147" fmla="*/ 963305 h 1010399"/>
                <a:gd name="connsiteX1148" fmla="*/ 826771 w 1109339"/>
                <a:gd name="connsiteY1148" fmla="*/ 962565 h 1010399"/>
                <a:gd name="connsiteX1149" fmla="*/ 827781 w 1109339"/>
                <a:gd name="connsiteY1149" fmla="*/ 959806 h 1010399"/>
                <a:gd name="connsiteX1150" fmla="*/ 828723 w 1109339"/>
                <a:gd name="connsiteY1150" fmla="*/ 957115 h 1010399"/>
                <a:gd name="connsiteX1151" fmla="*/ 829531 w 1109339"/>
                <a:gd name="connsiteY1151" fmla="*/ 953986 h 1010399"/>
                <a:gd name="connsiteX1152" fmla="*/ 829733 w 1109339"/>
                <a:gd name="connsiteY1152" fmla="*/ 952405 h 1010399"/>
                <a:gd name="connsiteX1153" fmla="*/ 831045 w 1109339"/>
                <a:gd name="connsiteY1153" fmla="*/ 950017 h 1010399"/>
                <a:gd name="connsiteX1154" fmla="*/ 831617 w 1109339"/>
                <a:gd name="connsiteY1154" fmla="*/ 948436 h 1010399"/>
                <a:gd name="connsiteX1155" fmla="*/ 833300 w 1109339"/>
                <a:gd name="connsiteY1155" fmla="*/ 946417 h 1010399"/>
                <a:gd name="connsiteX1156" fmla="*/ 834747 w 1109339"/>
                <a:gd name="connsiteY1156" fmla="*/ 944231 h 1010399"/>
                <a:gd name="connsiteX1157" fmla="*/ 835757 w 1109339"/>
                <a:gd name="connsiteY1157" fmla="*/ 941910 h 1010399"/>
                <a:gd name="connsiteX1158" fmla="*/ 837137 w 1109339"/>
                <a:gd name="connsiteY1158" fmla="*/ 939151 h 1010399"/>
                <a:gd name="connsiteX1159" fmla="*/ 839089 w 1109339"/>
                <a:gd name="connsiteY1159" fmla="*/ 936763 h 1010399"/>
                <a:gd name="connsiteX1160" fmla="*/ 841276 w 1109339"/>
                <a:gd name="connsiteY1160" fmla="*/ 936023 h 1010399"/>
                <a:gd name="connsiteX1161" fmla="*/ 843295 w 1109339"/>
                <a:gd name="connsiteY1161" fmla="*/ 935586 h 1010399"/>
                <a:gd name="connsiteX1162" fmla="*/ 846930 w 1109339"/>
                <a:gd name="connsiteY1162" fmla="*/ 935586 h 1010399"/>
                <a:gd name="connsiteX1163" fmla="*/ 849387 w 1109339"/>
                <a:gd name="connsiteY1163" fmla="*/ 937032 h 1010399"/>
                <a:gd name="connsiteX1164" fmla="*/ 848882 w 1109339"/>
                <a:gd name="connsiteY1164" fmla="*/ 938546 h 1010399"/>
                <a:gd name="connsiteX1165" fmla="*/ 848579 w 1109339"/>
                <a:gd name="connsiteY1165" fmla="*/ 939925 h 1010399"/>
                <a:gd name="connsiteX1166" fmla="*/ 848512 w 1109339"/>
                <a:gd name="connsiteY1166" fmla="*/ 942684 h 1010399"/>
                <a:gd name="connsiteX1167" fmla="*/ 848377 w 1109339"/>
                <a:gd name="connsiteY1167" fmla="*/ 944937 h 1010399"/>
                <a:gd name="connsiteX1168" fmla="*/ 847435 w 1109339"/>
                <a:gd name="connsiteY1168" fmla="*/ 947830 h 1010399"/>
                <a:gd name="connsiteX1169" fmla="*/ 846930 w 1109339"/>
                <a:gd name="connsiteY1169" fmla="*/ 950286 h 1010399"/>
                <a:gd name="connsiteX1170" fmla="*/ 848680 w 1109339"/>
                <a:gd name="connsiteY1170" fmla="*/ 953684 h 1010399"/>
                <a:gd name="connsiteX1171" fmla="*/ 850700 w 1109339"/>
                <a:gd name="connsiteY1171" fmla="*/ 956509 h 1010399"/>
                <a:gd name="connsiteX1172" fmla="*/ 851776 w 1109339"/>
                <a:gd name="connsiteY1172" fmla="*/ 960277 h 1010399"/>
                <a:gd name="connsiteX1173" fmla="*/ 852349 w 1109339"/>
                <a:gd name="connsiteY1173" fmla="*/ 964112 h 1010399"/>
                <a:gd name="connsiteX1174" fmla="*/ 853560 w 1109339"/>
                <a:gd name="connsiteY1174" fmla="*/ 966198 h 1010399"/>
                <a:gd name="connsiteX1175" fmla="*/ 856320 w 1109339"/>
                <a:gd name="connsiteY1175" fmla="*/ 969461 h 1010399"/>
                <a:gd name="connsiteX1176" fmla="*/ 860325 w 1109339"/>
                <a:gd name="connsiteY1176" fmla="*/ 974103 h 1010399"/>
                <a:gd name="connsiteX1177" fmla="*/ 863892 w 1109339"/>
                <a:gd name="connsiteY1177" fmla="*/ 975852 h 1010399"/>
                <a:gd name="connsiteX1178" fmla="*/ 866854 w 1109339"/>
                <a:gd name="connsiteY1178" fmla="*/ 976222 h 1010399"/>
                <a:gd name="connsiteX1179" fmla="*/ 871767 w 1109339"/>
                <a:gd name="connsiteY1179" fmla="*/ 977030 h 1010399"/>
                <a:gd name="connsiteX1180" fmla="*/ 875032 w 1109339"/>
                <a:gd name="connsiteY1180" fmla="*/ 977971 h 1010399"/>
                <a:gd name="connsiteX1181" fmla="*/ 880450 w 1109339"/>
                <a:gd name="connsiteY1181" fmla="*/ 979855 h 1010399"/>
                <a:gd name="connsiteX1182" fmla="*/ 884287 w 1109339"/>
                <a:gd name="connsiteY1182" fmla="*/ 981672 h 1010399"/>
                <a:gd name="connsiteX1183" fmla="*/ 889133 w 1109339"/>
                <a:gd name="connsiteY1183" fmla="*/ 985069 h 1010399"/>
                <a:gd name="connsiteX1184" fmla="*/ 893912 w 1109339"/>
                <a:gd name="connsiteY1184" fmla="*/ 988332 h 1010399"/>
                <a:gd name="connsiteX1185" fmla="*/ 895931 w 1109339"/>
                <a:gd name="connsiteY1185" fmla="*/ 990149 h 1010399"/>
                <a:gd name="connsiteX1186" fmla="*/ 897950 w 1109339"/>
                <a:gd name="connsiteY1186" fmla="*/ 990654 h 1010399"/>
                <a:gd name="connsiteX1187" fmla="*/ 899532 w 1109339"/>
                <a:gd name="connsiteY1187" fmla="*/ 990654 h 1010399"/>
                <a:gd name="connsiteX1188" fmla="*/ 900912 w 1109339"/>
                <a:gd name="connsiteY1188" fmla="*/ 990855 h 1010399"/>
                <a:gd name="connsiteX1189" fmla="*/ 902427 w 1109339"/>
                <a:gd name="connsiteY1189" fmla="*/ 990923 h 1010399"/>
                <a:gd name="connsiteX1190" fmla="*/ 903436 w 1109339"/>
                <a:gd name="connsiteY1190" fmla="*/ 990418 h 1010399"/>
                <a:gd name="connsiteX1191" fmla="*/ 904883 w 1109339"/>
                <a:gd name="connsiteY1191" fmla="*/ 989981 h 1010399"/>
                <a:gd name="connsiteX1192" fmla="*/ 905893 w 1109339"/>
                <a:gd name="connsiteY1192" fmla="*/ 988164 h 1010399"/>
                <a:gd name="connsiteX1193" fmla="*/ 907138 w 1109339"/>
                <a:gd name="connsiteY1193" fmla="*/ 986718 h 1010399"/>
                <a:gd name="connsiteX1194" fmla="*/ 908215 w 1109339"/>
                <a:gd name="connsiteY1194" fmla="*/ 985339 h 1010399"/>
                <a:gd name="connsiteX1195" fmla="*/ 910100 w 1109339"/>
                <a:gd name="connsiteY1195" fmla="*/ 983825 h 1010399"/>
                <a:gd name="connsiteX1196" fmla="*/ 912052 w 1109339"/>
                <a:gd name="connsiteY1196" fmla="*/ 982950 h 1010399"/>
                <a:gd name="connsiteX1197" fmla="*/ 913566 w 1109339"/>
                <a:gd name="connsiteY1197" fmla="*/ 983690 h 1010399"/>
                <a:gd name="connsiteX1198" fmla="*/ 915215 w 1109339"/>
                <a:gd name="connsiteY1198" fmla="*/ 983690 h 1010399"/>
                <a:gd name="connsiteX1199" fmla="*/ 917538 w 1109339"/>
                <a:gd name="connsiteY1199" fmla="*/ 984195 h 1010399"/>
                <a:gd name="connsiteX1200" fmla="*/ 920062 w 1109339"/>
                <a:gd name="connsiteY1200" fmla="*/ 984632 h 1010399"/>
                <a:gd name="connsiteX1201" fmla="*/ 922148 w 1109339"/>
                <a:gd name="connsiteY1201" fmla="*/ 985944 h 1010399"/>
                <a:gd name="connsiteX1202" fmla="*/ 924167 w 1109339"/>
                <a:gd name="connsiteY1202" fmla="*/ 987256 h 1010399"/>
                <a:gd name="connsiteX1203" fmla="*/ 927634 w 1109339"/>
                <a:gd name="connsiteY1203" fmla="*/ 988635 h 1010399"/>
                <a:gd name="connsiteX1204" fmla="*/ 928273 w 1109339"/>
                <a:gd name="connsiteY1204" fmla="*/ 989039 h 1010399"/>
                <a:gd name="connsiteX1205" fmla="*/ 928273 w 1109339"/>
                <a:gd name="connsiteY1205" fmla="*/ 986314 h 1010399"/>
                <a:gd name="connsiteX1206" fmla="*/ 925076 w 1109339"/>
                <a:gd name="connsiteY1206" fmla="*/ 979351 h 1010399"/>
                <a:gd name="connsiteX1207" fmla="*/ 921442 w 1109339"/>
                <a:gd name="connsiteY1207" fmla="*/ 973396 h 1010399"/>
                <a:gd name="connsiteX1208" fmla="*/ 919557 w 1109339"/>
                <a:gd name="connsiteY1208" fmla="*/ 970066 h 1010399"/>
                <a:gd name="connsiteX1209" fmla="*/ 919557 w 1109339"/>
                <a:gd name="connsiteY1209" fmla="*/ 965424 h 1010399"/>
                <a:gd name="connsiteX1210" fmla="*/ 921307 w 1109339"/>
                <a:gd name="connsiteY1210" fmla="*/ 961219 h 1010399"/>
                <a:gd name="connsiteX1211" fmla="*/ 923898 w 1109339"/>
                <a:gd name="connsiteY1211" fmla="*/ 955567 h 1010399"/>
                <a:gd name="connsiteX1212" fmla="*/ 923191 w 1109339"/>
                <a:gd name="connsiteY1212" fmla="*/ 949176 h 1010399"/>
                <a:gd name="connsiteX1213" fmla="*/ 918413 w 1109339"/>
                <a:gd name="connsiteY1213" fmla="*/ 945274 h 1010399"/>
                <a:gd name="connsiteX1214" fmla="*/ 921610 w 1109339"/>
                <a:gd name="connsiteY1214" fmla="*/ 941237 h 1010399"/>
                <a:gd name="connsiteX1215" fmla="*/ 920600 w 1109339"/>
                <a:gd name="connsiteY1215" fmla="*/ 928622 h 1010399"/>
                <a:gd name="connsiteX1216" fmla="*/ 919456 w 1109339"/>
                <a:gd name="connsiteY1216" fmla="*/ 916310 h 1010399"/>
                <a:gd name="connsiteX1217" fmla="*/ 916561 w 1109339"/>
                <a:gd name="connsiteY1217" fmla="*/ 909515 h 1010399"/>
                <a:gd name="connsiteX1218" fmla="*/ 916561 w 1109339"/>
                <a:gd name="connsiteY1218" fmla="*/ 905747 h 1010399"/>
                <a:gd name="connsiteX1219" fmla="*/ 916427 w 1109339"/>
                <a:gd name="connsiteY1219" fmla="*/ 901677 h 1010399"/>
                <a:gd name="connsiteX1220" fmla="*/ 911917 w 1109339"/>
                <a:gd name="connsiteY1220" fmla="*/ 899356 h 1010399"/>
                <a:gd name="connsiteX1221" fmla="*/ 909158 w 1109339"/>
                <a:gd name="connsiteY1221" fmla="*/ 896160 h 1010399"/>
                <a:gd name="connsiteX1222" fmla="*/ 909158 w 1109339"/>
                <a:gd name="connsiteY1222" fmla="*/ 888927 h 1010399"/>
                <a:gd name="connsiteX1223" fmla="*/ 904076 w 1109339"/>
                <a:gd name="connsiteY1223" fmla="*/ 881089 h 1010399"/>
                <a:gd name="connsiteX1224" fmla="*/ 899734 w 1109339"/>
                <a:gd name="connsiteY1224" fmla="*/ 873991 h 1010399"/>
                <a:gd name="connsiteX1225" fmla="*/ 897715 w 1109339"/>
                <a:gd name="connsiteY1225" fmla="*/ 866456 h 1010399"/>
                <a:gd name="connsiteX1226" fmla="*/ 893508 w 1109339"/>
                <a:gd name="connsiteY1226" fmla="*/ 861545 h 1010399"/>
                <a:gd name="connsiteX1227" fmla="*/ 893508 w 1109339"/>
                <a:gd name="connsiteY1227" fmla="*/ 857643 h 1010399"/>
                <a:gd name="connsiteX1228" fmla="*/ 890479 w 1109339"/>
                <a:gd name="connsiteY1228" fmla="*/ 854884 h 1010399"/>
                <a:gd name="connsiteX1229" fmla="*/ 886575 w 1109339"/>
                <a:gd name="connsiteY1229" fmla="*/ 851554 h 1010399"/>
                <a:gd name="connsiteX1230" fmla="*/ 880619 w 1109339"/>
                <a:gd name="connsiteY1230" fmla="*/ 846205 h 1010399"/>
                <a:gd name="connsiteX1231" fmla="*/ 876984 w 1109339"/>
                <a:gd name="connsiteY1231" fmla="*/ 840554 h 1010399"/>
                <a:gd name="connsiteX1232" fmla="*/ 878296 w 1109339"/>
                <a:gd name="connsiteY1232" fmla="*/ 837661 h 1010399"/>
                <a:gd name="connsiteX1233" fmla="*/ 882941 w 1109339"/>
                <a:gd name="connsiteY1233" fmla="*/ 833321 h 1010399"/>
                <a:gd name="connsiteX1234" fmla="*/ 886272 w 1109339"/>
                <a:gd name="connsiteY1234" fmla="*/ 830428 h 1010399"/>
                <a:gd name="connsiteX1235" fmla="*/ 888729 w 1109339"/>
                <a:gd name="connsiteY1235" fmla="*/ 830428 h 1010399"/>
                <a:gd name="connsiteX1236" fmla="*/ 894518 w 1109339"/>
                <a:gd name="connsiteY1236" fmla="*/ 832177 h 1010399"/>
                <a:gd name="connsiteX1237" fmla="*/ 901484 w 1109339"/>
                <a:gd name="connsiteY1237" fmla="*/ 829150 h 1010399"/>
                <a:gd name="connsiteX1238" fmla="*/ 901619 w 1109339"/>
                <a:gd name="connsiteY1238" fmla="*/ 826257 h 1010399"/>
                <a:gd name="connsiteX1239" fmla="*/ 900037 w 1109339"/>
                <a:gd name="connsiteY1239" fmla="*/ 823061 h 1010399"/>
                <a:gd name="connsiteX1240" fmla="*/ 905085 w 1109339"/>
                <a:gd name="connsiteY1240" fmla="*/ 820874 h 1010399"/>
                <a:gd name="connsiteX1241" fmla="*/ 907710 w 1109339"/>
                <a:gd name="connsiteY1241" fmla="*/ 822186 h 1010399"/>
                <a:gd name="connsiteX1242" fmla="*/ 910167 w 1109339"/>
                <a:gd name="connsiteY1242" fmla="*/ 819428 h 1010399"/>
                <a:gd name="connsiteX1243" fmla="*/ 915686 w 1109339"/>
                <a:gd name="connsiteY1243" fmla="*/ 814079 h 1010399"/>
                <a:gd name="connsiteX1244" fmla="*/ 919759 w 1109339"/>
                <a:gd name="connsiteY1244" fmla="*/ 806544 h 1010399"/>
                <a:gd name="connsiteX1245" fmla="*/ 925413 w 1109339"/>
                <a:gd name="connsiteY1245" fmla="*/ 800455 h 1010399"/>
                <a:gd name="connsiteX1246" fmla="*/ 924538 w 1109339"/>
                <a:gd name="connsiteY1246" fmla="*/ 791911 h 1010399"/>
                <a:gd name="connsiteX1247" fmla="*/ 930057 w 1109339"/>
                <a:gd name="connsiteY1247" fmla="*/ 791911 h 1010399"/>
                <a:gd name="connsiteX1248" fmla="*/ 933759 w 1109339"/>
                <a:gd name="connsiteY1248" fmla="*/ 791339 h 1010399"/>
                <a:gd name="connsiteX1249" fmla="*/ 935274 w 1109339"/>
                <a:gd name="connsiteY1249" fmla="*/ 785553 h 1010399"/>
                <a:gd name="connsiteX1250" fmla="*/ 935274 w 1109339"/>
                <a:gd name="connsiteY1250" fmla="*/ 781213 h 1010399"/>
                <a:gd name="connsiteX1251" fmla="*/ 936149 w 1109339"/>
                <a:gd name="connsiteY1251" fmla="*/ 778085 h 1010399"/>
                <a:gd name="connsiteX1252" fmla="*/ 938168 w 1109339"/>
                <a:gd name="connsiteY1252" fmla="*/ 776840 h 1010399"/>
                <a:gd name="connsiteX1253" fmla="*/ 939615 w 1109339"/>
                <a:gd name="connsiteY1253" fmla="*/ 776840 h 1010399"/>
                <a:gd name="connsiteX1254" fmla="*/ 943519 w 1109339"/>
                <a:gd name="connsiteY1254" fmla="*/ 777715 h 1010399"/>
                <a:gd name="connsiteX1255" fmla="*/ 950486 w 1109339"/>
                <a:gd name="connsiteY1255" fmla="*/ 778724 h 1010399"/>
                <a:gd name="connsiteX1256" fmla="*/ 958596 w 1109339"/>
                <a:gd name="connsiteY1256" fmla="*/ 781920 h 1010399"/>
                <a:gd name="connsiteX1257" fmla="*/ 964553 w 1109339"/>
                <a:gd name="connsiteY1257" fmla="*/ 781348 h 1010399"/>
                <a:gd name="connsiteX1258" fmla="*/ 1011804 w 1109339"/>
                <a:gd name="connsiteY1258" fmla="*/ 783803 h 1010399"/>
                <a:gd name="connsiteX1259" fmla="*/ 1028328 w 1109339"/>
                <a:gd name="connsiteY1259" fmla="*/ 783803 h 1010399"/>
                <a:gd name="connsiteX1260" fmla="*/ 1040781 w 1109339"/>
                <a:gd name="connsiteY1260" fmla="*/ 778287 h 1010399"/>
                <a:gd name="connsiteX1261" fmla="*/ 1045425 w 1109339"/>
                <a:gd name="connsiteY1261" fmla="*/ 771929 h 1010399"/>
                <a:gd name="connsiteX1262" fmla="*/ 1046569 w 1109339"/>
                <a:gd name="connsiteY1262" fmla="*/ 767757 h 1010399"/>
                <a:gd name="connsiteX1263" fmla="*/ 1046569 w 1109339"/>
                <a:gd name="connsiteY1263" fmla="*/ 763822 h 1010399"/>
                <a:gd name="connsiteX1264" fmla="*/ 1044819 w 1109339"/>
                <a:gd name="connsiteY1264" fmla="*/ 761231 h 1010399"/>
                <a:gd name="connsiteX1265" fmla="*/ 1043069 w 1109339"/>
                <a:gd name="connsiteY1265" fmla="*/ 758910 h 1010399"/>
                <a:gd name="connsiteX1266" fmla="*/ 1040612 w 1109339"/>
                <a:gd name="connsiteY1266" fmla="*/ 757531 h 1010399"/>
                <a:gd name="connsiteX1267" fmla="*/ 1040208 w 1109339"/>
                <a:gd name="connsiteY1267" fmla="*/ 754705 h 1010399"/>
                <a:gd name="connsiteX1268" fmla="*/ 1039603 w 1109339"/>
                <a:gd name="connsiteY1268" fmla="*/ 750366 h 1010399"/>
                <a:gd name="connsiteX1269" fmla="*/ 1039603 w 1109339"/>
                <a:gd name="connsiteY1269" fmla="*/ 748179 h 1010399"/>
                <a:gd name="connsiteX1270" fmla="*/ 1041555 w 1109339"/>
                <a:gd name="connsiteY1270" fmla="*/ 745051 h 1010399"/>
                <a:gd name="connsiteX1271" fmla="*/ 1042800 w 1109339"/>
                <a:gd name="connsiteY1271" fmla="*/ 742090 h 1010399"/>
                <a:gd name="connsiteX1272" fmla="*/ 1043944 w 1109339"/>
                <a:gd name="connsiteY1272" fmla="*/ 736439 h 1010399"/>
                <a:gd name="connsiteX1273" fmla="*/ 1045089 w 1109339"/>
                <a:gd name="connsiteY1273" fmla="*/ 730350 h 1010399"/>
                <a:gd name="connsiteX1274" fmla="*/ 1047276 w 1109339"/>
                <a:gd name="connsiteY1274" fmla="*/ 724699 h 1010399"/>
                <a:gd name="connsiteX1275" fmla="*/ 1051920 w 1109339"/>
                <a:gd name="connsiteY1275" fmla="*/ 720359 h 1010399"/>
                <a:gd name="connsiteX1276" fmla="*/ 1056699 w 1109339"/>
                <a:gd name="connsiteY1276" fmla="*/ 716592 h 1010399"/>
                <a:gd name="connsiteX1277" fmla="*/ 1057709 w 1109339"/>
                <a:gd name="connsiteY1277" fmla="*/ 707307 h 1010399"/>
                <a:gd name="connsiteX1278" fmla="*/ 1055959 w 1109339"/>
                <a:gd name="connsiteY1278" fmla="*/ 690083 h 1010399"/>
                <a:gd name="connsiteX1279" fmla="*/ 1059089 w 1109339"/>
                <a:gd name="connsiteY1279" fmla="*/ 684432 h 1010399"/>
                <a:gd name="connsiteX1280" fmla="*/ 1061344 w 1109339"/>
                <a:gd name="connsiteY1280" fmla="*/ 680530 h 1010399"/>
                <a:gd name="connsiteX1281" fmla="*/ 1064474 w 1109339"/>
                <a:gd name="connsiteY1281" fmla="*/ 676392 h 1010399"/>
                <a:gd name="connsiteX1282" fmla="*/ 1067132 w 1109339"/>
                <a:gd name="connsiteY1282" fmla="*/ 672423 h 1010399"/>
                <a:gd name="connsiteX1283" fmla="*/ 1068848 w 1109339"/>
                <a:gd name="connsiteY1283" fmla="*/ 670673 h 1010399"/>
                <a:gd name="connsiteX1284" fmla="*/ 1070901 w 1109339"/>
                <a:gd name="connsiteY1284" fmla="*/ 668857 h 1010399"/>
                <a:gd name="connsiteX1285" fmla="*/ 1070901 w 1109339"/>
                <a:gd name="connsiteY1285" fmla="*/ 666468 h 1010399"/>
                <a:gd name="connsiteX1286" fmla="*/ 1068579 w 1109339"/>
                <a:gd name="connsiteY1286" fmla="*/ 658193 h 1010399"/>
                <a:gd name="connsiteX1287" fmla="*/ 1068512 w 1109339"/>
                <a:gd name="connsiteY1287" fmla="*/ 651667 h 1010399"/>
                <a:gd name="connsiteX1288" fmla="*/ 1068950 w 1109339"/>
                <a:gd name="connsiteY1288" fmla="*/ 645814 h 1010399"/>
                <a:gd name="connsiteX1289" fmla="*/ 1072416 w 1109339"/>
                <a:gd name="connsiteY1289" fmla="*/ 641407 h 1010399"/>
                <a:gd name="connsiteX1290" fmla="*/ 1077935 w 1109339"/>
                <a:gd name="connsiteY1290" fmla="*/ 635688 h 1010399"/>
                <a:gd name="connsiteX1291" fmla="*/ 1079820 w 1109339"/>
                <a:gd name="connsiteY1291" fmla="*/ 632862 h 1010399"/>
                <a:gd name="connsiteX1292" fmla="*/ 1079517 w 1109339"/>
                <a:gd name="connsiteY1292" fmla="*/ 627278 h 1010399"/>
                <a:gd name="connsiteX1293" fmla="*/ 1077060 w 1109339"/>
                <a:gd name="connsiteY1293" fmla="*/ 623006 h 1010399"/>
                <a:gd name="connsiteX1294" fmla="*/ 1072012 w 1109339"/>
                <a:gd name="connsiteY1294" fmla="*/ 615841 h 1010399"/>
                <a:gd name="connsiteX1295" fmla="*/ 1073392 w 1109339"/>
                <a:gd name="connsiteY1295" fmla="*/ 609079 h 1010399"/>
                <a:gd name="connsiteX1296" fmla="*/ 1074738 w 1109339"/>
                <a:gd name="connsiteY1296" fmla="*/ 603293 h 1010399"/>
                <a:gd name="connsiteX1297" fmla="*/ 1079281 w 1109339"/>
                <a:gd name="connsiteY1297" fmla="*/ 599828 h 1010399"/>
                <a:gd name="connsiteX1298" fmla="*/ 1080426 w 1109339"/>
                <a:gd name="connsiteY1298" fmla="*/ 596027 h 1010399"/>
                <a:gd name="connsiteX1299" fmla="*/ 1079887 w 1109339"/>
                <a:gd name="connsiteY1299" fmla="*/ 586473 h 1010399"/>
                <a:gd name="connsiteX1300" fmla="*/ 1078743 w 1109339"/>
                <a:gd name="connsiteY1300" fmla="*/ 584657 h 1010399"/>
                <a:gd name="connsiteX1301" fmla="*/ 1077767 w 1109339"/>
                <a:gd name="connsiteY1301" fmla="*/ 580250 h 1010399"/>
                <a:gd name="connsiteX1302" fmla="*/ 1076051 w 1109339"/>
                <a:gd name="connsiteY1302" fmla="*/ 575036 h 1010399"/>
                <a:gd name="connsiteX1303" fmla="*/ 1076556 w 1109339"/>
                <a:gd name="connsiteY1303" fmla="*/ 570293 h 1010399"/>
                <a:gd name="connsiteX1304" fmla="*/ 1076724 w 1109339"/>
                <a:gd name="connsiteY1304" fmla="*/ 564339 h 1010399"/>
                <a:gd name="connsiteX1305" fmla="*/ 1077060 w 1109339"/>
                <a:gd name="connsiteY1305" fmla="*/ 556400 h 1010399"/>
                <a:gd name="connsiteX1306" fmla="*/ 1076892 w 1109339"/>
                <a:gd name="connsiteY1306" fmla="*/ 546106 h 1010399"/>
                <a:gd name="connsiteX1307" fmla="*/ 1079382 w 1109339"/>
                <a:gd name="connsiteY1307" fmla="*/ 540656 h 1010399"/>
                <a:gd name="connsiteX1308" fmla="*/ 1081772 w 1109339"/>
                <a:gd name="connsiteY1308" fmla="*/ 535644 h 1010399"/>
                <a:gd name="connsiteX1309" fmla="*/ 1083084 w 1109339"/>
                <a:gd name="connsiteY1309" fmla="*/ 528243 h 1010399"/>
                <a:gd name="connsiteX1310" fmla="*/ 1083084 w 1109339"/>
                <a:gd name="connsiteY1310" fmla="*/ 523904 h 1010399"/>
                <a:gd name="connsiteX1311" fmla="*/ 1080257 w 1109339"/>
                <a:gd name="connsiteY1311" fmla="*/ 519228 h 1010399"/>
                <a:gd name="connsiteX1312" fmla="*/ 1079382 w 1109339"/>
                <a:gd name="connsiteY1312" fmla="*/ 516503 h 1010399"/>
                <a:gd name="connsiteX1313" fmla="*/ 1078743 w 1109339"/>
                <a:gd name="connsiteY1313" fmla="*/ 510650 h 1010399"/>
                <a:gd name="connsiteX1314" fmla="*/ 1079382 w 1109339"/>
                <a:gd name="connsiteY1314" fmla="*/ 507488 h 1010399"/>
                <a:gd name="connsiteX1315" fmla="*/ 1081873 w 1109339"/>
                <a:gd name="connsiteY1315" fmla="*/ 504325 h 1010399"/>
                <a:gd name="connsiteX1316" fmla="*/ 1087729 w 1109339"/>
                <a:gd name="connsiteY1316" fmla="*/ 499448 h 1010399"/>
                <a:gd name="connsiteX1317" fmla="*/ 1097623 w 1109339"/>
                <a:gd name="connsiteY1317" fmla="*/ 491744 h 1010399"/>
                <a:gd name="connsiteX1318" fmla="*/ 1100551 w 1109339"/>
                <a:gd name="connsiteY1318" fmla="*/ 487169 h 1010399"/>
                <a:gd name="connsiteX1319" fmla="*/ 1104623 w 1109339"/>
                <a:gd name="connsiteY1319" fmla="*/ 481955 h 1010399"/>
                <a:gd name="connsiteX1320" fmla="*/ 1107383 w 1109339"/>
                <a:gd name="connsiteY1320" fmla="*/ 477279 h 1010399"/>
                <a:gd name="connsiteX1321" fmla="*/ 1107383 w 1109339"/>
                <a:gd name="connsiteY1321" fmla="*/ 470013 h 1010399"/>
                <a:gd name="connsiteX1322" fmla="*/ 1108460 w 1109339"/>
                <a:gd name="connsiteY1322" fmla="*/ 462175 h 1010399"/>
                <a:gd name="connsiteX1323" fmla="*/ 1107787 w 1109339"/>
                <a:gd name="connsiteY1323" fmla="*/ 452823 h 1010399"/>
                <a:gd name="connsiteX1324" fmla="*/ 1106171 w 1109339"/>
                <a:gd name="connsiteY1324" fmla="*/ 448484 h 1010399"/>
                <a:gd name="connsiteX1325" fmla="*/ 1099104 w 1109339"/>
                <a:gd name="connsiteY1325" fmla="*/ 445759 h 1010399"/>
                <a:gd name="connsiteX1326" fmla="*/ 1096042 w 1109339"/>
                <a:gd name="connsiteY1326" fmla="*/ 444783 h 1010399"/>
                <a:gd name="connsiteX1327" fmla="*/ 1092575 w 1109339"/>
                <a:gd name="connsiteY1327" fmla="*/ 444783 h 1010399"/>
                <a:gd name="connsiteX1328" fmla="*/ 1088772 w 1109339"/>
                <a:gd name="connsiteY1328" fmla="*/ 441857 h 1010399"/>
                <a:gd name="connsiteX1329" fmla="*/ 1086483 w 1109339"/>
                <a:gd name="connsiteY1329" fmla="*/ 439569 h 1010399"/>
                <a:gd name="connsiteX1330" fmla="*/ 1085508 w 1109339"/>
                <a:gd name="connsiteY1330" fmla="*/ 437181 h 1010399"/>
                <a:gd name="connsiteX1331" fmla="*/ 1086719 w 1109339"/>
                <a:gd name="connsiteY1331" fmla="*/ 432740 h 1010399"/>
                <a:gd name="connsiteX1332" fmla="*/ 1087493 w 1109339"/>
                <a:gd name="connsiteY1332" fmla="*/ 426113 h 1010399"/>
                <a:gd name="connsiteX1333" fmla="*/ 1088536 w 1109339"/>
                <a:gd name="connsiteY1333" fmla="*/ 421875 h 1010399"/>
                <a:gd name="connsiteX1334" fmla="*/ 1091734 w 1109339"/>
                <a:gd name="connsiteY1334" fmla="*/ 418713 h 1010399"/>
                <a:gd name="connsiteX1335" fmla="*/ 1091734 w 1109339"/>
                <a:gd name="connsiteY1335" fmla="*/ 414373 h 1010399"/>
                <a:gd name="connsiteX1336" fmla="*/ 1089546 w 1109339"/>
                <a:gd name="connsiteY1336" fmla="*/ 408822 h 1010399"/>
                <a:gd name="connsiteX1337" fmla="*/ 1090522 w 1109339"/>
                <a:gd name="connsiteY1337" fmla="*/ 405660 h 1010399"/>
                <a:gd name="connsiteX1338" fmla="*/ 1093988 w 1109339"/>
                <a:gd name="connsiteY1338" fmla="*/ 401422 h 1010399"/>
                <a:gd name="connsiteX1339" fmla="*/ 1098465 w 1109339"/>
                <a:gd name="connsiteY1339" fmla="*/ 399672 h 1010399"/>
                <a:gd name="connsiteX1340" fmla="*/ 1104321 w 1109339"/>
                <a:gd name="connsiteY1340" fmla="*/ 393920 h 1010399"/>
                <a:gd name="connsiteX1341" fmla="*/ 1107787 w 1109339"/>
                <a:gd name="connsiteY1341" fmla="*/ 390455 h 1010399"/>
                <a:gd name="connsiteX1342" fmla="*/ 1109301 w 1109339"/>
                <a:gd name="connsiteY1342" fmla="*/ 389143 h 1010399"/>
                <a:gd name="connsiteX1343" fmla="*/ 1109167 w 1109339"/>
                <a:gd name="connsiteY1343" fmla="*/ 386721 h 1010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</a:cxnLst>
              <a:rect l="l" t="t" r="r" b="b"/>
              <a:pathLst>
                <a:path w="1109339" h="1010399">
                  <a:moveTo>
                    <a:pt x="1109167" y="386721"/>
                  </a:moveTo>
                  <a:lnTo>
                    <a:pt x="1109066" y="385577"/>
                  </a:lnTo>
                  <a:lnTo>
                    <a:pt x="1109066" y="384871"/>
                  </a:lnTo>
                  <a:lnTo>
                    <a:pt x="1108359" y="383391"/>
                  </a:lnTo>
                  <a:lnTo>
                    <a:pt x="1106508" y="383761"/>
                  </a:lnTo>
                  <a:lnTo>
                    <a:pt x="1105263" y="384636"/>
                  </a:lnTo>
                  <a:lnTo>
                    <a:pt x="1104926" y="385779"/>
                  </a:lnTo>
                  <a:lnTo>
                    <a:pt x="1104051" y="387630"/>
                  </a:lnTo>
                  <a:lnTo>
                    <a:pt x="1102133" y="388403"/>
                  </a:lnTo>
                  <a:lnTo>
                    <a:pt x="1099912" y="388841"/>
                  </a:lnTo>
                  <a:lnTo>
                    <a:pt x="1097691" y="389917"/>
                  </a:lnTo>
                  <a:cubicBezTo>
                    <a:pt x="1097691" y="389917"/>
                    <a:pt x="1095671" y="390455"/>
                    <a:pt x="1095301" y="390455"/>
                  </a:cubicBezTo>
                  <a:cubicBezTo>
                    <a:pt x="1094931" y="390455"/>
                    <a:pt x="1091263" y="391397"/>
                    <a:pt x="1091060" y="391397"/>
                  </a:cubicBezTo>
                  <a:cubicBezTo>
                    <a:pt x="1090825" y="391397"/>
                    <a:pt x="1082142" y="391128"/>
                    <a:pt x="1082142" y="391128"/>
                  </a:cubicBezTo>
                  <a:lnTo>
                    <a:pt x="1076387" y="391397"/>
                  </a:lnTo>
                  <a:lnTo>
                    <a:pt x="1071642" y="392474"/>
                  </a:lnTo>
                  <a:lnTo>
                    <a:pt x="1065921" y="396712"/>
                  </a:lnTo>
                  <a:lnTo>
                    <a:pt x="1061041" y="398832"/>
                  </a:lnTo>
                  <a:lnTo>
                    <a:pt x="1048252" y="405122"/>
                  </a:lnTo>
                  <a:cubicBezTo>
                    <a:pt x="1048252" y="405122"/>
                    <a:pt x="1041992" y="410504"/>
                    <a:pt x="1041689" y="410605"/>
                  </a:cubicBezTo>
                  <a:cubicBezTo>
                    <a:pt x="1041353" y="410706"/>
                    <a:pt x="1032569" y="415281"/>
                    <a:pt x="1032569" y="415281"/>
                  </a:cubicBezTo>
                  <a:lnTo>
                    <a:pt x="1011434" y="432236"/>
                  </a:lnTo>
                  <a:cubicBezTo>
                    <a:pt x="1011434" y="432236"/>
                    <a:pt x="1002313" y="439199"/>
                    <a:pt x="1001977" y="439401"/>
                  </a:cubicBezTo>
                  <a:cubicBezTo>
                    <a:pt x="1001640" y="439603"/>
                    <a:pt x="991208" y="441150"/>
                    <a:pt x="990467" y="441588"/>
                  </a:cubicBezTo>
                  <a:cubicBezTo>
                    <a:pt x="989693" y="442025"/>
                    <a:pt x="980471" y="445725"/>
                    <a:pt x="978721" y="445927"/>
                  </a:cubicBezTo>
                  <a:cubicBezTo>
                    <a:pt x="976972" y="446129"/>
                    <a:pt x="971115" y="452991"/>
                    <a:pt x="971115" y="453328"/>
                  </a:cubicBezTo>
                  <a:cubicBezTo>
                    <a:pt x="971115" y="453664"/>
                    <a:pt x="964048" y="459955"/>
                    <a:pt x="963712" y="460056"/>
                  </a:cubicBezTo>
                  <a:cubicBezTo>
                    <a:pt x="963375" y="460157"/>
                    <a:pt x="955870" y="466784"/>
                    <a:pt x="955668" y="467120"/>
                  </a:cubicBezTo>
                  <a:cubicBezTo>
                    <a:pt x="955466" y="467456"/>
                    <a:pt x="951428" y="475160"/>
                    <a:pt x="951428" y="475160"/>
                  </a:cubicBezTo>
                  <a:lnTo>
                    <a:pt x="945673" y="477885"/>
                  </a:lnTo>
                  <a:lnTo>
                    <a:pt x="942980" y="477885"/>
                  </a:lnTo>
                  <a:lnTo>
                    <a:pt x="940355" y="479836"/>
                  </a:lnTo>
                  <a:lnTo>
                    <a:pt x="939480" y="486463"/>
                  </a:lnTo>
                  <a:lnTo>
                    <a:pt x="939918" y="492753"/>
                  </a:lnTo>
                  <a:lnTo>
                    <a:pt x="940120" y="494604"/>
                  </a:lnTo>
                  <a:lnTo>
                    <a:pt x="939346" y="497766"/>
                  </a:lnTo>
                  <a:lnTo>
                    <a:pt x="937293" y="498977"/>
                  </a:lnTo>
                  <a:lnTo>
                    <a:pt x="935543" y="500289"/>
                  </a:lnTo>
                  <a:lnTo>
                    <a:pt x="930865" y="500726"/>
                  </a:lnTo>
                  <a:lnTo>
                    <a:pt x="919658" y="500928"/>
                  </a:lnTo>
                  <a:lnTo>
                    <a:pt x="913364" y="506377"/>
                  </a:lnTo>
                  <a:lnTo>
                    <a:pt x="906297" y="510179"/>
                  </a:lnTo>
                  <a:lnTo>
                    <a:pt x="902494" y="512668"/>
                  </a:lnTo>
                  <a:lnTo>
                    <a:pt x="896402" y="514451"/>
                  </a:lnTo>
                  <a:lnTo>
                    <a:pt x="890648" y="516133"/>
                  </a:lnTo>
                  <a:lnTo>
                    <a:pt x="880315" y="516133"/>
                  </a:lnTo>
                  <a:lnTo>
                    <a:pt x="857834" y="516772"/>
                  </a:lnTo>
                  <a:lnTo>
                    <a:pt x="852416" y="517108"/>
                  </a:lnTo>
                  <a:lnTo>
                    <a:pt x="847402" y="518757"/>
                  </a:lnTo>
                  <a:cubicBezTo>
                    <a:pt x="847402" y="518757"/>
                    <a:pt x="842084" y="521784"/>
                    <a:pt x="841646" y="521919"/>
                  </a:cubicBezTo>
                  <a:cubicBezTo>
                    <a:pt x="841209" y="522020"/>
                    <a:pt x="835555" y="522558"/>
                    <a:pt x="835555" y="522558"/>
                  </a:cubicBezTo>
                  <a:lnTo>
                    <a:pt x="829463" y="524509"/>
                  </a:lnTo>
                  <a:lnTo>
                    <a:pt x="824348" y="526359"/>
                  </a:lnTo>
                  <a:lnTo>
                    <a:pt x="817819" y="526696"/>
                  </a:lnTo>
                  <a:lnTo>
                    <a:pt x="813242" y="525485"/>
                  </a:lnTo>
                  <a:lnTo>
                    <a:pt x="807790" y="517108"/>
                  </a:lnTo>
                  <a:lnTo>
                    <a:pt x="803785" y="509607"/>
                  </a:lnTo>
                  <a:lnTo>
                    <a:pt x="798468" y="505368"/>
                  </a:lnTo>
                  <a:cubicBezTo>
                    <a:pt x="798468" y="505368"/>
                    <a:pt x="796516" y="503854"/>
                    <a:pt x="796078" y="503619"/>
                  </a:cubicBezTo>
                  <a:cubicBezTo>
                    <a:pt x="795641" y="503417"/>
                    <a:pt x="790963" y="500894"/>
                    <a:pt x="790963" y="500894"/>
                  </a:cubicBezTo>
                  <a:cubicBezTo>
                    <a:pt x="790963" y="500894"/>
                    <a:pt x="787967" y="498506"/>
                    <a:pt x="787429" y="498169"/>
                  </a:cubicBezTo>
                  <a:cubicBezTo>
                    <a:pt x="786890" y="497833"/>
                    <a:pt x="782044" y="494368"/>
                    <a:pt x="782044" y="494368"/>
                  </a:cubicBezTo>
                  <a:lnTo>
                    <a:pt x="782044" y="490903"/>
                  </a:lnTo>
                  <a:lnTo>
                    <a:pt x="782044" y="485689"/>
                  </a:lnTo>
                  <a:lnTo>
                    <a:pt x="782044" y="483940"/>
                  </a:lnTo>
                  <a:lnTo>
                    <a:pt x="784332" y="477952"/>
                  </a:lnTo>
                  <a:lnTo>
                    <a:pt x="785746" y="475227"/>
                  </a:lnTo>
                  <a:lnTo>
                    <a:pt x="787059" y="470787"/>
                  </a:lnTo>
                  <a:cubicBezTo>
                    <a:pt x="787059" y="470787"/>
                    <a:pt x="786823" y="466346"/>
                    <a:pt x="786823" y="466010"/>
                  </a:cubicBezTo>
                  <a:cubicBezTo>
                    <a:pt x="786823" y="465673"/>
                    <a:pt x="786621" y="461435"/>
                    <a:pt x="786621" y="461435"/>
                  </a:cubicBezTo>
                  <a:cubicBezTo>
                    <a:pt x="786621" y="461435"/>
                    <a:pt x="786285" y="456994"/>
                    <a:pt x="786285" y="456557"/>
                  </a:cubicBezTo>
                  <a:cubicBezTo>
                    <a:pt x="786285" y="456120"/>
                    <a:pt x="784568" y="449392"/>
                    <a:pt x="784332" y="449056"/>
                  </a:cubicBezTo>
                  <a:cubicBezTo>
                    <a:pt x="784131" y="448719"/>
                    <a:pt x="781169" y="444817"/>
                    <a:pt x="780765" y="444817"/>
                  </a:cubicBezTo>
                  <a:cubicBezTo>
                    <a:pt x="780328" y="444817"/>
                    <a:pt x="776323" y="443068"/>
                    <a:pt x="776323" y="443068"/>
                  </a:cubicBezTo>
                  <a:lnTo>
                    <a:pt x="772621" y="442832"/>
                  </a:lnTo>
                  <a:lnTo>
                    <a:pt x="766193" y="442496"/>
                  </a:lnTo>
                  <a:cubicBezTo>
                    <a:pt x="766193" y="442496"/>
                    <a:pt x="763366" y="441285"/>
                    <a:pt x="763265" y="440982"/>
                  </a:cubicBezTo>
                  <a:cubicBezTo>
                    <a:pt x="763164" y="440646"/>
                    <a:pt x="761616" y="437517"/>
                    <a:pt x="761616" y="437517"/>
                  </a:cubicBezTo>
                  <a:lnTo>
                    <a:pt x="760674" y="434456"/>
                  </a:lnTo>
                  <a:lnTo>
                    <a:pt x="759428" y="430756"/>
                  </a:lnTo>
                  <a:lnTo>
                    <a:pt x="759428" y="428266"/>
                  </a:lnTo>
                  <a:lnTo>
                    <a:pt x="762457" y="424364"/>
                  </a:lnTo>
                  <a:lnTo>
                    <a:pt x="763770" y="420226"/>
                  </a:lnTo>
                  <a:lnTo>
                    <a:pt x="767236" y="417502"/>
                  </a:lnTo>
                  <a:lnTo>
                    <a:pt x="770400" y="414474"/>
                  </a:lnTo>
                  <a:lnTo>
                    <a:pt x="773126" y="411446"/>
                  </a:lnTo>
                  <a:lnTo>
                    <a:pt x="773563" y="408856"/>
                  </a:lnTo>
                  <a:lnTo>
                    <a:pt x="773227" y="407208"/>
                  </a:lnTo>
                  <a:lnTo>
                    <a:pt x="771275" y="406333"/>
                  </a:lnTo>
                  <a:lnTo>
                    <a:pt x="767909" y="405257"/>
                  </a:lnTo>
                  <a:cubicBezTo>
                    <a:pt x="767909" y="405257"/>
                    <a:pt x="767135" y="404920"/>
                    <a:pt x="766731" y="404920"/>
                  </a:cubicBezTo>
                  <a:cubicBezTo>
                    <a:pt x="766294" y="404920"/>
                    <a:pt x="761077" y="405459"/>
                    <a:pt x="761077" y="405459"/>
                  </a:cubicBezTo>
                  <a:lnTo>
                    <a:pt x="758452" y="405896"/>
                  </a:lnTo>
                  <a:lnTo>
                    <a:pt x="753337" y="406871"/>
                  </a:lnTo>
                  <a:lnTo>
                    <a:pt x="749231" y="407073"/>
                  </a:lnTo>
                  <a:lnTo>
                    <a:pt x="742601" y="408385"/>
                  </a:lnTo>
                  <a:lnTo>
                    <a:pt x="739572" y="409428"/>
                  </a:lnTo>
                  <a:lnTo>
                    <a:pt x="736106" y="410034"/>
                  </a:lnTo>
                  <a:lnTo>
                    <a:pt x="732538" y="410034"/>
                  </a:lnTo>
                  <a:lnTo>
                    <a:pt x="727759" y="409933"/>
                  </a:lnTo>
                  <a:lnTo>
                    <a:pt x="722206" y="408520"/>
                  </a:lnTo>
                  <a:lnTo>
                    <a:pt x="718504" y="405492"/>
                  </a:lnTo>
                  <a:lnTo>
                    <a:pt x="714701" y="403440"/>
                  </a:lnTo>
                  <a:lnTo>
                    <a:pt x="711672" y="400076"/>
                  </a:lnTo>
                  <a:lnTo>
                    <a:pt x="704941" y="394963"/>
                  </a:lnTo>
                  <a:lnTo>
                    <a:pt x="699187" y="389749"/>
                  </a:lnTo>
                  <a:lnTo>
                    <a:pt x="695720" y="387360"/>
                  </a:lnTo>
                  <a:lnTo>
                    <a:pt x="691480" y="383391"/>
                  </a:lnTo>
                  <a:lnTo>
                    <a:pt x="686364" y="379657"/>
                  </a:lnTo>
                  <a:lnTo>
                    <a:pt x="681787" y="378782"/>
                  </a:lnTo>
                  <a:cubicBezTo>
                    <a:pt x="681787" y="378782"/>
                    <a:pt x="677446" y="377908"/>
                    <a:pt x="677008" y="377908"/>
                  </a:cubicBezTo>
                  <a:cubicBezTo>
                    <a:pt x="676571" y="377908"/>
                    <a:pt x="674282" y="376831"/>
                    <a:pt x="674282" y="376831"/>
                  </a:cubicBezTo>
                  <a:lnTo>
                    <a:pt x="673071" y="374645"/>
                  </a:lnTo>
                  <a:lnTo>
                    <a:pt x="672532" y="371718"/>
                  </a:lnTo>
                  <a:lnTo>
                    <a:pt x="672532" y="369229"/>
                  </a:lnTo>
                  <a:lnTo>
                    <a:pt x="672532" y="367479"/>
                  </a:lnTo>
                  <a:lnTo>
                    <a:pt x="670917" y="364015"/>
                  </a:lnTo>
                  <a:lnTo>
                    <a:pt x="667888" y="361424"/>
                  </a:lnTo>
                  <a:lnTo>
                    <a:pt x="664724" y="361424"/>
                  </a:lnTo>
                  <a:lnTo>
                    <a:pt x="663008" y="361424"/>
                  </a:lnTo>
                  <a:lnTo>
                    <a:pt x="661258" y="361424"/>
                  </a:lnTo>
                  <a:cubicBezTo>
                    <a:pt x="661258" y="361424"/>
                    <a:pt x="658532" y="364452"/>
                    <a:pt x="658767" y="364889"/>
                  </a:cubicBezTo>
                  <a:cubicBezTo>
                    <a:pt x="658969" y="365326"/>
                    <a:pt x="658767" y="366739"/>
                    <a:pt x="658767" y="366739"/>
                  </a:cubicBezTo>
                  <a:lnTo>
                    <a:pt x="653450" y="369027"/>
                  </a:lnTo>
                  <a:lnTo>
                    <a:pt x="649008" y="372189"/>
                  </a:lnTo>
                  <a:lnTo>
                    <a:pt x="645844" y="373501"/>
                  </a:lnTo>
                  <a:lnTo>
                    <a:pt x="641267" y="373602"/>
                  </a:lnTo>
                  <a:lnTo>
                    <a:pt x="638676" y="373602"/>
                  </a:lnTo>
                  <a:cubicBezTo>
                    <a:pt x="638676" y="373602"/>
                    <a:pt x="636084" y="374241"/>
                    <a:pt x="634772" y="374241"/>
                  </a:cubicBezTo>
                  <a:cubicBezTo>
                    <a:pt x="633459" y="374241"/>
                    <a:pt x="632719" y="374241"/>
                    <a:pt x="631070" y="373804"/>
                  </a:cubicBezTo>
                  <a:cubicBezTo>
                    <a:pt x="629454" y="373366"/>
                    <a:pt x="624103" y="370978"/>
                    <a:pt x="624103" y="370978"/>
                  </a:cubicBezTo>
                  <a:lnTo>
                    <a:pt x="622050" y="369767"/>
                  </a:lnTo>
                  <a:lnTo>
                    <a:pt x="618786" y="367917"/>
                  </a:lnTo>
                  <a:lnTo>
                    <a:pt x="613031" y="368354"/>
                  </a:lnTo>
                  <a:lnTo>
                    <a:pt x="607377" y="368354"/>
                  </a:lnTo>
                  <a:lnTo>
                    <a:pt x="604112" y="366167"/>
                  </a:lnTo>
                  <a:lnTo>
                    <a:pt x="601925" y="361391"/>
                  </a:lnTo>
                  <a:lnTo>
                    <a:pt x="601252" y="358228"/>
                  </a:lnTo>
                  <a:lnTo>
                    <a:pt x="597785" y="355235"/>
                  </a:lnTo>
                  <a:lnTo>
                    <a:pt x="595295" y="354427"/>
                  </a:lnTo>
                  <a:lnTo>
                    <a:pt x="589977" y="354427"/>
                  </a:lnTo>
                  <a:cubicBezTo>
                    <a:pt x="589977" y="354427"/>
                    <a:pt x="588025" y="353553"/>
                    <a:pt x="587487" y="353889"/>
                  </a:cubicBezTo>
                  <a:cubicBezTo>
                    <a:pt x="586949" y="354225"/>
                    <a:pt x="584121" y="355403"/>
                    <a:pt x="584121" y="355403"/>
                  </a:cubicBezTo>
                  <a:cubicBezTo>
                    <a:pt x="584121" y="355403"/>
                    <a:pt x="581193" y="357354"/>
                    <a:pt x="581093" y="357690"/>
                  </a:cubicBezTo>
                  <a:cubicBezTo>
                    <a:pt x="580992" y="358027"/>
                    <a:pt x="577828" y="360415"/>
                    <a:pt x="577391" y="360953"/>
                  </a:cubicBezTo>
                  <a:cubicBezTo>
                    <a:pt x="576953" y="361492"/>
                    <a:pt x="575102" y="363005"/>
                    <a:pt x="575102" y="363005"/>
                  </a:cubicBezTo>
                  <a:lnTo>
                    <a:pt x="572915" y="363241"/>
                  </a:lnTo>
                  <a:lnTo>
                    <a:pt x="569886" y="363779"/>
                  </a:lnTo>
                  <a:lnTo>
                    <a:pt x="567833" y="363981"/>
                  </a:lnTo>
                  <a:cubicBezTo>
                    <a:pt x="567833" y="363981"/>
                    <a:pt x="567294" y="363981"/>
                    <a:pt x="566318" y="364183"/>
                  </a:cubicBezTo>
                  <a:cubicBezTo>
                    <a:pt x="565342" y="364418"/>
                    <a:pt x="560765" y="364822"/>
                    <a:pt x="560765" y="364822"/>
                  </a:cubicBezTo>
                  <a:lnTo>
                    <a:pt x="558712" y="364822"/>
                  </a:lnTo>
                  <a:lnTo>
                    <a:pt x="552520" y="364822"/>
                  </a:lnTo>
                  <a:lnTo>
                    <a:pt x="540573" y="364822"/>
                  </a:lnTo>
                  <a:lnTo>
                    <a:pt x="536130" y="364822"/>
                  </a:lnTo>
                  <a:lnTo>
                    <a:pt x="530914" y="363745"/>
                  </a:lnTo>
                  <a:cubicBezTo>
                    <a:pt x="530914" y="363745"/>
                    <a:pt x="529063" y="362669"/>
                    <a:pt x="527312" y="362333"/>
                  </a:cubicBezTo>
                  <a:cubicBezTo>
                    <a:pt x="525563" y="361996"/>
                    <a:pt x="523712" y="361794"/>
                    <a:pt x="523308" y="361559"/>
                  </a:cubicBezTo>
                  <a:cubicBezTo>
                    <a:pt x="522870" y="361357"/>
                    <a:pt x="518293" y="358531"/>
                    <a:pt x="518293" y="358531"/>
                  </a:cubicBezTo>
                  <a:lnTo>
                    <a:pt x="514053" y="352779"/>
                  </a:lnTo>
                  <a:cubicBezTo>
                    <a:pt x="514053" y="352779"/>
                    <a:pt x="513514" y="350727"/>
                    <a:pt x="513077" y="350390"/>
                  </a:cubicBezTo>
                  <a:cubicBezTo>
                    <a:pt x="512639" y="350054"/>
                    <a:pt x="509274" y="346926"/>
                    <a:pt x="509274" y="346926"/>
                  </a:cubicBezTo>
                  <a:lnTo>
                    <a:pt x="505370" y="344302"/>
                  </a:lnTo>
                  <a:cubicBezTo>
                    <a:pt x="505370" y="344302"/>
                    <a:pt x="505101" y="342451"/>
                    <a:pt x="505101" y="342014"/>
                  </a:cubicBezTo>
                  <a:cubicBezTo>
                    <a:pt x="505101" y="341577"/>
                    <a:pt x="503956" y="339188"/>
                    <a:pt x="503956" y="338751"/>
                  </a:cubicBezTo>
                  <a:cubicBezTo>
                    <a:pt x="503956" y="338314"/>
                    <a:pt x="503956" y="332662"/>
                    <a:pt x="503956" y="332662"/>
                  </a:cubicBezTo>
                  <a:lnTo>
                    <a:pt x="501567" y="325161"/>
                  </a:lnTo>
                  <a:lnTo>
                    <a:pt x="503081" y="308644"/>
                  </a:lnTo>
                  <a:lnTo>
                    <a:pt x="500356" y="305616"/>
                  </a:lnTo>
                  <a:cubicBezTo>
                    <a:pt x="500356" y="305616"/>
                    <a:pt x="496754" y="302252"/>
                    <a:pt x="496350" y="301916"/>
                  </a:cubicBezTo>
                  <a:cubicBezTo>
                    <a:pt x="495913" y="301579"/>
                    <a:pt x="494163" y="299292"/>
                    <a:pt x="493422" y="298888"/>
                  </a:cubicBezTo>
                  <a:cubicBezTo>
                    <a:pt x="492682" y="298484"/>
                    <a:pt x="490158" y="297038"/>
                    <a:pt x="490158" y="297038"/>
                  </a:cubicBezTo>
                  <a:lnTo>
                    <a:pt x="487230" y="292598"/>
                  </a:lnTo>
                  <a:lnTo>
                    <a:pt x="483259" y="287821"/>
                  </a:lnTo>
                  <a:lnTo>
                    <a:pt x="481341" y="279579"/>
                  </a:lnTo>
                  <a:lnTo>
                    <a:pt x="481341" y="273625"/>
                  </a:lnTo>
                  <a:lnTo>
                    <a:pt x="479692" y="267200"/>
                  </a:lnTo>
                  <a:lnTo>
                    <a:pt x="478951" y="261784"/>
                  </a:lnTo>
                  <a:lnTo>
                    <a:pt x="477437" y="253845"/>
                  </a:lnTo>
                  <a:lnTo>
                    <a:pt x="472961" y="246814"/>
                  </a:lnTo>
                  <a:lnTo>
                    <a:pt x="469326" y="242340"/>
                  </a:lnTo>
                  <a:lnTo>
                    <a:pt x="463672" y="236386"/>
                  </a:lnTo>
                  <a:lnTo>
                    <a:pt x="458724" y="231306"/>
                  </a:lnTo>
                  <a:lnTo>
                    <a:pt x="451489" y="224915"/>
                  </a:lnTo>
                  <a:lnTo>
                    <a:pt x="447147" y="220272"/>
                  </a:lnTo>
                  <a:lnTo>
                    <a:pt x="441359" y="216370"/>
                  </a:lnTo>
                  <a:lnTo>
                    <a:pt x="441359" y="214486"/>
                  </a:lnTo>
                  <a:lnTo>
                    <a:pt x="439609" y="210281"/>
                  </a:lnTo>
                  <a:lnTo>
                    <a:pt x="439609" y="205807"/>
                  </a:lnTo>
                  <a:lnTo>
                    <a:pt x="440349" y="203049"/>
                  </a:lnTo>
                  <a:lnTo>
                    <a:pt x="443547" y="200593"/>
                  </a:lnTo>
                  <a:lnTo>
                    <a:pt x="444859" y="197397"/>
                  </a:lnTo>
                  <a:lnTo>
                    <a:pt x="445734" y="193933"/>
                  </a:lnTo>
                  <a:lnTo>
                    <a:pt x="445027" y="189963"/>
                  </a:lnTo>
                  <a:cubicBezTo>
                    <a:pt x="445027" y="189963"/>
                    <a:pt x="443715" y="185825"/>
                    <a:pt x="443143" y="185825"/>
                  </a:cubicBezTo>
                  <a:cubicBezTo>
                    <a:pt x="442570" y="185825"/>
                    <a:pt x="440518" y="185825"/>
                    <a:pt x="440518" y="185825"/>
                  </a:cubicBezTo>
                  <a:cubicBezTo>
                    <a:pt x="440518" y="185825"/>
                    <a:pt x="439070" y="184244"/>
                    <a:pt x="438633" y="184816"/>
                  </a:cubicBezTo>
                  <a:cubicBezTo>
                    <a:pt x="438195" y="185388"/>
                    <a:pt x="437051" y="188012"/>
                    <a:pt x="437051" y="188012"/>
                  </a:cubicBezTo>
                  <a:lnTo>
                    <a:pt x="436176" y="191342"/>
                  </a:lnTo>
                  <a:lnTo>
                    <a:pt x="436176" y="193663"/>
                  </a:lnTo>
                  <a:lnTo>
                    <a:pt x="435166" y="196287"/>
                  </a:lnTo>
                  <a:cubicBezTo>
                    <a:pt x="435166" y="196287"/>
                    <a:pt x="434157" y="197734"/>
                    <a:pt x="433854" y="198440"/>
                  </a:cubicBezTo>
                  <a:cubicBezTo>
                    <a:pt x="433551" y="199180"/>
                    <a:pt x="432407" y="200761"/>
                    <a:pt x="432407" y="200761"/>
                  </a:cubicBezTo>
                  <a:cubicBezTo>
                    <a:pt x="432407" y="200761"/>
                    <a:pt x="431834" y="201333"/>
                    <a:pt x="431263" y="201199"/>
                  </a:cubicBezTo>
                  <a:cubicBezTo>
                    <a:pt x="430690" y="201064"/>
                    <a:pt x="427796" y="200189"/>
                    <a:pt x="427796" y="200189"/>
                  </a:cubicBezTo>
                  <a:lnTo>
                    <a:pt x="426416" y="198306"/>
                  </a:lnTo>
                  <a:lnTo>
                    <a:pt x="425777" y="195413"/>
                  </a:lnTo>
                  <a:lnTo>
                    <a:pt x="425777" y="190199"/>
                  </a:lnTo>
                  <a:lnTo>
                    <a:pt x="423118" y="186868"/>
                  </a:lnTo>
                  <a:lnTo>
                    <a:pt x="420594" y="181654"/>
                  </a:lnTo>
                  <a:lnTo>
                    <a:pt x="420594" y="178021"/>
                  </a:lnTo>
                  <a:lnTo>
                    <a:pt x="422613" y="173379"/>
                  </a:lnTo>
                  <a:lnTo>
                    <a:pt x="421738" y="170486"/>
                  </a:lnTo>
                  <a:lnTo>
                    <a:pt x="418406" y="167290"/>
                  </a:lnTo>
                  <a:lnTo>
                    <a:pt x="415647" y="163825"/>
                  </a:lnTo>
                  <a:lnTo>
                    <a:pt x="411743" y="160797"/>
                  </a:lnTo>
                  <a:lnTo>
                    <a:pt x="410161" y="159048"/>
                  </a:lnTo>
                  <a:lnTo>
                    <a:pt x="410161" y="155415"/>
                  </a:lnTo>
                  <a:lnTo>
                    <a:pt x="410161" y="153666"/>
                  </a:lnTo>
                  <a:lnTo>
                    <a:pt x="405517" y="149764"/>
                  </a:lnTo>
                  <a:lnTo>
                    <a:pt x="398113" y="144852"/>
                  </a:lnTo>
                  <a:lnTo>
                    <a:pt x="394915" y="141825"/>
                  </a:lnTo>
                  <a:lnTo>
                    <a:pt x="389396" y="136913"/>
                  </a:lnTo>
                  <a:lnTo>
                    <a:pt x="384920" y="132136"/>
                  </a:lnTo>
                  <a:lnTo>
                    <a:pt x="384348" y="126788"/>
                  </a:lnTo>
                  <a:cubicBezTo>
                    <a:pt x="384348" y="126788"/>
                    <a:pt x="383910" y="122886"/>
                    <a:pt x="384348" y="122448"/>
                  </a:cubicBezTo>
                  <a:cubicBezTo>
                    <a:pt x="384785" y="122011"/>
                    <a:pt x="384920" y="120867"/>
                    <a:pt x="385660" y="120127"/>
                  </a:cubicBezTo>
                  <a:cubicBezTo>
                    <a:pt x="386401" y="119387"/>
                    <a:pt x="388286" y="116797"/>
                    <a:pt x="388286" y="116797"/>
                  </a:cubicBezTo>
                  <a:lnTo>
                    <a:pt x="389430" y="115048"/>
                  </a:lnTo>
                  <a:lnTo>
                    <a:pt x="388992" y="112726"/>
                  </a:lnTo>
                  <a:lnTo>
                    <a:pt x="387680" y="109632"/>
                  </a:lnTo>
                  <a:lnTo>
                    <a:pt x="385391" y="107647"/>
                  </a:lnTo>
                  <a:lnTo>
                    <a:pt x="379603" y="107647"/>
                  </a:lnTo>
                  <a:lnTo>
                    <a:pt x="374386" y="107647"/>
                  </a:lnTo>
                  <a:lnTo>
                    <a:pt x="372636" y="107647"/>
                  </a:lnTo>
                  <a:lnTo>
                    <a:pt x="371761" y="106638"/>
                  </a:lnTo>
                  <a:cubicBezTo>
                    <a:pt x="371761" y="106638"/>
                    <a:pt x="372064" y="104317"/>
                    <a:pt x="371761" y="103879"/>
                  </a:cubicBezTo>
                  <a:cubicBezTo>
                    <a:pt x="371458" y="103442"/>
                    <a:pt x="371761" y="101424"/>
                    <a:pt x="371761" y="101424"/>
                  </a:cubicBezTo>
                  <a:cubicBezTo>
                    <a:pt x="371761" y="101424"/>
                    <a:pt x="371761" y="99977"/>
                    <a:pt x="372771" y="99540"/>
                  </a:cubicBezTo>
                  <a:cubicBezTo>
                    <a:pt x="373780" y="99102"/>
                    <a:pt x="374790" y="97656"/>
                    <a:pt x="374790" y="97656"/>
                  </a:cubicBezTo>
                  <a:lnTo>
                    <a:pt x="375968" y="94628"/>
                  </a:lnTo>
                  <a:lnTo>
                    <a:pt x="376237" y="92173"/>
                  </a:lnTo>
                  <a:lnTo>
                    <a:pt x="376809" y="88102"/>
                  </a:lnTo>
                  <a:lnTo>
                    <a:pt x="374925" y="84906"/>
                  </a:lnTo>
                  <a:lnTo>
                    <a:pt x="371627" y="83023"/>
                  </a:lnTo>
                  <a:lnTo>
                    <a:pt x="368564" y="82283"/>
                  </a:lnTo>
                  <a:lnTo>
                    <a:pt x="361901" y="77640"/>
                  </a:lnTo>
                  <a:lnTo>
                    <a:pt x="357256" y="73166"/>
                  </a:lnTo>
                  <a:lnTo>
                    <a:pt x="354934" y="70912"/>
                  </a:lnTo>
                  <a:lnTo>
                    <a:pt x="352477" y="69399"/>
                  </a:lnTo>
                  <a:lnTo>
                    <a:pt x="350020" y="69399"/>
                  </a:lnTo>
                  <a:lnTo>
                    <a:pt x="346689" y="68019"/>
                  </a:lnTo>
                  <a:lnTo>
                    <a:pt x="341338" y="67649"/>
                  </a:lnTo>
                  <a:lnTo>
                    <a:pt x="341338" y="67649"/>
                  </a:lnTo>
                  <a:lnTo>
                    <a:pt x="339890" y="64319"/>
                  </a:lnTo>
                  <a:lnTo>
                    <a:pt x="340765" y="62301"/>
                  </a:lnTo>
                  <a:lnTo>
                    <a:pt x="342515" y="60417"/>
                  </a:lnTo>
                  <a:cubicBezTo>
                    <a:pt x="342515" y="60417"/>
                    <a:pt x="343962" y="59105"/>
                    <a:pt x="344400" y="58836"/>
                  </a:cubicBezTo>
                  <a:cubicBezTo>
                    <a:pt x="344837" y="58533"/>
                    <a:pt x="346857" y="57389"/>
                    <a:pt x="346857" y="57389"/>
                  </a:cubicBezTo>
                  <a:lnTo>
                    <a:pt x="347429" y="54496"/>
                  </a:lnTo>
                  <a:lnTo>
                    <a:pt x="345410" y="52915"/>
                  </a:lnTo>
                  <a:lnTo>
                    <a:pt x="342953" y="52209"/>
                  </a:lnTo>
                  <a:lnTo>
                    <a:pt x="339924" y="50628"/>
                  </a:lnTo>
                  <a:lnTo>
                    <a:pt x="338914" y="48878"/>
                  </a:lnTo>
                  <a:lnTo>
                    <a:pt x="336323" y="46692"/>
                  </a:lnTo>
                  <a:lnTo>
                    <a:pt x="334304" y="45380"/>
                  </a:lnTo>
                  <a:cubicBezTo>
                    <a:pt x="334304" y="45380"/>
                    <a:pt x="331982" y="44001"/>
                    <a:pt x="331409" y="44001"/>
                  </a:cubicBezTo>
                  <a:cubicBezTo>
                    <a:pt x="330837" y="44001"/>
                    <a:pt x="328078" y="43361"/>
                    <a:pt x="328078" y="43361"/>
                  </a:cubicBezTo>
                  <a:lnTo>
                    <a:pt x="325756" y="43361"/>
                  </a:lnTo>
                  <a:lnTo>
                    <a:pt x="318217" y="42352"/>
                  </a:lnTo>
                  <a:lnTo>
                    <a:pt x="311856" y="41343"/>
                  </a:lnTo>
                  <a:lnTo>
                    <a:pt x="309534" y="37710"/>
                  </a:lnTo>
                  <a:lnTo>
                    <a:pt x="308524" y="31924"/>
                  </a:lnTo>
                  <a:lnTo>
                    <a:pt x="304620" y="27854"/>
                  </a:lnTo>
                  <a:lnTo>
                    <a:pt x="300144" y="25768"/>
                  </a:lnTo>
                  <a:lnTo>
                    <a:pt x="294625" y="24254"/>
                  </a:lnTo>
                  <a:lnTo>
                    <a:pt x="290990" y="24254"/>
                  </a:lnTo>
                  <a:cubicBezTo>
                    <a:pt x="290990" y="24254"/>
                    <a:pt x="288231" y="23750"/>
                    <a:pt x="287793" y="23615"/>
                  </a:cubicBezTo>
                  <a:cubicBezTo>
                    <a:pt x="287356" y="23480"/>
                    <a:pt x="280254" y="20789"/>
                    <a:pt x="280254" y="20789"/>
                  </a:cubicBezTo>
                  <a:lnTo>
                    <a:pt x="277057" y="20789"/>
                  </a:lnTo>
                  <a:lnTo>
                    <a:pt x="275038" y="19040"/>
                  </a:lnTo>
                  <a:lnTo>
                    <a:pt x="272144" y="18031"/>
                  </a:lnTo>
                  <a:lnTo>
                    <a:pt x="267937" y="16450"/>
                  </a:lnTo>
                  <a:lnTo>
                    <a:pt x="265177" y="18199"/>
                  </a:lnTo>
                  <a:lnTo>
                    <a:pt x="261105" y="19343"/>
                  </a:lnTo>
                  <a:lnTo>
                    <a:pt x="257201" y="22673"/>
                  </a:lnTo>
                  <a:lnTo>
                    <a:pt x="254610" y="24422"/>
                  </a:lnTo>
                  <a:lnTo>
                    <a:pt x="251715" y="25734"/>
                  </a:lnTo>
                  <a:lnTo>
                    <a:pt x="249258" y="26744"/>
                  </a:lnTo>
                  <a:lnTo>
                    <a:pt x="243907" y="27484"/>
                  </a:lnTo>
                  <a:lnTo>
                    <a:pt x="241720" y="26744"/>
                  </a:lnTo>
                  <a:lnTo>
                    <a:pt x="236806" y="24422"/>
                  </a:lnTo>
                  <a:lnTo>
                    <a:pt x="233475" y="23110"/>
                  </a:lnTo>
                  <a:lnTo>
                    <a:pt x="230883" y="22976"/>
                  </a:lnTo>
                  <a:lnTo>
                    <a:pt x="225364" y="22673"/>
                  </a:lnTo>
                  <a:cubicBezTo>
                    <a:pt x="225364" y="22673"/>
                    <a:pt x="222907" y="23682"/>
                    <a:pt x="221897" y="24120"/>
                  </a:cubicBezTo>
                  <a:cubicBezTo>
                    <a:pt x="220888" y="24557"/>
                    <a:pt x="217690" y="23985"/>
                    <a:pt x="217690" y="23985"/>
                  </a:cubicBezTo>
                  <a:lnTo>
                    <a:pt x="215066" y="19780"/>
                  </a:lnTo>
                  <a:lnTo>
                    <a:pt x="213315" y="14431"/>
                  </a:lnTo>
                  <a:cubicBezTo>
                    <a:pt x="213315" y="14431"/>
                    <a:pt x="210859" y="13187"/>
                    <a:pt x="210556" y="12615"/>
                  </a:cubicBezTo>
                  <a:cubicBezTo>
                    <a:pt x="210253" y="12043"/>
                    <a:pt x="207224" y="10361"/>
                    <a:pt x="207224" y="10361"/>
                  </a:cubicBezTo>
                  <a:lnTo>
                    <a:pt x="202310" y="10361"/>
                  </a:lnTo>
                  <a:lnTo>
                    <a:pt x="197834" y="9789"/>
                  </a:lnTo>
                  <a:lnTo>
                    <a:pt x="187267" y="8645"/>
                  </a:lnTo>
                  <a:lnTo>
                    <a:pt x="184944" y="8645"/>
                  </a:lnTo>
                  <a:lnTo>
                    <a:pt x="177272" y="7064"/>
                  </a:lnTo>
                  <a:lnTo>
                    <a:pt x="174814" y="4037"/>
                  </a:lnTo>
                  <a:lnTo>
                    <a:pt x="172930" y="1716"/>
                  </a:lnTo>
                  <a:lnTo>
                    <a:pt x="170036" y="572"/>
                  </a:lnTo>
                  <a:cubicBezTo>
                    <a:pt x="170036" y="572"/>
                    <a:pt x="166132" y="0"/>
                    <a:pt x="164684" y="0"/>
                  </a:cubicBezTo>
                  <a:cubicBezTo>
                    <a:pt x="163237" y="0"/>
                    <a:pt x="158896" y="0"/>
                    <a:pt x="158896" y="0"/>
                  </a:cubicBezTo>
                  <a:lnTo>
                    <a:pt x="145434" y="0"/>
                  </a:lnTo>
                  <a:lnTo>
                    <a:pt x="141530" y="0"/>
                  </a:lnTo>
                  <a:lnTo>
                    <a:pt x="136314" y="0"/>
                  </a:lnTo>
                  <a:lnTo>
                    <a:pt x="129347" y="0"/>
                  </a:lnTo>
                  <a:lnTo>
                    <a:pt x="118174" y="1009"/>
                  </a:lnTo>
                  <a:lnTo>
                    <a:pt x="115280" y="3633"/>
                  </a:lnTo>
                  <a:lnTo>
                    <a:pt x="110501" y="7535"/>
                  </a:lnTo>
                  <a:lnTo>
                    <a:pt x="103265" y="10294"/>
                  </a:lnTo>
                  <a:cubicBezTo>
                    <a:pt x="103265" y="10294"/>
                    <a:pt x="99058" y="12749"/>
                    <a:pt x="98620" y="12884"/>
                  </a:cubicBezTo>
                  <a:cubicBezTo>
                    <a:pt x="98183" y="13019"/>
                    <a:pt x="89770" y="12009"/>
                    <a:pt x="89770" y="12009"/>
                  </a:cubicBezTo>
                  <a:lnTo>
                    <a:pt x="82534" y="9823"/>
                  </a:lnTo>
                  <a:lnTo>
                    <a:pt x="76880" y="9957"/>
                  </a:lnTo>
                  <a:lnTo>
                    <a:pt x="71798" y="10832"/>
                  </a:lnTo>
                  <a:lnTo>
                    <a:pt x="70485" y="12850"/>
                  </a:lnTo>
                  <a:lnTo>
                    <a:pt x="69476" y="13994"/>
                  </a:lnTo>
                  <a:lnTo>
                    <a:pt x="66447" y="15003"/>
                  </a:lnTo>
                  <a:lnTo>
                    <a:pt x="62408" y="16753"/>
                  </a:lnTo>
                  <a:lnTo>
                    <a:pt x="55004" y="16887"/>
                  </a:lnTo>
                  <a:lnTo>
                    <a:pt x="51235" y="17459"/>
                  </a:lnTo>
                  <a:lnTo>
                    <a:pt x="50225" y="18905"/>
                  </a:lnTo>
                  <a:cubicBezTo>
                    <a:pt x="50225" y="18905"/>
                    <a:pt x="46893" y="20487"/>
                    <a:pt x="46456" y="20789"/>
                  </a:cubicBezTo>
                  <a:cubicBezTo>
                    <a:pt x="46019" y="21092"/>
                    <a:pt x="44706" y="22539"/>
                    <a:pt x="44706" y="22539"/>
                  </a:cubicBezTo>
                  <a:lnTo>
                    <a:pt x="41677" y="23548"/>
                  </a:lnTo>
                  <a:lnTo>
                    <a:pt x="36764" y="23413"/>
                  </a:lnTo>
                  <a:cubicBezTo>
                    <a:pt x="36764" y="23413"/>
                    <a:pt x="35014" y="21967"/>
                    <a:pt x="34441" y="21967"/>
                  </a:cubicBezTo>
                  <a:cubicBezTo>
                    <a:pt x="33869" y="21967"/>
                    <a:pt x="29797" y="19948"/>
                    <a:pt x="29797" y="19948"/>
                  </a:cubicBezTo>
                  <a:cubicBezTo>
                    <a:pt x="29797" y="19948"/>
                    <a:pt x="29359" y="19376"/>
                    <a:pt x="27643" y="20957"/>
                  </a:cubicBezTo>
                  <a:cubicBezTo>
                    <a:pt x="25893" y="22539"/>
                    <a:pt x="22258" y="26744"/>
                    <a:pt x="22258" y="26744"/>
                  </a:cubicBezTo>
                  <a:cubicBezTo>
                    <a:pt x="22258" y="26744"/>
                    <a:pt x="20946" y="27181"/>
                    <a:pt x="20677" y="28055"/>
                  </a:cubicBezTo>
                  <a:cubicBezTo>
                    <a:pt x="20373" y="28930"/>
                    <a:pt x="18220" y="30242"/>
                    <a:pt x="17782" y="30511"/>
                  </a:cubicBezTo>
                  <a:cubicBezTo>
                    <a:pt x="17345" y="30814"/>
                    <a:pt x="14585" y="32832"/>
                    <a:pt x="14585" y="32832"/>
                  </a:cubicBezTo>
                  <a:lnTo>
                    <a:pt x="13710" y="34716"/>
                  </a:lnTo>
                  <a:lnTo>
                    <a:pt x="13710" y="39056"/>
                  </a:lnTo>
                  <a:lnTo>
                    <a:pt x="17412" y="43092"/>
                  </a:lnTo>
                  <a:lnTo>
                    <a:pt x="23167" y="47768"/>
                  </a:lnTo>
                  <a:lnTo>
                    <a:pt x="26869" y="52781"/>
                  </a:lnTo>
                  <a:lnTo>
                    <a:pt x="31446" y="56582"/>
                  </a:lnTo>
                  <a:lnTo>
                    <a:pt x="35249" y="60383"/>
                  </a:lnTo>
                  <a:lnTo>
                    <a:pt x="36124" y="62334"/>
                  </a:lnTo>
                  <a:lnTo>
                    <a:pt x="37975" y="64824"/>
                  </a:lnTo>
                  <a:lnTo>
                    <a:pt x="37672" y="67010"/>
                  </a:lnTo>
                  <a:lnTo>
                    <a:pt x="34408" y="69399"/>
                  </a:lnTo>
                  <a:lnTo>
                    <a:pt x="30403" y="71148"/>
                  </a:lnTo>
                  <a:cubicBezTo>
                    <a:pt x="30403" y="71148"/>
                    <a:pt x="29090" y="71585"/>
                    <a:pt x="28653" y="72022"/>
                  </a:cubicBezTo>
                  <a:cubicBezTo>
                    <a:pt x="28215" y="72460"/>
                    <a:pt x="26802" y="73637"/>
                    <a:pt x="26802" y="73637"/>
                  </a:cubicBezTo>
                  <a:lnTo>
                    <a:pt x="27576" y="78515"/>
                  </a:lnTo>
                  <a:lnTo>
                    <a:pt x="28451" y="79591"/>
                  </a:lnTo>
                  <a:lnTo>
                    <a:pt x="28114" y="82854"/>
                  </a:lnTo>
                  <a:lnTo>
                    <a:pt x="26903" y="85882"/>
                  </a:lnTo>
                  <a:cubicBezTo>
                    <a:pt x="26903" y="85882"/>
                    <a:pt x="25927" y="87833"/>
                    <a:pt x="25691" y="88169"/>
                  </a:cubicBezTo>
                  <a:cubicBezTo>
                    <a:pt x="25489" y="88506"/>
                    <a:pt x="24715" y="90356"/>
                    <a:pt x="24278" y="90793"/>
                  </a:cubicBezTo>
                  <a:cubicBezTo>
                    <a:pt x="23840" y="91231"/>
                    <a:pt x="21013" y="93384"/>
                    <a:pt x="21013" y="93384"/>
                  </a:cubicBezTo>
                  <a:lnTo>
                    <a:pt x="19936" y="96008"/>
                  </a:lnTo>
                  <a:lnTo>
                    <a:pt x="18422" y="98060"/>
                  </a:lnTo>
                  <a:lnTo>
                    <a:pt x="14383" y="101087"/>
                  </a:lnTo>
                  <a:lnTo>
                    <a:pt x="9941" y="102735"/>
                  </a:lnTo>
                  <a:lnTo>
                    <a:pt x="8426" y="105326"/>
                  </a:lnTo>
                  <a:lnTo>
                    <a:pt x="10614" y="106402"/>
                  </a:lnTo>
                  <a:lnTo>
                    <a:pt x="11253" y="108151"/>
                  </a:lnTo>
                  <a:lnTo>
                    <a:pt x="10614" y="109228"/>
                  </a:lnTo>
                  <a:cubicBezTo>
                    <a:pt x="10614" y="109228"/>
                    <a:pt x="7147" y="112827"/>
                    <a:pt x="7013" y="113466"/>
                  </a:cubicBezTo>
                  <a:cubicBezTo>
                    <a:pt x="6912" y="114106"/>
                    <a:pt x="5061" y="114678"/>
                    <a:pt x="4623" y="114980"/>
                  </a:cubicBezTo>
                  <a:cubicBezTo>
                    <a:pt x="4186" y="115317"/>
                    <a:pt x="1258" y="116494"/>
                    <a:pt x="1258" y="116494"/>
                  </a:cubicBezTo>
                  <a:cubicBezTo>
                    <a:pt x="1258" y="116494"/>
                    <a:pt x="1493" y="117571"/>
                    <a:pt x="1258" y="117907"/>
                  </a:cubicBezTo>
                  <a:cubicBezTo>
                    <a:pt x="1056" y="118243"/>
                    <a:pt x="80" y="123659"/>
                    <a:pt x="80" y="123659"/>
                  </a:cubicBezTo>
                  <a:cubicBezTo>
                    <a:pt x="80" y="123659"/>
                    <a:pt x="-459" y="124433"/>
                    <a:pt x="1258" y="124433"/>
                  </a:cubicBezTo>
                  <a:cubicBezTo>
                    <a:pt x="3008" y="124433"/>
                    <a:pt x="6037" y="122583"/>
                    <a:pt x="6710" y="122381"/>
                  </a:cubicBezTo>
                  <a:cubicBezTo>
                    <a:pt x="7349" y="122179"/>
                    <a:pt x="7686" y="121944"/>
                    <a:pt x="8999" y="121944"/>
                  </a:cubicBezTo>
                  <a:cubicBezTo>
                    <a:pt x="10311" y="121944"/>
                    <a:pt x="11724" y="121607"/>
                    <a:pt x="12162" y="121742"/>
                  </a:cubicBezTo>
                  <a:cubicBezTo>
                    <a:pt x="12599" y="121843"/>
                    <a:pt x="15090" y="124568"/>
                    <a:pt x="15090" y="124568"/>
                  </a:cubicBezTo>
                  <a:lnTo>
                    <a:pt x="16604" y="126956"/>
                  </a:lnTo>
                  <a:lnTo>
                    <a:pt x="18455" y="127730"/>
                  </a:lnTo>
                  <a:lnTo>
                    <a:pt x="22797" y="130993"/>
                  </a:lnTo>
                  <a:lnTo>
                    <a:pt x="28552" y="130454"/>
                  </a:lnTo>
                  <a:lnTo>
                    <a:pt x="30302" y="129143"/>
                  </a:lnTo>
                  <a:cubicBezTo>
                    <a:pt x="30302" y="129143"/>
                    <a:pt x="33365" y="128268"/>
                    <a:pt x="33667" y="128268"/>
                  </a:cubicBezTo>
                  <a:cubicBezTo>
                    <a:pt x="34004" y="128268"/>
                    <a:pt x="37033" y="127831"/>
                    <a:pt x="38009" y="128032"/>
                  </a:cubicBezTo>
                  <a:cubicBezTo>
                    <a:pt x="38985" y="128268"/>
                    <a:pt x="40937" y="129681"/>
                    <a:pt x="40937" y="129681"/>
                  </a:cubicBezTo>
                  <a:lnTo>
                    <a:pt x="41374" y="133045"/>
                  </a:lnTo>
                  <a:lnTo>
                    <a:pt x="41475" y="135770"/>
                  </a:lnTo>
                  <a:lnTo>
                    <a:pt x="42249" y="137822"/>
                  </a:lnTo>
                  <a:lnTo>
                    <a:pt x="44302" y="140647"/>
                  </a:lnTo>
                  <a:lnTo>
                    <a:pt x="46153" y="141858"/>
                  </a:lnTo>
                  <a:lnTo>
                    <a:pt x="48004" y="143709"/>
                  </a:lnTo>
                  <a:cubicBezTo>
                    <a:pt x="48004" y="143709"/>
                    <a:pt x="50292" y="144785"/>
                    <a:pt x="50629" y="144785"/>
                  </a:cubicBezTo>
                  <a:cubicBezTo>
                    <a:pt x="50966" y="144785"/>
                    <a:pt x="53120" y="144449"/>
                    <a:pt x="53120" y="144449"/>
                  </a:cubicBezTo>
                  <a:lnTo>
                    <a:pt x="56283" y="144112"/>
                  </a:lnTo>
                  <a:cubicBezTo>
                    <a:pt x="56283" y="144112"/>
                    <a:pt x="57158" y="144011"/>
                    <a:pt x="57697" y="143473"/>
                  </a:cubicBezTo>
                  <a:cubicBezTo>
                    <a:pt x="58235" y="142935"/>
                    <a:pt x="60423" y="141825"/>
                    <a:pt x="60423" y="141522"/>
                  </a:cubicBezTo>
                  <a:cubicBezTo>
                    <a:pt x="60423" y="141186"/>
                    <a:pt x="61298" y="139907"/>
                    <a:pt x="61298" y="139907"/>
                  </a:cubicBezTo>
                  <a:lnTo>
                    <a:pt x="58908" y="135568"/>
                  </a:lnTo>
                  <a:cubicBezTo>
                    <a:pt x="58908" y="135568"/>
                    <a:pt x="60557" y="134592"/>
                    <a:pt x="60995" y="134592"/>
                  </a:cubicBezTo>
                  <a:cubicBezTo>
                    <a:pt x="61432" y="134592"/>
                    <a:pt x="62610" y="134155"/>
                    <a:pt x="63048" y="134155"/>
                  </a:cubicBezTo>
                  <a:cubicBezTo>
                    <a:pt x="63485" y="134155"/>
                    <a:pt x="64461" y="132977"/>
                    <a:pt x="64461" y="132977"/>
                  </a:cubicBezTo>
                  <a:cubicBezTo>
                    <a:pt x="64461" y="132977"/>
                    <a:pt x="65202" y="131026"/>
                    <a:pt x="65538" y="130253"/>
                  </a:cubicBezTo>
                  <a:cubicBezTo>
                    <a:pt x="65875" y="129479"/>
                    <a:pt x="66514" y="126653"/>
                    <a:pt x="66514" y="126653"/>
                  </a:cubicBezTo>
                  <a:lnTo>
                    <a:pt x="67153" y="125139"/>
                  </a:lnTo>
                  <a:cubicBezTo>
                    <a:pt x="67153" y="125139"/>
                    <a:pt x="68365" y="122852"/>
                    <a:pt x="68567" y="122415"/>
                  </a:cubicBezTo>
                  <a:cubicBezTo>
                    <a:pt x="68802" y="121977"/>
                    <a:pt x="69206" y="119824"/>
                    <a:pt x="69543" y="119589"/>
                  </a:cubicBezTo>
                  <a:cubicBezTo>
                    <a:pt x="69880" y="119353"/>
                    <a:pt x="70855" y="116326"/>
                    <a:pt x="70855" y="116326"/>
                  </a:cubicBezTo>
                  <a:lnTo>
                    <a:pt x="72909" y="115989"/>
                  </a:lnTo>
                  <a:cubicBezTo>
                    <a:pt x="72909" y="115989"/>
                    <a:pt x="73144" y="115889"/>
                    <a:pt x="73985" y="116528"/>
                  </a:cubicBezTo>
                  <a:cubicBezTo>
                    <a:pt x="74860" y="117167"/>
                    <a:pt x="76038" y="118378"/>
                    <a:pt x="76375" y="118714"/>
                  </a:cubicBezTo>
                  <a:cubicBezTo>
                    <a:pt x="76712" y="119051"/>
                    <a:pt x="77889" y="120363"/>
                    <a:pt x="79101" y="120665"/>
                  </a:cubicBezTo>
                  <a:cubicBezTo>
                    <a:pt x="80312" y="121002"/>
                    <a:pt x="81490" y="121305"/>
                    <a:pt x="81827" y="121439"/>
                  </a:cubicBezTo>
                  <a:cubicBezTo>
                    <a:pt x="82164" y="121540"/>
                    <a:pt x="83039" y="121977"/>
                    <a:pt x="83476" y="122650"/>
                  </a:cubicBezTo>
                  <a:cubicBezTo>
                    <a:pt x="83913" y="123289"/>
                    <a:pt x="84115" y="123962"/>
                    <a:pt x="84553" y="124938"/>
                  </a:cubicBezTo>
                  <a:cubicBezTo>
                    <a:pt x="84991" y="125913"/>
                    <a:pt x="84889" y="126149"/>
                    <a:pt x="85630" y="127124"/>
                  </a:cubicBezTo>
                  <a:cubicBezTo>
                    <a:pt x="86404" y="128100"/>
                    <a:pt x="87380" y="129075"/>
                    <a:pt x="87683" y="129614"/>
                  </a:cubicBezTo>
                  <a:cubicBezTo>
                    <a:pt x="88020" y="130152"/>
                    <a:pt x="88221" y="129950"/>
                    <a:pt x="88659" y="130825"/>
                  </a:cubicBezTo>
                  <a:cubicBezTo>
                    <a:pt x="89096" y="131699"/>
                    <a:pt x="89870" y="133112"/>
                    <a:pt x="89870" y="133112"/>
                  </a:cubicBezTo>
                  <a:cubicBezTo>
                    <a:pt x="89870" y="133112"/>
                    <a:pt x="90644" y="133314"/>
                    <a:pt x="90846" y="134424"/>
                  </a:cubicBezTo>
                  <a:cubicBezTo>
                    <a:pt x="91048" y="135500"/>
                    <a:pt x="91587" y="135837"/>
                    <a:pt x="91587" y="136476"/>
                  </a:cubicBezTo>
                  <a:cubicBezTo>
                    <a:pt x="91587" y="137115"/>
                    <a:pt x="91250" y="137687"/>
                    <a:pt x="91688" y="138326"/>
                  </a:cubicBezTo>
                  <a:cubicBezTo>
                    <a:pt x="92125" y="138965"/>
                    <a:pt x="93202" y="140075"/>
                    <a:pt x="93640" y="140277"/>
                  </a:cubicBezTo>
                  <a:cubicBezTo>
                    <a:pt x="94077" y="140479"/>
                    <a:pt x="95390" y="139739"/>
                    <a:pt x="96029" y="140176"/>
                  </a:cubicBezTo>
                  <a:cubicBezTo>
                    <a:pt x="96669" y="140614"/>
                    <a:pt x="97342" y="140816"/>
                    <a:pt x="98957" y="140715"/>
                  </a:cubicBezTo>
                  <a:cubicBezTo>
                    <a:pt x="100573" y="140614"/>
                    <a:pt x="102760" y="138965"/>
                    <a:pt x="103198" y="138663"/>
                  </a:cubicBezTo>
                  <a:cubicBezTo>
                    <a:pt x="103635" y="138326"/>
                    <a:pt x="104611" y="136274"/>
                    <a:pt x="104947" y="136375"/>
                  </a:cubicBezTo>
                  <a:cubicBezTo>
                    <a:pt x="105284" y="136476"/>
                    <a:pt x="105722" y="136476"/>
                    <a:pt x="107236" y="136711"/>
                  </a:cubicBezTo>
                  <a:cubicBezTo>
                    <a:pt x="108750" y="136913"/>
                    <a:pt x="109727" y="136375"/>
                    <a:pt x="111578" y="136913"/>
                  </a:cubicBezTo>
                  <a:cubicBezTo>
                    <a:pt x="113428" y="137452"/>
                    <a:pt x="116457" y="137788"/>
                    <a:pt x="116996" y="138427"/>
                  </a:cubicBezTo>
                  <a:cubicBezTo>
                    <a:pt x="117535" y="139066"/>
                    <a:pt x="119049" y="139403"/>
                    <a:pt x="119486" y="139941"/>
                  </a:cubicBezTo>
                  <a:cubicBezTo>
                    <a:pt x="119924" y="140479"/>
                    <a:pt x="120260" y="140715"/>
                    <a:pt x="120260" y="141152"/>
                  </a:cubicBezTo>
                  <a:cubicBezTo>
                    <a:pt x="120260" y="141589"/>
                    <a:pt x="120260" y="142027"/>
                    <a:pt x="119924" y="142228"/>
                  </a:cubicBezTo>
                  <a:cubicBezTo>
                    <a:pt x="119588" y="142430"/>
                    <a:pt x="116660" y="143843"/>
                    <a:pt x="116660" y="143843"/>
                  </a:cubicBezTo>
                  <a:lnTo>
                    <a:pt x="114909" y="145693"/>
                  </a:lnTo>
                  <a:lnTo>
                    <a:pt x="111443" y="147543"/>
                  </a:lnTo>
                  <a:lnTo>
                    <a:pt x="110366" y="150806"/>
                  </a:lnTo>
                  <a:lnTo>
                    <a:pt x="110568" y="154507"/>
                  </a:lnTo>
                  <a:lnTo>
                    <a:pt x="111645" y="155045"/>
                  </a:lnTo>
                  <a:lnTo>
                    <a:pt x="114573" y="159284"/>
                  </a:lnTo>
                  <a:cubicBezTo>
                    <a:pt x="114573" y="159284"/>
                    <a:pt x="115785" y="161134"/>
                    <a:pt x="115986" y="161773"/>
                  </a:cubicBezTo>
                  <a:cubicBezTo>
                    <a:pt x="116222" y="162412"/>
                    <a:pt x="116760" y="164397"/>
                    <a:pt x="116962" y="165036"/>
                  </a:cubicBezTo>
                  <a:cubicBezTo>
                    <a:pt x="117198" y="165675"/>
                    <a:pt x="117299" y="167424"/>
                    <a:pt x="117501" y="168299"/>
                  </a:cubicBezTo>
                  <a:cubicBezTo>
                    <a:pt x="117703" y="169174"/>
                    <a:pt x="117837" y="171764"/>
                    <a:pt x="117837" y="171764"/>
                  </a:cubicBezTo>
                  <a:lnTo>
                    <a:pt x="119688" y="174590"/>
                  </a:lnTo>
                  <a:lnTo>
                    <a:pt x="122515" y="177954"/>
                  </a:lnTo>
                  <a:lnTo>
                    <a:pt x="123929" y="180981"/>
                  </a:lnTo>
                  <a:lnTo>
                    <a:pt x="123592" y="183269"/>
                  </a:lnTo>
                  <a:lnTo>
                    <a:pt x="123929" y="187709"/>
                  </a:lnTo>
                  <a:lnTo>
                    <a:pt x="126318" y="190871"/>
                  </a:lnTo>
                  <a:cubicBezTo>
                    <a:pt x="126318" y="190871"/>
                    <a:pt x="129482" y="193798"/>
                    <a:pt x="129818" y="193798"/>
                  </a:cubicBezTo>
                  <a:cubicBezTo>
                    <a:pt x="130155" y="193798"/>
                    <a:pt x="132309" y="195749"/>
                    <a:pt x="132309" y="195749"/>
                  </a:cubicBezTo>
                  <a:lnTo>
                    <a:pt x="132208" y="198339"/>
                  </a:lnTo>
                  <a:cubicBezTo>
                    <a:pt x="132208" y="198339"/>
                    <a:pt x="136112" y="203553"/>
                    <a:pt x="136549" y="203789"/>
                  </a:cubicBezTo>
                  <a:cubicBezTo>
                    <a:pt x="136987" y="203991"/>
                    <a:pt x="139578" y="206278"/>
                    <a:pt x="139578" y="206278"/>
                  </a:cubicBezTo>
                  <a:lnTo>
                    <a:pt x="140083" y="216168"/>
                  </a:lnTo>
                  <a:cubicBezTo>
                    <a:pt x="140083" y="216168"/>
                    <a:pt x="138939" y="220844"/>
                    <a:pt x="138939" y="221181"/>
                  </a:cubicBezTo>
                  <a:cubicBezTo>
                    <a:pt x="138939" y="221517"/>
                    <a:pt x="138939" y="226832"/>
                    <a:pt x="138939" y="226832"/>
                  </a:cubicBezTo>
                  <a:cubicBezTo>
                    <a:pt x="138939" y="226832"/>
                    <a:pt x="138737" y="228245"/>
                    <a:pt x="139376" y="228447"/>
                  </a:cubicBezTo>
                  <a:cubicBezTo>
                    <a:pt x="140049" y="228649"/>
                    <a:pt x="144795" y="229658"/>
                    <a:pt x="145232" y="229658"/>
                  </a:cubicBezTo>
                  <a:cubicBezTo>
                    <a:pt x="145670" y="229658"/>
                    <a:pt x="145569" y="229456"/>
                    <a:pt x="146444" y="229658"/>
                  </a:cubicBezTo>
                  <a:cubicBezTo>
                    <a:pt x="147319" y="229860"/>
                    <a:pt x="149170" y="233022"/>
                    <a:pt x="149170" y="233022"/>
                  </a:cubicBezTo>
                  <a:cubicBezTo>
                    <a:pt x="149170" y="233022"/>
                    <a:pt x="148295" y="234435"/>
                    <a:pt x="149170" y="234872"/>
                  </a:cubicBezTo>
                  <a:cubicBezTo>
                    <a:pt x="150045" y="235309"/>
                    <a:pt x="154723" y="234435"/>
                    <a:pt x="154723" y="234435"/>
                  </a:cubicBezTo>
                  <a:cubicBezTo>
                    <a:pt x="154723" y="234435"/>
                    <a:pt x="153747" y="239447"/>
                    <a:pt x="154723" y="239312"/>
                  </a:cubicBezTo>
                  <a:cubicBezTo>
                    <a:pt x="155699" y="239211"/>
                    <a:pt x="160814" y="236588"/>
                    <a:pt x="160814" y="236588"/>
                  </a:cubicBezTo>
                  <a:lnTo>
                    <a:pt x="164617" y="236218"/>
                  </a:lnTo>
                  <a:lnTo>
                    <a:pt x="168959" y="240120"/>
                  </a:lnTo>
                  <a:lnTo>
                    <a:pt x="171146" y="243585"/>
                  </a:lnTo>
                  <a:cubicBezTo>
                    <a:pt x="171146" y="243585"/>
                    <a:pt x="177507" y="238370"/>
                    <a:pt x="177675" y="237933"/>
                  </a:cubicBezTo>
                  <a:cubicBezTo>
                    <a:pt x="177810" y="237496"/>
                    <a:pt x="178988" y="235175"/>
                    <a:pt x="178988" y="235175"/>
                  </a:cubicBezTo>
                  <a:lnTo>
                    <a:pt x="184473" y="231710"/>
                  </a:lnTo>
                  <a:lnTo>
                    <a:pt x="187671" y="227942"/>
                  </a:lnTo>
                  <a:lnTo>
                    <a:pt x="188983" y="224612"/>
                  </a:lnTo>
                  <a:lnTo>
                    <a:pt x="193493" y="222728"/>
                  </a:lnTo>
                  <a:cubicBezTo>
                    <a:pt x="193493" y="222728"/>
                    <a:pt x="193190" y="219835"/>
                    <a:pt x="192753" y="219532"/>
                  </a:cubicBezTo>
                  <a:cubicBezTo>
                    <a:pt x="192315" y="219229"/>
                    <a:pt x="192315" y="215058"/>
                    <a:pt x="192315" y="215058"/>
                  </a:cubicBezTo>
                  <a:cubicBezTo>
                    <a:pt x="192315" y="215058"/>
                    <a:pt x="193897" y="214049"/>
                    <a:pt x="194637" y="214318"/>
                  </a:cubicBezTo>
                  <a:cubicBezTo>
                    <a:pt x="195344" y="214621"/>
                    <a:pt x="197969" y="218220"/>
                    <a:pt x="197969" y="218220"/>
                  </a:cubicBezTo>
                  <a:lnTo>
                    <a:pt x="202176" y="221551"/>
                  </a:lnTo>
                  <a:lnTo>
                    <a:pt x="206382" y="224006"/>
                  </a:lnTo>
                  <a:lnTo>
                    <a:pt x="209849" y="224578"/>
                  </a:lnTo>
                  <a:lnTo>
                    <a:pt x="216512" y="225318"/>
                  </a:lnTo>
                  <a:cubicBezTo>
                    <a:pt x="216512" y="225318"/>
                    <a:pt x="218263" y="226193"/>
                    <a:pt x="218969" y="226193"/>
                  </a:cubicBezTo>
                  <a:cubicBezTo>
                    <a:pt x="219710" y="226193"/>
                    <a:pt x="222738" y="225621"/>
                    <a:pt x="223042" y="226193"/>
                  </a:cubicBezTo>
                  <a:cubicBezTo>
                    <a:pt x="223344" y="226765"/>
                    <a:pt x="223042" y="228817"/>
                    <a:pt x="224186" y="229086"/>
                  </a:cubicBezTo>
                  <a:cubicBezTo>
                    <a:pt x="225330" y="229389"/>
                    <a:pt x="227820" y="229792"/>
                    <a:pt x="228393" y="228951"/>
                  </a:cubicBezTo>
                  <a:cubicBezTo>
                    <a:pt x="228965" y="228077"/>
                    <a:pt x="230278" y="227505"/>
                    <a:pt x="230278" y="226361"/>
                  </a:cubicBezTo>
                  <a:cubicBezTo>
                    <a:pt x="230278" y="225184"/>
                    <a:pt x="230580" y="223603"/>
                    <a:pt x="230849" y="223165"/>
                  </a:cubicBezTo>
                  <a:cubicBezTo>
                    <a:pt x="231119" y="222728"/>
                    <a:pt x="231724" y="221147"/>
                    <a:pt x="231724" y="221147"/>
                  </a:cubicBezTo>
                  <a:cubicBezTo>
                    <a:pt x="231724" y="221147"/>
                    <a:pt x="234753" y="220003"/>
                    <a:pt x="235359" y="220003"/>
                  </a:cubicBezTo>
                  <a:cubicBezTo>
                    <a:pt x="235931" y="220003"/>
                    <a:pt x="242157" y="220743"/>
                    <a:pt x="242157" y="220743"/>
                  </a:cubicBezTo>
                  <a:lnTo>
                    <a:pt x="241888" y="222627"/>
                  </a:lnTo>
                  <a:lnTo>
                    <a:pt x="241585" y="224645"/>
                  </a:lnTo>
                  <a:lnTo>
                    <a:pt x="245657" y="225217"/>
                  </a:lnTo>
                  <a:cubicBezTo>
                    <a:pt x="245657" y="225217"/>
                    <a:pt x="246802" y="225083"/>
                    <a:pt x="247542" y="224780"/>
                  </a:cubicBezTo>
                  <a:cubicBezTo>
                    <a:pt x="248249" y="224477"/>
                    <a:pt x="250437" y="222190"/>
                    <a:pt x="250437" y="222190"/>
                  </a:cubicBezTo>
                  <a:lnTo>
                    <a:pt x="252456" y="224208"/>
                  </a:lnTo>
                  <a:lnTo>
                    <a:pt x="255485" y="217985"/>
                  </a:lnTo>
                  <a:lnTo>
                    <a:pt x="255485" y="216370"/>
                  </a:lnTo>
                  <a:lnTo>
                    <a:pt x="256629" y="211459"/>
                  </a:lnTo>
                  <a:cubicBezTo>
                    <a:pt x="256629" y="211459"/>
                    <a:pt x="258513" y="211156"/>
                    <a:pt x="259658" y="211156"/>
                  </a:cubicBezTo>
                  <a:cubicBezTo>
                    <a:pt x="260836" y="211156"/>
                    <a:pt x="263865" y="212602"/>
                    <a:pt x="263865" y="212602"/>
                  </a:cubicBezTo>
                  <a:cubicBezTo>
                    <a:pt x="263865" y="212602"/>
                    <a:pt x="266321" y="214184"/>
                    <a:pt x="266624" y="214621"/>
                  </a:cubicBezTo>
                  <a:cubicBezTo>
                    <a:pt x="266927" y="215058"/>
                    <a:pt x="268509" y="216370"/>
                    <a:pt x="269384" y="216942"/>
                  </a:cubicBezTo>
                  <a:cubicBezTo>
                    <a:pt x="270259" y="217514"/>
                    <a:pt x="271841" y="218691"/>
                    <a:pt x="272413" y="218254"/>
                  </a:cubicBezTo>
                  <a:cubicBezTo>
                    <a:pt x="272985" y="217817"/>
                    <a:pt x="274163" y="218254"/>
                    <a:pt x="274163" y="215495"/>
                  </a:cubicBezTo>
                  <a:cubicBezTo>
                    <a:pt x="274163" y="214789"/>
                    <a:pt x="274196" y="214116"/>
                    <a:pt x="274196" y="213578"/>
                  </a:cubicBezTo>
                  <a:cubicBezTo>
                    <a:pt x="274264" y="212031"/>
                    <a:pt x="274432" y="211156"/>
                    <a:pt x="274432" y="211156"/>
                  </a:cubicBezTo>
                  <a:lnTo>
                    <a:pt x="276889" y="208263"/>
                  </a:lnTo>
                  <a:lnTo>
                    <a:pt x="284999" y="204798"/>
                  </a:lnTo>
                  <a:lnTo>
                    <a:pt x="287759" y="199719"/>
                  </a:lnTo>
                  <a:lnTo>
                    <a:pt x="284697" y="194504"/>
                  </a:lnTo>
                  <a:cubicBezTo>
                    <a:pt x="284697" y="194504"/>
                    <a:pt x="285841" y="192621"/>
                    <a:pt x="286312" y="192486"/>
                  </a:cubicBezTo>
                  <a:cubicBezTo>
                    <a:pt x="286750" y="192351"/>
                    <a:pt x="289947" y="191477"/>
                    <a:pt x="290654" y="192486"/>
                  </a:cubicBezTo>
                  <a:cubicBezTo>
                    <a:pt x="291360" y="193495"/>
                    <a:pt x="291730" y="195379"/>
                    <a:pt x="292909" y="195076"/>
                  </a:cubicBezTo>
                  <a:cubicBezTo>
                    <a:pt x="294086" y="194773"/>
                    <a:pt x="295433" y="194639"/>
                    <a:pt x="295433" y="192755"/>
                  </a:cubicBezTo>
                  <a:cubicBezTo>
                    <a:pt x="295433" y="190871"/>
                    <a:pt x="295433" y="188550"/>
                    <a:pt x="295433" y="188550"/>
                  </a:cubicBezTo>
                  <a:cubicBezTo>
                    <a:pt x="295433" y="188550"/>
                    <a:pt x="294558" y="188416"/>
                    <a:pt x="294558" y="187844"/>
                  </a:cubicBezTo>
                  <a:cubicBezTo>
                    <a:pt x="294558" y="187272"/>
                    <a:pt x="294423" y="185523"/>
                    <a:pt x="294827" y="184513"/>
                  </a:cubicBezTo>
                  <a:cubicBezTo>
                    <a:pt x="295264" y="183504"/>
                    <a:pt x="295567" y="184379"/>
                    <a:pt x="295567" y="182630"/>
                  </a:cubicBezTo>
                  <a:cubicBezTo>
                    <a:pt x="295567" y="180880"/>
                    <a:pt x="295433" y="178559"/>
                    <a:pt x="295567" y="177987"/>
                  </a:cubicBezTo>
                  <a:cubicBezTo>
                    <a:pt x="295702" y="177415"/>
                    <a:pt x="296274" y="175397"/>
                    <a:pt x="296274" y="175397"/>
                  </a:cubicBezTo>
                  <a:cubicBezTo>
                    <a:pt x="296274" y="175397"/>
                    <a:pt x="294962" y="173816"/>
                    <a:pt x="294827" y="173379"/>
                  </a:cubicBezTo>
                  <a:cubicBezTo>
                    <a:pt x="294692" y="172941"/>
                    <a:pt x="294254" y="171495"/>
                    <a:pt x="294389" y="171058"/>
                  </a:cubicBezTo>
                  <a:cubicBezTo>
                    <a:pt x="294524" y="170620"/>
                    <a:pt x="294524" y="169611"/>
                    <a:pt x="295567" y="169611"/>
                  </a:cubicBezTo>
                  <a:cubicBezTo>
                    <a:pt x="296611" y="169611"/>
                    <a:pt x="299202" y="169746"/>
                    <a:pt x="299202" y="169746"/>
                  </a:cubicBezTo>
                  <a:cubicBezTo>
                    <a:pt x="299202" y="169746"/>
                    <a:pt x="302096" y="171327"/>
                    <a:pt x="302264" y="171764"/>
                  </a:cubicBezTo>
                  <a:cubicBezTo>
                    <a:pt x="302399" y="172201"/>
                    <a:pt x="302130" y="174522"/>
                    <a:pt x="301827" y="175229"/>
                  </a:cubicBezTo>
                  <a:cubicBezTo>
                    <a:pt x="301524" y="175969"/>
                    <a:pt x="301255" y="177853"/>
                    <a:pt x="301255" y="178425"/>
                  </a:cubicBezTo>
                  <a:cubicBezTo>
                    <a:pt x="301255" y="178996"/>
                    <a:pt x="303274" y="180006"/>
                    <a:pt x="303274" y="180006"/>
                  </a:cubicBezTo>
                  <a:lnTo>
                    <a:pt x="306606" y="178626"/>
                  </a:lnTo>
                  <a:lnTo>
                    <a:pt x="309063" y="177247"/>
                  </a:lnTo>
                  <a:lnTo>
                    <a:pt x="310173" y="177247"/>
                  </a:lnTo>
                  <a:lnTo>
                    <a:pt x="315390" y="178391"/>
                  </a:lnTo>
                  <a:lnTo>
                    <a:pt x="318721" y="180275"/>
                  </a:lnTo>
                  <a:cubicBezTo>
                    <a:pt x="318721" y="180275"/>
                    <a:pt x="320741" y="181721"/>
                    <a:pt x="321178" y="182024"/>
                  </a:cubicBezTo>
                  <a:cubicBezTo>
                    <a:pt x="321616" y="182327"/>
                    <a:pt x="323803" y="183471"/>
                    <a:pt x="324376" y="183605"/>
                  </a:cubicBezTo>
                  <a:cubicBezTo>
                    <a:pt x="324947" y="183740"/>
                    <a:pt x="326126" y="184345"/>
                    <a:pt x="326395" y="184749"/>
                  </a:cubicBezTo>
                  <a:cubicBezTo>
                    <a:pt x="326698" y="185186"/>
                    <a:pt x="328145" y="186767"/>
                    <a:pt x="328145" y="186767"/>
                  </a:cubicBezTo>
                  <a:cubicBezTo>
                    <a:pt x="328145" y="186767"/>
                    <a:pt x="328717" y="188651"/>
                    <a:pt x="329457" y="189358"/>
                  </a:cubicBezTo>
                  <a:cubicBezTo>
                    <a:pt x="330198" y="190064"/>
                    <a:pt x="330198" y="190064"/>
                    <a:pt x="330198" y="190064"/>
                  </a:cubicBezTo>
                  <a:cubicBezTo>
                    <a:pt x="330198" y="190064"/>
                    <a:pt x="332823" y="191948"/>
                    <a:pt x="333227" y="192385"/>
                  </a:cubicBezTo>
                  <a:cubicBezTo>
                    <a:pt x="333664" y="192822"/>
                    <a:pt x="334808" y="193697"/>
                    <a:pt x="334808" y="193697"/>
                  </a:cubicBezTo>
                  <a:lnTo>
                    <a:pt x="335381" y="197767"/>
                  </a:lnTo>
                  <a:lnTo>
                    <a:pt x="338275" y="200795"/>
                  </a:lnTo>
                  <a:lnTo>
                    <a:pt x="341607" y="201939"/>
                  </a:lnTo>
                  <a:lnTo>
                    <a:pt x="345511" y="203385"/>
                  </a:lnTo>
                  <a:lnTo>
                    <a:pt x="349280" y="208465"/>
                  </a:lnTo>
                  <a:lnTo>
                    <a:pt x="351367" y="211492"/>
                  </a:lnTo>
                  <a:lnTo>
                    <a:pt x="352746" y="213073"/>
                  </a:lnTo>
                  <a:lnTo>
                    <a:pt x="352746" y="216269"/>
                  </a:lnTo>
                  <a:cubicBezTo>
                    <a:pt x="352746" y="216269"/>
                    <a:pt x="351871" y="217144"/>
                    <a:pt x="352443" y="218456"/>
                  </a:cubicBezTo>
                  <a:cubicBezTo>
                    <a:pt x="353016" y="219768"/>
                    <a:pt x="353756" y="220340"/>
                    <a:pt x="354193" y="220474"/>
                  </a:cubicBezTo>
                  <a:cubicBezTo>
                    <a:pt x="354631" y="220609"/>
                    <a:pt x="355069" y="220609"/>
                    <a:pt x="356381" y="220609"/>
                  </a:cubicBezTo>
                  <a:cubicBezTo>
                    <a:pt x="357694" y="220609"/>
                    <a:pt x="357559" y="219431"/>
                    <a:pt x="359578" y="221181"/>
                  </a:cubicBezTo>
                  <a:cubicBezTo>
                    <a:pt x="361597" y="222930"/>
                    <a:pt x="361901" y="223636"/>
                    <a:pt x="362035" y="224074"/>
                  </a:cubicBezTo>
                  <a:cubicBezTo>
                    <a:pt x="362170" y="224511"/>
                    <a:pt x="362472" y="225655"/>
                    <a:pt x="362776" y="227101"/>
                  </a:cubicBezTo>
                  <a:cubicBezTo>
                    <a:pt x="363045" y="228548"/>
                    <a:pt x="363650" y="229120"/>
                    <a:pt x="364222" y="229120"/>
                  </a:cubicBezTo>
                  <a:cubicBezTo>
                    <a:pt x="364795" y="229120"/>
                    <a:pt x="367285" y="228682"/>
                    <a:pt x="367689" y="228548"/>
                  </a:cubicBezTo>
                  <a:cubicBezTo>
                    <a:pt x="368127" y="228413"/>
                    <a:pt x="370011" y="227976"/>
                    <a:pt x="370011" y="227976"/>
                  </a:cubicBezTo>
                  <a:cubicBezTo>
                    <a:pt x="370011" y="227976"/>
                    <a:pt x="371593" y="227841"/>
                    <a:pt x="372031" y="227673"/>
                  </a:cubicBezTo>
                  <a:cubicBezTo>
                    <a:pt x="372468" y="227538"/>
                    <a:pt x="373478" y="228413"/>
                    <a:pt x="373780" y="229254"/>
                  </a:cubicBezTo>
                  <a:cubicBezTo>
                    <a:pt x="374083" y="230129"/>
                    <a:pt x="375665" y="230129"/>
                    <a:pt x="375665" y="231272"/>
                  </a:cubicBezTo>
                  <a:cubicBezTo>
                    <a:pt x="375665" y="232416"/>
                    <a:pt x="375800" y="233156"/>
                    <a:pt x="375665" y="234166"/>
                  </a:cubicBezTo>
                  <a:cubicBezTo>
                    <a:pt x="375530" y="235175"/>
                    <a:pt x="374353" y="236352"/>
                    <a:pt x="374353" y="236352"/>
                  </a:cubicBezTo>
                  <a:cubicBezTo>
                    <a:pt x="374353" y="236352"/>
                    <a:pt x="373915" y="238539"/>
                    <a:pt x="373780" y="239245"/>
                  </a:cubicBezTo>
                  <a:cubicBezTo>
                    <a:pt x="373646" y="239985"/>
                    <a:pt x="373915" y="241566"/>
                    <a:pt x="374521" y="242138"/>
                  </a:cubicBezTo>
                  <a:cubicBezTo>
                    <a:pt x="375093" y="242710"/>
                    <a:pt x="376271" y="244022"/>
                    <a:pt x="376271" y="244594"/>
                  </a:cubicBezTo>
                  <a:cubicBezTo>
                    <a:pt x="376271" y="245166"/>
                    <a:pt x="376708" y="246343"/>
                    <a:pt x="376574" y="247621"/>
                  </a:cubicBezTo>
                  <a:cubicBezTo>
                    <a:pt x="376439" y="248933"/>
                    <a:pt x="375564" y="250077"/>
                    <a:pt x="374689" y="250514"/>
                  </a:cubicBezTo>
                  <a:cubicBezTo>
                    <a:pt x="373814" y="250952"/>
                    <a:pt x="372939" y="252701"/>
                    <a:pt x="372939" y="252701"/>
                  </a:cubicBezTo>
                  <a:cubicBezTo>
                    <a:pt x="372939" y="252701"/>
                    <a:pt x="371189" y="254282"/>
                    <a:pt x="370617" y="254719"/>
                  </a:cubicBezTo>
                  <a:cubicBezTo>
                    <a:pt x="370045" y="255157"/>
                    <a:pt x="369002" y="255728"/>
                    <a:pt x="368295" y="256031"/>
                  </a:cubicBezTo>
                  <a:cubicBezTo>
                    <a:pt x="367588" y="256334"/>
                    <a:pt x="366107" y="256603"/>
                    <a:pt x="365670" y="257040"/>
                  </a:cubicBezTo>
                  <a:cubicBezTo>
                    <a:pt x="365232" y="257478"/>
                    <a:pt x="364088" y="259799"/>
                    <a:pt x="364088" y="259799"/>
                  </a:cubicBezTo>
                  <a:cubicBezTo>
                    <a:pt x="364088" y="259799"/>
                    <a:pt x="366545" y="259933"/>
                    <a:pt x="363785" y="261380"/>
                  </a:cubicBezTo>
                  <a:cubicBezTo>
                    <a:pt x="361025" y="262826"/>
                    <a:pt x="359713" y="262961"/>
                    <a:pt x="358703" y="263264"/>
                  </a:cubicBezTo>
                  <a:cubicBezTo>
                    <a:pt x="357694" y="263533"/>
                    <a:pt x="357391" y="265148"/>
                    <a:pt x="357391" y="265719"/>
                  </a:cubicBezTo>
                  <a:cubicBezTo>
                    <a:pt x="357391" y="266291"/>
                    <a:pt x="358973" y="269050"/>
                    <a:pt x="359275" y="269487"/>
                  </a:cubicBezTo>
                  <a:cubicBezTo>
                    <a:pt x="359578" y="269924"/>
                    <a:pt x="361867" y="272683"/>
                    <a:pt x="361867" y="273255"/>
                  </a:cubicBezTo>
                  <a:cubicBezTo>
                    <a:pt x="361867" y="273827"/>
                    <a:pt x="362742" y="275273"/>
                    <a:pt x="363011" y="275845"/>
                  </a:cubicBezTo>
                  <a:cubicBezTo>
                    <a:pt x="363314" y="276417"/>
                    <a:pt x="363583" y="277863"/>
                    <a:pt x="363583" y="277863"/>
                  </a:cubicBezTo>
                  <a:lnTo>
                    <a:pt x="364458" y="282775"/>
                  </a:lnTo>
                  <a:lnTo>
                    <a:pt x="364155" y="289873"/>
                  </a:lnTo>
                  <a:cubicBezTo>
                    <a:pt x="364155" y="289873"/>
                    <a:pt x="361698" y="293338"/>
                    <a:pt x="361261" y="293943"/>
                  </a:cubicBezTo>
                  <a:cubicBezTo>
                    <a:pt x="360823" y="294515"/>
                    <a:pt x="358636" y="297408"/>
                    <a:pt x="358636" y="297408"/>
                  </a:cubicBezTo>
                  <a:cubicBezTo>
                    <a:pt x="358636" y="297408"/>
                    <a:pt x="354126" y="300032"/>
                    <a:pt x="353285" y="300301"/>
                  </a:cubicBezTo>
                  <a:cubicBezTo>
                    <a:pt x="352410" y="300604"/>
                    <a:pt x="352275" y="300604"/>
                    <a:pt x="350963" y="301176"/>
                  </a:cubicBezTo>
                  <a:cubicBezTo>
                    <a:pt x="349650" y="301748"/>
                    <a:pt x="346621" y="301882"/>
                    <a:pt x="346621" y="301882"/>
                  </a:cubicBezTo>
                  <a:cubicBezTo>
                    <a:pt x="346621" y="301882"/>
                    <a:pt x="345746" y="306524"/>
                    <a:pt x="345881" y="306962"/>
                  </a:cubicBezTo>
                  <a:cubicBezTo>
                    <a:pt x="346015" y="307399"/>
                    <a:pt x="346318" y="309552"/>
                    <a:pt x="346015" y="310864"/>
                  </a:cubicBezTo>
                  <a:cubicBezTo>
                    <a:pt x="345712" y="312176"/>
                    <a:pt x="344837" y="315775"/>
                    <a:pt x="344568" y="317222"/>
                  </a:cubicBezTo>
                  <a:cubicBezTo>
                    <a:pt x="344299" y="318668"/>
                    <a:pt x="343693" y="323008"/>
                    <a:pt x="343693" y="323008"/>
                  </a:cubicBezTo>
                  <a:cubicBezTo>
                    <a:pt x="343693" y="323008"/>
                    <a:pt x="343256" y="324017"/>
                    <a:pt x="342953" y="324892"/>
                  </a:cubicBezTo>
                  <a:cubicBezTo>
                    <a:pt x="342683" y="325766"/>
                    <a:pt x="340193" y="331687"/>
                    <a:pt x="340059" y="332292"/>
                  </a:cubicBezTo>
                  <a:cubicBezTo>
                    <a:pt x="339924" y="332864"/>
                    <a:pt x="337871" y="335051"/>
                    <a:pt x="337030" y="335757"/>
                  </a:cubicBezTo>
                  <a:cubicBezTo>
                    <a:pt x="336155" y="336497"/>
                    <a:pt x="334135" y="338078"/>
                    <a:pt x="334135" y="338078"/>
                  </a:cubicBezTo>
                  <a:lnTo>
                    <a:pt x="332991" y="341846"/>
                  </a:lnTo>
                  <a:lnTo>
                    <a:pt x="333563" y="346354"/>
                  </a:lnTo>
                  <a:cubicBezTo>
                    <a:pt x="333563" y="346354"/>
                    <a:pt x="334876" y="349112"/>
                    <a:pt x="334270" y="349549"/>
                  </a:cubicBezTo>
                  <a:cubicBezTo>
                    <a:pt x="333698" y="349987"/>
                    <a:pt x="331813" y="353317"/>
                    <a:pt x="331678" y="353754"/>
                  </a:cubicBezTo>
                  <a:cubicBezTo>
                    <a:pt x="331544" y="354192"/>
                    <a:pt x="330804" y="355335"/>
                    <a:pt x="330231" y="356647"/>
                  </a:cubicBezTo>
                  <a:cubicBezTo>
                    <a:pt x="329659" y="357959"/>
                    <a:pt x="329087" y="359978"/>
                    <a:pt x="328919" y="361155"/>
                  </a:cubicBezTo>
                  <a:cubicBezTo>
                    <a:pt x="328784" y="362299"/>
                    <a:pt x="328481" y="364048"/>
                    <a:pt x="328784" y="365629"/>
                  </a:cubicBezTo>
                  <a:cubicBezTo>
                    <a:pt x="329054" y="367210"/>
                    <a:pt x="331376" y="373871"/>
                    <a:pt x="331376" y="373871"/>
                  </a:cubicBezTo>
                  <a:lnTo>
                    <a:pt x="331948" y="378345"/>
                  </a:lnTo>
                  <a:lnTo>
                    <a:pt x="334405" y="382684"/>
                  </a:lnTo>
                  <a:lnTo>
                    <a:pt x="334270" y="385443"/>
                  </a:lnTo>
                  <a:lnTo>
                    <a:pt x="331510" y="389211"/>
                  </a:lnTo>
                  <a:lnTo>
                    <a:pt x="329323" y="390792"/>
                  </a:lnTo>
                  <a:lnTo>
                    <a:pt x="328448" y="393247"/>
                  </a:lnTo>
                  <a:lnTo>
                    <a:pt x="330333" y="397721"/>
                  </a:lnTo>
                  <a:lnTo>
                    <a:pt x="333530" y="401489"/>
                  </a:lnTo>
                  <a:lnTo>
                    <a:pt x="338309" y="405829"/>
                  </a:lnTo>
                  <a:lnTo>
                    <a:pt x="339890" y="409159"/>
                  </a:lnTo>
                  <a:lnTo>
                    <a:pt x="340328" y="410336"/>
                  </a:lnTo>
                  <a:lnTo>
                    <a:pt x="339015" y="412355"/>
                  </a:lnTo>
                  <a:lnTo>
                    <a:pt x="340463" y="415550"/>
                  </a:lnTo>
                  <a:lnTo>
                    <a:pt x="342212" y="418174"/>
                  </a:lnTo>
                  <a:lnTo>
                    <a:pt x="342078" y="421202"/>
                  </a:lnTo>
                  <a:lnTo>
                    <a:pt x="341640" y="424970"/>
                  </a:lnTo>
                  <a:cubicBezTo>
                    <a:pt x="341640" y="424970"/>
                    <a:pt x="341203" y="428031"/>
                    <a:pt x="341203" y="428603"/>
                  </a:cubicBezTo>
                  <a:cubicBezTo>
                    <a:pt x="341203" y="429174"/>
                    <a:pt x="343525" y="434119"/>
                    <a:pt x="343525" y="434119"/>
                  </a:cubicBezTo>
                  <a:lnTo>
                    <a:pt x="341068" y="439771"/>
                  </a:lnTo>
                  <a:lnTo>
                    <a:pt x="338309" y="445557"/>
                  </a:lnTo>
                  <a:lnTo>
                    <a:pt x="335280" y="448450"/>
                  </a:lnTo>
                  <a:cubicBezTo>
                    <a:pt x="335280" y="448450"/>
                    <a:pt x="331948" y="449022"/>
                    <a:pt x="331510" y="449022"/>
                  </a:cubicBezTo>
                  <a:cubicBezTo>
                    <a:pt x="331073" y="449022"/>
                    <a:pt x="328313" y="447575"/>
                    <a:pt x="327169" y="446701"/>
                  </a:cubicBezTo>
                  <a:cubicBezTo>
                    <a:pt x="326025" y="445826"/>
                    <a:pt x="324544" y="443942"/>
                    <a:pt x="323534" y="443942"/>
                  </a:cubicBezTo>
                  <a:cubicBezTo>
                    <a:pt x="322524" y="443942"/>
                    <a:pt x="320034" y="443505"/>
                    <a:pt x="319462" y="443505"/>
                  </a:cubicBezTo>
                  <a:cubicBezTo>
                    <a:pt x="318890" y="443505"/>
                    <a:pt x="316433" y="443942"/>
                    <a:pt x="314952" y="444817"/>
                  </a:cubicBezTo>
                  <a:cubicBezTo>
                    <a:pt x="313505" y="445692"/>
                    <a:pt x="310476" y="447844"/>
                    <a:pt x="310039" y="448147"/>
                  </a:cubicBezTo>
                  <a:cubicBezTo>
                    <a:pt x="309601" y="448450"/>
                    <a:pt x="308895" y="453227"/>
                    <a:pt x="308457" y="454101"/>
                  </a:cubicBezTo>
                  <a:cubicBezTo>
                    <a:pt x="308020" y="454976"/>
                    <a:pt x="308457" y="457566"/>
                    <a:pt x="308457" y="457566"/>
                  </a:cubicBezTo>
                  <a:lnTo>
                    <a:pt x="311049" y="460762"/>
                  </a:lnTo>
                  <a:lnTo>
                    <a:pt x="312361" y="464092"/>
                  </a:lnTo>
                  <a:lnTo>
                    <a:pt x="311486" y="467557"/>
                  </a:lnTo>
                  <a:lnTo>
                    <a:pt x="310341" y="470585"/>
                  </a:lnTo>
                  <a:lnTo>
                    <a:pt x="309601" y="473781"/>
                  </a:lnTo>
                  <a:cubicBezTo>
                    <a:pt x="309601" y="473781"/>
                    <a:pt x="310173" y="474352"/>
                    <a:pt x="309029" y="474790"/>
                  </a:cubicBezTo>
                  <a:cubicBezTo>
                    <a:pt x="307885" y="475227"/>
                    <a:pt x="306000" y="476674"/>
                    <a:pt x="305697" y="477111"/>
                  </a:cubicBezTo>
                  <a:cubicBezTo>
                    <a:pt x="305394" y="477548"/>
                    <a:pt x="303678" y="479735"/>
                    <a:pt x="303678" y="479735"/>
                  </a:cubicBezTo>
                  <a:cubicBezTo>
                    <a:pt x="303678" y="479735"/>
                    <a:pt x="303240" y="481619"/>
                    <a:pt x="303240" y="482191"/>
                  </a:cubicBezTo>
                  <a:cubicBezTo>
                    <a:pt x="303240" y="482762"/>
                    <a:pt x="302668" y="487707"/>
                    <a:pt x="302668" y="487707"/>
                  </a:cubicBezTo>
                  <a:lnTo>
                    <a:pt x="302365" y="491912"/>
                  </a:lnTo>
                  <a:lnTo>
                    <a:pt x="303240" y="496555"/>
                  </a:lnTo>
                  <a:lnTo>
                    <a:pt x="304418" y="502643"/>
                  </a:lnTo>
                  <a:cubicBezTo>
                    <a:pt x="304418" y="502643"/>
                    <a:pt x="303678" y="509607"/>
                    <a:pt x="303543" y="510044"/>
                  </a:cubicBezTo>
                  <a:cubicBezTo>
                    <a:pt x="303409" y="510481"/>
                    <a:pt x="301356" y="511356"/>
                    <a:pt x="301356" y="511356"/>
                  </a:cubicBezTo>
                  <a:lnTo>
                    <a:pt x="298461" y="515258"/>
                  </a:lnTo>
                  <a:lnTo>
                    <a:pt x="298327" y="517142"/>
                  </a:lnTo>
                  <a:lnTo>
                    <a:pt x="298764" y="519732"/>
                  </a:lnTo>
                  <a:lnTo>
                    <a:pt x="299067" y="522760"/>
                  </a:lnTo>
                  <a:cubicBezTo>
                    <a:pt x="299067" y="522760"/>
                    <a:pt x="298630" y="522323"/>
                    <a:pt x="298630" y="524947"/>
                  </a:cubicBezTo>
                  <a:cubicBezTo>
                    <a:pt x="298630" y="527570"/>
                    <a:pt x="298361" y="532347"/>
                    <a:pt x="298361" y="532347"/>
                  </a:cubicBezTo>
                  <a:cubicBezTo>
                    <a:pt x="298361" y="532347"/>
                    <a:pt x="299808" y="534366"/>
                    <a:pt x="299942" y="535240"/>
                  </a:cubicBezTo>
                  <a:cubicBezTo>
                    <a:pt x="300077" y="536115"/>
                    <a:pt x="300817" y="538571"/>
                    <a:pt x="301086" y="539714"/>
                  </a:cubicBezTo>
                  <a:cubicBezTo>
                    <a:pt x="301389" y="540892"/>
                    <a:pt x="302702" y="542473"/>
                    <a:pt x="302702" y="542473"/>
                  </a:cubicBezTo>
                  <a:lnTo>
                    <a:pt x="306034" y="543213"/>
                  </a:lnTo>
                  <a:cubicBezTo>
                    <a:pt x="306034" y="543213"/>
                    <a:pt x="305731" y="545534"/>
                    <a:pt x="304889" y="545971"/>
                  </a:cubicBezTo>
                  <a:cubicBezTo>
                    <a:pt x="304014" y="546409"/>
                    <a:pt x="301860" y="547721"/>
                    <a:pt x="301860" y="547721"/>
                  </a:cubicBezTo>
                  <a:lnTo>
                    <a:pt x="301995" y="551051"/>
                  </a:lnTo>
                  <a:lnTo>
                    <a:pt x="304014" y="554684"/>
                  </a:lnTo>
                  <a:lnTo>
                    <a:pt x="305024" y="557442"/>
                  </a:lnTo>
                  <a:lnTo>
                    <a:pt x="304587" y="561210"/>
                  </a:lnTo>
                  <a:cubicBezTo>
                    <a:pt x="304587" y="561210"/>
                    <a:pt x="304452" y="563968"/>
                    <a:pt x="304587" y="564978"/>
                  </a:cubicBezTo>
                  <a:cubicBezTo>
                    <a:pt x="304721" y="565987"/>
                    <a:pt x="304721" y="566996"/>
                    <a:pt x="304721" y="568880"/>
                  </a:cubicBezTo>
                  <a:cubicBezTo>
                    <a:pt x="304721" y="570764"/>
                    <a:pt x="304991" y="572076"/>
                    <a:pt x="304014" y="572076"/>
                  </a:cubicBezTo>
                  <a:cubicBezTo>
                    <a:pt x="303005" y="572076"/>
                    <a:pt x="301389" y="571638"/>
                    <a:pt x="301120" y="570764"/>
                  </a:cubicBezTo>
                  <a:cubicBezTo>
                    <a:pt x="300851" y="569889"/>
                    <a:pt x="300683" y="570057"/>
                    <a:pt x="299808" y="568308"/>
                  </a:cubicBezTo>
                  <a:cubicBezTo>
                    <a:pt x="298933" y="566559"/>
                    <a:pt x="298798" y="565987"/>
                    <a:pt x="298226" y="565280"/>
                  </a:cubicBezTo>
                  <a:cubicBezTo>
                    <a:pt x="297654" y="564540"/>
                    <a:pt x="297486" y="563262"/>
                    <a:pt x="297082" y="562387"/>
                  </a:cubicBezTo>
                  <a:cubicBezTo>
                    <a:pt x="296644" y="561513"/>
                    <a:pt x="296341" y="560941"/>
                    <a:pt x="296207" y="560369"/>
                  </a:cubicBezTo>
                  <a:cubicBezTo>
                    <a:pt x="296072" y="559797"/>
                    <a:pt x="296072" y="558485"/>
                    <a:pt x="296072" y="558485"/>
                  </a:cubicBezTo>
                  <a:lnTo>
                    <a:pt x="297082" y="557341"/>
                  </a:lnTo>
                  <a:lnTo>
                    <a:pt x="297216" y="554314"/>
                  </a:lnTo>
                  <a:lnTo>
                    <a:pt x="295332" y="553002"/>
                  </a:lnTo>
                  <a:cubicBezTo>
                    <a:pt x="295332" y="553002"/>
                    <a:pt x="295197" y="552127"/>
                    <a:pt x="293750" y="551825"/>
                  </a:cubicBezTo>
                  <a:cubicBezTo>
                    <a:pt x="292303" y="551522"/>
                    <a:pt x="292605" y="552396"/>
                    <a:pt x="291293" y="551118"/>
                  </a:cubicBezTo>
                  <a:cubicBezTo>
                    <a:pt x="289981" y="549806"/>
                    <a:pt x="288836" y="549234"/>
                    <a:pt x="288399" y="548662"/>
                  </a:cubicBezTo>
                  <a:cubicBezTo>
                    <a:pt x="287961" y="548091"/>
                    <a:pt x="286817" y="546476"/>
                    <a:pt x="286379" y="545904"/>
                  </a:cubicBezTo>
                  <a:cubicBezTo>
                    <a:pt x="285942" y="545332"/>
                    <a:pt x="284057" y="543583"/>
                    <a:pt x="283754" y="543011"/>
                  </a:cubicBezTo>
                  <a:cubicBezTo>
                    <a:pt x="283485" y="542439"/>
                    <a:pt x="283317" y="542271"/>
                    <a:pt x="283182" y="541699"/>
                  </a:cubicBezTo>
                  <a:cubicBezTo>
                    <a:pt x="283048" y="541127"/>
                    <a:pt x="283048" y="537931"/>
                    <a:pt x="283048" y="537931"/>
                  </a:cubicBezTo>
                  <a:cubicBezTo>
                    <a:pt x="283048" y="537931"/>
                    <a:pt x="282610" y="536922"/>
                    <a:pt x="282779" y="536350"/>
                  </a:cubicBezTo>
                  <a:cubicBezTo>
                    <a:pt x="282913" y="535778"/>
                    <a:pt x="283216" y="534467"/>
                    <a:pt x="283216" y="534467"/>
                  </a:cubicBezTo>
                  <a:lnTo>
                    <a:pt x="283654" y="532885"/>
                  </a:lnTo>
                  <a:lnTo>
                    <a:pt x="284225" y="529858"/>
                  </a:lnTo>
                  <a:lnTo>
                    <a:pt x="283788" y="526225"/>
                  </a:lnTo>
                  <a:cubicBezTo>
                    <a:pt x="283788" y="526225"/>
                    <a:pt x="281601" y="524913"/>
                    <a:pt x="281466" y="524476"/>
                  </a:cubicBezTo>
                  <a:cubicBezTo>
                    <a:pt x="281331" y="524038"/>
                    <a:pt x="280456" y="522020"/>
                    <a:pt x="279447" y="521448"/>
                  </a:cubicBezTo>
                  <a:cubicBezTo>
                    <a:pt x="278437" y="520876"/>
                    <a:pt x="275678" y="516974"/>
                    <a:pt x="275678" y="516974"/>
                  </a:cubicBezTo>
                  <a:lnTo>
                    <a:pt x="273086" y="519732"/>
                  </a:lnTo>
                  <a:lnTo>
                    <a:pt x="271639" y="522928"/>
                  </a:lnTo>
                  <a:lnTo>
                    <a:pt x="271504" y="526393"/>
                  </a:lnTo>
                  <a:lnTo>
                    <a:pt x="272951" y="529723"/>
                  </a:lnTo>
                  <a:lnTo>
                    <a:pt x="272514" y="531035"/>
                  </a:lnTo>
                  <a:lnTo>
                    <a:pt x="271201" y="534097"/>
                  </a:lnTo>
                  <a:lnTo>
                    <a:pt x="269620" y="535543"/>
                  </a:lnTo>
                  <a:cubicBezTo>
                    <a:pt x="269620" y="535543"/>
                    <a:pt x="267869" y="535980"/>
                    <a:pt x="266725" y="536418"/>
                  </a:cubicBezTo>
                  <a:cubicBezTo>
                    <a:pt x="265581" y="536855"/>
                    <a:pt x="264706" y="537730"/>
                    <a:pt x="263965" y="538167"/>
                  </a:cubicBezTo>
                  <a:cubicBezTo>
                    <a:pt x="263259" y="538604"/>
                    <a:pt x="260499" y="540185"/>
                    <a:pt x="260499" y="540185"/>
                  </a:cubicBezTo>
                  <a:cubicBezTo>
                    <a:pt x="260499" y="540185"/>
                    <a:pt x="259792" y="541497"/>
                    <a:pt x="259792" y="542069"/>
                  </a:cubicBezTo>
                  <a:cubicBezTo>
                    <a:pt x="259792" y="542574"/>
                    <a:pt x="259355" y="544962"/>
                    <a:pt x="259220" y="545534"/>
                  </a:cubicBezTo>
                  <a:cubicBezTo>
                    <a:pt x="259187" y="545534"/>
                    <a:pt x="259018" y="545736"/>
                    <a:pt x="258480" y="546678"/>
                  </a:cubicBezTo>
                  <a:cubicBezTo>
                    <a:pt x="257470" y="548427"/>
                    <a:pt x="257470" y="548999"/>
                    <a:pt x="256595" y="549436"/>
                  </a:cubicBezTo>
                  <a:cubicBezTo>
                    <a:pt x="255720" y="549874"/>
                    <a:pt x="253701" y="550883"/>
                    <a:pt x="253701" y="550883"/>
                  </a:cubicBezTo>
                  <a:lnTo>
                    <a:pt x="248922" y="554078"/>
                  </a:lnTo>
                  <a:lnTo>
                    <a:pt x="246734" y="558115"/>
                  </a:lnTo>
                  <a:lnTo>
                    <a:pt x="244581" y="561143"/>
                  </a:lnTo>
                  <a:lnTo>
                    <a:pt x="240811" y="565920"/>
                  </a:lnTo>
                  <a:lnTo>
                    <a:pt x="241686" y="569115"/>
                  </a:lnTo>
                  <a:cubicBezTo>
                    <a:pt x="241686" y="569115"/>
                    <a:pt x="241114" y="570427"/>
                    <a:pt x="240542" y="571571"/>
                  </a:cubicBezTo>
                  <a:cubicBezTo>
                    <a:pt x="239970" y="572715"/>
                    <a:pt x="238085" y="575776"/>
                    <a:pt x="238085" y="575776"/>
                  </a:cubicBezTo>
                  <a:cubicBezTo>
                    <a:pt x="238085" y="575776"/>
                    <a:pt x="237210" y="577088"/>
                    <a:pt x="237075" y="577525"/>
                  </a:cubicBezTo>
                  <a:cubicBezTo>
                    <a:pt x="236941" y="577963"/>
                    <a:pt x="235763" y="579409"/>
                    <a:pt x="235326" y="579712"/>
                  </a:cubicBezTo>
                  <a:cubicBezTo>
                    <a:pt x="234888" y="580015"/>
                    <a:pt x="232701" y="583042"/>
                    <a:pt x="231994" y="583345"/>
                  </a:cubicBezTo>
                  <a:cubicBezTo>
                    <a:pt x="231253" y="583648"/>
                    <a:pt x="228359" y="586541"/>
                    <a:pt x="228359" y="586541"/>
                  </a:cubicBezTo>
                  <a:lnTo>
                    <a:pt x="225330" y="588559"/>
                  </a:lnTo>
                  <a:cubicBezTo>
                    <a:pt x="225330" y="588559"/>
                    <a:pt x="224186" y="588862"/>
                    <a:pt x="223311" y="589434"/>
                  </a:cubicBezTo>
                  <a:cubicBezTo>
                    <a:pt x="222436" y="590006"/>
                    <a:pt x="222301" y="589703"/>
                    <a:pt x="220551" y="590443"/>
                  </a:cubicBezTo>
                  <a:cubicBezTo>
                    <a:pt x="218801" y="591183"/>
                    <a:pt x="217085" y="591889"/>
                    <a:pt x="216210" y="592327"/>
                  </a:cubicBezTo>
                  <a:cubicBezTo>
                    <a:pt x="215335" y="592764"/>
                    <a:pt x="214460" y="593470"/>
                    <a:pt x="214460" y="594076"/>
                  </a:cubicBezTo>
                  <a:cubicBezTo>
                    <a:pt x="214460" y="594648"/>
                    <a:pt x="213585" y="597272"/>
                    <a:pt x="213585" y="597272"/>
                  </a:cubicBezTo>
                  <a:lnTo>
                    <a:pt x="212878" y="598718"/>
                  </a:lnTo>
                  <a:cubicBezTo>
                    <a:pt x="212878" y="598718"/>
                    <a:pt x="212306" y="600905"/>
                    <a:pt x="212306" y="601611"/>
                  </a:cubicBezTo>
                  <a:cubicBezTo>
                    <a:pt x="212306" y="602351"/>
                    <a:pt x="210993" y="605244"/>
                    <a:pt x="210993" y="605244"/>
                  </a:cubicBezTo>
                  <a:lnTo>
                    <a:pt x="210724" y="605951"/>
                  </a:lnTo>
                  <a:cubicBezTo>
                    <a:pt x="210724" y="605951"/>
                    <a:pt x="210421" y="609012"/>
                    <a:pt x="210286" y="609416"/>
                  </a:cubicBezTo>
                  <a:cubicBezTo>
                    <a:pt x="210152" y="609853"/>
                    <a:pt x="210589" y="611299"/>
                    <a:pt x="209714" y="611871"/>
                  </a:cubicBezTo>
                  <a:cubicBezTo>
                    <a:pt x="208839" y="612443"/>
                    <a:pt x="207527" y="613621"/>
                    <a:pt x="207123" y="613755"/>
                  </a:cubicBezTo>
                  <a:cubicBezTo>
                    <a:pt x="206686" y="613890"/>
                    <a:pt x="205676" y="614058"/>
                    <a:pt x="204532" y="614058"/>
                  </a:cubicBezTo>
                  <a:cubicBezTo>
                    <a:pt x="203387" y="614058"/>
                    <a:pt x="201334" y="613486"/>
                    <a:pt x="201334" y="613486"/>
                  </a:cubicBezTo>
                  <a:cubicBezTo>
                    <a:pt x="201334" y="613486"/>
                    <a:pt x="198306" y="614933"/>
                    <a:pt x="197868" y="615370"/>
                  </a:cubicBezTo>
                  <a:cubicBezTo>
                    <a:pt x="197431" y="615807"/>
                    <a:pt x="195849" y="618835"/>
                    <a:pt x="195243" y="619003"/>
                  </a:cubicBezTo>
                  <a:cubicBezTo>
                    <a:pt x="194671" y="619138"/>
                    <a:pt x="191339" y="621627"/>
                    <a:pt x="191339" y="621627"/>
                  </a:cubicBezTo>
                  <a:cubicBezTo>
                    <a:pt x="191339" y="621627"/>
                    <a:pt x="189185" y="623376"/>
                    <a:pt x="188310" y="623813"/>
                  </a:cubicBezTo>
                  <a:cubicBezTo>
                    <a:pt x="187435" y="624251"/>
                    <a:pt x="185718" y="626135"/>
                    <a:pt x="185416" y="626572"/>
                  </a:cubicBezTo>
                  <a:cubicBezTo>
                    <a:pt x="185147" y="627009"/>
                    <a:pt x="181646" y="629599"/>
                    <a:pt x="181209" y="629768"/>
                  </a:cubicBezTo>
                  <a:cubicBezTo>
                    <a:pt x="180771" y="629902"/>
                    <a:pt x="175993" y="634107"/>
                    <a:pt x="175420" y="634679"/>
                  </a:cubicBezTo>
                  <a:cubicBezTo>
                    <a:pt x="174848" y="635251"/>
                    <a:pt x="171079" y="638312"/>
                    <a:pt x="170338" y="638749"/>
                  </a:cubicBezTo>
                  <a:cubicBezTo>
                    <a:pt x="169598" y="639187"/>
                    <a:pt x="166872" y="642382"/>
                    <a:pt x="166872" y="642382"/>
                  </a:cubicBezTo>
                  <a:cubicBezTo>
                    <a:pt x="166872" y="642382"/>
                    <a:pt x="161521" y="647159"/>
                    <a:pt x="160646" y="647597"/>
                  </a:cubicBezTo>
                  <a:cubicBezTo>
                    <a:pt x="159771" y="648034"/>
                    <a:pt x="156304" y="648909"/>
                    <a:pt x="156002" y="649480"/>
                  </a:cubicBezTo>
                  <a:cubicBezTo>
                    <a:pt x="155699" y="650052"/>
                    <a:pt x="155429" y="653820"/>
                    <a:pt x="155429" y="653820"/>
                  </a:cubicBezTo>
                  <a:cubicBezTo>
                    <a:pt x="155429" y="653820"/>
                    <a:pt x="155867" y="656713"/>
                    <a:pt x="155867" y="657285"/>
                  </a:cubicBezTo>
                  <a:cubicBezTo>
                    <a:pt x="155867" y="657857"/>
                    <a:pt x="155160" y="661624"/>
                    <a:pt x="154723" y="662062"/>
                  </a:cubicBezTo>
                  <a:cubicBezTo>
                    <a:pt x="154285" y="662499"/>
                    <a:pt x="152973" y="666401"/>
                    <a:pt x="152973" y="666401"/>
                  </a:cubicBezTo>
                  <a:lnTo>
                    <a:pt x="152838" y="667108"/>
                  </a:lnTo>
                  <a:cubicBezTo>
                    <a:pt x="152838" y="667108"/>
                    <a:pt x="151828" y="670438"/>
                    <a:pt x="151694" y="671010"/>
                  </a:cubicBezTo>
                  <a:cubicBezTo>
                    <a:pt x="151559" y="671582"/>
                    <a:pt x="151256" y="674037"/>
                    <a:pt x="151559" y="674777"/>
                  </a:cubicBezTo>
                  <a:cubicBezTo>
                    <a:pt x="151828" y="675484"/>
                    <a:pt x="152131" y="677536"/>
                    <a:pt x="152569" y="677805"/>
                  </a:cubicBezTo>
                  <a:cubicBezTo>
                    <a:pt x="153006" y="678108"/>
                    <a:pt x="153006" y="678949"/>
                    <a:pt x="153881" y="680833"/>
                  </a:cubicBezTo>
                  <a:cubicBezTo>
                    <a:pt x="154756" y="682716"/>
                    <a:pt x="160545" y="686484"/>
                    <a:pt x="160545" y="687056"/>
                  </a:cubicBezTo>
                  <a:cubicBezTo>
                    <a:pt x="160545" y="687628"/>
                    <a:pt x="162430" y="689512"/>
                    <a:pt x="162430" y="689512"/>
                  </a:cubicBezTo>
                  <a:lnTo>
                    <a:pt x="169262" y="691833"/>
                  </a:lnTo>
                  <a:lnTo>
                    <a:pt x="174613" y="691530"/>
                  </a:lnTo>
                  <a:lnTo>
                    <a:pt x="178517" y="692842"/>
                  </a:lnTo>
                  <a:lnTo>
                    <a:pt x="180670" y="695163"/>
                  </a:lnTo>
                  <a:lnTo>
                    <a:pt x="187469" y="695600"/>
                  </a:lnTo>
                  <a:cubicBezTo>
                    <a:pt x="187469" y="695600"/>
                    <a:pt x="190800" y="697181"/>
                    <a:pt x="190800" y="697787"/>
                  </a:cubicBezTo>
                  <a:cubicBezTo>
                    <a:pt x="190800" y="698359"/>
                    <a:pt x="187603" y="701420"/>
                    <a:pt x="187031" y="701420"/>
                  </a:cubicBezTo>
                  <a:cubicBezTo>
                    <a:pt x="186459" y="701420"/>
                    <a:pt x="185012" y="702867"/>
                    <a:pt x="185012" y="702867"/>
                  </a:cubicBezTo>
                  <a:lnTo>
                    <a:pt x="183262" y="705760"/>
                  </a:lnTo>
                  <a:lnTo>
                    <a:pt x="182387" y="709662"/>
                  </a:lnTo>
                  <a:lnTo>
                    <a:pt x="184406" y="712992"/>
                  </a:lnTo>
                  <a:lnTo>
                    <a:pt x="191642" y="713127"/>
                  </a:lnTo>
                  <a:lnTo>
                    <a:pt x="192954" y="712555"/>
                  </a:lnTo>
                  <a:lnTo>
                    <a:pt x="193964" y="712858"/>
                  </a:lnTo>
                  <a:cubicBezTo>
                    <a:pt x="193964" y="712858"/>
                    <a:pt x="194973" y="714607"/>
                    <a:pt x="194973" y="715044"/>
                  </a:cubicBezTo>
                  <a:cubicBezTo>
                    <a:pt x="194973" y="715481"/>
                    <a:pt x="194536" y="717937"/>
                    <a:pt x="194536" y="717937"/>
                  </a:cubicBezTo>
                  <a:lnTo>
                    <a:pt x="194402" y="719821"/>
                  </a:lnTo>
                  <a:lnTo>
                    <a:pt x="196858" y="720830"/>
                  </a:lnTo>
                  <a:lnTo>
                    <a:pt x="197868" y="722277"/>
                  </a:lnTo>
                  <a:lnTo>
                    <a:pt x="199180" y="725304"/>
                  </a:lnTo>
                  <a:cubicBezTo>
                    <a:pt x="199180" y="725304"/>
                    <a:pt x="199046" y="727625"/>
                    <a:pt x="199483" y="727760"/>
                  </a:cubicBezTo>
                  <a:cubicBezTo>
                    <a:pt x="199921" y="727894"/>
                    <a:pt x="199921" y="728769"/>
                    <a:pt x="200796" y="729341"/>
                  </a:cubicBezTo>
                  <a:cubicBezTo>
                    <a:pt x="201671" y="729913"/>
                    <a:pt x="202243" y="730216"/>
                    <a:pt x="203825" y="730518"/>
                  </a:cubicBezTo>
                  <a:cubicBezTo>
                    <a:pt x="205407" y="730821"/>
                    <a:pt x="210623" y="730216"/>
                    <a:pt x="210623" y="730216"/>
                  </a:cubicBezTo>
                  <a:cubicBezTo>
                    <a:pt x="210623" y="730216"/>
                    <a:pt x="211633" y="730081"/>
                    <a:pt x="213248" y="729913"/>
                  </a:cubicBezTo>
                  <a:cubicBezTo>
                    <a:pt x="214830" y="729778"/>
                    <a:pt x="216445" y="729610"/>
                    <a:pt x="217590" y="729341"/>
                  </a:cubicBezTo>
                  <a:cubicBezTo>
                    <a:pt x="218734" y="729072"/>
                    <a:pt x="217892" y="727154"/>
                    <a:pt x="217892" y="727154"/>
                  </a:cubicBezTo>
                  <a:lnTo>
                    <a:pt x="220518" y="724127"/>
                  </a:lnTo>
                  <a:lnTo>
                    <a:pt x="219070" y="720225"/>
                  </a:lnTo>
                  <a:lnTo>
                    <a:pt x="219070" y="716894"/>
                  </a:lnTo>
                  <a:lnTo>
                    <a:pt x="220955" y="714640"/>
                  </a:lnTo>
                  <a:lnTo>
                    <a:pt x="223715" y="714270"/>
                  </a:lnTo>
                  <a:lnTo>
                    <a:pt x="226912" y="714270"/>
                  </a:lnTo>
                  <a:lnTo>
                    <a:pt x="229974" y="714136"/>
                  </a:lnTo>
                  <a:cubicBezTo>
                    <a:pt x="229974" y="714136"/>
                    <a:pt x="230984" y="713699"/>
                    <a:pt x="230984" y="713261"/>
                  </a:cubicBezTo>
                  <a:cubicBezTo>
                    <a:pt x="230984" y="712824"/>
                    <a:pt x="232128" y="711815"/>
                    <a:pt x="232128" y="710368"/>
                  </a:cubicBezTo>
                  <a:cubicBezTo>
                    <a:pt x="232128" y="708922"/>
                    <a:pt x="233138" y="707038"/>
                    <a:pt x="233138" y="707038"/>
                  </a:cubicBezTo>
                  <a:cubicBezTo>
                    <a:pt x="233138" y="707038"/>
                    <a:pt x="233138" y="706735"/>
                    <a:pt x="232431" y="706735"/>
                  </a:cubicBezTo>
                  <a:cubicBezTo>
                    <a:pt x="231724" y="706735"/>
                    <a:pt x="228662" y="703270"/>
                    <a:pt x="228662" y="703270"/>
                  </a:cubicBezTo>
                  <a:cubicBezTo>
                    <a:pt x="228662" y="703270"/>
                    <a:pt x="228224" y="701958"/>
                    <a:pt x="228965" y="701252"/>
                  </a:cubicBezTo>
                  <a:cubicBezTo>
                    <a:pt x="229672" y="700545"/>
                    <a:pt x="231152" y="699671"/>
                    <a:pt x="231152" y="699671"/>
                  </a:cubicBezTo>
                  <a:lnTo>
                    <a:pt x="234047" y="699805"/>
                  </a:lnTo>
                  <a:lnTo>
                    <a:pt x="236806" y="700377"/>
                  </a:lnTo>
                  <a:lnTo>
                    <a:pt x="238994" y="700949"/>
                  </a:lnTo>
                  <a:lnTo>
                    <a:pt x="241753" y="702530"/>
                  </a:lnTo>
                  <a:lnTo>
                    <a:pt x="241753" y="708182"/>
                  </a:lnTo>
                  <a:lnTo>
                    <a:pt x="240744" y="711075"/>
                  </a:lnTo>
                  <a:lnTo>
                    <a:pt x="240475" y="713833"/>
                  </a:lnTo>
                  <a:cubicBezTo>
                    <a:pt x="240475" y="713833"/>
                    <a:pt x="244109" y="716423"/>
                    <a:pt x="244951" y="716592"/>
                  </a:cubicBezTo>
                  <a:cubicBezTo>
                    <a:pt x="245826" y="716726"/>
                    <a:pt x="247408" y="716020"/>
                    <a:pt x="247710" y="715448"/>
                  </a:cubicBezTo>
                  <a:cubicBezTo>
                    <a:pt x="248013" y="714876"/>
                    <a:pt x="248585" y="714136"/>
                    <a:pt x="248585" y="712252"/>
                  </a:cubicBezTo>
                  <a:cubicBezTo>
                    <a:pt x="248585" y="710368"/>
                    <a:pt x="248854" y="709359"/>
                    <a:pt x="248854" y="709359"/>
                  </a:cubicBezTo>
                  <a:lnTo>
                    <a:pt x="251312" y="707610"/>
                  </a:lnTo>
                  <a:lnTo>
                    <a:pt x="253768" y="709494"/>
                  </a:lnTo>
                  <a:lnTo>
                    <a:pt x="254071" y="713127"/>
                  </a:lnTo>
                  <a:lnTo>
                    <a:pt x="253061" y="716020"/>
                  </a:lnTo>
                  <a:lnTo>
                    <a:pt x="252052" y="719350"/>
                  </a:lnTo>
                  <a:lnTo>
                    <a:pt x="252927" y="719922"/>
                  </a:lnTo>
                  <a:lnTo>
                    <a:pt x="253499" y="722108"/>
                  </a:lnTo>
                  <a:lnTo>
                    <a:pt x="253364" y="723689"/>
                  </a:lnTo>
                  <a:lnTo>
                    <a:pt x="252657" y="725136"/>
                  </a:lnTo>
                  <a:lnTo>
                    <a:pt x="249629" y="727457"/>
                  </a:lnTo>
                  <a:lnTo>
                    <a:pt x="247004" y="730653"/>
                  </a:lnTo>
                  <a:lnTo>
                    <a:pt x="245859" y="731225"/>
                  </a:lnTo>
                  <a:lnTo>
                    <a:pt x="242090" y="731662"/>
                  </a:lnTo>
                  <a:lnTo>
                    <a:pt x="240643" y="732234"/>
                  </a:lnTo>
                  <a:lnTo>
                    <a:pt x="238758" y="733243"/>
                  </a:lnTo>
                  <a:cubicBezTo>
                    <a:pt x="238758" y="733243"/>
                    <a:pt x="235730" y="734252"/>
                    <a:pt x="235561" y="734690"/>
                  </a:cubicBezTo>
                  <a:cubicBezTo>
                    <a:pt x="235426" y="735127"/>
                    <a:pt x="233676" y="736708"/>
                    <a:pt x="233676" y="736708"/>
                  </a:cubicBezTo>
                  <a:cubicBezTo>
                    <a:pt x="233676" y="736708"/>
                    <a:pt x="231489" y="738020"/>
                    <a:pt x="231489" y="738457"/>
                  </a:cubicBezTo>
                  <a:cubicBezTo>
                    <a:pt x="231489" y="738895"/>
                    <a:pt x="229739" y="740476"/>
                    <a:pt x="229301" y="740778"/>
                  </a:cubicBezTo>
                  <a:cubicBezTo>
                    <a:pt x="228864" y="741081"/>
                    <a:pt x="228864" y="743100"/>
                    <a:pt x="228426" y="743671"/>
                  </a:cubicBezTo>
                  <a:cubicBezTo>
                    <a:pt x="227989" y="744243"/>
                    <a:pt x="227417" y="744546"/>
                    <a:pt x="226845" y="744546"/>
                  </a:cubicBezTo>
                  <a:cubicBezTo>
                    <a:pt x="226272" y="744546"/>
                    <a:pt x="225835" y="742797"/>
                    <a:pt x="224522" y="742090"/>
                  </a:cubicBezTo>
                  <a:cubicBezTo>
                    <a:pt x="223210" y="741384"/>
                    <a:pt x="221628" y="739063"/>
                    <a:pt x="220753" y="739769"/>
                  </a:cubicBezTo>
                  <a:cubicBezTo>
                    <a:pt x="219878" y="740476"/>
                    <a:pt x="217286" y="741956"/>
                    <a:pt x="217286" y="741956"/>
                  </a:cubicBezTo>
                  <a:cubicBezTo>
                    <a:pt x="217286" y="741956"/>
                    <a:pt x="215099" y="742528"/>
                    <a:pt x="213955" y="742830"/>
                  </a:cubicBezTo>
                  <a:cubicBezTo>
                    <a:pt x="212811" y="743133"/>
                    <a:pt x="210489" y="743268"/>
                    <a:pt x="210185" y="743840"/>
                  </a:cubicBezTo>
                  <a:cubicBezTo>
                    <a:pt x="209883" y="744411"/>
                    <a:pt x="208301" y="746161"/>
                    <a:pt x="208301" y="747473"/>
                  </a:cubicBezTo>
                  <a:cubicBezTo>
                    <a:pt x="208301" y="748785"/>
                    <a:pt x="207729" y="750938"/>
                    <a:pt x="207729" y="750938"/>
                  </a:cubicBezTo>
                  <a:cubicBezTo>
                    <a:pt x="207729" y="750938"/>
                    <a:pt x="207998" y="753965"/>
                    <a:pt x="207998" y="754571"/>
                  </a:cubicBezTo>
                  <a:cubicBezTo>
                    <a:pt x="207998" y="755176"/>
                    <a:pt x="208435" y="760222"/>
                    <a:pt x="208435" y="760794"/>
                  </a:cubicBezTo>
                  <a:cubicBezTo>
                    <a:pt x="208435" y="761366"/>
                    <a:pt x="209614" y="763687"/>
                    <a:pt x="209614" y="763687"/>
                  </a:cubicBezTo>
                  <a:lnTo>
                    <a:pt x="213080" y="767757"/>
                  </a:lnTo>
                  <a:lnTo>
                    <a:pt x="214089" y="769305"/>
                  </a:lnTo>
                  <a:lnTo>
                    <a:pt x="216849" y="774956"/>
                  </a:lnTo>
                  <a:lnTo>
                    <a:pt x="219440" y="778589"/>
                  </a:lnTo>
                  <a:lnTo>
                    <a:pt x="219777" y="782660"/>
                  </a:lnTo>
                  <a:lnTo>
                    <a:pt x="223513" y="782088"/>
                  </a:lnTo>
                  <a:lnTo>
                    <a:pt x="227282" y="782088"/>
                  </a:lnTo>
                  <a:lnTo>
                    <a:pt x="232701" y="782155"/>
                  </a:lnTo>
                  <a:cubicBezTo>
                    <a:pt x="232701" y="782155"/>
                    <a:pt x="238153" y="782727"/>
                    <a:pt x="238422" y="782727"/>
                  </a:cubicBezTo>
                  <a:cubicBezTo>
                    <a:pt x="238691" y="782727"/>
                    <a:pt x="240104" y="782727"/>
                    <a:pt x="241047" y="782660"/>
                  </a:cubicBezTo>
                  <a:cubicBezTo>
                    <a:pt x="241989" y="782593"/>
                    <a:pt x="243133" y="782660"/>
                    <a:pt x="243638" y="782458"/>
                  </a:cubicBezTo>
                  <a:cubicBezTo>
                    <a:pt x="244143" y="782256"/>
                    <a:pt x="244782" y="781516"/>
                    <a:pt x="244782" y="781516"/>
                  </a:cubicBezTo>
                  <a:lnTo>
                    <a:pt x="246297" y="779935"/>
                  </a:lnTo>
                  <a:cubicBezTo>
                    <a:pt x="246297" y="779935"/>
                    <a:pt x="248114" y="779128"/>
                    <a:pt x="248316" y="778858"/>
                  </a:cubicBezTo>
                  <a:cubicBezTo>
                    <a:pt x="248552" y="778556"/>
                    <a:pt x="250571" y="777715"/>
                    <a:pt x="250571" y="777715"/>
                  </a:cubicBezTo>
                  <a:cubicBezTo>
                    <a:pt x="250571" y="777715"/>
                    <a:pt x="253095" y="776268"/>
                    <a:pt x="253331" y="776268"/>
                  </a:cubicBezTo>
                  <a:cubicBezTo>
                    <a:pt x="253566" y="776268"/>
                    <a:pt x="253970" y="778287"/>
                    <a:pt x="254206" y="779094"/>
                  </a:cubicBezTo>
                  <a:cubicBezTo>
                    <a:pt x="254441" y="779901"/>
                    <a:pt x="255788" y="780540"/>
                    <a:pt x="255788" y="780540"/>
                  </a:cubicBezTo>
                  <a:lnTo>
                    <a:pt x="258614" y="781281"/>
                  </a:lnTo>
                  <a:cubicBezTo>
                    <a:pt x="258614" y="781281"/>
                    <a:pt x="260297" y="780540"/>
                    <a:pt x="260499" y="780406"/>
                  </a:cubicBezTo>
                  <a:cubicBezTo>
                    <a:pt x="260701" y="780271"/>
                    <a:pt x="261509" y="779329"/>
                    <a:pt x="262014" y="778959"/>
                  </a:cubicBezTo>
                  <a:cubicBezTo>
                    <a:pt x="262518" y="778589"/>
                    <a:pt x="263326" y="778388"/>
                    <a:pt x="263394" y="778152"/>
                  </a:cubicBezTo>
                  <a:cubicBezTo>
                    <a:pt x="263461" y="777950"/>
                    <a:pt x="264840" y="777076"/>
                    <a:pt x="265581" y="776470"/>
                  </a:cubicBezTo>
                  <a:cubicBezTo>
                    <a:pt x="266321" y="775898"/>
                    <a:pt x="266523" y="775158"/>
                    <a:pt x="267163" y="774654"/>
                  </a:cubicBezTo>
                  <a:cubicBezTo>
                    <a:pt x="267802" y="774149"/>
                    <a:pt x="268846" y="773947"/>
                    <a:pt x="269047" y="773577"/>
                  </a:cubicBezTo>
                  <a:cubicBezTo>
                    <a:pt x="269249" y="773207"/>
                    <a:pt x="270999" y="773005"/>
                    <a:pt x="270999" y="773005"/>
                  </a:cubicBezTo>
                  <a:cubicBezTo>
                    <a:pt x="270999" y="773005"/>
                    <a:pt x="272379" y="772938"/>
                    <a:pt x="272884" y="772871"/>
                  </a:cubicBezTo>
                  <a:cubicBezTo>
                    <a:pt x="273389" y="772803"/>
                    <a:pt x="275072" y="772736"/>
                    <a:pt x="275846" y="772366"/>
                  </a:cubicBezTo>
                  <a:cubicBezTo>
                    <a:pt x="276653" y="771996"/>
                    <a:pt x="277427" y="771794"/>
                    <a:pt x="278437" y="771357"/>
                  </a:cubicBezTo>
                  <a:cubicBezTo>
                    <a:pt x="279447" y="770920"/>
                    <a:pt x="279884" y="770920"/>
                    <a:pt x="280456" y="770650"/>
                  </a:cubicBezTo>
                  <a:cubicBezTo>
                    <a:pt x="281028" y="770348"/>
                    <a:pt x="282206" y="770718"/>
                    <a:pt x="282408" y="770348"/>
                  </a:cubicBezTo>
                  <a:cubicBezTo>
                    <a:pt x="282610" y="769978"/>
                    <a:pt x="284663" y="769103"/>
                    <a:pt x="285437" y="768262"/>
                  </a:cubicBezTo>
                  <a:cubicBezTo>
                    <a:pt x="286245" y="767387"/>
                    <a:pt x="287759" y="768195"/>
                    <a:pt x="289577" y="768262"/>
                  </a:cubicBezTo>
                  <a:cubicBezTo>
                    <a:pt x="291394" y="768329"/>
                    <a:pt x="291596" y="769406"/>
                    <a:pt x="292471" y="769708"/>
                  </a:cubicBezTo>
                  <a:cubicBezTo>
                    <a:pt x="293346" y="770011"/>
                    <a:pt x="293548" y="772332"/>
                    <a:pt x="293615" y="772736"/>
                  </a:cubicBezTo>
                  <a:cubicBezTo>
                    <a:pt x="293683" y="773173"/>
                    <a:pt x="293615" y="774048"/>
                    <a:pt x="293413" y="774822"/>
                  </a:cubicBezTo>
                  <a:cubicBezTo>
                    <a:pt x="293211" y="775629"/>
                    <a:pt x="291596" y="776571"/>
                    <a:pt x="290788" y="777008"/>
                  </a:cubicBezTo>
                  <a:cubicBezTo>
                    <a:pt x="289981" y="777446"/>
                    <a:pt x="289543" y="779329"/>
                    <a:pt x="289543" y="779531"/>
                  </a:cubicBezTo>
                  <a:cubicBezTo>
                    <a:pt x="289543" y="779733"/>
                    <a:pt x="290856" y="781482"/>
                    <a:pt x="290856" y="781482"/>
                  </a:cubicBezTo>
                  <a:lnTo>
                    <a:pt x="292605" y="783568"/>
                  </a:lnTo>
                  <a:cubicBezTo>
                    <a:pt x="292605" y="783568"/>
                    <a:pt x="293683" y="788580"/>
                    <a:pt x="293716" y="788849"/>
                  </a:cubicBezTo>
                  <a:cubicBezTo>
                    <a:pt x="293716" y="789152"/>
                    <a:pt x="294221" y="790363"/>
                    <a:pt x="294221" y="790666"/>
                  </a:cubicBezTo>
                  <a:cubicBezTo>
                    <a:pt x="294221" y="790969"/>
                    <a:pt x="295971" y="793256"/>
                    <a:pt x="296240" y="793424"/>
                  </a:cubicBezTo>
                  <a:cubicBezTo>
                    <a:pt x="296543" y="793559"/>
                    <a:pt x="297317" y="794232"/>
                    <a:pt x="297687" y="794366"/>
                  </a:cubicBezTo>
                  <a:cubicBezTo>
                    <a:pt x="298057" y="794501"/>
                    <a:pt x="299202" y="796755"/>
                    <a:pt x="299269" y="797058"/>
                  </a:cubicBezTo>
                  <a:cubicBezTo>
                    <a:pt x="299336" y="797360"/>
                    <a:pt x="299336" y="798874"/>
                    <a:pt x="299336" y="799143"/>
                  </a:cubicBezTo>
                  <a:cubicBezTo>
                    <a:pt x="299336" y="799446"/>
                    <a:pt x="298832" y="800287"/>
                    <a:pt x="298461" y="800724"/>
                  </a:cubicBezTo>
                  <a:cubicBezTo>
                    <a:pt x="298091" y="801162"/>
                    <a:pt x="296779" y="801666"/>
                    <a:pt x="296442" y="802238"/>
                  </a:cubicBezTo>
                  <a:cubicBezTo>
                    <a:pt x="296072" y="802810"/>
                    <a:pt x="294120" y="804996"/>
                    <a:pt x="293851" y="805266"/>
                  </a:cubicBezTo>
                  <a:cubicBezTo>
                    <a:pt x="293548" y="805568"/>
                    <a:pt x="293851" y="806712"/>
                    <a:pt x="293851" y="806914"/>
                  </a:cubicBezTo>
                  <a:cubicBezTo>
                    <a:pt x="293851" y="807116"/>
                    <a:pt x="294793" y="809100"/>
                    <a:pt x="294995" y="809302"/>
                  </a:cubicBezTo>
                  <a:cubicBezTo>
                    <a:pt x="295231" y="809538"/>
                    <a:pt x="298192" y="812128"/>
                    <a:pt x="298192" y="812128"/>
                  </a:cubicBezTo>
                  <a:cubicBezTo>
                    <a:pt x="298192" y="812128"/>
                    <a:pt x="300279" y="812868"/>
                    <a:pt x="300515" y="813003"/>
                  </a:cubicBezTo>
                  <a:cubicBezTo>
                    <a:pt x="300750" y="813137"/>
                    <a:pt x="301221" y="816266"/>
                    <a:pt x="301221" y="816266"/>
                  </a:cubicBezTo>
                  <a:cubicBezTo>
                    <a:pt x="301221" y="816266"/>
                    <a:pt x="300784" y="821850"/>
                    <a:pt x="300144" y="822354"/>
                  </a:cubicBezTo>
                  <a:cubicBezTo>
                    <a:pt x="299505" y="822859"/>
                    <a:pt x="299572" y="824877"/>
                    <a:pt x="299572" y="825618"/>
                  </a:cubicBezTo>
                  <a:cubicBezTo>
                    <a:pt x="299572" y="826358"/>
                    <a:pt x="300582" y="827367"/>
                    <a:pt x="300885" y="827636"/>
                  </a:cubicBezTo>
                  <a:cubicBezTo>
                    <a:pt x="301188" y="827939"/>
                    <a:pt x="303846" y="829957"/>
                    <a:pt x="304082" y="830226"/>
                  </a:cubicBezTo>
                  <a:cubicBezTo>
                    <a:pt x="304284" y="830529"/>
                    <a:pt x="305327" y="831101"/>
                    <a:pt x="306606" y="831740"/>
                  </a:cubicBezTo>
                  <a:cubicBezTo>
                    <a:pt x="307918" y="832379"/>
                    <a:pt x="308423" y="833624"/>
                    <a:pt x="309433" y="834566"/>
                  </a:cubicBezTo>
                  <a:cubicBezTo>
                    <a:pt x="310443" y="835508"/>
                    <a:pt x="310510" y="837324"/>
                    <a:pt x="310510" y="837526"/>
                  </a:cubicBezTo>
                  <a:cubicBezTo>
                    <a:pt x="310510" y="837728"/>
                    <a:pt x="312024" y="838670"/>
                    <a:pt x="312024" y="838670"/>
                  </a:cubicBezTo>
                  <a:cubicBezTo>
                    <a:pt x="312024" y="838670"/>
                    <a:pt x="314784" y="839679"/>
                    <a:pt x="314986" y="839679"/>
                  </a:cubicBezTo>
                  <a:cubicBezTo>
                    <a:pt x="315188" y="839679"/>
                    <a:pt x="318890" y="842067"/>
                    <a:pt x="319025" y="842370"/>
                  </a:cubicBezTo>
                  <a:cubicBezTo>
                    <a:pt x="319159" y="842673"/>
                    <a:pt x="319327" y="843379"/>
                    <a:pt x="319596" y="843817"/>
                  </a:cubicBezTo>
                  <a:cubicBezTo>
                    <a:pt x="319899" y="844254"/>
                    <a:pt x="323568" y="847382"/>
                    <a:pt x="323568" y="847382"/>
                  </a:cubicBezTo>
                  <a:cubicBezTo>
                    <a:pt x="323568" y="847382"/>
                    <a:pt x="330534" y="847382"/>
                    <a:pt x="330736" y="847517"/>
                  </a:cubicBezTo>
                  <a:cubicBezTo>
                    <a:pt x="330938" y="847652"/>
                    <a:pt x="332991" y="850107"/>
                    <a:pt x="334304" y="851049"/>
                  </a:cubicBezTo>
                  <a:cubicBezTo>
                    <a:pt x="335616" y="851991"/>
                    <a:pt x="337366" y="853370"/>
                    <a:pt x="337770" y="853740"/>
                  </a:cubicBezTo>
                  <a:cubicBezTo>
                    <a:pt x="338208" y="854110"/>
                    <a:pt x="339857" y="855422"/>
                    <a:pt x="341909" y="856701"/>
                  </a:cubicBezTo>
                  <a:cubicBezTo>
                    <a:pt x="343929" y="858013"/>
                    <a:pt x="344232" y="857945"/>
                    <a:pt x="346251" y="858652"/>
                  </a:cubicBezTo>
                  <a:cubicBezTo>
                    <a:pt x="348270" y="859392"/>
                    <a:pt x="347698" y="858517"/>
                    <a:pt x="348270" y="858214"/>
                  </a:cubicBezTo>
                  <a:cubicBezTo>
                    <a:pt x="348843" y="857912"/>
                    <a:pt x="349785" y="857508"/>
                    <a:pt x="349953" y="857272"/>
                  </a:cubicBezTo>
                  <a:cubicBezTo>
                    <a:pt x="350088" y="857071"/>
                    <a:pt x="352040" y="855389"/>
                    <a:pt x="353083" y="854514"/>
                  </a:cubicBezTo>
                  <a:cubicBezTo>
                    <a:pt x="354092" y="853639"/>
                    <a:pt x="356347" y="851756"/>
                    <a:pt x="357492" y="850982"/>
                  </a:cubicBezTo>
                  <a:cubicBezTo>
                    <a:pt x="358669" y="850175"/>
                    <a:pt x="360756" y="850679"/>
                    <a:pt x="360958" y="850679"/>
                  </a:cubicBezTo>
                  <a:cubicBezTo>
                    <a:pt x="361193" y="850679"/>
                    <a:pt x="364357" y="851251"/>
                    <a:pt x="365300" y="851318"/>
                  </a:cubicBezTo>
                  <a:cubicBezTo>
                    <a:pt x="366242" y="851386"/>
                    <a:pt x="369002" y="851621"/>
                    <a:pt x="369002" y="851621"/>
                  </a:cubicBezTo>
                  <a:lnTo>
                    <a:pt x="371256" y="851419"/>
                  </a:lnTo>
                  <a:lnTo>
                    <a:pt x="373511" y="850679"/>
                  </a:lnTo>
                  <a:lnTo>
                    <a:pt x="373713" y="846844"/>
                  </a:lnTo>
                  <a:cubicBezTo>
                    <a:pt x="373713" y="846844"/>
                    <a:pt x="372905" y="844523"/>
                    <a:pt x="372771" y="843817"/>
                  </a:cubicBezTo>
                  <a:cubicBezTo>
                    <a:pt x="372636" y="843077"/>
                    <a:pt x="372266" y="841866"/>
                    <a:pt x="372333" y="840856"/>
                  </a:cubicBezTo>
                  <a:cubicBezTo>
                    <a:pt x="372401" y="839847"/>
                    <a:pt x="373040" y="838905"/>
                    <a:pt x="373343" y="838333"/>
                  </a:cubicBezTo>
                  <a:cubicBezTo>
                    <a:pt x="373646" y="837761"/>
                    <a:pt x="374655" y="837324"/>
                    <a:pt x="374925" y="837089"/>
                  </a:cubicBezTo>
                  <a:cubicBezTo>
                    <a:pt x="375194" y="836887"/>
                    <a:pt x="376237" y="837089"/>
                    <a:pt x="376506" y="837156"/>
                  </a:cubicBezTo>
                  <a:cubicBezTo>
                    <a:pt x="376776" y="837223"/>
                    <a:pt x="377752" y="837728"/>
                    <a:pt x="377752" y="837728"/>
                  </a:cubicBezTo>
                  <a:cubicBezTo>
                    <a:pt x="377752" y="837728"/>
                    <a:pt x="380579" y="839477"/>
                    <a:pt x="380781" y="839612"/>
                  </a:cubicBezTo>
                  <a:cubicBezTo>
                    <a:pt x="381016" y="839746"/>
                    <a:pt x="383406" y="841866"/>
                    <a:pt x="383675" y="841866"/>
                  </a:cubicBezTo>
                  <a:cubicBezTo>
                    <a:pt x="383978" y="841866"/>
                    <a:pt x="386872" y="843009"/>
                    <a:pt x="387141" y="843009"/>
                  </a:cubicBezTo>
                  <a:cubicBezTo>
                    <a:pt x="387411" y="843009"/>
                    <a:pt x="388454" y="844523"/>
                    <a:pt x="388454" y="844523"/>
                  </a:cubicBezTo>
                  <a:cubicBezTo>
                    <a:pt x="388454" y="844523"/>
                    <a:pt x="388588" y="846609"/>
                    <a:pt x="388891" y="847853"/>
                  </a:cubicBezTo>
                  <a:cubicBezTo>
                    <a:pt x="389161" y="849098"/>
                    <a:pt x="389834" y="849670"/>
                    <a:pt x="390204" y="850612"/>
                  </a:cubicBezTo>
                  <a:cubicBezTo>
                    <a:pt x="390574" y="851554"/>
                    <a:pt x="391718" y="853438"/>
                    <a:pt x="391886" y="853639"/>
                  </a:cubicBezTo>
                  <a:cubicBezTo>
                    <a:pt x="392021" y="853841"/>
                    <a:pt x="393603" y="855456"/>
                    <a:pt x="393603" y="855456"/>
                  </a:cubicBezTo>
                  <a:cubicBezTo>
                    <a:pt x="393603" y="855456"/>
                    <a:pt x="396228" y="855523"/>
                    <a:pt x="397002" y="855321"/>
                  </a:cubicBezTo>
                  <a:cubicBezTo>
                    <a:pt x="397810" y="855086"/>
                    <a:pt x="400199" y="854379"/>
                    <a:pt x="400401" y="854312"/>
                  </a:cubicBezTo>
                  <a:cubicBezTo>
                    <a:pt x="400603" y="854245"/>
                    <a:pt x="403295" y="853572"/>
                    <a:pt x="403295" y="853572"/>
                  </a:cubicBezTo>
                  <a:lnTo>
                    <a:pt x="406695" y="853269"/>
                  </a:lnTo>
                  <a:cubicBezTo>
                    <a:pt x="406695" y="853269"/>
                    <a:pt x="411272" y="851386"/>
                    <a:pt x="411608" y="851386"/>
                  </a:cubicBezTo>
                  <a:cubicBezTo>
                    <a:pt x="411979" y="851386"/>
                    <a:pt x="414570" y="850309"/>
                    <a:pt x="414570" y="850309"/>
                  </a:cubicBezTo>
                  <a:lnTo>
                    <a:pt x="418272" y="846844"/>
                  </a:lnTo>
                  <a:lnTo>
                    <a:pt x="421604" y="844658"/>
                  </a:lnTo>
                  <a:cubicBezTo>
                    <a:pt x="421604" y="844658"/>
                    <a:pt x="423488" y="841260"/>
                    <a:pt x="423556" y="840957"/>
                  </a:cubicBezTo>
                  <a:cubicBezTo>
                    <a:pt x="423623" y="840654"/>
                    <a:pt x="426315" y="837492"/>
                    <a:pt x="426686" y="836988"/>
                  </a:cubicBezTo>
                  <a:cubicBezTo>
                    <a:pt x="427056" y="836483"/>
                    <a:pt x="429008" y="835911"/>
                    <a:pt x="429378" y="835609"/>
                  </a:cubicBezTo>
                  <a:cubicBezTo>
                    <a:pt x="429748" y="835306"/>
                    <a:pt x="431700" y="834364"/>
                    <a:pt x="432407" y="834027"/>
                  </a:cubicBezTo>
                  <a:cubicBezTo>
                    <a:pt x="433147" y="833657"/>
                    <a:pt x="435032" y="833086"/>
                    <a:pt x="436311" y="832951"/>
                  </a:cubicBezTo>
                  <a:cubicBezTo>
                    <a:pt x="437623" y="832816"/>
                    <a:pt x="438902" y="832446"/>
                    <a:pt x="438902" y="832446"/>
                  </a:cubicBezTo>
                  <a:cubicBezTo>
                    <a:pt x="438902" y="832446"/>
                    <a:pt x="441157" y="832446"/>
                    <a:pt x="441662" y="832446"/>
                  </a:cubicBezTo>
                  <a:cubicBezTo>
                    <a:pt x="442167" y="832446"/>
                    <a:pt x="443681" y="833657"/>
                    <a:pt x="443681" y="833657"/>
                  </a:cubicBezTo>
                  <a:lnTo>
                    <a:pt x="443816" y="835575"/>
                  </a:lnTo>
                  <a:lnTo>
                    <a:pt x="442738" y="837526"/>
                  </a:lnTo>
                  <a:lnTo>
                    <a:pt x="441662" y="842807"/>
                  </a:lnTo>
                  <a:lnTo>
                    <a:pt x="442167" y="847012"/>
                  </a:lnTo>
                  <a:cubicBezTo>
                    <a:pt x="442167" y="847012"/>
                    <a:pt x="442604" y="852462"/>
                    <a:pt x="442537" y="852664"/>
                  </a:cubicBezTo>
                  <a:cubicBezTo>
                    <a:pt x="442469" y="852899"/>
                    <a:pt x="444792" y="855490"/>
                    <a:pt x="445061" y="855725"/>
                  </a:cubicBezTo>
                  <a:cubicBezTo>
                    <a:pt x="445364" y="855927"/>
                    <a:pt x="448258" y="859055"/>
                    <a:pt x="448258" y="859055"/>
                  </a:cubicBezTo>
                  <a:lnTo>
                    <a:pt x="453037" y="863193"/>
                  </a:lnTo>
                  <a:lnTo>
                    <a:pt x="460273" y="868037"/>
                  </a:lnTo>
                  <a:lnTo>
                    <a:pt x="470335" y="870560"/>
                  </a:lnTo>
                  <a:cubicBezTo>
                    <a:pt x="470335" y="870560"/>
                    <a:pt x="476629" y="871569"/>
                    <a:pt x="476932" y="871569"/>
                  </a:cubicBezTo>
                  <a:cubicBezTo>
                    <a:pt x="477234" y="871569"/>
                    <a:pt x="481004" y="872309"/>
                    <a:pt x="481576" y="872208"/>
                  </a:cubicBezTo>
                  <a:cubicBezTo>
                    <a:pt x="482148" y="872141"/>
                    <a:pt x="486355" y="872208"/>
                    <a:pt x="486355" y="872208"/>
                  </a:cubicBezTo>
                  <a:cubicBezTo>
                    <a:pt x="486355" y="872208"/>
                    <a:pt x="490259" y="870964"/>
                    <a:pt x="490562" y="870964"/>
                  </a:cubicBezTo>
                  <a:cubicBezTo>
                    <a:pt x="490865" y="870964"/>
                    <a:pt x="493894" y="869080"/>
                    <a:pt x="494095" y="869080"/>
                  </a:cubicBezTo>
                  <a:cubicBezTo>
                    <a:pt x="494298" y="869080"/>
                    <a:pt x="497932" y="865817"/>
                    <a:pt x="497932" y="865817"/>
                  </a:cubicBezTo>
                  <a:lnTo>
                    <a:pt x="504024" y="861982"/>
                  </a:lnTo>
                  <a:lnTo>
                    <a:pt x="511428" y="857777"/>
                  </a:lnTo>
                  <a:lnTo>
                    <a:pt x="513683" y="855019"/>
                  </a:lnTo>
                  <a:cubicBezTo>
                    <a:pt x="513683" y="855019"/>
                    <a:pt x="516139" y="855019"/>
                    <a:pt x="516947" y="855019"/>
                  </a:cubicBezTo>
                  <a:cubicBezTo>
                    <a:pt x="517755" y="855019"/>
                    <a:pt x="520649" y="855019"/>
                    <a:pt x="520649" y="855019"/>
                  </a:cubicBezTo>
                  <a:cubicBezTo>
                    <a:pt x="520649" y="855019"/>
                    <a:pt x="522466" y="855019"/>
                    <a:pt x="522735" y="855019"/>
                  </a:cubicBezTo>
                  <a:cubicBezTo>
                    <a:pt x="523039" y="855019"/>
                    <a:pt x="524418" y="855490"/>
                    <a:pt x="524688" y="855557"/>
                  </a:cubicBezTo>
                  <a:cubicBezTo>
                    <a:pt x="524991" y="855624"/>
                    <a:pt x="526202" y="856835"/>
                    <a:pt x="526505" y="857037"/>
                  </a:cubicBezTo>
                  <a:cubicBezTo>
                    <a:pt x="526808" y="857239"/>
                    <a:pt x="527817" y="858282"/>
                    <a:pt x="528121" y="858652"/>
                  </a:cubicBezTo>
                  <a:cubicBezTo>
                    <a:pt x="528390" y="859022"/>
                    <a:pt x="528760" y="859896"/>
                    <a:pt x="528995" y="860031"/>
                  </a:cubicBezTo>
                  <a:cubicBezTo>
                    <a:pt x="529231" y="860166"/>
                    <a:pt x="530375" y="860670"/>
                    <a:pt x="531688" y="860906"/>
                  </a:cubicBezTo>
                  <a:cubicBezTo>
                    <a:pt x="533000" y="861141"/>
                    <a:pt x="533774" y="861276"/>
                    <a:pt x="533774" y="861276"/>
                  </a:cubicBezTo>
                  <a:cubicBezTo>
                    <a:pt x="533774" y="861276"/>
                    <a:pt x="538654" y="863227"/>
                    <a:pt x="538991" y="863294"/>
                  </a:cubicBezTo>
                  <a:cubicBezTo>
                    <a:pt x="539361" y="863361"/>
                    <a:pt x="540068" y="863361"/>
                    <a:pt x="540068" y="863361"/>
                  </a:cubicBezTo>
                  <a:cubicBezTo>
                    <a:pt x="540068" y="863361"/>
                    <a:pt x="542222" y="862621"/>
                    <a:pt x="542323" y="862419"/>
                  </a:cubicBezTo>
                  <a:cubicBezTo>
                    <a:pt x="542390" y="862217"/>
                    <a:pt x="544645" y="860098"/>
                    <a:pt x="544645" y="860098"/>
                  </a:cubicBezTo>
                  <a:cubicBezTo>
                    <a:pt x="544645" y="860098"/>
                    <a:pt x="546664" y="859594"/>
                    <a:pt x="547034" y="859594"/>
                  </a:cubicBezTo>
                  <a:cubicBezTo>
                    <a:pt x="547405" y="859594"/>
                    <a:pt x="549559" y="861040"/>
                    <a:pt x="550164" y="861040"/>
                  </a:cubicBezTo>
                  <a:cubicBezTo>
                    <a:pt x="550736" y="861040"/>
                    <a:pt x="552352" y="864808"/>
                    <a:pt x="552352" y="864808"/>
                  </a:cubicBezTo>
                  <a:lnTo>
                    <a:pt x="551409" y="868003"/>
                  </a:lnTo>
                  <a:lnTo>
                    <a:pt x="554371" y="873655"/>
                  </a:lnTo>
                  <a:cubicBezTo>
                    <a:pt x="554371" y="873655"/>
                    <a:pt x="557333" y="876178"/>
                    <a:pt x="557635" y="876346"/>
                  </a:cubicBezTo>
                  <a:cubicBezTo>
                    <a:pt x="557938" y="876481"/>
                    <a:pt x="560227" y="878533"/>
                    <a:pt x="560597" y="878600"/>
                  </a:cubicBezTo>
                  <a:cubicBezTo>
                    <a:pt x="560967" y="878667"/>
                    <a:pt x="563693" y="880551"/>
                    <a:pt x="564366" y="881056"/>
                  </a:cubicBezTo>
                  <a:cubicBezTo>
                    <a:pt x="565006" y="881560"/>
                    <a:pt x="566621" y="883309"/>
                    <a:pt x="566621" y="883511"/>
                  </a:cubicBezTo>
                  <a:cubicBezTo>
                    <a:pt x="566621" y="883713"/>
                    <a:pt x="565174" y="885967"/>
                    <a:pt x="565174" y="885967"/>
                  </a:cubicBezTo>
                  <a:cubicBezTo>
                    <a:pt x="565174" y="885967"/>
                    <a:pt x="562212" y="887985"/>
                    <a:pt x="561977" y="888053"/>
                  </a:cubicBezTo>
                  <a:cubicBezTo>
                    <a:pt x="561775" y="888120"/>
                    <a:pt x="560025" y="890374"/>
                    <a:pt x="559722" y="890677"/>
                  </a:cubicBezTo>
                  <a:cubicBezTo>
                    <a:pt x="559453" y="890979"/>
                    <a:pt x="558712" y="891753"/>
                    <a:pt x="558342" y="892258"/>
                  </a:cubicBezTo>
                  <a:cubicBezTo>
                    <a:pt x="557972" y="892762"/>
                    <a:pt x="557467" y="896160"/>
                    <a:pt x="557400" y="896395"/>
                  </a:cubicBezTo>
                  <a:cubicBezTo>
                    <a:pt x="557333" y="896597"/>
                    <a:pt x="557905" y="899221"/>
                    <a:pt x="557905" y="899221"/>
                  </a:cubicBezTo>
                  <a:lnTo>
                    <a:pt x="561102" y="906252"/>
                  </a:lnTo>
                  <a:cubicBezTo>
                    <a:pt x="561102" y="906252"/>
                    <a:pt x="563054" y="908842"/>
                    <a:pt x="563188" y="909077"/>
                  </a:cubicBezTo>
                  <a:cubicBezTo>
                    <a:pt x="563323" y="909279"/>
                    <a:pt x="563256" y="911533"/>
                    <a:pt x="563256" y="911533"/>
                  </a:cubicBezTo>
                  <a:cubicBezTo>
                    <a:pt x="563256" y="911533"/>
                    <a:pt x="563256" y="912845"/>
                    <a:pt x="563256" y="913720"/>
                  </a:cubicBezTo>
                  <a:cubicBezTo>
                    <a:pt x="563256" y="914594"/>
                    <a:pt x="562987" y="914729"/>
                    <a:pt x="562751" y="915906"/>
                  </a:cubicBezTo>
                  <a:cubicBezTo>
                    <a:pt x="562549" y="917050"/>
                    <a:pt x="562751" y="916916"/>
                    <a:pt x="563391" y="918160"/>
                  </a:cubicBezTo>
                  <a:cubicBezTo>
                    <a:pt x="564030" y="919405"/>
                    <a:pt x="566419" y="920481"/>
                    <a:pt x="566722" y="920414"/>
                  </a:cubicBezTo>
                  <a:cubicBezTo>
                    <a:pt x="567025" y="920347"/>
                    <a:pt x="568910" y="918766"/>
                    <a:pt x="569246" y="918598"/>
                  </a:cubicBezTo>
                  <a:cubicBezTo>
                    <a:pt x="569617" y="918463"/>
                    <a:pt x="570323" y="916276"/>
                    <a:pt x="570323" y="916276"/>
                  </a:cubicBezTo>
                  <a:cubicBezTo>
                    <a:pt x="570323" y="916276"/>
                    <a:pt x="571770" y="915704"/>
                    <a:pt x="571972" y="915469"/>
                  </a:cubicBezTo>
                  <a:cubicBezTo>
                    <a:pt x="572174" y="915234"/>
                    <a:pt x="573217" y="912778"/>
                    <a:pt x="573554" y="912576"/>
                  </a:cubicBezTo>
                  <a:cubicBezTo>
                    <a:pt x="573924" y="912341"/>
                    <a:pt x="574934" y="911769"/>
                    <a:pt x="576179" y="911701"/>
                  </a:cubicBezTo>
                  <a:cubicBezTo>
                    <a:pt x="577424" y="911600"/>
                    <a:pt x="576819" y="912744"/>
                    <a:pt x="576987" y="913182"/>
                  </a:cubicBezTo>
                  <a:cubicBezTo>
                    <a:pt x="577121" y="913619"/>
                    <a:pt x="580251" y="914561"/>
                    <a:pt x="580554" y="914561"/>
                  </a:cubicBezTo>
                  <a:cubicBezTo>
                    <a:pt x="580823" y="914561"/>
                    <a:pt x="581295" y="914426"/>
                    <a:pt x="581295" y="914123"/>
                  </a:cubicBezTo>
                  <a:cubicBezTo>
                    <a:pt x="581295" y="913821"/>
                    <a:pt x="582170" y="912812"/>
                    <a:pt x="582372" y="912610"/>
                  </a:cubicBezTo>
                  <a:cubicBezTo>
                    <a:pt x="582607" y="912374"/>
                    <a:pt x="584324" y="912105"/>
                    <a:pt x="584559" y="912105"/>
                  </a:cubicBezTo>
                  <a:cubicBezTo>
                    <a:pt x="584795" y="912105"/>
                    <a:pt x="587655" y="912408"/>
                    <a:pt x="588530" y="912408"/>
                  </a:cubicBezTo>
                  <a:cubicBezTo>
                    <a:pt x="589405" y="912408"/>
                    <a:pt x="591357" y="912038"/>
                    <a:pt x="591660" y="911836"/>
                  </a:cubicBezTo>
                  <a:cubicBezTo>
                    <a:pt x="591963" y="911600"/>
                    <a:pt x="593982" y="911903"/>
                    <a:pt x="594790" y="911836"/>
                  </a:cubicBezTo>
                  <a:cubicBezTo>
                    <a:pt x="595598" y="911769"/>
                    <a:pt x="598492" y="912273"/>
                    <a:pt x="598761" y="912341"/>
                  </a:cubicBezTo>
                  <a:cubicBezTo>
                    <a:pt x="599064" y="912408"/>
                    <a:pt x="602396" y="914224"/>
                    <a:pt x="602396" y="914224"/>
                  </a:cubicBezTo>
                  <a:lnTo>
                    <a:pt x="606233" y="914224"/>
                  </a:lnTo>
                  <a:lnTo>
                    <a:pt x="610507" y="915301"/>
                  </a:lnTo>
                  <a:lnTo>
                    <a:pt x="613401" y="917050"/>
                  </a:lnTo>
                  <a:cubicBezTo>
                    <a:pt x="613401" y="917050"/>
                    <a:pt x="612391" y="920313"/>
                    <a:pt x="612089" y="920246"/>
                  </a:cubicBezTo>
                  <a:cubicBezTo>
                    <a:pt x="611786" y="920179"/>
                    <a:pt x="610406" y="920448"/>
                    <a:pt x="609699" y="920313"/>
                  </a:cubicBezTo>
                  <a:cubicBezTo>
                    <a:pt x="608959" y="920179"/>
                    <a:pt x="608252" y="919371"/>
                    <a:pt x="607814" y="919001"/>
                  </a:cubicBezTo>
                  <a:cubicBezTo>
                    <a:pt x="607377" y="918631"/>
                    <a:pt x="607007" y="919371"/>
                    <a:pt x="606939" y="919640"/>
                  </a:cubicBezTo>
                  <a:cubicBezTo>
                    <a:pt x="606872" y="919943"/>
                    <a:pt x="606637" y="920952"/>
                    <a:pt x="606637" y="920952"/>
                  </a:cubicBezTo>
                  <a:lnTo>
                    <a:pt x="606132" y="922096"/>
                  </a:lnTo>
                  <a:cubicBezTo>
                    <a:pt x="606132" y="922096"/>
                    <a:pt x="605055" y="922298"/>
                    <a:pt x="604180" y="922298"/>
                  </a:cubicBezTo>
                  <a:cubicBezTo>
                    <a:pt x="603305" y="922298"/>
                    <a:pt x="603540" y="922601"/>
                    <a:pt x="603540" y="922601"/>
                  </a:cubicBezTo>
                  <a:lnTo>
                    <a:pt x="602295" y="923105"/>
                  </a:lnTo>
                  <a:cubicBezTo>
                    <a:pt x="602295" y="923105"/>
                    <a:pt x="601588" y="923240"/>
                    <a:pt x="600848" y="923408"/>
                  </a:cubicBezTo>
                  <a:cubicBezTo>
                    <a:pt x="600141" y="923543"/>
                    <a:pt x="600040" y="924484"/>
                    <a:pt x="600040" y="924484"/>
                  </a:cubicBezTo>
                  <a:lnTo>
                    <a:pt x="599838" y="925796"/>
                  </a:lnTo>
                  <a:lnTo>
                    <a:pt x="600141" y="926940"/>
                  </a:lnTo>
                  <a:lnTo>
                    <a:pt x="601588" y="929026"/>
                  </a:lnTo>
                  <a:lnTo>
                    <a:pt x="602598" y="930035"/>
                  </a:lnTo>
                  <a:lnTo>
                    <a:pt x="604180" y="931481"/>
                  </a:lnTo>
                  <a:lnTo>
                    <a:pt x="604920" y="932793"/>
                  </a:lnTo>
                  <a:cubicBezTo>
                    <a:pt x="604920" y="932793"/>
                    <a:pt x="604011" y="935047"/>
                    <a:pt x="604550" y="935586"/>
                  </a:cubicBezTo>
                  <a:cubicBezTo>
                    <a:pt x="605089" y="936124"/>
                    <a:pt x="607377" y="938949"/>
                    <a:pt x="607377" y="938949"/>
                  </a:cubicBezTo>
                  <a:cubicBezTo>
                    <a:pt x="607377" y="938949"/>
                    <a:pt x="610843" y="941775"/>
                    <a:pt x="612156" y="942549"/>
                  </a:cubicBezTo>
                  <a:cubicBezTo>
                    <a:pt x="613469" y="943323"/>
                    <a:pt x="614444" y="945038"/>
                    <a:pt x="614882" y="945913"/>
                  </a:cubicBezTo>
                  <a:cubicBezTo>
                    <a:pt x="615319" y="946788"/>
                    <a:pt x="615555" y="947965"/>
                    <a:pt x="615858" y="948940"/>
                  </a:cubicBezTo>
                  <a:cubicBezTo>
                    <a:pt x="616194" y="949916"/>
                    <a:pt x="620199" y="954491"/>
                    <a:pt x="620334" y="954794"/>
                  </a:cubicBezTo>
                  <a:cubicBezTo>
                    <a:pt x="620435" y="955130"/>
                    <a:pt x="620973" y="956543"/>
                    <a:pt x="621411" y="957956"/>
                  </a:cubicBezTo>
                  <a:cubicBezTo>
                    <a:pt x="621848" y="959369"/>
                    <a:pt x="624473" y="957956"/>
                    <a:pt x="625651" y="957519"/>
                  </a:cubicBezTo>
                  <a:cubicBezTo>
                    <a:pt x="626829" y="957081"/>
                    <a:pt x="626964" y="955769"/>
                    <a:pt x="627267" y="955231"/>
                  </a:cubicBezTo>
                  <a:cubicBezTo>
                    <a:pt x="627603" y="954693"/>
                    <a:pt x="629892" y="954592"/>
                    <a:pt x="630195" y="954457"/>
                  </a:cubicBezTo>
                  <a:cubicBezTo>
                    <a:pt x="630531" y="954356"/>
                    <a:pt x="632584" y="955097"/>
                    <a:pt x="632584" y="955097"/>
                  </a:cubicBezTo>
                  <a:cubicBezTo>
                    <a:pt x="632584" y="955097"/>
                    <a:pt x="632921" y="956509"/>
                    <a:pt x="632786" y="958662"/>
                  </a:cubicBezTo>
                  <a:cubicBezTo>
                    <a:pt x="632685" y="960849"/>
                    <a:pt x="632248" y="962262"/>
                    <a:pt x="631810" y="963338"/>
                  </a:cubicBezTo>
                  <a:cubicBezTo>
                    <a:pt x="631373" y="964415"/>
                    <a:pt x="631608" y="965390"/>
                    <a:pt x="631608" y="965390"/>
                  </a:cubicBezTo>
                  <a:cubicBezTo>
                    <a:pt x="631608" y="965390"/>
                    <a:pt x="634435" y="968317"/>
                    <a:pt x="635411" y="969091"/>
                  </a:cubicBezTo>
                  <a:cubicBezTo>
                    <a:pt x="636387" y="969864"/>
                    <a:pt x="637363" y="969091"/>
                    <a:pt x="637700" y="968990"/>
                  </a:cubicBezTo>
                  <a:cubicBezTo>
                    <a:pt x="638036" y="968889"/>
                    <a:pt x="639551" y="967913"/>
                    <a:pt x="639887" y="967779"/>
                  </a:cubicBezTo>
                  <a:cubicBezTo>
                    <a:pt x="640190" y="967678"/>
                    <a:pt x="641738" y="965828"/>
                    <a:pt x="641738" y="965828"/>
                  </a:cubicBezTo>
                  <a:lnTo>
                    <a:pt x="647291" y="967240"/>
                  </a:lnTo>
                  <a:lnTo>
                    <a:pt x="652171" y="960613"/>
                  </a:lnTo>
                  <a:cubicBezTo>
                    <a:pt x="652171" y="960613"/>
                    <a:pt x="655570" y="953011"/>
                    <a:pt x="655705" y="952775"/>
                  </a:cubicBezTo>
                  <a:cubicBezTo>
                    <a:pt x="655840" y="952574"/>
                    <a:pt x="655032" y="949647"/>
                    <a:pt x="655133" y="949075"/>
                  </a:cubicBezTo>
                  <a:cubicBezTo>
                    <a:pt x="655200" y="948503"/>
                    <a:pt x="654426" y="947258"/>
                    <a:pt x="653820" y="946485"/>
                  </a:cubicBezTo>
                  <a:cubicBezTo>
                    <a:pt x="653248" y="945677"/>
                    <a:pt x="652878" y="943794"/>
                    <a:pt x="652743" y="943592"/>
                  </a:cubicBezTo>
                  <a:cubicBezTo>
                    <a:pt x="652609" y="943390"/>
                    <a:pt x="650354" y="940329"/>
                    <a:pt x="650219" y="939891"/>
                  </a:cubicBezTo>
                  <a:cubicBezTo>
                    <a:pt x="650085" y="939454"/>
                    <a:pt x="649849" y="936998"/>
                    <a:pt x="649984" y="936258"/>
                  </a:cubicBezTo>
                  <a:cubicBezTo>
                    <a:pt x="650118" y="935552"/>
                    <a:pt x="651935" y="934610"/>
                    <a:pt x="652238" y="934307"/>
                  </a:cubicBezTo>
                  <a:cubicBezTo>
                    <a:pt x="652541" y="934004"/>
                    <a:pt x="656883" y="935047"/>
                    <a:pt x="656883" y="935047"/>
                  </a:cubicBezTo>
                  <a:lnTo>
                    <a:pt x="659474" y="934745"/>
                  </a:lnTo>
                  <a:cubicBezTo>
                    <a:pt x="659474" y="934745"/>
                    <a:pt x="663042" y="932423"/>
                    <a:pt x="663243" y="932356"/>
                  </a:cubicBezTo>
                  <a:cubicBezTo>
                    <a:pt x="663446" y="932289"/>
                    <a:pt x="665498" y="929530"/>
                    <a:pt x="665498" y="929530"/>
                  </a:cubicBezTo>
                  <a:cubicBezTo>
                    <a:pt x="665498" y="929530"/>
                    <a:pt x="666441" y="925124"/>
                    <a:pt x="666306" y="924821"/>
                  </a:cubicBezTo>
                  <a:cubicBezTo>
                    <a:pt x="666171" y="924518"/>
                    <a:pt x="666676" y="921692"/>
                    <a:pt x="666744" y="921356"/>
                  </a:cubicBezTo>
                  <a:cubicBezTo>
                    <a:pt x="666811" y="920986"/>
                    <a:pt x="668124" y="918732"/>
                    <a:pt x="668258" y="917891"/>
                  </a:cubicBezTo>
                  <a:cubicBezTo>
                    <a:pt x="668393" y="917016"/>
                    <a:pt x="670210" y="915873"/>
                    <a:pt x="670210" y="915873"/>
                  </a:cubicBezTo>
                  <a:cubicBezTo>
                    <a:pt x="670210" y="915873"/>
                    <a:pt x="672599" y="915873"/>
                    <a:pt x="673340" y="915873"/>
                  </a:cubicBezTo>
                  <a:cubicBezTo>
                    <a:pt x="674080" y="915873"/>
                    <a:pt x="677176" y="916512"/>
                    <a:pt x="677176" y="916512"/>
                  </a:cubicBezTo>
                  <a:lnTo>
                    <a:pt x="680643" y="918698"/>
                  </a:lnTo>
                  <a:lnTo>
                    <a:pt x="682831" y="921827"/>
                  </a:lnTo>
                  <a:lnTo>
                    <a:pt x="684480" y="924585"/>
                  </a:lnTo>
                  <a:lnTo>
                    <a:pt x="684850" y="927344"/>
                  </a:lnTo>
                  <a:lnTo>
                    <a:pt x="684985" y="933365"/>
                  </a:lnTo>
                  <a:lnTo>
                    <a:pt x="685624" y="939891"/>
                  </a:lnTo>
                  <a:lnTo>
                    <a:pt x="687138" y="945106"/>
                  </a:lnTo>
                  <a:lnTo>
                    <a:pt x="689898" y="952136"/>
                  </a:lnTo>
                  <a:lnTo>
                    <a:pt x="691042" y="955837"/>
                  </a:lnTo>
                  <a:cubicBezTo>
                    <a:pt x="691042" y="955837"/>
                    <a:pt x="692927" y="959234"/>
                    <a:pt x="693230" y="959537"/>
                  </a:cubicBezTo>
                  <a:cubicBezTo>
                    <a:pt x="693533" y="959840"/>
                    <a:pt x="696057" y="963439"/>
                    <a:pt x="696057" y="963439"/>
                  </a:cubicBezTo>
                  <a:lnTo>
                    <a:pt x="699961" y="967274"/>
                  </a:lnTo>
                  <a:lnTo>
                    <a:pt x="704672" y="971109"/>
                  </a:lnTo>
                  <a:lnTo>
                    <a:pt x="707432" y="974809"/>
                  </a:lnTo>
                  <a:lnTo>
                    <a:pt x="709619" y="980595"/>
                  </a:lnTo>
                  <a:lnTo>
                    <a:pt x="714028" y="984868"/>
                  </a:lnTo>
                  <a:lnTo>
                    <a:pt x="720995" y="990654"/>
                  </a:lnTo>
                  <a:cubicBezTo>
                    <a:pt x="720995" y="990654"/>
                    <a:pt x="723519" y="994421"/>
                    <a:pt x="723620" y="994623"/>
                  </a:cubicBezTo>
                  <a:cubicBezTo>
                    <a:pt x="723687" y="994825"/>
                    <a:pt x="725202" y="997247"/>
                    <a:pt x="725706" y="998391"/>
                  </a:cubicBezTo>
                  <a:cubicBezTo>
                    <a:pt x="726211" y="999534"/>
                    <a:pt x="727288" y="1001486"/>
                    <a:pt x="727961" y="1002663"/>
                  </a:cubicBezTo>
                  <a:cubicBezTo>
                    <a:pt x="728601" y="1003807"/>
                    <a:pt x="730923" y="1005186"/>
                    <a:pt x="730923" y="1005186"/>
                  </a:cubicBezTo>
                  <a:lnTo>
                    <a:pt x="734457" y="1007372"/>
                  </a:lnTo>
                  <a:cubicBezTo>
                    <a:pt x="734457" y="1007372"/>
                    <a:pt x="736712" y="1009189"/>
                    <a:pt x="737216" y="1009324"/>
                  </a:cubicBezTo>
                  <a:cubicBezTo>
                    <a:pt x="737721" y="1009458"/>
                    <a:pt x="739538" y="1009963"/>
                    <a:pt x="740414" y="1009963"/>
                  </a:cubicBezTo>
                  <a:cubicBezTo>
                    <a:pt x="741289" y="1009963"/>
                    <a:pt x="744115" y="1010400"/>
                    <a:pt x="744889" y="1010400"/>
                  </a:cubicBezTo>
                  <a:cubicBezTo>
                    <a:pt x="745697" y="1010400"/>
                    <a:pt x="746774" y="1009525"/>
                    <a:pt x="746909" y="1009324"/>
                  </a:cubicBezTo>
                  <a:cubicBezTo>
                    <a:pt x="747043" y="1009088"/>
                    <a:pt x="748861" y="1007507"/>
                    <a:pt x="748861" y="1007507"/>
                  </a:cubicBezTo>
                  <a:cubicBezTo>
                    <a:pt x="748861" y="1007507"/>
                    <a:pt x="750678" y="1006431"/>
                    <a:pt x="751183" y="1006061"/>
                  </a:cubicBezTo>
                  <a:cubicBezTo>
                    <a:pt x="751688" y="1005690"/>
                    <a:pt x="752428" y="1005253"/>
                    <a:pt x="752765" y="1004917"/>
                  </a:cubicBezTo>
                  <a:cubicBezTo>
                    <a:pt x="753135" y="1004547"/>
                    <a:pt x="754784" y="1004412"/>
                    <a:pt x="755289" y="1004345"/>
                  </a:cubicBezTo>
                  <a:cubicBezTo>
                    <a:pt x="755793" y="1004278"/>
                    <a:pt x="759193" y="1003336"/>
                    <a:pt x="759630" y="1003100"/>
                  </a:cubicBezTo>
                  <a:cubicBezTo>
                    <a:pt x="760068" y="1002898"/>
                    <a:pt x="761818" y="1002394"/>
                    <a:pt x="761818" y="1002394"/>
                  </a:cubicBezTo>
                  <a:cubicBezTo>
                    <a:pt x="761818" y="1002394"/>
                    <a:pt x="762255" y="1000275"/>
                    <a:pt x="762255" y="1000005"/>
                  </a:cubicBezTo>
                  <a:cubicBezTo>
                    <a:pt x="762255" y="999703"/>
                    <a:pt x="761179" y="996541"/>
                    <a:pt x="761179" y="996541"/>
                  </a:cubicBezTo>
                  <a:lnTo>
                    <a:pt x="759294" y="991125"/>
                  </a:lnTo>
                  <a:cubicBezTo>
                    <a:pt x="759294" y="991125"/>
                    <a:pt x="758284" y="986718"/>
                    <a:pt x="758082" y="986213"/>
                  </a:cubicBezTo>
                  <a:cubicBezTo>
                    <a:pt x="757846" y="985709"/>
                    <a:pt x="758890" y="982513"/>
                    <a:pt x="759025" y="982143"/>
                  </a:cubicBezTo>
                  <a:cubicBezTo>
                    <a:pt x="759159" y="981773"/>
                    <a:pt x="759967" y="978678"/>
                    <a:pt x="759967" y="978678"/>
                  </a:cubicBezTo>
                  <a:lnTo>
                    <a:pt x="761145" y="977669"/>
                  </a:lnTo>
                  <a:cubicBezTo>
                    <a:pt x="761145" y="977669"/>
                    <a:pt x="766058" y="977871"/>
                    <a:pt x="766361" y="977803"/>
                  </a:cubicBezTo>
                  <a:cubicBezTo>
                    <a:pt x="766664" y="977736"/>
                    <a:pt x="767943" y="977299"/>
                    <a:pt x="767943" y="977299"/>
                  </a:cubicBezTo>
                  <a:lnTo>
                    <a:pt x="770467" y="973968"/>
                  </a:lnTo>
                  <a:lnTo>
                    <a:pt x="772352" y="970705"/>
                  </a:lnTo>
                  <a:lnTo>
                    <a:pt x="774607" y="968754"/>
                  </a:lnTo>
                  <a:lnTo>
                    <a:pt x="780765" y="967072"/>
                  </a:lnTo>
                  <a:cubicBezTo>
                    <a:pt x="780765" y="967072"/>
                    <a:pt x="785410" y="965054"/>
                    <a:pt x="785679" y="964684"/>
                  </a:cubicBezTo>
                  <a:cubicBezTo>
                    <a:pt x="785948" y="964314"/>
                    <a:pt x="788809" y="964617"/>
                    <a:pt x="789314" y="964617"/>
                  </a:cubicBezTo>
                  <a:cubicBezTo>
                    <a:pt x="789818" y="964617"/>
                    <a:pt x="793386" y="964549"/>
                    <a:pt x="793655" y="964482"/>
                  </a:cubicBezTo>
                  <a:cubicBezTo>
                    <a:pt x="793958" y="964415"/>
                    <a:pt x="796347" y="963742"/>
                    <a:pt x="796347" y="963742"/>
                  </a:cubicBezTo>
                  <a:cubicBezTo>
                    <a:pt x="796347" y="963742"/>
                    <a:pt x="798973" y="961858"/>
                    <a:pt x="799612" y="961353"/>
                  </a:cubicBezTo>
                  <a:cubicBezTo>
                    <a:pt x="800251" y="960849"/>
                    <a:pt x="801497" y="960277"/>
                    <a:pt x="801497" y="960277"/>
                  </a:cubicBezTo>
                  <a:lnTo>
                    <a:pt x="801497" y="958763"/>
                  </a:lnTo>
                  <a:lnTo>
                    <a:pt x="799444" y="956745"/>
                  </a:lnTo>
                  <a:lnTo>
                    <a:pt x="798905" y="954155"/>
                  </a:lnTo>
                  <a:cubicBezTo>
                    <a:pt x="798905" y="954155"/>
                    <a:pt x="798905" y="951766"/>
                    <a:pt x="798973" y="951463"/>
                  </a:cubicBezTo>
                  <a:cubicBezTo>
                    <a:pt x="799040" y="951161"/>
                    <a:pt x="800588" y="949142"/>
                    <a:pt x="800723" y="948940"/>
                  </a:cubicBezTo>
                  <a:cubicBezTo>
                    <a:pt x="800857" y="948739"/>
                    <a:pt x="803045" y="946485"/>
                    <a:pt x="803045" y="946485"/>
                  </a:cubicBezTo>
                  <a:lnTo>
                    <a:pt x="807756" y="943726"/>
                  </a:lnTo>
                  <a:lnTo>
                    <a:pt x="809708" y="942986"/>
                  </a:lnTo>
                  <a:lnTo>
                    <a:pt x="812401" y="942616"/>
                  </a:lnTo>
                  <a:lnTo>
                    <a:pt x="814420" y="943625"/>
                  </a:lnTo>
                  <a:lnTo>
                    <a:pt x="816170" y="945947"/>
                  </a:lnTo>
                  <a:cubicBezTo>
                    <a:pt x="816170" y="945947"/>
                    <a:pt x="817617" y="947258"/>
                    <a:pt x="818054" y="948604"/>
                  </a:cubicBezTo>
                  <a:cubicBezTo>
                    <a:pt x="818492" y="949983"/>
                    <a:pt x="818694" y="950286"/>
                    <a:pt x="818761" y="950555"/>
                  </a:cubicBezTo>
                  <a:cubicBezTo>
                    <a:pt x="818828" y="950858"/>
                    <a:pt x="819401" y="953751"/>
                    <a:pt x="819468" y="954020"/>
                  </a:cubicBezTo>
                  <a:cubicBezTo>
                    <a:pt x="819535" y="954323"/>
                    <a:pt x="821151" y="956711"/>
                    <a:pt x="821218" y="956913"/>
                  </a:cubicBezTo>
                  <a:cubicBezTo>
                    <a:pt x="821286" y="957115"/>
                    <a:pt x="822093" y="959167"/>
                    <a:pt x="822093" y="960243"/>
                  </a:cubicBezTo>
                  <a:cubicBezTo>
                    <a:pt x="822093" y="961320"/>
                    <a:pt x="823103" y="961892"/>
                    <a:pt x="823103" y="962565"/>
                  </a:cubicBezTo>
                  <a:cubicBezTo>
                    <a:pt x="823103" y="963204"/>
                    <a:pt x="824987" y="963506"/>
                    <a:pt x="825189" y="963305"/>
                  </a:cubicBezTo>
                  <a:cubicBezTo>
                    <a:pt x="825391" y="963103"/>
                    <a:pt x="826266" y="963103"/>
                    <a:pt x="826771" y="962565"/>
                  </a:cubicBezTo>
                  <a:cubicBezTo>
                    <a:pt x="827276" y="962060"/>
                    <a:pt x="827411" y="960176"/>
                    <a:pt x="827781" y="959806"/>
                  </a:cubicBezTo>
                  <a:cubicBezTo>
                    <a:pt x="828151" y="959436"/>
                    <a:pt x="828286" y="957855"/>
                    <a:pt x="828723" y="957115"/>
                  </a:cubicBezTo>
                  <a:cubicBezTo>
                    <a:pt x="829161" y="956375"/>
                    <a:pt x="829161" y="954592"/>
                    <a:pt x="829531" y="953986"/>
                  </a:cubicBezTo>
                  <a:cubicBezTo>
                    <a:pt x="829901" y="953415"/>
                    <a:pt x="829800" y="952607"/>
                    <a:pt x="829733" y="952405"/>
                  </a:cubicBezTo>
                  <a:cubicBezTo>
                    <a:pt x="829666" y="952170"/>
                    <a:pt x="830541" y="950892"/>
                    <a:pt x="831045" y="950017"/>
                  </a:cubicBezTo>
                  <a:cubicBezTo>
                    <a:pt x="831550" y="949142"/>
                    <a:pt x="831483" y="948772"/>
                    <a:pt x="831617" y="948436"/>
                  </a:cubicBezTo>
                  <a:cubicBezTo>
                    <a:pt x="831752" y="948066"/>
                    <a:pt x="832695" y="947191"/>
                    <a:pt x="833300" y="946417"/>
                  </a:cubicBezTo>
                  <a:cubicBezTo>
                    <a:pt x="833872" y="945610"/>
                    <a:pt x="834175" y="944971"/>
                    <a:pt x="834747" y="944231"/>
                  </a:cubicBezTo>
                  <a:cubicBezTo>
                    <a:pt x="835319" y="943491"/>
                    <a:pt x="835555" y="942986"/>
                    <a:pt x="835757" y="941910"/>
                  </a:cubicBezTo>
                  <a:cubicBezTo>
                    <a:pt x="835959" y="940833"/>
                    <a:pt x="836834" y="939723"/>
                    <a:pt x="837137" y="939151"/>
                  </a:cubicBezTo>
                  <a:cubicBezTo>
                    <a:pt x="837440" y="938579"/>
                    <a:pt x="838517" y="937469"/>
                    <a:pt x="839089" y="936763"/>
                  </a:cubicBezTo>
                  <a:cubicBezTo>
                    <a:pt x="839661" y="936023"/>
                    <a:pt x="840671" y="936460"/>
                    <a:pt x="841276" y="936023"/>
                  </a:cubicBezTo>
                  <a:cubicBezTo>
                    <a:pt x="841848" y="935586"/>
                    <a:pt x="842791" y="935821"/>
                    <a:pt x="843295" y="935586"/>
                  </a:cubicBezTo>
                  <a:cubicBezTo>
                    <a:pt x="843800" y="935350"/>
                    <a:pt x="844877" y="935586"/>
                    <a:pt x="846930" y="935586"/>
                  </a:cubicBezTo>
                  <a:cubicBezTo>
                    <a:pt x="848950" y="935586"/>
                    <a:pt x="849387" y="937032"/>
                    <a:pt x="849387" y="937032"/>
                  </a:cubicBezTo>
                  <a:lnTo>
                    <a:pt x="848882" y="938546"/>
                  </a:lnTo>
                  <a:cubicBezTo>
                    <a:pt x="848882" y="938546"/>
                    <a:pt x="848579" y="939622"/>
                    <a:pt x="848579" y="939925"/>
                  </a:cubicBezTo>
                  <a:cubicBezTo>
                    <a:pt x="848579" y="940228"/>
                    <a:pt x="848579" y="942448"/>
                    <a:pt x="848512" y="942684"/>
                  </a:cubicBezTo>
                  <a:cubicBezTo>
                    <a:pt x="848445" y="942919"/>
                    <a:pt x="848445" y="944433"/>
                    <a:pt x="848377" y="944937"/>
                  </a:cubicBezTo>
                  <a:cubicBezTo>
                    <a:pt x="848310" y="945442"/>
                    <a:pt x="847637" y="947090"/>
                    <a:pt x="847435" y="947830"/>
                  </a:cubicBezTo>
                  <a:cubicBezTo>
                    <a:pt x="847199" y="948537"/>
                    <a:pt x="846863" y="950084"/>
                    <a:pt x="846930" y="950286"/>
                  </a:cubicBezTo>
                  <a:cubicBezTo>
                    <a:pt x="846998" y="950488"/>
                    <a:pt x="848377" y="952977"/>
                    <a:pt x="848680" y="953684"/>
                  </a:cubicBezTo>
                  <a:cubicBezTo>
                    <a:pt x="848983" y="954390"/>
                    <a:pt x="850632" y="956207"/>
                    <a:pt x="850700" y="956509"/>
                  </a:cubicBezTo>
                  <a:cubicBezTo>
                    <a:pt x="850767" y="956812"/>
                    <a:pt x="851776" y="959974"/>
                    <a:pt x="851776" y="960277"/>
                  </a:cubicBezTo>
                  <a:cubicBezTo>
                    <a:pt x="851776" y="960580"/>
                    <a:pt x="852281" y="963305"/>
                    <a:pt x="852349" y="964112"/>
                  </a:cubicBezTo>
                  <a:cubicBezTo>
                    <a:pt x="852416" y="964919"/>
                    <a:pt x="853560" y="966198"/>
                    <a:pt x="853560" y="966198"/>
                  </a:cubicBezTo>
                  <a:cubicBezTo>
                    <a:pt x="853560" y="966198"/>
                    <a:pt x="856185" y="969091"/>
                    <a:pt x="856320" y="969461"/>
                  </a:cubicBezTo>
                  <a:cubicBezTo>
                    <a:pt x="856454" y="969831"/>
                    <a:pt x="859450" y="972926"/>
                    <a:pt x="860325" y="974103"/>
                  </a:cubicBezTo>
                  <a:cubicBezTo>
                    <a:pt x="861200" y="975247"/>
                    <a:pt x="863892" y="975852"/>
                    <a:pt x="863892" y="975852"/>
                  </a:cubicBezTo>
                  <a:cubicBezTo>
                    <a:pt x="863892" y="975852"/>
                    <a:pt x="866349" y="976222"/>
                    <a:pt x="866854" y="976222"/>
                  </a:cubicBezTo>
                  <a:cubicBezTo>
                    <a:pt x="867358" y="976222"/>
                    <a:pt x="871767" y="977030"/>
                    <a:pt x="871767" y="977030"/>
                  </a:cubicBezTo>
                  <a:lnTo>
                    <a:pt x="875032" y="977971"/>
                  </a:lnTo>
                  <a:lnTo>
                    <a:pt x="880450" y="979855"/>
                  </a:lnTo>
                  <a:lnTo>
                    <a:pt x="884287" y="981672"/>
                  </a:lnTo>
                  <a:cubicBezTo>
                    <a:pt x="884287" y="981672"/>
                    <a:pt x="888931" y="984868"/>
                    <a:pt x="889133" y="985069"/>
                  </a:cubicBezTo>
                  <a:cubicBezTo>
                    <a:pt x="889335" y="985271"/>
                    <a:pt x="893609" y="988198"/>
                    <a:pt x="893912" y="988332"/>
                  </a:cubicBezTo>
                  <a:cubicBezTo>
                    <a:pt x="894215" y="988467"/>
                    <a:pt x="895931" y="990149"/>
                    <a:pt x="895931" y="990149"/>
                  </a:cubicBezTo>
                  <a:lnTo>
                    <a:pt x="897950" y="990654"/>
                  </a:lnTo>
                  <a:lnTo>
                    <a:pt x="899532" y="990654"/>
                  </a:lnTo>
                  <a:lnTo>
                    <a:pt x="900912" y="990855"/>
                  </a:lnTo>
                  <a:cubicBezTo>
                    <a:pt x="900912" y="990855"/>
                    <a:pt x="902157" y="990923"/>
                    <a:pt x="902427" y="990923"/>
                  </a:cubicBezTo>
                  <a:cubicBezTo>
                    <a:pt x="902696" y="990923"/>
                    <a:pt x="902932" y="990855"/>
                    <a:pt x="903436" y="990418"/>
                  </a:cubicBezTo>
                  <a:cubicBezTo>
                    <a:pt x="903941" y="989981"/>
                    <a:pt x="904883" y="989981"/>
                    <a:pt x="904883" y="989981"/>
                  </a:cubicBezTo>
                  <a:lnTo>
                    <a:pt x="905893" y="988164"/>
                  </a:lnTo>
                  <a:cubicBezTo>
                    <a:pt x="905893" y="988164"/>
                    <a:pt x="907037" y="987021"/>
                    <a:pt x="907138" y="986718"/>
                  </a:cubicBezTo>
                  <a:cubicBezTo>
                    <a:pt x="907205" y="986415"/>
                    <a:pt x="908080" y="985641"/>
                    <a:pt x="908215" y="985339"/>
                  </a:cubicBezTo>
                  <a:cubicBezTo>
                    <a:pt x="908350" y="985036"/>
                    <a:pt x="909460" y="984195"/>
                    <a:pt x="910100" y="983825"/>
                  </a:cubicBezTo>
                  <a:cubicBezTo>
                    <a:pt x="910739" y="983455"/>
                    <a:pt x="912052" y="982950"/>
                    <a:pt x="912052" y="982950"/>
                  </a:cubicBezTo>
                  <a:lnTo>
                    <a:pt x="913566" y="983690"/>
                  </a:lnTo>
                  <a:lnTo>
                    <a:pt x="915215" y="983690"/>
                  </a:lnTo>
                  <a:lnTo>
                    <a:pt x="917538" y="984195"/>
                  </a:lnTo>
                  <a:cubicBezTo>
                    <a:pt x="917538" y="984195"/>
                    <a:pt x="919557" y="984632"/>
                    <a:pt x="920062" y="984632"/>
                  </a:cubicBezTo>
                  <a:cubicBezTo>
                    <a:pt x="920567" y="984632"/>
                    <a:pt x="922148" y="985944"/>
                    <a:pt x="922148" y="985944"/>
                  </a:cubicBezTo>
                  <a:lnTo>
                    <a:pt x="924167" y="987256"/>
                  </a:lnTo>
                  <a:lnTo>
                    <a:pt x="927634" y="988635"/>
                  </a:lnTo>
                  <a:lnTo>
                    <a:pt x="928273" y="989039"/>
                  </a:lnTo>
                  <a:lnTo>
                    <a:pt x="928273" y="986314"/>
                  </a:lnTo>
                  <a:lnTo>
                    <a:pt x="925076" y="979351"/>
                  </a:lnTo>
                  <a:lnTo>
                    <a:pt x="921442" y="973396"/>
                  </a:lnTo>
                  <a:cubicBezTo>
                    <a:pt x="921442" y="973396"/>
                    <a:pt x="919557" y="970638"/>
                    <a:pt x="919557" y="970066"/>
                  </a:cubicBezTo>
                  <a:cubicBezTo>
                    <a:pt x="919557" y="969494"/>
                    <a:pt x="919557" y="965424"/>
                    <a:pt x="919557" y="965424"/>
                  </a:cubicBezTo>
                  <a:lnTo>
                    <a:pt x="921307" y="961219"/>
                  </a:lnTo>
                  <a:lnTo>
                    <a:pt x="923898" y="955567"/>
                  </a:lnTo>
                  <a:lnTo>
                    <a:pt x="923191" y="949176"/>
                  </a:lnTo>
                  <a:lnTo>
                    <a:pt x="918413" y="945274"/>
                  </a:lnTo>
                  <a:lnTo>
                    <a:pt x="921610" y="941237"/>
                  </a:lnTo>
                  <a:lnTo>
                    <a:pt x="920600" y="928622"/>
                  </a:lnTo>
                  <a:lnTo>
                    <a:pt x="919456" y="916310"/>
                  </a:lnTo>
                  <a:cubicBezTo>
                    <a:pt x="919456" y="916310"/>
                    <a:pt x="916831" y="909952"/>
                    <a:pt x="916561" y="909515"/>
                  </a:cubicBezTo>
                  <a:cubicBezTo>
                    <a:pt x="916259" y="909077"/>
                    <a:pt x="916561" y="905747"/>
                    <a:pt x="916561" y="905747"/>
                  </a:cubicBezTo>
                  <a:lnTo>
                    <a:pt x="916427" y="901677"/>
                  </a:lnTo>
                  <a:lnTo>
                    <a:pt x="911917" y="899356"/>
                  </a:lnTo>
                  <a:lnTo>
                    <a:pt x="909158" y="896160"/>
                  </a:lnTo>
                  <a:lnTo>
                    <a:pt x="909158" y="888927"/>
                  </a:lnTo>
                  <a:lnTo>
                    <a:pt x="904076" y="881089"/>
                  </a:lnTo>
                  <a:lnTo>
                    <a:pt x="899734" y="873991"/>
                  </a:lnTo>
                  <a:lnTo>
                    <a:pt x="897715" y="866456"/>
                  </a:lnTo>
                  <a:cubicBezTo>
                    <a:pt x="897715" y="866456"/>
                    <a:pt x="893508" y="862117"/>
                    <a:pt x="893508" y="861545"/>
                  </a:cubicBezTo>
                  <a:cubicBezTo>
                    <a:pt x="893508" y="860973"/>
                    <a:pt x="893508" y="857643"/>
                    <a:pt x="893508" y="857643"/>
                  </a:cubicBezTo>
                  <a:lnTo>
                    <a:pt x="890479" y="854884"/>
                  </a:lnTo>
                  <a:cubicBezTo>
                    <a:pt x="890479" y="854884"/>
                    <a:pt x="887282" y="851857"/>
                    <a:pt x="886575" y="851554"/>
                  </a:cubicBezTo>
                  <a:cubicBezTo>
                    <a:pt x="885835" y="851251"/>
                    <a:pt x="881224" y="846777"/>
                    <a:pt x="880619" y="846205"/>
                  </a:cubicBezTo>
                  <a:cubicBezTo>
                    <a:pt x="880046" y="845633"/>
                    <a:pt x="876984" y="840554"/>
                    <a:pt x="876984" y="840554"/>
                  </a:cubicBezTo>
                  <a:lnTo>
                    <a:pt x="878296" y="837661"/>
                  </a:lnTo>
                  <a:cubicBezTo>
                    <a:pt x="878296" y="837661"/>
                    <a:pt x="882368" y="833893"/>
                    <a:pt x="882941" y="833321"/>
                  </a:cubicBezTo>
                  <a:cubicBezTo>
                    <a:pt x="883513" y="832749"/>
                    <a:pt x="885566" y="830697"/>
                    <a:pt x="886272" y="830428"/>
                  </a:cubicBezTo>
                  <a:cubicBezTo>
                    <a:pt x="887013" y="830125"/>
                    <a:pt x="888729" y="830428"/>
                    <a:pt x="888729" y="830428"/>
                  </a:cubicBezTo>
                  <a:lnTo>
                    <a:pt x="894518" y="832177"/>
                  </a:lnTo>
                  <a:lnTo>
                    <a:pt x="901484" y="829150"/>
                  </a:lnTo>
                  <a:lnTo>
                    <a:pt x="901619" y="826257"/>
                  </a:lnTo>
                  <a:lnTo>
                    <a:pt x="900037" y="823061"/>
                  </a:lnTo>
                  <a:lnTo>
                    <a:pt x="905085" y="820874"/>
                  </a:lnTo>
                  <a:lnTo>
                    <a:pt x="907710" y="822186"/>
                  </a:lnTo>
                  <a:lnTo>
                    <a:pt x="910167" y="819428"/>
                  </a:lnTo>
                  <a:lnTo>
                    <a:pt x="915686" y="814079"/>
                  </a:lnTo>
                  <a:lnTo>
                    <a:pt x="919759" y="806544"/>
                  </a:lnTo>
                  <a:lnTo>
                    <a:pt x="925413" y="800455"/>
                  </a:lnTo>
                  <a:lnTo>
                    <a:pt x="924538" y="791911"/>
                  </a:lnTo>
                  <a:cubicBezTo>
                    <a:pt x="924538" y="791911"/>
                    <a:pt x="929451" y="792348"/>
                    <a:pt x="930057" y="791911"/>
                  </a:cubicBezTo>
                  <a:cubicBezTo>
                    <a:pt x="930629" y="791473"/>
                    <a:pt x="933759" y="791339"/>
                    <a:pt x="933759" y="791339"/>
                  </a:cubicBezTo>
                  <a:cubicBezTo>
                    <a:pt x="933759" y="791339"/>
                    <a:pt x="935274" y="786259"/>
                    <a:pt x="935274" y="785553"/>
                  </a:cubicBezTo>
                  <a:cubicBezTo>
                    <a:pt x="935274" y="784846"/>
                    <a:pt x="935274" y="781213"/>
                    <a:pt x="935274" y="781213"/>
                  </a:cubicBezTo>
                  <a:lnTo>
                    <a:pt x="936149" y="778085"/>
                  </a:lnTo>
                  <a:lnTo>
                    <a:pt x="938168" y="776840"/>
                  </a:lnTo>
                  <a:lnTo>
                    <a:pt x="939615" y="776840"/>
                  </a:lnTo>
                  <a:cubicBezTo>
                    <a:pt x="939615" y="776840"/>
                    <a:pt x="942947" y="777715"/>
                    <a:pt x="943519" y="777715"/>
                  </a:cubicBezTo>
                  <a:cubicBezTo>
                    <a:pt x="944091" y="777715"/>
                    <a:pt x="950486" y="778724"/>
                    <a:pt x="950486" y="778724"/>
                  </a:cubicBezTo>
                  <a:cubicBezTo>
                    <a:pt x="950486" y="778724"/>
                    <a:pt x="958158" y="781920"/>
                    <a:pt x="958596" y="781920"/>
                  </a:cubicBezTo>
                  <a:cubicBezTo>
                    <a:pt x="959034" y="781920"/>
                    <a:pt x="963510" y="781348"/>
                    <a:pt x="964553" y="781348"/>
                  </a:cubicBezTo>
                  <a:cubicBezTo>
                    <a:pt x="965596" y="781348"/>
                    <a:pt x="1011804" y="783803"/>
                    <a:pt x="1011804" y="783803"/>
                  </a:cubicBezTo>
                  <a:lnTo>
                    <a:pt x="1028328" y="783803"/>
                  </a:lnTo>
                  <a:lnTo>
                    <a:pt x="1040781" y="778287"/>
                  </a:lnTo>
                  <a:lnTo>
                    <a:pt x="1045425" y="771929"/>
                  </a:lnTo>
                  <a:lnTo>
                    <a:pt x="1046569" y="767757"/>
                  </a:lnTo>
                  <a:lnTo>
                    <a:pt x="1046569" y="763822"/>
                  </a:lnTo>
                  <a:lnTo>
                    <a:pt x="1044819" y="761231"/>
                  </a:lnTo>
                  <a:lnTo>
                    <a:pt x="1043069" y="758910"/>
                  </a:lnTo>
                  <a:lnTo>
                    <a:pt x="1040612" y="757531"/>
                  </a:lnTo>
                  <a:lnTo>
                    <a:pt x="1040208" y="754705"/>
                  </a:lnTo>
                  <a:lnTo>
                    <a:pt x="1039603" y="750366"/>
                  </a:lnTo>
                  <a:lnTo>
                    <a:pt x="1039603" y="748179"/>
                  </a:lnTo>
                  <a:lnTo>
                    <a:pt x="1041555" y="745051"/>
                  </a:lnTo>
                  <a:lnTo>
                    <a:pt x="1042800" y="742090"/>
                  </a:lnTo>
                  <a:lnTo>
                    <a:pt x="1043944" y="736439"/>
                  </a:lnTo>
                  <a:lnTo>
                    <a:pt x="1045089" y="730350"/>
                  </a:lnTo>
                  <a:cubicBezTo>
                    <a:pt x="1045089" y="730350"/>
                    <a:pt x="1046973" y="725136"/>
                    <a:pt x="1047276" y="724699"/>
                  </a:cubicBezTo>
                  <a:cubicBezTo>
                    <a:pt x="1047579" y="724261"/>
                    <a:pt x="1051920" y="720359"/>
                    <a:pt x="1051920" y="720359"/>
                  </a:cubicBezTo>
                  <a:lnTo>
                    <a:pt x="1056699" y="716592"/>
                  </a:lnTo>
                  <a:lnTo>
                    <a:pt x="1057709" y="707307"/>
                  </a:lnTo>
                  <a:lnTo>
                    <a:pt x="1055959" y="690083"/>
                  </a:lnTo>
                  <a:lnTo>
                    <a:pt x="1059089" y="684432"/>
                  </a:lnTo>
                  <a:lnTo>
                    <a:pt x="1061344" y="680530"/>
                  </a:lnTo>
                  <a:lnTo>
                    <a:pt x="1064474" y="676392"/>
                  </a:lnTo>
                  <a:lnTo>
                    <a:pt x="1067132" y="672423"/>
                  </a:lnTo>
                  <a:lnTo>
                    <a:pt x="1068848" y="670673"/>
                  </a:lnTo>
                  <a:lnTo>
                    <a:pt x="1070901" y="668857"/>
                  </a:lnTo>
                  <a:lnTo>
                    <a:pt x="1070901" y="666468"/>
                  </a:lnTo>
                  <a:lnTo>
                    <a:pt x="1068579" y="658193"/>
                  </a:lnTo>
                  <a:cubicBezTo>
                    <a:pt x="1068579" y="658193"/>
                    <a:pt x="1068512" y="651970"/>
                    <a:pt x="1068512" y="651667"/>
                  </a:cubicBezTo>
                  <a:cubicBezTo>
                    <a:pt x="1068512" y="651364"/>
                    <a:pt x="1068882" y="646083"/>
                    <a:pt x="1068950" y="645814"/>
                  </a:cubicBezTo>
                  <a:cubicBezTo>
                    <a:pt x="1069017" y="645511"/>
                    <a:pt x="1072416" y="641407"/>
                    <a:pt x="1072416" y="641407"/>
                  </a:cubicBezTo>
                  <a:lnTo>
                    <a:pt x="1077935" y="635688"/>
                  </a:lnTo>
                  <a:lnTo>
                    <a:pt x="1079820" y="632862"/>
                  </a:lnTo>
                  <a:lnTo>
                    <a:pt x="1079517" y="627278"/>
                  </a:lnTo>
                  <a:lnTo>
                    <a:pt x="1077060" y="623006"/>
                  </a:lnTo>
                  <a:lnTo>
                    <a:pt x="1072012" y="615841"/>
                  </a:lnTo>
                  <a:lnTo>
                    <a:pt x="1073392" y="609079"/>
                  </a:lnTo>
                  <a:cubicBezTo>
                    <a:pt x="1073392" y="609079"/>
                    <a:pt x="1074603" y="603361"/>
                    <a:pt x="1074738" y="603293"/>
                  </a:cubicBezTo>
                  <a:cubicBezTo>
                    <a:pt x="1074873" y="603226"/>
                    <a:pt x="1079281" y="599828"/>
                    <a:pt x="1079281" y="599828"/>
                  </a:cubicBezTo>
                  <a:lnTo>
                    <a:pt x="1080426" y="596027"/>
                  </a:lnTo>
                  <a:lnTo>
                    <a:pt x="1079887" y="586473"/>
                  </a:lnTo>
                  <a:cubicBezTo>
                    <a:pt x="1079887" y="586473"/>
                    <a:pt x="1078911" y="584859"/>
                    <a:pt x="1078743" y="584657"/>
                  </a:cubicBezTo>
                  <a:cubicBezTo>
                    <a:pt x="1078608" y="584489"/>
                    <a:pt x="1077767" y="580385"/>
                    <a:pt x="1077767" y="580250"/>
                  </a:cubicBezTo>
                  <a:cubicBezTo>
                    <a:pt x="1077767" y="580116"/>
                    <a:pt x="1076051" y="575036"/>
                    <a:pt x="1076051" y="575036"/>
                  </a:cubicBezTo>
                  <a:lnTo>
                    <a:pt x="1076556" y="570293"/>
                  </a:lnTo>
                  <a:lnTo>
                    <a:pt x="1076724" y="564339"/>
                  </a:lnTo>
                  <a:lnTo>
                    <a:pt x="1077060" y="556400"/>
                  </a:lnTo>
                  <a:lnTo>
                    <a:pt x="1076892" y="546106"/>
                  </a:lnTo>
                  <a:lnTo>
                    <a:pt x="1079382" y="540656"/>
                  </a:lnTo>
                  <a:lnTo>
                    <a:pt x="1081772" y="535644"/>
                  </a:lnTo>
                  <a:lnTo>
                    <a:pt x="1083084" y="528243"/>
                  </a:lnTo>
                  <a:lnTo>
                    <a:pt x="1083084" y="523904"/>
                  </a:lnTo>
                  <a:lnTo>
                    <a:pt x="1080257" y="519228"/>
                  </a:lnTo>
                  <a:lnTo>
                    <a:pt x="1079382" y="516503"/>
                  </a:lnTo>
                  <a:lnTo>
                    <a:pt x="1078743" y="510650"/>
                  </a:lnTo>
                  <a:cubicBezTo>
                    <a:pt x="1078743" y="510650"/>
                    <a:pt x="1079382" y="507925"/>
                    <a:pt x="1079382" y="507488"/>
                  </a:cubicBezTo>
                  <a:cubicBezTo>
                    <a:pt x="1079382" y="507050"/>
                    <a:pt x="1081671" y="504662"/>
                    <a:pt x="1081873" y="504325"/>
                  </a:cubicBezTo>
                  <a:cubicBezTo>
                    <a:pt x="1082075" y="503989"/>
                    <a:pt x="1087729" y="499448"/>
                    <a:pt x="1087729" y="499448"/>
                  </a:cubicBezTo>
                  <a:lnTo>
                    <a:pt x="1097623" y="491744"/>
                  </a:lnTo>
                  <a:lnTo>
                    <a:pt x="1100551" y="487169"/>
                  </a:lnTo>
                  <a:lnTo>
                    <a:pt x="1104623" y="481955"/>
                  </a:lnTo>
                  <a:lnTo>
                    <a:pt x="1107383" y="477279"/>
                  </a:lnTo>
                  <a:lnTo>
                    <a:pt x="1107383" y="470013"/>
                  </a:lnTo>
                  <a:lnTo>
                    <a:pt x="1108460" y="462175"/>
                  </a:lnTo>
                  <a:lnTo>
                    <a:pt x="1107787" y="452823"/>
                  </a:lnTo>
                  <a:lnTo>
                    <a:pt x="1106171" y="448484"/>
                  </a:lnTo>
                  <a:lnTo>
                    <a:pt x="1099104" y="445759"/>
                  </a:lnTo>
                  <a:lnTo>
                    <a:pt x="1096042" y="444783"/>
                  </a:lnTo>
                  <a:lnTo>
                    <a:pt x="1092575" y="444783"/>
                  </a:lnTo>
                  <a:lnTo>
                    <a:pt x="1088772" y="441857"/>
                  </a:lnTo>
                  <a:lnTo>
                    <a:pt x="1086483" y="439569"/>
                  </a:lnTo>
                  <a:lnTo>
                    <a:pt x="1085508" y="437181"/>
                  </a:lnTo>
                  <a:lnTo>
                    <a:pt x="1086719" y="432740"/>
                  </a:lnTo>
                  <a:lnTo>
                    <a:pt x="1087493" y="426113"/>
                  </a:lnTo>
                  <a:lnTo>
                    <a:pt x="1088536" y="421875"/>
                  </a:lnTo>
                  <a:lnTo>
                    <a:pt x="1091734" y="418713"/>
                  </a:lnTo>
                  <a:lnTo>
                    <a:pt x="1091734" y="414373"/>
                  </a:lnTo>
                  <a:lnTo>
                    <a:pt x="1089546" y="408822"/>
                  </a:lnTo>
                  <a:lnTo>
                    <a:pt x="1090522" y="405660"/>
                  </a:lnTo>
                  <a:lnTo>
                    <a:pt x="1093988" y="401422"/>
                  </a:lnTo>
                  <a:lnTo>
                    <a:pt x="1098465" y="399672"/>
                  </a:lnTo>
                  <a:lnTo>
                    <a:pt x="1104321" y="393920"/>
                  </a:lnTo>
                  <a:lnTo>
                    <a:pt x="1107787" y="390455"/>
                  </a:lnTo>
                  <a:cubicBezTo>
                    <a:pt x="1107787" y="390455"/>
                    <a:pt x="1109200" y="390455"/>
                    <a:pt x="1109301" y="389143"/>
                  </a:cubicBezTo>
                  <a:cubicBezTo>
                    <a:pt x="1109436" y="387932"/>
                    <a:pt x="1109167" y="386721"/>
                    <a:pt x="1109167" y="386721"/>
                  </a:cubicBez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38" name="Freeform 904">
              <a:extLst>
                <a:ext uri="{FF2B5EF4-FFF2-40B4-BE49-F238E27FC236}">
                  <a16:creationId xmlns:a16="http://schemas.microsoft.com/office/drawing/2014/main" id="{89130B60-4460-9160-841F-2D938193781D}"/>
                </a:ext>
              </a:extLst>
            </p:cNvPr>
            <p:cNvSpPr/>
            <p:nvPr/>
          </p:nvSpPr>
          <p:spPr>
            <a:xfrm>
              <a:off x="7761032" y="2478268"/>
              <a:ext cx="194993" cy="371230"/>
            </a:xfrm>
            <a:custGeom>
              <a:avLst/>
              <a:gdLst>
                <a:gd name="connsiteX0" fmla="*/ 313721 w 374366"/>
                <a:gd name="connsiteY0" fmla="*/ 500659 h 712723"/>
                <a:gd name="connsiteX1" fmla="*/ 306552 w 374366"/>
                <a:gd name="connsiteY1" fmla="*/ 495007 h 712723"/>
                <a:gd name="connsiteX2" fmla="*/ 301773 w 374366"/>
                <a:gd name="connsiteY2" fmla="*/ 490870 h 712723"/>
                <a:gd name="connsiteX3" fmla="*/ 301773 w 374366"/>
                <a:gd name="connsiteY3" fmla="*/ 486732 h 712723"/>
                <a:gd name="connsiteX4" fmla="*/ 301773 w 374366"/>
                <a:gd name="connsiteY4" fmla="*/ 482830 h 712723"/>
                <a:gd name="connsiteX5" fmla="*/ 299821 w 374366"/>
                <a:gd name="connsiteY5" fmla="*/ 480643 h 712723"/>
                <a:gd name="connsiteX6" fmla="*/ 296119 w 374366"/>
                <a:gd name="connsiteY6" fmla="*/ 476304 h 712723"/>
                <a:gd name="connsiteX7" fmla="*/ 292215 w 374366"/>
                <a:gd name="connsiteY7" fmla="*/ 472603 h 712723"/>
                <a:gd name="connsiteX8" fmla="*/ 291576 w 374366"/>
                <a:gd name="connsiteY8" fmla="*/ 469340 h 712723"/>
                <a:gd name="connsiteX9" fmla="*/ 297230 w 374366"/>
                <a:gd name="connsiteY9" fmla="*/ 467389 h 712723"/>
                <a:gd name="connsiteX10" fmla="*/ 296994 w 374366"/>
                <a:gd name="connsiteY10" fmla="*/ 466313 h 712723"/>
                <a:gd name="connsiteX11" fmla="*/ 291138 w 374366"/>
                <a:gd name="connsiteY11" fmla="*/ 462848 h 712723"/>
                <a:gd name="connsiteX12" fmla="*/ 291778 w 374366"/>
                <a:gd name="connsiteY12" fmla="*/ 459383 h 712723"/>
                <a:gd name="connsiteX13" fmla="*/ 295917 w 374366"/>
                <a:gd name="connsiteY13" fmla="*/ 457634 h 712723"/>
                <a:gd name="connsiteX14" fmla="*/ 299182 w 374366"/>
                <a:gd name="connsiteY14" fmla="*/ 455245 h 712723"/>
                <a:gd name="connsiteX15" fmla="*/ 303961 w 374366"/>
                <a:gd name="connsiteY15" fmla="*/ 455245 h 712723"/>
                <a:gd name="connsiteX16" fmla="*/ 306788 w 374366"/>
                <a:gd name="connsiteY16" fmla="*/ 451343 h 712723"/>
                <a:gd name="connsiteX17" fmla="*/ 305711 w 374366"/>
                <a:gd name="connsiteY17" fmla="*/ 449392 h 712723"/>
                <a:gd name="connsiteX18" fmla="*/ 305071 w 374366"/>
                <a:gd name="connsiteY18" fmla="*/ 446802 h 712723"/>
                <a:gd name="connsiteX19" fmla="*/ 309413 w 374366"/>
                <a:gd name="connsiteY19" fmla="*/ 445725 h 712723"/>
                <a:gd name="connsiteX20" fmla="*/ 313317 w 374366"/>
                <a:gd name="connsiteY20" fmla="*/ 444413 h 712723"/>
                <a:gd name="connsiteX21" fmla="*/ 315942 w 374366"/>
                <a:gd name="connsiteY21" fmla="*/ 444413 h 712723"/>
                <a:gd name="connsiteX22" fmla="*/ 317692 w 374366"/>
                <a:gd name="connsiteY22" fmla="*/ 444413 h 712723"/>
                <a:gd name="connsiteX23" fmla="*/ 317927 w 374366"/>
                <a:gd name="connsiteY23" fmla="*/ 441587 h 712723"/>
                <a:gd name="connsiteX24" fmla="*/ 317052 w 374366"/>
                <a:gd name="connsiteY24" fmla="*/ 437013 h 712723"/>
                <a:gd name="connsiteX25" fmla="*/ 319004 w 374366"/>
                <a:gd name="connsiteY25" fmla="*/ 430924 h 712723"/>
                <a:gd name="connsiteX26" fmla="*/ 316615 w 374366"/>
                <a:gd name="connsiteY26" fmla="*/ 429410 h 712723"/>
                <a:gd name="connsiteX27" fmla="*/ 315975 w 374366"/>
                <a:gd name="connsiteY27" fmla="*/ 423758 h 712723"/>
                <a:gd name="connsiteX28" fmla="*/ 316177 w 374366"/>
                <a:gd name="connsiteY28" fmla="*/ 418343 h 712723"/>
                <a:gd name="connsiteX29" fmla="*/ 317692 w 374366"/>
                <a:gd name="connsiteY29" fmla="*/ 414642 h 712723"/>
                <a:gd name="connsiteX30" fmla="*/ 321394 w 374366"/>
                <a:gd name="connsiteY30" fmla="*/ 410740 h 712723"/>
                <a:gd name="connsiteX31" fmla="*/ 324221 w 374366"/>
                <a:gd name="connsiteY31" fmla="*/ 405526 h 712723"/>
                <a:gd name="connsiteX32" fmla="*/ 326173 w 374366"/>
                <a:gd name="connsiteY32" fmla="*/ 399942 h 712723"/>
                <a:gd name="connsiteX33" fmla="*/ 330380 w 374366"/>
                <a:gd name="connsiteY33" fmla="*/ 395871 h 712723"/>
                <a:gd name="connsiteX34" fmla="*/ 334284 w 374366"/>
                <a:gd name="connsiteY34" fmla="*/ 393987 h 712723"/>
                <a:gd name="connsiteX35" fmla="*/ 335865 w 374366"/>
                <a:gd name="connsiteY35" fmla="*/ 391835 h 712723"/>
                <a:gd name="connsiteX36" fmla="*/ 331793 w 374366"/>
                <a:gd name="connsiteY36" fmla="*/ 387932 h 712723"/>
                <a:gd name="connsiteX37" fmla="*/ 331490 w 374366"/>
                <a:gd name="connsiteY37" fmla="*/ 384905 h 712723"/>
                <a:gd name="connsiteX38" fmla="*/ 333510 w 374366"/>
                <a:gd name="connsiteY38" fmla="*/ 381877 h 712723"/>
                <a:gd name="connsiteX39" fmla="*/ 336539 w 374366"/>
                <a:gd name="connsiteY39" fmla="*/ 379556 h 712723"/>
                <a:gd name="connsiteX40" fmla="*/ 338995 w 374366"/>
                <a:gd name="connsiteY40" fmla="*/ 376932 h 712723"/>
                <a:gd name="connsiteX41" fmla="*/ 341183 w 374366"/>
                <a:gd name="connsiteY41" fmla="*/ 375486 h 712723"/>
                <a:gd name="connsiteX42" fmla="*/ 342495 w 374366"/>
                <a:gd name="connsiteY42" fmla="*/ 372593 h 712723"/>
                <a:gd name="connsiteX43" fmla="*/ 344077 w 374366"/>
                <a:gd name="connsiteY43" fmla="*/ 368119 h 712723"/>
                <a:gd name="connsiteX44" fmla="*/ 346399 w 374366"/>
                <a:gd name="connsiteY44" fmla="*/ 364485 h 712723"/>
                <a:gd name="connsiteX45" fmla="*/ 347712 w 374366"/>
                <a:gd name="connsiteY45" fmla="*/ 358699 h 712723"/>
                <a:gd name="connsiteX46" fmla="*/ 348284 w 374366"/>
                <a:gd name="connsiteY46" fmla="*/ 355504 h 712723"/>
                <a:gd name="connsiteX47" fmla="*/ 348856 w 374366"/>
                <a:gd name="connsiteY47" fmla="*/ 352611 h 712723"/>
                <a:gd name="connsiteX48" fmla="*/ 348856 w 374366"/>
                <a:gd name="connsiteY48" fmla="*/ 350592 h 712723"/>
                <a:gd name="connsiteX49" fmla="*/ 346534 w 374366"/>
                <a:gd name="connsiteY49" fmla="*/ 347834 h 712723"/>
                <a:gd name="connsiteX50" fmla="*/ 343774 w 374366"/>
                <a:gd name="connsiteY50" fmla="*/ 345816 h 712723"/>
                <a:gd name="connsiteX51" fmla="*/ 340880 w 374366"/>
                <a:gd name="connsiteY51" fmla="*/ 344066 h 712723"/>
                <a:gd name="connsiteX52" fmla="*/ 339736 w 374366"/>
                <a:gd name="connsiteY52" fmla="*/ 344066 h 712723"/>
                <a:gd name="connsiteX53" fmla="*/ 336841 w 374366"/>
                <a:gd name="connsiteY53" fmla="*/ 342687 h 712723"/>
                <a:gd name="connsiteX54" fmla="*/ 336707 w 374366"/>
                <a:gd name="connsiteY54" fmla="*/ 340433 h 712723"/>
                <a:gd name="connsiteX55" fmla="*/ 336976 w 374366"/>
                <a:gd name="connsiteY55" fmla="*/ 338179 h 712723"/>
                <a:gd name="connsiteX56" fmla="*/ 336000 w 374366"/>
                <a:gd name="connsiteY56" fmla="*/ 336867 h 712723"/>
                <a:gd name="connsiteX57" fmla="*/ 335697 w 374366"/>
                <a:gd name="connsiteY57" fmla="*/ 334580 h 712723"/>
                <a:gd name="connsiteX58" fmla="*/ 333409 w 374366"/>
                <a:gd name="connsiteY58" fmla="*/ 331317 h 712723"/>
                <a:gd name="connsiteX59" fmla="*/ 331221 w 374366"/>
                <a:gd name="connsiteY59" fmla="*/ 329029 h 712723"/>
                <a:gd name="connsiteX60" fmla="*/ 329808 w 374366"/>
                <a:gd name="connsiteY60" fmla="*/ 327516 h 712723"/>
                <a:gd name="connsiteX61" fmla="*/ 327956 w 374366"/>
                <a:gd name="connsiteY61" fmla="*/ 325464 h 712723"/>
                <a:gd name="connsiteX62" fmla="*/ 325803 w 374366"/>
                <a:gd name="connsiteY62" fmla="*/ 322974 h 712723"/>
                <a:gd name="connsiteX63" fmla="*/ 324389 w 374366"/>
                <a:gd name="connsiteY63" fmla="*/ 320586 h 712723"/>
                <a:gd name="connsiteX64" fmla="*/ 324389 w 374366"/>
                <a:gd name="connsiteY64" fmla="*/ 316885 h 712723"/>
                <a:gd name="connsiteX65" fmla="*/ 324221 w 374366"/>
                <a:gd name="connsiteY65" fmla="*/ 313723 h 712723"/>
                <a:gd name="connsiteX66" fmla="*/ 321663 w 374366"/>
                <a:gd name="connsiteY66" fmla="*/ 311671 h 712723"/>
                <a:gd name="connsiteX67" fmla="*/ 319374 w 374366"/>
                <a:gd name="connsiteY67" fmla="*/ 308206 h 712723"/>
                <a:gd name="connsiteX68" fmla="*/ 319274 w 374366"/>
                <a:gd name="connsiteY68" fmla="*/ 305482 h 712723"/>
                <a:gd name="connsiteX69" fmla="*/ 319812 w 374366"/>
                <a:gd name="connsiteY69" fmla="*/ 302858 h 712723"/>
                <a:gd name="connsiteX70" fmla="*/ 320452 w 374366"/>
                <a:gd name="connsiteY70" fmla="*/ 301243 h 712723"/>
                <a:gd name="connsiteX71" fmla="*/ 320889 w 374366"/>
                <a:gd name="connsiteY71" fmla="*/ 297980 h 712723"/>
                <a:gd name="connsiteX72" fmla="*/ 320889 w 374366"/>
                <a:gd name="connsiteY72" fmla="*/ 295390 h 712723"/>
                <a:gd name="connsiteX73" fmla="*/ 319038 w 374366"/>
                <a:gd name="connsiteY73" fmla="*/ 294851 h 712723"/>
                <a:gd name="connsiteX74" fmla="*/ 316548 w 374366"/>
                <a:gd name="connsiteY74" fmla="*/ 295390 h 712723"/>
                <a:gd name="connsiteX75" fmla="*/ 313081 w 374366"/>
                <a:gd name="connsiteY75" fmla="*/ 295390 h 712723"/>
                <a:gd name="connsiteX76" fmla="*/ 309009 w 374366"/>
                <a:gd name="connsiteY76" fmla="*/ 290377 h 712723"/>
                <a:gd name="connsiteX77" fmla="*/ 306115 w 374366"/>
                <a:gd name="connsiteY77" fmla="*/ 290175 h 712723"/>
                <a:gd name="connsiteX78" fmla="*/ 305542 w 374366"/>
                <a:gd name="connsiteY78" fmla="*/ 290175 h 712723"/>
                <a:gd name="connsiteX79" fmla="*/ 302211 w 374366"/>
                <a:gd name="connsiteY79" fmla="*/ 291185 h 712723"/>
                <a:gd name="connsiteX80" fmla="*/ 298576 w 374366"/>
                <a:gd name="connsiteY80" fmla="*/ 290175 h 712723"/>
                <a:gd name="connsiteX81" fmla="*/ 295379 w 374366"/>
                <a:gd name="connsiteY81" fmla="*/ 287854 h 712723"/>
                <a:gd name="connsiteX82" fmla="*/ 292047 w 374366"/>
                <a:gd name="connsiteY82" fmla="*/ 285668 h 712723"/>
                <a:gd name="connsiteX83" fmla="*/ 290734 w 374366"/>
                <a:gd name="connsiteY83" fmla="*/ 282640 h 712723"/>
                <a:gd name="connsiteX84" fmla="*/ 287403 w 374366"/>
                <a:gd name="connsiteY84" fmla="*/ 277729 h 712723"/>
                <a:gd name="connsiteX85" fmla="*/ 290432 w 374366"/>
                <a:gd name="connsiteY85" fmla="*/ 273961 h 712723"/>
                <a:gd name="connsiteX86" fmla="*/ 291441 w 374366"/>
                <a:gd name="connsiteY86" fmla="*/ 270934 h 712723"/>
                <a:gd name="connsiteX87" fmla="*/ 291172 w 374366"/>
                <a:gd name="connsiteY87" fmla="*/ 268175 h 712723"/>
                <a:gd name="connsiteX88" fmla="*/ 290297 w 374366"/>
                <a:gd name="connsiteY88" fmla="*/ 264105 h 712723"/>
                <a:gd name="connsiteX89" fmla="*/ 289556 w 374366"/>
                <a:gd name="connsiteY89" fmla="*/ 258016 h 712723"/>
                <a:gd name="connsiteX90" fmla="*/ 289556 w 374366"/>
                <a:gd name="connsiteY90" fmla="*/ 253676 h 712723"/>
                <a:gd name="connsiteX91" fmla="*/ 290364 w 374366"/>
                <a:gd name="connsiteY91" fmla="*/ 249606 h 712723"/>
                <a:gd name="connsiteX92" fmla="*/ 292182 w 374366"/>
                <a:gd name="connsiteY92" fmla="*/ 246713 h 712723"/>
                <a:gd name="connsiteX93" fmla="*/ 296826 w 374366"/>
                <a:gd name="connsiteY93" fmla="*/ 243955 h 712723"/>
                <a:gd name="connsiteX94" fmla="*/ 299720 w 374366"/>
                <a:gd name="connsiteY94" fmla="*/ 242945 h 712723"/>
                <a:gd name="connsiteX95" fmla="*/ 304196 w 374366"/>
                <a:gd name="connsiteY95" fmla="*/ 241802 h 712723"/>
                <a:gd name="connsiteX96" fmla="*/ 304937 w 374366"/>
                <a:gd name="connsiteY96" fmla="*/ 239783 h 712723"/>
                <a:gd name="connsiteX97" fmla="*/ 305946 w 374366"/>
                <a:gd name="connsiteY97" fmla="*/ 236890 h 712723"/>
                <a:gd name="connsiteX98" fmla="*/ 311600 w 374366"/>
                <a:gd name="connsiteY98" fmla="*/ 233695 h 712723"/>
                <a:gd name="connsiteX99" fmla="*/ 315672 w 374366"/>
                <a:gd name="connsiteY99" fmla="*/ 230802 h 712723"/>
                <a:gd name="connsiteX100" fmla="*/ 316817 w 374366"/>
                <a:gd name="connsiteY100" fmla="*/ 225587 h 712723"/>
                <a:gd name="connsiteX101" fmla="*/ 317692 w 374366"/>
                <a:gd name="connsiteY101" fmla="*/ 222392 h 712723"/>
                <a:gd name="connsiteX102" fmla="*/ 317389 w 374366"/>
                <a:gd name="connsiteY102" fmla="*/ 220071 h 712723"/>
                <a:gd name="connsiteX103" fmla="*/ 314629 w 374366"/>
                <a:gd name="connsiteY103" fmla="*/ 216303 h 712723"/>
                <a:gd name="connsiteX104" fmla="*/ 311869 w 374366"/>
                <a:gd name="connsiteY104" fmla="*/ 213713 h 712723"/>
                <a:gd name="connsiteX105" fmla="*/ 309548 w 374366"/>
                <a:gd name="connsiteY105" fmla="*/ 210820 h 712723"/>
                <a:gd name="connsiteX106" fmla="*/ 307360 w 374366"/>
                <a:gd name="connsiteY106" fmla="*/ 207489 h 712723"/>
                <a:gd name="connsiteX107" fmla="*/ 306620 w 374366"/>
                <a:gd name="connsiteY107" fmla="*/ 204294 h 712723"/>
                <a:gd name="connsiteX108" fmla="*/ 309076 w 374366"/>
                <a:gd name="connsiteY108" fmla="*/ 201838 h 712723"/>
                <a:gd name="connsiteX109" fmla="*/ 312846 w 374366"/>
                <a:gd name="connsiteY109" fmla="*/ 198070 h 712723"/>
                <a:gd name="connsiteX110" fmla="*/ 314023 w 374366"/>
                <a:gd name="connsiteY110" fmla="*/ 195413 h 712723"/>
                <a:gd name="connsiteX111" fmla="*/ 317793 w 374366"/>
                <a:gd name="connsiteY111" fmla="*/ 194302 h 712723"/>
                <a:gd name="connsiteX112" fmla="*/ 318533 w 374366"/>
                <a:gd name="connsiteY112" fmla="*/ 193899 h 712723"/>
                <a:gd name="connsiteX113" fmla="*/ 320384 w 374366"/>
                <a:gd name="connsiteY113" fmla="*/ 192856 h 712723"/>
                <a:gd name="connsiteX114" fmla="*/ 321125 w 374366"/>
                <a:gd name="connsiteY114" fmla="*/ 190535 h 712723"/>
                <a:gd name="connsiteX115" fmla="*/ 326341 w 374366"/>
                <a:gd name="connsiteY115" fmla="*/ 187070 h 712723"/>
                <a:gd name="connsiteX116" fmla="*/ 330380 w 374366"/>
                <a:gd name="connsiteY116" fmla="*/ 184614 h 712723"/>
                <a:gd name="connsiteX117" fmla="*/ 334452 w 374366"/>
                <a:gd name="connsiteY117" fmla="*/ 185052 h 712723"/>
                <a:gd name="connsiteX118" fmla="*/ 338087 w 374366"/>
                <a:gd name="connsiteY118" fmla="*/ 188247 h 712723"/>
                <a:gd name="connsiteX119" fmla="*/ 344178 w 374366"/>
                <a:gd name="connsiteY119" fmla="*/ 194471 h 712723"/>
                <a:gd name="connsiteX120" fmla="*/ 346635 w 374366"/>
                <a:gd name="connsiteY120" fmla="*/ 194471 h 712723"/>
                <a:gd name="connsiteX121" fmla="*/ 349394 w 374366"/>
                <a:gd name="connsiteY121" fmla="*/ 191443 h 712723"/>
                <a:gd name="connsiteX122" fmla="*/ 353029 w 374366"/>
                <a:gd name="connsiteY122" fmla="*/ 190434 h 712723"/>
                <a:gd name="connsiteX123" fmla="*/ 355620 w 374366"/>
                <a:gd name="connsiteY123" fmla="*/ 188416 h 712723"/>
                <a:gd name="connsiteX124" fmla="*/ 358649 w 374366"/>
                <a:gd name="connsiteY124" fmla="*/ 185220 h 712723"/>
                <a:gd name="connsiteX125" fmla="*/ 362553 w 374366"/>
                <a:gd name="connsiteY125" fmla="*/ 183033 h 712723"/>
                <a:gd name="connsiteX126" fmla="*/ 365010 w 374366"/>
                <a:gd name="connsiteY126" fmla="*/ 182024 h 712723"/>
                <a:gd name="connsiteX127" fmla="*/ 369486 w 374366"/>
                <a:gd name="connsiteY127" fmla="*/ 179837 h 712723"/>
                <a:gd name="connsiteX128" fmla="*/ 371236 w 374366"/>
                <a:gd name="connsiteY128" fmla="*/ 179737 h 712723"/>
                <a:gd name="connsiteX129" fmla="*/ 371236 w 374366"/>
                <a:gd name="connsiteY129" fmla="*/ 177954 h 712723"/>
                <a:gd name="connsiteX130" fmla="*/ 368275 w 374366"/>
                <a:gd name="connsiteY130" fmla="*/ 174489 h 712723"/>
                <a:gd name="connsiteX131" fmla="*/ 366592 w 374366"/>
                <a:gd name="connsiteY131" fmla="*/ 170587 h 712723"/>
                <a:gd name="connsiteX132" fmla="*/ 365010 w 374366"/>
                <a:gd name="connsiteY132" fmla="*/ 166516 h 712723"/>
                <a:gd name="connsiteX133" fmla="*/ 365717 w 374366"/>
                <a:gd name="connsiteY133" fmla="*/ 165944 h 712723"/>
                <a:gd name="connsiteX134" fmla="*/ 367736 w 374366"/>
                <a:gd name="connsiteY134" fmla="*/ 164632 h 712723"/>
                <a:gd name="connsiteX135" fmla="*/ 368443 w 374366"/>
                <a:gd name="connsiteY135" fmla="*/ 162748 h 712723"/>
                <a:gd name="connsiteX136" fmla="*/ 367871 w 374366"/>
                <a:gd name="connsiteY136" fmla="*/ 160730 h 712723"/>
                <a:gd name="connsiteX137" fmla="*/ 366558 w 374366"/>
                <a:gd name="connsiteY137" fmla="*/ 158106 h 712723"/>
                <a:gd name="connsiteX138" fmla="*/ 366996 w 374366"/>
                <a:gd name="connsiteY138" fmla="*/ 155348 h 712723"/>
                <a:gd name="connsiteX139" fmla="*/ 369452 w 374366"/>
                <a:gd name="connsiteY139" fmla="*/ 154339 h 712723"/>
                <a:gd name="connsiteX140" fmla="*/ 370900 w 374366"/>
                <a:gd name="connsiteY140" fmla="*/ 153464 h 712723"/>
                <a:gd name="connsiteX141" fmla="*/ 372650 w 374366"/>
                <a:gd name="connsiteY141" fmla="*/ 147947 h 712723"/>
                <a:gd name="connsiteX142" fmla="*/ 373659 w 374366"/>
                <a:gd name="connsiteY142" fmla="*/ 145357 h 712723"/>
                <a:gd name="connsiteX143" fmla="*/ 373794 w 374366"/>
                <a:gd name="connsiteY143" fmla="*/ 143776 h 712723"/>
                <a:gd name="connsiteX144" fmla="*/ 374366 w 374366"/>
                <a:gd name="connsiteY144" fmla="*/ 139436 h 712723"/>
                <a:gd name="connsiteX145" fmla="*/ 373491 w 374366"/>
                <a:gd name="connsiteY145" fmla="*/ 136241 h 712723"/>
                <a:gd name="connsiteX146" fmla="*/ 373188 w 374366"/>
                <a:gd name="connsiteY146" fmla="*/ 134054 h 712723"/>
                <a:gd name="connsiteX147" fmla="*/ 371169 w 374366"/>
                <a:gd name="connsiteY147" fmla="*/ 131733 h 712723"/>
                <a:gd name="connsiteX148" fmla="*/ 369856 w 374366"/>
                <a:gd name="connsiteY148" fmla="*/ 129849 h 712723"/>
                <a:gd name="connsiteX149" fmla="*/ 368544 w 374366"/>
                <a:gd name="connsiteY149" fmla="*/ 129714 h 712723"/>
                <a:gd name="connsiteX150" fmla="*/ 364774 w 374366"/>
                <a:gd name="connsiteY150" fmla="*/ 128133 h 712723"/>
                <a:gd name="connsiteX151" fmla="*/ 363630 w 374366"/>
                <a:gd name="connsiteY151" fmla="*/ 125509 h 712723"/>
                <a:gd name="connsiteX152" fmla="*/ 362486 w 374366"/>
                <a:gd name="connsiteY152" fmla="*/ 124198 h 712723"/>
                <a:gd name="connsiteX153" fmla="*/ 362486 w 374366"/>
                <a:gd name="connsiteY153" fmla="*/ 120733 h 712723"/>
                <a:gd name="connsiteX154" fmla="*/ 361241 w 374366"/>
                <a:gd name="connsiteY154" fmla="*/ 117705 h 712723"/>
                <a:gd name="connsiteX155" fmla="*/ 361376 w 374366"/>
                <a:gd name="connsiteY155" fmla="*/ 116191 h 712723"/>
                <a:gd name="connsiteX156" fmla="*/ 363563 w 374366"/>
                <a:gd name="connsiteY156" fmla="*/ 112289 h 712723"/>
                <a:gd name="connsiteX157" fmla="*/ 364203 w 374366"/>
                <a:gd name="connsiteY157" fmla="*/ 111414 h 712723"/>
                <a:gd name="connsiteX158" fmla="*/ 365279 w 374366"/>
                <a:gd name="connsiteY158" fmla="*/ 108589 h 712723"/>
                <a:gd name="connsiteX159" fmla="*/ 365515 w 374366"/>
                <a:gd name="connsiteY159" fmla="*/ 105763 h 712723"/>
                <a:gd name="connsiteX160" fmla="*/ 363563 w 374366"/>
                <a:gd name="connsiteY160" fmla="*/ 102937 h 712723"/>
                <a:gd name="connsiteX161" fmla="*/ 362688 w 374366"/>
                <a:gd name="connsiteY161" fmla="*/ 101188 h 712723"/>
                <a:gd name="connsiteX162" fmla="*/ 361611 w 374366"/>
                <a:gd name="connsiteY162" fmla="*/ 100751 h 712723"/>
                <a:gd name="connsiteX163" fmla="*/ 358347 w 374366"/>
                <a:gd name="connsiteY163" fmla="*/ 100751 h 712723"/>
                <a:gd name="connsiteX164" fmla="*/ 353332 w 374366"/>
                <a:gd name="connsiteY164" fmla="*/ 100852 h 712723"/>
                <a:gd name="connsiteX165" fmla="*/ 349428 w 374366"/>
                <a:gd name="connsiteY165" fmla="*/ 100313 h 712723"/>
                <a:gd name="connsiteX166" fmla="*/ 343336 w 374366"/>
                <a:gd name="connsiteY166" fmla="*/ 99876 h 712723"/>
                <a:gd name="connsiteX167" fmla="*/ 338995 w 374366"/>
                <a:gd name="connsiteY167" fmla="*/ 98362 h 712723"/>
                <a:gd name="connsiteX168" fmla="*/ 333106 w 374366"/>
                <a:gd name="connsiteY168" fmla="*/ 95738 h 712723"/>
                <a:gd name="connsiteX169" fmla="*/ 332029 w 374366"/>
                <a:gd name="connsiteY169" fmla="*/ 93989 h 712723"/>
                <a:gd name="connsiteX170" fmla="*/ 330278 w 374366"/>
                <a:gd name="connsiteY170" fmla="*/ 92038 h 712723"/>
                <a:gd name="connsiteX171" fmla="*/ 327889 w 374366"/>
                <a:gd name="connsiteY171" fmla="*/ 92038 h 712723"/>
                <a:gd name="connsiteX172" fmla="*/ 324423 w 374366"/>
                <a:gd name="connsiteY172" fmla="*/ 91399 h 712723"/>
                <a:gd name="connsiteX173" fmla="*/ 320283 w 374366"/>
                <a:gd name="connsiteY173" fmla="*/ 88136 h 712723"/>
                <a:gd name="connsiteX174" fmla="*/ 318971 w 374366"/>
                <a:gd name="connsiteY174" fmla="*/ 83359 h 712723"/>
                <a:gd name="connsiteX175" fmla="*/ 321158 w 374366"/>
                <a:gd name="connsiteY175" fmla="*/ 77270 h 712723"/>
                <a:gd name="connsiteX176" fmla="*/ 323110 w 374366"/>
                <a:gd name="connsiteY176" fmla="*/ 75958 h 712723"/>
                <a:gd name="connsiteX177" fmla="*/ 325735 w 374366"/>
                <a:gd name="connsiteY177" fmla="*/ 76396 h 712723"/>
                <a:gd name="connsiteX178" fmla="*/ 330077 w 374366"/>
                <a:gd name="connsiteY178" fmla="*/ 77035 h 712723"/>
                <a:gd name="connsiteX179" fmla="*/ 331389 w 374366"/>
                <a:gd name="connsiteY179" fmla="*/ 75958 h 712723"/>
                <a:gd name="connsiteX180" fmla="*/ 330952 w 374366"/>
                <a:gd name="connsiteY180" fmla="*/ 71383 h 712723"/>
                <a:gd name="connsiteX181" fmla="*/ 330312 w 374366"/>
                <a:gd name="connsiteY181" fmla="*/ 65934 h 712723"/>
                <a:gd name="connsiteX182" fmla="*/ 339231 w 374366"/>
                <a:gd name="connsiteY182" fmla="*/ 65934 h 712723"/>
                <a:gd name="connsiteX183" fmla="*/ 342697 w 374366"/>
                <a:gd name="connsiteY183" fmla="*/ 63209 h 712723"/>
                <a:gd name="connsiteX184" fmla="*/ 344885 w 374366"/>
                <a:gd name="connsiteY184" fmla="*/ 61796 h 712723"/>
                <a:gd name="connsiteX185" fmla="*/ 352491 w 374366"/>
                <a:gd name="connsiteY185" fmla="*/ 60719 h 712723"/>
                <a:gd name="connsiteX186" fmla="*/ 360332 w 374366"/>
                <a:gd name="connsiteY186" fmla="*/ 57120 h 712723"/>
                <a:gd name="connsiteX187" fmla="*/ 362722 w 374366"/>
                <a:gd name="connsiteY187" fmla="*/ 55909 h 712723"/>
                <a:gd name="connsiteX188" fmla="*/ 364909 w 374366"/>
                <a:gd name="connsiteY188" fmla="*/ 54933 h 712723"/>
                <a:gd name="connsiteX189" fmla="*/ 366659 w 374366"/>
                <a:gd name="connsiteY189" fmla="*/ 52444 h 712723"/>
                <a:gd name="connsiteX190" fmla="*/ 369823 w 374366"/>
                <a:gd name="connsiteY190" fmla="*/ 51368 h 712723"/>
                <a:gd name="connsiteX191" fmla="*/ 370058 w 374366"/>
                <a:gd name="connsiteY191" fmla="*/ 50594 h 712723"/>
                <a:gd name="connsiteX192" fmla="*/ 368645 w 374366"/>
                <a:gd name="connsiteY192" fmla="*/ 48542 h 712723"/>
                <a:gd name="connsiteX193" fmla="*/ 368107 w 374366"/>
                <a:gd name="connsiteY193" fmla="*/ 48542 h 712723"/>
                <a:gd name="connsiteX194" fmla="*/ 364304 w 374366"/>
                <a:gd name="connsiteY194" fmla="*/ 48374 h 712723"/>
                <a:gd name="connsiteX195" fmla="*/ 361577 w 374366"/>
                <a:gd name="connsiteY195" fmla="*/ 47667 h 712723"/>
                <a:gd name="connsiteX196" fmla="*/ 356798 w 374366"/>
                <a:gd name="connsiteY196" fmla="*/ 47129 h 712723"/>
                <a:gd name="connsiteX197" fmla="*/ 354072 w 374366"/>
                <a:gd name="connsiteY197" fmla="*/ 47028 h 712723"/>
                <a:gd name="connsiteX198" fmla="*/ 351784 w 374366"/>
                <a:gd name="connsiteY198" fmla="*/ 47230 h 712723"/>
                <a:gd name="connsiteX199" fmla="*/ 349832 w 374366"/>
                <a:gd name="connsiteY199" fmla="*/ 43261 h 712723"/>
                <a:gd name="connsiteX200" fmla="*/ 351043 w 374366"/>
                <a:gd name="connsiteY200" fmla="*/ 39493 h 712723"/>
                <a:gd name="connsiteX201" fmla="*/ 349967 w 374366"/>
                <a:gd name="connsiteY201" fmla="*/ 34918 h 712723"/>
                <a:gd name="connsiteX202" fmla="*/ 349428 w 374366"/>
                <a:gd name="connsiteY202" fmla="*/ 29166 h 712723"/>
                <a:gd name="connsiteX203" fmla="*/ 348788 w 374366"/>
                <a:gd name="connsiteY203" fmla="*/ 26003 h 712723"/>
                <a:gd name="connsiteX204" fmla="*/ 348788 w 374366"/>
                <a:gd name="connsiteY204" fmla="*/ 23279 h 712723"/>
                <a:gd name="connsiteX205" fmla="*/ 348452 w 374366"/>
                <a:gd name="connsiteY205" fmla="*/ 21328 h 712723"/>
                <a:gd name="connsiteX206" fmla="*/ 347342 w 374366"/>
                <a:gd name="connsiteY206" fmla="*/ 18603 h 712723"/>
                <a:gd name="connsiteX207" fmla="*/ 343976 w 374366"/>
                <a:gd name="connsiteY207" fmla="*/ 15138 h 712723"/>
                <a:gd name="connsiteX208" fmla="*/ 341149 w 374366"/>
                <a:gd name="connsiteY208" fmla="*/ 13086 h 712723"/>
                <a:gd name="connsiteX209" fmla="*/ 337784 w 374366"/>
                <a:gd name="connsiteY209" fmla="*/ 10260 h 712723"/>
                <a:gd name="connsiteX210" fmla="*/ 334183 w 374366"/>
                <a:gd name="connsiteY210" fmla="*/ 7233 h 712723"/>
                <a:gd name="connsiteX211" fmla="*/ 333409 w 374366"/>
                <a:gd name="connsiteY211" fmla="*/ 4844 h 712723"/>
                <a:gd name="connsiteX212" fmla="*/ 332432 w 374366"/>
                <a:gd name="connsiteY212" fmla="*/ 1144 h 712723"/>
                <a:gd name="connsiteX213" fmla="*/ 331692 w 374366"/>
                <a:gd name="connsiteY213" fmla="*/ 0 h 712723"/>
                <a:gd name="connsiteX214" fmla="*/ 329908 w 374366"/>
                <a:gd name="connsiteY214" fmla="*/ 34 h 712723"/>
                <a:gd name="connsiteX215" fmla="*/ 328764 w 374366"/>
                <a:gd name="connsiteY215" fmla="*/ 1446 h 712723"/>
                <a:gd name="connsiteX216" fmla="*/ 326610 w 374366"/>
                <a:gd name="connsiteY216" fmla="*/ 3061 h 712723"/>
                <a:gd name="connsiteX217" fmla="*/ 326005 w 374366"/>
                <a:gd name="connsiteY217" fmla="*/ 5450 h 712723"/>
                <a:gd name="connsiteX218" fmla="*/ 326005 w 374366"/>
                <a:gd name="connsiteY218" fmla="*/ 11101 h 712723"/>
                <a:gd name="connsiteX219" fmla="*/ 326005 w 374366"/>
                <a:gd name="connsiteY219" fmla="*/ 14566 h 712723"/>
                <a:gd name="connsiteX220" fmla="*/ 326005 w 374366"/>
                <a:gd name="connsiteY220" fmla="*/ 19780 h 712723"/>
                <a:gd name="connsiteX221" fmla="*/ 322908 w 374366"/>
                <a:gd name="connsiteY221" fmla="*/ 20655 h 712723"/>
                <a:gd name="connsiteX222" fmla="*/ 320788 w 374366"/>
                <a:gd name="connsiteY222" fmla="*/ 22068 h 712723"/>
                <a:gd name="connsiteX223" fmla="*/ 320788 w 374366"/>
                <a:gd name="connsiteY223" fmla="*/ 26744 h 712723"/>
                <a:gd name="connsiteX224" fmla="*/ 318298 w 374366"/>
                <a:gd name="connsiteY224" fmla="*/ 30208 h 712723"/>
                <a:gd name="connsiteX225" fmla="*/ 312980 w 374366"/>
                <a:gd name="connsiteY225" fmla="*/ 30747 h 712723"/>
                <a:gd name="connsiteX226" fmla="*/ 310153 w 374366"/>
                <a:gd name="connsiteY226" fmla="*/ 28997 h 712723"/>
                <a:gd name="connsiteX227" fmla="*/ 307225 w 374366"/>
                <a:gd name="connsiteY227" fmla="*/ 26172 h 712723"/>
                <a:gd name="connsiteX228" fmla="*/ 305273 w 374366"/>
                <a:gd name="connsiteY228" fmla="*/ 25835 h 712723"/>
                <a:gd name="connsiteX229" fmla="*/ 303086 w 374366"/>
                <a:gd name="connsiteY229" fmla="*/ 27349 h 712723"/>
                <a:gd name="connsiteX230" fmla="*/ 301773 w 374366"/>
                <a:gd name="connsiteY230" fmla="*/ 31386 h 712723"/>
                <a:gd name="connsiteX231" fmla="*/ 298307 w 374366"/>
                <a:gd name="connsiteY231" fmla="*/ 35288 h 712723"/>
                <a:gd name="connsiteX232" fmla="*/ 295716 w 374366"/>
                <a:gd name="connsiteY232" fmla="*/ 38215 h 712723"/>
                <a:gd name="connsiteX233" fmla="*/ 293864 w 374366"/>
                <a:gd name="connsiteY233" fmla="*/ 41915 h 712723"/>
                <a:gd name="connsiteX234" fmla="*/ 291677 w 374366"/>
                <a:gd name="connsiteY234" fmla="*/ 46692 h 712723"/>
                <a:gd name="connsiteX235" fmla="*/ 287336 w 374366"/>
                <a:gd name="connsiteY235" fmla="*/ 48643 h 712723"/>
                <a:gd name="connsiteX236" fmla="*/ 284643 w 374366"/>
                <a:gd name="connsiteY236" fmla="*/ 51233 h 712723"/>
                <a:gd name="connsiteX237" fmla="*/ 281917 w 374366"/>
                <a:gd name="connsiteY237" fmla="*/ 52646 h 712723"/>
                <a:gd name="connsiteX238" fmla="*/ 277037 w 374366"/>
                <a:gd name="connsiteY238" fmla="*/ 53184 h 712723"/>
                <a:gd name="connsiteX239" fmla="*/ 270744 w 374366"/>
                <a:gd name="connsiteY239" fmla="*/ 50796 h 712723"/>
                <a:gd name="connsiteX240" fmla="*/ 263441 w 374366"/>
                <a:gd name="connsiteY240" fmla="*/ 47095 h 712723"/>
                <a:gd name="connsiteX241" fmla="*/ 260950 w 374366"/>
                <a:gd name="connsiteY241" fmla="*/ 43933 h 712723"/>
                <a:gd name="connsiteX242" fmla="*/ 256710 w 374366"/>
                <a:gd name="connsiteY242" fmla="*/ 40569 h 712723"/>
                <a:gd name="connsiteX243" fmla="*/ 252234 w 374366"/>
                <a:gd name="connsiteY243" fmla="*/ 38820 h 712723"/>
                <a:gd name="connsiteX244" fmla="*/ 245940 w 374366"/>
                <a:gd name="connsiteY244" fmla="*/ 39594 h 712723"/>
                <a:gd name="connsiteX245" fmla="*/ 242676 w 374366"/>
                <a:gd name="connsiteY245" fmla="*/ 42756 h 712723"/>
                <a:gd name="connsiteX246" fmla="*/ 239209 w 374366"/>
                <a:gd name="connsiteY246" fmla="*/ 46221 h 712723"/>
                <a:gd name="connsiteX247" fmla="*/ 237560 w 374366"/>
                <a:gd name="connsiteY247" fmla="*/ 48845 h 712723"/>
                <a:gd name="connsiteX248" fmla="*/ 233421 w 374366"/>
                <a:gd name="connsiteY248" fmla="*/ 57086 h 712723"/>
                <a:gd name="connsiteX249" fmla="*/ 230055 w 374366"/>
                <a:gd name="connsiteY249" fmla="*/ 61661 h 712723"/>
                <a:gd name="connsiteX250" fmla="*/ 226353 w 374366"/>
                <a:gd name="connsiteY250" fmla="*/ 66236 h 712723"/>
                <a:gd name="connsiteX251" fmla="*/ 222551 w 374366"/>
                <a:gd name="connsiteY251" fmla="*/ 69499 h 712723"/>
                <a:gd name="connsiteX252" fmla="*/ 217973 w 374366"/>
                <a:gd name="connsiteY252" fmla="*/ 70038 h 712723"/>
                <a:gd name="connsiteX253" fmla="*/ 213060 w 374366"/>
                <a:gd name="connsiteY253" fmla="*/ 68625 h 712723"/>
                <a:gd name="connsiteX254" fmla="*/ 206430 w 374366"/>
                <a:gd name="connsiteY254" fmla="*/ 63411 h 712723"/>
                <a:gd name="connsiteX255" fmla="*/ 199901 w 374366"/>
                <a:gd name="connsiteY255" fmla="*/ 58297 h 712723"/>
                <a:gd name="connsiteX256" fmla="*/ 195223 w 374366"/>
                <a:gd name="connsiteY256" fmla="*/ 55371 h 712723"/>
                <a:gd name="connsiteX257" fmla="*/ 189030 w 374366"/>
                <a:gd name="connsiteY257" fmla="*/ 55135 h 712723"/>
                <a:gd name="connsiteX258" fmla="*/ 182838 w 374366"/>
                <a:gd name="connsiteY258" fmla="*/ 56010 h 712723"/>
                <a:gd name="connsiteX259" fmla="*/ 176309 w 374366"/>
                <a:gd name="connsiteY259" fmla="*/ 61762 h 712723"/>
                <a:gd name="connsiteX260" fmla="*/ 169241 w 374366"/>
                <a:gd name="connsiteY260" fmla="*/ 67515 h 712723"/>
                <a:gd name="connsiteX261" fmla="*/ 163823 w 374366"/>
                <a:gd name="connsiteY261" fmla="*/ 77068 h 712723"/>
                <a:gd name="connsiteX262" fmla="*/ 159381 w 374366"/>
                <a:gd name="connsiteY262" fmla="*/ 84032 h 712723"/>
                <a:gd name="connsiteX263" fmla="*/ 156655 w 374366"/>
                <a:gd name="connsiteY263" fmla="*/ 90222 h 712723"/>
                <a:gd name="connsiteX264" fmla="*/ 152078 w 374366"/>
                <a:gd name="connsiteY264" fmla="*/ 96310 h 712723"/>
                <a:gd name="connsiteX265" fmla="*/ 150328 w 374366"/>
                <a:gd name="connsiteY265" fmla="*/ 104552 h 712723"/>
                <a:gd name="connsiteX266" fmla="*/ 150328 w 374366"/>
                <a:gd name="connsiteY266" fmla="*/ 108353 h 712723"/>
                <a:gd name="connsiteX267" fmla="*/ 149789 w 374366"/>
                <a:gd name="connsiteY267" fmla="*/ 116595 h 712723"/>
                <a:gd name="connsiteX268" fmla="*/ 148712 w 374366"/>
                <a:gd name="connsiteY268" fmla="*/ 122785 h 712723"/>
                <a:gd name="connsiteX269" fmla="*/ 146525 w 374366"/>
                <a:gd name="connsiteY269" fmla="*/ 125846 h 712723"/>
                <a:gd name="connsiteX270" fmla="*/ 143159 w 374366"/>
                <a:gd name="connsiteY270" fmla="*/ 131161 h 712723"/>
                <a:gd name="connsiteX271" fmla="*/ 137505 w 374366"/>
                <a:gd name="connsiteY271" fmla="*/ 132372 h 712723"/>
                <a:gd name="connsiteX272" fmla="*/ 123168 w 374366"/>
                <a:gd name="connsiteY272" fmla="*/ 132069 h 712723"/>
                <a:gd name="connsiteX273" fmla="*/ 112533 w 374366"/>
                <a:gd name="connsiteY273" fmla="*/ 131834 h 712723"/>
                <a:gd name="connsiteX274" fmla="*/ 106038 w 374366"/>
                <a:gd name="connsiteY274" fmla="*/ 131834 h 712723"/>
                <a:gd name="connsiteX275" fmla="*/ 102235 w 374366"/>
                <a:gd name="connsiteY275" fmla="*/ 132406 h 712723"/>
                <a:gd name="connsiteX276" fmla="*/ 97557 w 374366"/>
                <a:gd name="connsiteY276" fmla="*/ 133045 h 712723"/>
                <a:gd name="connsiteX277" fmla="*/ 100384 w 374366"/>
                <a:gd name="connsiteY277" fmla="*/ 137384 h 712723"/>
                <a:gd name="connsiteX278" fmla="*/ 102033 w 374366"/>
                <a:gd name="connsiteY278" fmla="*/ 138360 h 712723"/>
                <a:gd name="connsiteX279" fmla="*/ 104524 w 374366"/>
                <a:gd name="connsiteY279" fmla="*/ 139436 h 712723"/>
                <a:gd name="connsiteX280" fmla="*/ 104860 w 374366"/>
                <a:gd name="connsiteY280" fmla="*/ 141387 h 712723"/>
                <a:gd name="connsiteX281" fmla="*/ 104322 w 374366"/>
                <a:gd name="connsiteY281" fmla="*/ 144314 h 712723"/>
                <a:gd name="connsiteX282" fmla="*/ 103009 w 374366"/>
                <a:gd name="connsiteY282" fmla="*/ 147140 h 712723"/>
                <a:gd name="connsiteX283" fmla="*/ 101360 w 374366"/>
                <a:gd name="connsiteY283" fmla="*/ 149528 h 712723"/>
                <a:gd name="connsiteX284" fmla="*/ 98870 w 374366"/>
                <a:gd name="connsiteY284" fmla="*/ 151816 h 712723"/>
                <a:gd name="connsiteX285" fmla="*/ 95942 w 374366"/>
                <a:gd name="connsiteY285" fmla="*/ 153868 h 712723"/>
                <a:gd name="connsiteX286" fmla="*/ 95201 w 374366"/>
                <a:gd name="connsiteY286" fmla="*/ 155819 h 712723"/>
                <a:gd name="connsiteX287" fmla="*/ 95201 w 374366"/>
                <a:gd name="connsiteY287" fmla="*/ 158645 h 712723"/>
                <a:gd name="connsiteX288" fmla="*/ 92576 w 374366"/>
                <a:gd name="connsiteY288" fmla="*/ 160596 h 712723"/>
                <a:gd name="connsiteX289" fmla="*/ 87158 w 374366"/>
                <a:gd name="connsiteY289" fmla="*/ 161907 h 712723"/>
                <a:gd name="connsiteX290" fmla="*/ 83456 w 374366"/>
                <a:gd name="connsiteY290" fmla="*/ 161907 h 712723"/>
                <a:gd name="connsiteX291" fmla="*/ 79552 w 374366"/>
                <a:gd name="connsiteY291" fmla="*/ 161571 h 712723"/>
                <a:gd name="connsiteX292" fmla="*/ 76388 w 374366"/>
                <a:gd name="connsiteY292" fmla="*/ 163758 h 712723"/>
                <a:gd name="connsiteX293" fmla="*/ 77903 w 374366"/>
                <a:gd name="connsiteY293" fmla="*/ 168871 h 712723"/>
                <a:gd name="connsiteX294" fmla="*/ 82345 w 374366"/>
                <a:gd name="connsiteY294" fmla="*/ 170284 h 712723"/>
                <a:gd name="connsiteX295" fmla="*/ 85273 w 374366"/>
                <a:gd name="connsiteY295" fmla="*/ 173211 h 712723"/>
                <a:gd name="connsiteX296" fmla="*/ 87898 w 374366"/>
                <a:gd name="connsiteY296" fmla="*/ 174085 h 712723"/>
                <a:gd name="connsiteX297" fmla="*/ 88336 w 374366"/>
                <a:gd name="connsiteY297" fmla="*/ 175834 h 712723"/>
                <a:gd name="connsiteX298" fmla="*/ 81067 w 374366"/>
                <a:gd name="connsiteY298" fmla="*/ 181822 h 712723"/>
                <a:gd name="connsiteX299" fmla="*/ 80292 w 374366"/>
                <a:gd name="connsiteY299" fmla="*/ 188550 h 712723"/>
                <a:gd name="connsiteX300" fmla="*/ 80191 w 374366"/>
                <a:gd name="connsiteY300" fmla="*/ 192150 h 712723"/>
                <a:gd name="connsiteX301" fmla="*/ 79114 w 374366"/>
                <a:gd name="connsiteY301" fmla="*/ 196926 h 712723"/>
                <a:gd name="connsiteX302" fmla="*/ 77162 w 374366"/>
                <a:gd name="connsiteY302" fmla="*/ 201165 h 712723"/>
                <a:gd name="connsiteX303" fmla="*/ 74638 w 374366"/>
                <a:gd name="connsiteY303" fmla="*/ 203654 h 712723"/>
                <a:gd name="connsiteX304" fmla="*/ 71374 w 374366"/>
                <a:gd name="connsiteY304" fmla="*/ 205942 h 712723"/>
                <a:gd name="connsiteX305" fmla="*/ 69523 w 374366"/>
                <a:gd name="connsiteY305" fmla="*/ 207691 h 712723"/>
                <a:gd name="connsiteX306" fmla="*/ 67032 w 374366"/>
                <a:gd name="connsiteY306" fmla="*/ 208465 h 712723"/>
                <a:gd name="connsiteX307" fmla="*/ 64643 w 374366"/>
                <a:gd name="connsiteY307" fmla="*/ 210752 h 712723"/>
                <a:gd name="connsiteX308" fmla="*/ 64643 w 374366"/>
                <a:gd name="connsiteY308" fmla="*/ 214789 h 712723"/>
                <a:gd name="connsiteX309" fmla="*/ 66393 w 374366"/>
                <a:gd name="connsiteY309" fmla="*/ 218254 h 712723"/>
                <a:gd name="connsiteX310" fmla="*/ 65956 w 374366"/>
                <a:gd name="connsiteY310" fmla="*/ 222291 h 712723"/>
                <a:gd name="connsiteX311" fmla="*/ 64744 w 374366"/>
                <a:gd name="connsiteY311" fmla="*/ 225453 h 712723"/>
                <a:gd name="connsiteX312" fmla="*/ 63465 w 374366"/>
                <a:gd name="connsiteY312" fmla="*/ 227942 h 712723"/>
                <a:gd name="connsiteX313" fmla="*/ 63465 w 374366"/>
                <a:gd name="connsiteY313" fmla="*/ 230129 h 712723"/>
                <a:gd name="connsiteX314" fmla="*/ 61614 w 374366"/>
                <a:gd name="connsiteY314" fmla="*/ 234367 h 712723"/>
                <a:gd name="connsiteX315" fmla="*/ 59763 w 374366"/>
                <a:gd name="connsiteY315" fmla="*/ 237193 h 712723"/>
                <a:gd name="connsiteX316" fmla="*/ 57475 w 374366"/>
                <a:gd name="connsiteY316" fmla="*/ 239817 h 712723"/>
                <a:gd name="connsiteX317" fmla="*/ 56499 w 374366"/>
                <a:gd name="connsiteY317" fmla="*/ 242407 h 712723"/>
                <a:gd name="connsiteX318" fmla="*/ 56499 w 374366"/>
                <a:gd name="connsiteY318" fmla="*/ 245771 h 712723"/>
                <a:gd name="connsiteX319" fmla="*/ 56499 w 374366"/>
                <a:gd name="connsiteY319" fmla="*/ 249236 h 712723"/>
                <a:gd name="connsiteX320" fmla="*/ 55624 w 374366"/>
                <a:gd name="connsiteY320" fmla="*/ 252499 h 712723"/>
                <a:gd name="connsiteX321" fmla="*/ 55893 w 374366"/>
                <a:gd name="connsiteY321" fmla="*/ 255224 h 712723"/>
                <a:gd name="connsiteX322" fmla="*/ 54749 w 374366"/>
                <a:gd name="connsiteY322" fmla="*/ 259900 h 712723"/>
                <a:gd name="connsiteX323" fmla="*/ 54749 w 374366"/>
                <a:gd name="connsiteY323" fmla="*/ 264879 h 712723"/>
                <a:gd name="connsiteX324" fmla="*/ 53772 w 374366"/>
                <a:gd name="connsiteY324" fmla="*/ 267704 h 712723"/>
                <a:gd name="connsiteX325" fmla="*/ 51484 w 374366"/>
                <a:gd name="connsiteY325" fmla="*/ 269218 h 712723"/>
                <a:gd name="connsiteX326" fmla="*/ 48018 w 374366"/>
                <a:gd name="connsiteY326" fmla="*/ 270093 h 712723"/>
                <a:gd name="connsiteX327" fmla="*/ 45090 w 374366"/>
                <a:gd name="connsiteY327" fmla="*/ 271606 h 712723"/>
                <a:gd name="connsiteX328" fmla="*/ 43037 w 374366"/>
                <a:gd name="connsiteY328" fmla="*/ 275307 h 712723"/>
                <a:gd name="connsiteX329" fmla="*/ 41623 w 374366"/>
                <a:gd name="connsiteY329" fmla="*/ 277897 h 712723"/>
                <a:gd name="connsiteX330" fmla="*/ 40109 w 374366"/>
                <a:gd name="connsiteY330" fmla="*/ 281497 h 712723"/>
                <a:gd name="connsiteX331" fmla="*/ 37921 w 374366"/>
                <a:gd name="connsiteY331" fmla="*/ 284221 h 712723"/>
                <a:gd name="connsiteX332" fmla="*/ 33344 w 374366"/>
                <a:gd name="connsiteY332" fmla="*/ 286408 h 712723"/>
                <a:gd name="connsiteX333" fmla="*/ 31157 w 374366"/>
                <a:gd name="connsiteY333" fmla="*/ 287720 h 712723"/>
                <a:gd name="connsiteX334" fmla="*/ 29205 w 374366"/>
                <a:gd name="connsiteY334" fmla="*/ 290983 h 712723"/>
                <a:gd name="connsiteX335" fmla="*/ 24426 w 374366"/>
                <a:gd name="connsiteY335" fmla="*/ 295322 h 712723"/>
                <a:gd name="connsiteX336" fmla="*/ 23214 w 374366"/>
                <a:gd name="connsiteY336" fmla="*/ 299460 h 712723"/>
                <a:gd name="connsiteX337" fmla="*/ 22137 w 374366"/>
                <a:gd name="connsiteY337" fmla="*/ 301848 h 712723"/>
                <a:gd name="connsiteX338" fmla="*/ 19950 w 374366"/>
                <a:gd name="connsiteY338" fmla="*/ 304876 h 712723"/>
                <a:gd name="connsiteX339" fmla="*/ 19950 w 374366"/>
                <a:gd name="connsiteY339" fmla="*/ 308341 h 712723"/>
                <a:gd name="connsiteX340" fmla="*/ 22238 w 374366"/>
                <a:gd name="connsiteY340" fmla="*/ 309956 h 712723"/>
                <a:gd name="connsiteX341" fmla="*/ 22575 w 374366"/>
                <a:gd name="connsiteY341" fmla="*/ 312781 h 712723"/>
                <a:gd name="connsiteX342" fmla="*/ 20724 w 374366"/>
                <a:gd name="connsiteY342" fmla="*/ 315069 h 712723"/>
                <a:gd name="connsiteX343" fmla="*/ 19950 w 374366"/>
                <a:gd name="connsiteY343" fmla="*/ 318332 h 712723"/>
                <a:gd name="connsiteX344" fmla="*/ 19950 w 374366"/>
                <a:gd name="connsiteY344" fmla="*/ 320485 h 712723"/>
                <a:gd name="connsiteX345" fmla="*/ 19950 w 374366"/>
                <a:gd name="connsiteY345" fmla="*/ 321797 h 712723"/>
                <a:gd name="connsiteX346" fmla="*/ 18873 w 374366"/>
                <a:gd name="connsiteY346" fmla="*/ 324084 h 712723"/>
                <a:gd name="connsiteX347" fmla="*/ 20926 w 374366"/>
                <a:gd name="connsiteY347" fmla="*/ 326910 h 712723"/>
                <a:gd name="connsiteX348" fmla="*/ 23416 w 374366"/>
                <a:gd name="connsiteY348" fmla="*/ 328525 h 712723"/>
                <a:gd name="connsiteX349" fmla="*/ 25705 w 374366"/>
                <a:gd name="connsiteY349" fmla="*/ 330039 h 712723"/>
                <a:gd name="connsiteX350" fmla="*/ 28733 w 374366"/>
                <a:gd name="connsiteY350" fmla="*/ 333402 h 712723"/>
                <a:gd name="connsiteX351" fmla="*/ 30147 w 374366"/>
                <a:gd name="connsiteY351" fmla="*/ 334815 h 712723"/>
                <a:gd name="connsiteX352" fmla="*/ 32267 w 374366"/>
                <a:gd name="connsiteY352" fmla="*/ 337540 h 712723"/>
                <a:gd name="connsiteX353" fmla="*/ 33849 w 374366"/>
                <a:gd name="connsiteY353" fmla="*/ 340366 h 712723"/>
                <a:gd name="connsiteX354" fmla="*/ 33849 w 374366"/>
                <a:gd name="connsiteY354" fmla="*/ 343091 h 712723"/>
                <a:gd name="connsiteX355" fmla="*/ 34186 w 374366"/>
                <a:gd name="connsiteY355" fmla="*/ 344705 h 712723"/>
                <a:gd name="connsiteX356" fmla="*/ 36912 w 374366"/>
                <a:gd name="connsiteY356" fmla="*/ 345580 h 712723"/>
                <a:gd name="connsiteX357" fmla="*/ 38224 w 374366"/>
                <a:gd name="connsiteY357" fmla="*/ 346354 h 712723"/>
                <a:gd name="connsiteX358" fmla="*/ 39200 w 374366"/>
                <a:gd name="connsiteY358" fmla="*/ 347666 h 712723"/>
                <a:gd name="connsiteX359" fmla="*/ 41590 w 374366"/>
                <a:gd name="connsiteY359" fmla="*/ 348877 h 712723"/>
                <a:gd name="connsiteX360" fmla="*/ 44517 w 374366"/>
                <a:gd name="connsiteY360" fmla="*/ 351265 h 712723"/>
                <a:gd name="connsiteX361" fmla="*/ 44316 w 374366"/>
                <a:gd name="connsiteY361" fmla="*/ 352342 h 712723"/>
                <a:gd name="connsiteX362" fmla="*/ 42566 w 374366"/>
                <a:gd name="connsiteY362" fmla="*/ 353754 h 712723"/>
                <a:gd name="connsiteX363" fmla="*/ 41253 w 374366"/>
                <a:gd name="connsiteY363" fmla="*/ 354528 h 712723"/>
                <a:gd name="connsiteX364" fmla="*/ 40816 w 374366"/>
                <a:gd name="connsiteY364" fmla="*/ 357623 h 712723"/>
                <a:gd name="connsiteX365" fmla="*/ 40816 w 374366"/>
                <a:gd name="connsiteY365" fmla="*/ 358767 h 712723"/>
                <a:gd name="connsiteX366" fmla="*/ 44585 w 374366"/>
                <a:gd name="connsiteY366" fmla="*/ 360079 h 712723"/>
                <a:gd name="connsiteX367" fmla="*/ 47345 w 374366"/>
                <a:gd name="connsiteY367" fmla="*/ 361525 h 712723"/>
                <a:gd name="connsiteX368" fmla="*/ 46167 w 374366"/>
                <a:gd name="connsiteY368" fmla="*/ 363543 h 712723"/>
                <a:gd name="connsiteX369" fmla="*/ 44585 w 374366"/>
                <a:gd name="connsiteY369" fmla="*/ 365730 h 712723"/>
                <a:gd name="connsiteX370" fmla="*/ 44013 w 374366"/>
                <a:gd name="connsiteY370" fmla="*/ 368320 h 712723"/>
                <a:gd name="connsiteX371" fmla="*/ 47479 w 374366"/>
                <a:gd name="connsiteY371" fmla="*/ 372525 h 712723"/>
                <a:gd name="connsiteX372" fmla="*/ 46739 w 374366"/>
                <a:gd name="connsiteY372" fmla="*/ 376865 h 712723"/>
                <a:gd name="connsiteX373" fmla="*/ 45292 w 374366"/>
                <a:gd name="connsiteY373" fmla="*/ 379320 h 712723"/>
                <a:gd name="connsiteX374" fmla="*/ 42397 w 374366"/>
                <a:gd name="connsiteY374" fmla="*/ 381642 h 712723"/>
                <a:gd name="connsiteX375" fmla="*/ 39368 w 374366"/>
                <a:gd name="connsiteY375" fmla="*/ 382214 h 712723"/>
                <a:gd name="connsiteX376" fmla="*/ 36339 w 374366"/>
                <a:gd name="connsiteY376" fmla="*/ 386284 h 712723"/>
                <a:gd name="connsiteX377" fmla="*/ 33277 w 374366"/>
                <a:gd name="connsiteY377" fmla="*/ 388302 h 712723"/>
                <a:gd name="connsiteX378" fmla="*/ 33008 w 374366"/>
                <a:gd name="connsiteY378" fmla="*/ 390892 h 712723"/>
                <a:gd name="connsiteX379" fmla="*/ 35902 w 374366"/>
                <a:gd name="connsiteY379" fmla="*/ 395972 h 712723"/>
                <a:gd name="connsiteX380" fmla="*/ 37921 w 374366"/>
                <a:gd name="connsiteY380" fmla="*/ 397587 h 712723"/>
                <a:gd name="connsiteX381" fmla="*/ 38224 w 374366"/>
                <a:gd name="connsiteY381" fmla="*/ 402061 h 712723"/>
                <a:gd name="connsiteX382" fmla="*/ 37349 w 374366"/>
                <a:gd name="connsiteY382" fmla="*/ 404819 h 712723"/>
                <a:gd name="connsiteX383" fmla="*/ 34724 w 374366"/>
                <a:gd name="connsiteY383" fmla="*/ 407275 h 712723"/>
                <a:gd name="connsiteX384" fmla="*/ 32839 w 374366"/>
                <a:gd name="connsiteY384" fmla="*/ 411345 h 712723"/>
                <a:gd name="connsiteX385" fmla="*/ 26310 w 374366"/>
                <a:gd name="connsiteY385" fmla="*/ 416257 h 712723"/>
                <a:gd name="connsiteX386" fmla="*/ 22979 w 374366"/>
                <a:gd name="connsiteY386" fmla="*/ 421606 h 712723"/>
                <a:gd name="connsiteX387" fmla="*/ 20522 w 374366"/>
                <a:gd name="connsiteY387" fmla="*/ 425945 h 712723"/>
                <a:gd name="connsiteX388" fmla="*/ 19007 w 374366"/>
                <a:gd name="connsiteY388" fmla="*/ 428973 h 712723"/>
                <a:gd name="connsiteX389" fmla="*/ 14733 w 374366"/>
                <a:gd name="connsiteY389" fmla="*/ 430419 h 712723"/>
                <a:gd name="connsiteX390" fmla="*/ 14733 w 374366"/>
                <a:gd name="connsiteY390" fmla="*/ 433447 h 712723"/>
                <a:gd name="connsiteX391" fmla="*/ 15743 w 374366"/>
                <a:gd name="connsiteY391" fmla="*/ 434019 h 712723"/>
                <a:gd name="connsiteX392" fmla="*/ 16180 w 374366"/>
                <a:gd name="connsiteY392" fmla="*/ 436205 h 712723"/>
                <a:gd name="connsiteX393" fmla="*/ 14733 w 374366"/>
                <a:gd name="connsiteY393" fmla="*/ 437954 h 712723"/>
                <a:gd name="connsiteX394" fmla="*/ 11031 w 374366"/>
                <a:gd name="connsiteY394" fmla="*/ 438526 h 712723"/>
                <a:gd name="connsiteX395" fmla="*/ 9517 w 374366"/>
                <a:gd name="connsiteY395" fmla="*/ 440410 h 712723"/>
                <a:gd name="connsiteX396" fmla="*/ 9517 w 374366"/>
                <a:gd name="connsiteY396" fmla="*/ 443875 h 712723"/>
                <a:gd name="connsiteX397" fmla="*/ 10392 w 374366"/>
                <a:gd name="connsiteY397" fmla="*/ 448955 h 712723"/>
                <a:gd name="connsiteX398" fmla="*/ 11704 w 374366"/>
                <a:gd name="connsiteY398" fmla="*/ 451713 h 712723"/>
                <a:gd name="connsiteX399" fmla="*/ 10560 w 374366"/>
                <a:gd name="connsiteY399" fmla="*/ 453159 h 712723"/>
                <a:gd name="connsiteX400" fmla="*/ 11704 w 374366"/>
                <a:gd name="connsiteY400" fmla="*/ 454909 h 712723"/>
                <a:gd name="connsiteX401" fmla="*/ 12714 w 374366"/>
                <a:gd name="connsiteY401" fmla="*/ 456221 h 712723"/>
                <a:gd name="connsiteX402" fmla="*/ 13421 w 374366"/>
                <a:gd name="connsiteY402" fmla="*/ 458239 h 712723"/>
                <a:gd name="connsiteX403" fmla="*/ 11839 w 374366"/>
                <a:gd name="connsiteY403" fmla="*/ 460426 h 712723"/>
                <a:gd name="connsiteX404" fmla="*/ 9517 w 374366"/>
                <a:gd name="connsiteY404" fmla="*/ 461435 h 712723"/>
                <a:gd name="connsiteX405" fmla="*/ 9517 w 374366"/>
                <a:gd name="connsiteY405" fmla="*/ 463016 h 712723"/>
                <a:gd name="connsiteX406" fmla="*/ 11974 w 374366"/>
                <a:gd name="connsiteY406" fmla="*/ 463016 h 712723"/>
                <a:gd name="connsiteX407" fmla="*/ 13858 w 374366"/>
                <a:gd name="connsiteY407" fmla="*/ 465909 h 712723"/>
                <a:gd name="connsiteX408" fmla="*/ 15608 w 374366"/>
                <a:gd name="connsiteY408" fmla="*/ 465909 h 712723"/>
                <a:gd name="connsiteX409" fmla="*/ 15743 w 374366"/>
                <a:gd name="connsiteY409" fmla="*/ 468667 h 712723"/>
                <a:gd name="connsiteX410" fmla="*/ 15036 w 374366"/>
                <a:gd name="connsiteY410" fmla="*/ 470988 h 712723"/>
                <a:gd name="connsiteX411" fmla="*/ 14026 w 374366"/>
                <a:gd name="connsiteY411" fmla="*/ 472872 h 712723"/>
                <a:gd name="connsiteX412" fmla="*/ 12209 w 374366"/>
                <a:gd name="connsiteY412" fmla="*/ 474016 h 712723"/>
                <a:gd name="connsiteX413" fmla="*/ 11267 w 374366"/>
                <a:gd name="connsiteY413" fmla="*/ 475765 h 712723"/>
                <a:gd name="connsiteX414" fmla="*/ 11267 w 374366"/>
                <a:gd name="connsiteY414" fmla="*/ 476909 h 712723"/>
                <a:gd name="connsiteX415" fmla="*/ 13152 w 374366"/>
                <a:gd name="connsiteY415" fmla="*/ 478356 h 712723"/>
                <a:gd name="connsiteX416" fmla="*/ 15036 w 374366"/>
                <a:gd name="connsiteY416" fmla="*/ 480811 h 712723"/>
                <a:gd name="connsiteX417" fmla="*/ 17628 w 374366"/>
                <a:gd name="connsiteY417" fmla="*/ 484713 h 712723"/>
                <a:gd name="connsiteX418" fmla="*/ 18940 w 374366"/>
                <a:gd name="connsiteY418" fmla="*/ 488178 h 712723"/>
                <a:gd name="connsiteX419" fmla="*/ 19950 w 374366"/>
                <a:gd name="connsiteY419" fmla="*/ 489759 h 712723"/>
                <a:gd name="connsiteX420" fmla="*/ 19950 w 374366"/>
                <a:gd name="connsiteY420" fmla="*/ 492518 h 712723"/>
                <a:gd name="connsiteX421" fmla="*/ 19075 w 374366"/>
                <a:gd name="connsiteY421" fmla="*/ 494839 h 712723"/>
                <a:gd name="connsiteX422" fmla="*/ 18368 w 374366"/>
                <a:gd name="connsiteY422" fmla="*/ 497598 h 712723"/>
                <a:gd name="connsiteX423" fmla="*/ 17358 w 374366"/>
                <a:gd name="connsiteY423" fmla="*/ 499481 h 712723"/>
                <a:gd name="connsiteX424" fmla="*/ 16786 w 374366"/>
                <a:gd name="connsiteY424" fmla="*/ 502072 h 712723"/>
                <a:gd name="connsiteX425" fmla="*/ 16652 w 374366"/>
                <a:gd name="connsiteY425" fmla="*/ 503518 h 712723"/>
                <a:gd name="connsiteX426" fmla="*/ 17392 w 374366"/>
                <a:gd name="connsiteY426" fmla="*/ 505402 h 712723"/>
                <a:gd name="connsiteX427" fmla="*/ 17964 w 374366"/>
                <a:gd name="connsiteY427" fmla="*/ 508598 h 712723"/>
                <a:gd name="connsiteX428" fmla="*/ 18267 w 374366"/>
                <a:gd name="connsiteY428" fmla="*/ 512365 h 712723"/>
                <a:gd name="connsiteX429" fmla="*/ 18570 w 374366"/>
                <a:gd name="connsiteY429" fmla="*/ 515998 h 712723"/>
                <a:gd name="connsiteX430" fmla="*/ 18132 w 374366"/>
                <a:gd name="connsiteY430" fmla="*/ 519901 h 712723"/>
                <a:gd name="connsiteX431" fmla="*/ 17695 w 374366"/>
                <a:gd name="connsiteY431" fmla="*/ 525552 h 712723"/>
                <a:gd name="connsiteX432" fmla="*/ 16820 w 374366"/>
                <a:gd name="connsiteY432" fmla="*/ 527436 h 712723"/>
                <a:gd name="connsiteX433" fmla="*/ 16248 w 374366"/>
                <a:gd name="connsiteY433" fmla="*/ 530766 h 712723"/>
                <a:gd name="connsiteX434" fmla="*/ 16685 w 374366"/>
                <a:gd name="connsiteY434" fmla="*/ 535980 h 712723"/>
                <a:gd name="connsiteX435" fmla="*/ 16954 w 374366"/>
                <a:gd name="connsiteY435" fmla="*/ 541632 h 712723"/>
                <a:gd name="connsiteX436" fmla="*/ 18974 w 374366"/>
                <a:gd name="connsiteY436" fmla="*/ 544962 h 712723"/>
                <a:gd name="connsiteX437" fmla="*/ 20555 w 374366"/>
                <a:gd name="connsiteY437" fmla="*/ 548595 h 712723"/>
                <a:gd name="connsiteX438" fmla="*/ 21700 w 374366"/>
                <a:gd name="connsiteY438" fmla="*/ 553944 h 712723"/>
                <a:gd name="connsiteX439" fmla="*/ 20825 w 374366"/>
                <a:gd name="connsiteY439" fmla="*/ 558283 h 712723"/>
                <a:gd name="connsiteX440" fmla="*/ 21397 w 374366"/>
                <a:gd name="connsiteY440" fmla="*/ 565381 h 712723"/>
                <a:gd name="connsiteX441" fmla="*/ 26479 w 374366"/>
                <a:gd name="connsiteY441" fmla="*/ 571739 h 712723"/>
                <a:gd name="connsiteX442" fmla="*/ 28801 w 374366"/>
                <a:gd name="connsiteY442" fmla="*/ 574498 h 712723"/>
                <a:gd name="connsiteX443" fmla="*/ 30383 w 374366"/>
                <a:gd name="connsiteY443" fmla="*/ 582302 h 712723"/>
                <a:gd name="connsiteX444" fmla="*/ 30383 w 374366"/>
                <a:gd name="connsiteY444" fmla="*/ 586373 h 712723"/>
                <a:gd name="connsiteX445" fmla="*/ 31392 w 374366"/>
                <a:gd name="connsiteY445" fmla="*/ 591015 h 712723"/>
                <a:gd name="connsiteX446" fmla="*/ 30820 w 374366"/>
                <a:gd name="connsiteY446" fmla="*/ 596666 h 712723"/>
                <a:gd name="connsiteX447" fmla="*/ 29070 w 374366"/>
                <a:gd name="connsiteY447" fmla="*/ 600871 h 712723"/>
                <a:gd name="connsiteX448" fmla="*/ 27623 w 374366"/>
                <a:gd name="connsiteY448" fmla="*/ 605951 h 712723"/>
                <a:gd name="connsiteX449" fmla="*/ 25738 w 374366"/>
                <a:gd name="connsiteY449" fmla="*/ 609718 h 712723"/>
                <a:gd name="connsiteX450" fmla="*/ 23147 w 374366"/>
                <a:gd name="connsiteY450" fmla="*/ 613923 h 712723"/>
                <a:gd name="connsiteX451" fmla="*/ 22575 w 374366"/>
                <a:gd name="connsiteY451" fmla="*/ 619878 h 712723"/>
                <a:gd name="connsiteX452" fmla="*/ 18233 w 374366"/>
                <a:gd name="connsiteY452" fmla="*/ 625092 h 712723"/>
                <a:gd name="connsiteX453" fmla="*/ 14901 w 374366"/>
                <a:gd name="connsiteY453" fmla="*/ 629869 h 712723"/>
                <a:gd name="connsiteX454" fmla="*/ 12714 w 374366"/>
                <a:gd name="connsiteY454" fmla="*/ 633199 h 712723"/>
                <a:gd name="connsiteX455" fmla="*/ 9517 w 374366"/>
                <a:gd name="connsiteY455" fmla="*/ 637101 h 712723"/>
                <a:gd name="connsiteX456" fmla="*/ 7767 w 374366"/>
                <a:gd name="connsiteY456" fmla="*/ 639994 h 712723"/>
                <a:gd name="connsiteX457" fmla="*/ 7767 w 374366"/>
                <a:gd name="connsiteY457" fmla="*/ 645511 h 712723"/>
                <a:gd name="connsiteX458" fmla="*/ 7767 w 374366"/>
                <a:gd name="connsiteY458" fmla="*/ 649413 h 712723"/>
                <a:gd name="connsiteX459" fmla="*/ 7767 w 374366"/>
                <a:gd name="connsiteY459" fmla="*/ 654762 h 712723"/>
                <a:gd name="connsiteX460" fmla="*/ 6757 w 374366"/>
                <a:gd name="connsiteY460" fmla="*/ 657218 h 712723"/>
                <a:gd name="connsiteX461" fmla="*/ 6017 w 374366"/>
                <a:gd name="connsiteY461" fmla="*/ 660851 h 712723"/>
                <a:gd name="connsiteX462" fmla="*/ 3695 w 374366"/>
                <a:gd name="connsiteY462" fmla="*/ 664753 h 712723"/>
                <a:gd name="connsiteX463" fmla="*/ 1877 w 374366"/>
                <a:gd name="connsiteY463" fmla="*/ 668083 h 712723"/>
                <a:gd name="connsiteX464" fmla="*/ 800 w 374366"/>
                <a:gd name="connsiteY464" fmla="*/ 672154 h 712723"/>
                <a:gd name="connsiteX465" fmla="*/ 800 w 374366"/>
                <a:gd name="connsiteY465" fmla="*/ 680261 h 712723"/>
                <a:gd name="connsiteX466" fmla="*/ 1810 w 374366"/>
                <a:gd name="connsiteY466" fmla="*/ 682851 h 712723"/>
                <a:gd name="connsiteX467" fmla="*/ 194 w 374366"/>
                <a:gd name="connsiteY467" fmla="*/ 689814 h 712723"/>
                <a:gd name="connsiteX468" fmla="*/ 194 w 374366"/>
                <a:gd name="connsiteY468" fmla="*/ 700680 h 712723"/>
                <a:gd name="connsiteX469" fmla="*/ 935 w 374366"/>
                <a:gd name="connsiteY469" fmla="*/ 706634 h 712723"/>
                <a:gd name="connsiteX470" fmla="*/ 2820 w 374366"/>
                <a:gd name="connsiteY470" fmla="*/ 710267 h 712723"/>
                <a:gd name="connsiteX471" fmla="*/ 9147 w 374366"/>
                <a:gd name="connsiteY471" fmla="*/ 712723 h 712723"/>
                <a:gd name="connsiteX472" fmla="*/ 9147 w 374366"/>
                <a:gd name="connsiteY472" fmla="*/ 712723 h 712723"/>
                <a:gd name="connsiteX473" fmla="*/ 9921 w 374366"/>
                <a:gd name="connsiteY473" fmla="*/ 712420 h 712723"/>
                <a:gd name="connsiteX474" fmla="*/ 15575 w 374366"/>
                <a:gd name="connsiteY474" fmla="*/ 712420 h 712723"/>
                <a:gd name="connsiteX475" fmla="*/ 17325 w 374366"/>
                <a:gd name="connsiteY475" fmla="*/ 712420 h 712723"/>
                <a:gd name="connsiteX476" fmla="*/ 22541 w 374366"/>
                <a:gd name="connsiteY476" fmla="*/ 712420 h 712723"/>
                <a:gd name="connsiteX477" fmla="*/ 28061 w 374366"/>
                <a:gd name="connsiteY477" fmla="*/ 712420 h 712723"/>
                <a:gd name="connsiteX478" fmla="*/ 34590 w 374366"/>
                <a:gd name="connsiteY478" fmla="*/ 712420 h 712723"/>
                <a:gd name="connsiteX479" fmla="*/ 39671 w 374366"/>
                <a:gd name="connsiteY479" fmla="*/ 712218 h 712723"/>
                <a:gd name="connsiteX480" fmla="*/ 46200 w 374366"/>
                <a:gd name="connsiteY480" fmla="*/ 709359 h 712723"/>
                <a:gd name="connsiteX481" fmla="*/ 48522 w 374366"/>
                <a:gd name="connsiteY481" fmla="*/ 707341 h 712723"/>
                <a:gd name="connsiteX482" fmla="*/ 51720 w 374366"/>
                <a:gd name="connsiteY482" fmla="*/ 705019 h 712723"/>
                <a:gd name="connsiteX483" fmla="*/ 53470 w 374366"/>
                <a:gd name="connsiteY483" fmla="*/ 702261 h 712723"/>
                <a:gd name="connsiteX484" fmla="*/ 55657 w 374366"/>
                <a:gd name="connsiteY484" fmla="*/ 698493 h 712723"/>
                <a:gd name="connsiteX485" fmla="*/ 57239 w 374366"/>
                <a:gd name="connsiteY485" fmla="*/ 698493 h 712723"/>
                <a:gd name="connsiteX486" fmla="*/ 61446 w 374366"/>
                <a:gd name="connsiteY486" fmla="*/ 697787 h 712723"/>
                <a:gd name="connsiteX487" fmla="*/ 65383 w 374366"/>
                <a:gd name="connsiteY487" fmla="*/ 697787 h 712723"/>
                <a:gd name="connsiteX488" fmla="*/ 67975 w 374366"/>
                <a:gd name="connsiteY488" fmla="*/ 697787 h 712723"/>
                <a:gd name="connsiteX489" fmla="*/ 71172 w 374366"/>
                <a:gd name="connsiteY489" fmla="*/ 696643 h 712723"/>
                <a:gd name="connsiteX490" fmla="*/ 74504 w 374366"/>
                <a:gd name="connsiteY490" fmla="*/ 695062 h 712723"/>
                <a:gd name="connsiteX491" fmla="*/ 78139 w 374366"/>
                <a:gd name="connsiteY491" fmla="*/ 691295 h 712723"/>
                <a:gd name="connsiteX492" fmla="*/ 82917 w 374366"/>
                <a:gd name="connsiteY492" fmla="*/ 688704 h 712723"/>
                <a:gd name="connsiteX493" fmla="*/ 87831 w 374366"/>
                <a:gd name="connsiteY493" fmla="*/ 688132 h 712723"/>
                <a:gd name="connsiteX494" fmla="*/ 95639 w 374366"/>
                <a:gd name="connsiteY494" fmla="*/ 688132 h 712723"/>
                <a:gd name="connsiteX495" fmla="*/ 99577 w 374366"/>
                <a:gd name="connsiteY495" fmla="*/ 687426 h 712723"/>
                <a:gd name="connsiteX496" fmla="*/ 105230 w 374366"/>
                <a:gd name="connsiteY496" fmla="*/ 685542 h 712723"/>
                <a:gd name="connsiteX497" fmla="*/ 106812 w 374366"/>
                <a:gd name="connsiteY497" fmla="*/ 684667 h 712723"/>
                <a:gd name="connsiteX498" fmla="*/ 110009 w 374366"/>
                <a:gd name="connsiteY498" fmla="*/ 685037 h 712723"/>
                <a:gd name="connsiteX499" fmla="*/ 114216 w 374366"/>
                <a:gd name="connsiteY499" fmla="*/ 684667 h 712723"/>
                <a:gd name="connsiteX500" fmla="*/ 114788 w 374366"/>
                <a:gd name="connsiteY500" fmla="*/ 684667 h 712723"/>
                <a:gd name="connsiteX501" fmla="*/ 118692 w 374366"/>
                <a:gd name="connsiteY501" fmla="*/ 681909 h 712723"/>
                <a:gd name="connsiteX502" fmla="*/ 119836 w 374366"/>
                <a:gd name="connsiteY502" fmla="*/ 681169 h 712723"/>
                <a:gd name="connsiteX503" fmla="*/ 122293 w 374366"/>
                <a:gd name="connsiteY503" fmla="*/ 679588 h 712723"/>
                <a:gd name="connsiteX504" fmla="*/ 123942 w 374366"/>
                <a:gd name="connsiteY504" fmla="*/ 678007 h 712723"/>
                <a:gd name="connsiteX505" fmla="*/ 124313 w 374366"/>
                <a:gd name="connsiteY505" fmla="*/ 675988 h 712723"/>
                <a:gd name="connsiteX506" fmla="*/ 124313 w 374366"/>
                <a:gd name="connsiteY506" fmla="*/ 673365 h 712723"/>
                <a:gd name="connsiteX507" fmla="*/ 126500 w 374366"/>
                <a:gd name="connsiteY507" fmla="*/ 671783 h 712723"/>
                <a:gd name="connsiteX508" fmla="*/ 128519 w 374366"/>
                <a:gd name="connsiteY508" fmla="*/ 670034 h 712723"/>
                <a:gd name="connsiteX509" fmla="*/ 129529 w 374366"/>
                <a:gd name="connsiteY509" fmla="*/ 668722 h 712723"/>
                <a:gd name="connsiteX510" fmla="*/ 131986 w 374366"/>
                <a:gd name="connsiteY510" fmla="*/ 666973 h 712723"/>
                <a:gd name="connsiteX511" fmla="*/ 134745 w 374366"/>
                <a:gd name="connsiteY511" fmla="*/ 664517 h 712723"/>
                <a:gd name="connsiteX512" fmla="*/ 136933 w 374366"/>
                <a:gd name="connsiteY512" fmla="*/ 662331 h 712723"/>
                <a:gd name="connsiteX513" fmla="*/ 138952 w 374366"/>
                <a:gd name="connsiteY513" fmla="*/ 660582 h 712723"/>
                <a:gd name="connsiteX514" fmla="*/ 143159 w 374366"/>
                <a:gd name="connsiteY514" fmla="*/ 655502 h 712723"/>
                <a:gd name="connsiteX515" fmla="*/ 147366 w 374366"/>
                <a:gd name="connsiteY515" fmla="*/ 652878 h 712723"/>
                <a:gd name="connsiteX516" fmla="*/ 153154 w 374366"/>
                <a:gd name="connsiteY516" fmla="*/ 651566 h 712723"/>
                <a:gd name="connsiteX517" fmla="*/ 158236 w 374366"/>
                <a:gd name="connsiteY517" fmla="*/ 651566 h 712723"/>
                <a:gd name="connsiteX518" fmla="*/ 161568 w 374366"/>
                <a:gd name="connsiteY518" fmla="*/ 652138 h 712723"/>
                <a:gd name="connsiteX519" fmla="*/ 164328 w 374366"/>
                <a:gd name="connsiteY519" fmla="*/ 653282 h 712723"/>
                <a:gd name="connsiteX520" fmla="*/ 166583 w 374366"/>
                <a:gd name="connsiteY520" fmla="*/ 653147 h 712723"/>
                <a:gd name="connsiteX521" fmla="*/ 167828 w 374366"/>
                <a:gd name="connsiteY521" fmla="*/ 651566 h 712723"/>
                <a:gd name="connsiteX522" fmla="*/ 167828 w 374366"/>
                <a:gd name="connsiteY522" fmla="*/ 648942 h 712723"/>
                <a:gd name="connsiteX523" fmla="*/ 166953 w 374366"/>
                <a:gd name="connsiteY523" fmla="*/ 645612 h 712723"/>
                <a:gd name="connsiteX524" fmla="*/ 166078 w 374366"/>
                <a:gd name="connsiteY524" fmla="*/ 643425 h 712723"/>
                <a:gd name="connsiteX525" fmla="*/ 165001 w 374366"/>
                <a:gd name="connsiteY525" fmla="*/ 641541 h 712723"/>
                <a:gd name="connsiteX526" fmla="*/ 164362 w 374366"/>
                <a:gd name="connsiteY526" fmla="*/ 639220 h 712723"/>
                <a:gd name="connsiteX527" fmla="*/ 164362 w 374366"/>
                <a:gd name="connsiteY527" fmla="*/ 638480 h 712723"/>
                <a:gd name="connsiteX528" fmla="*/ 165371 w 374366"/>
                <a:gd name="connsiteY528" fmla="*/ 636731 h 712723"/>
                <a:gd name="connsiteX529" fmla="*/ 166549 w 374366"/>
                <a:gd name="connsiteY529" fmla="*/ 634982 h 712723"/>
                <a:gd name="connsiteX530" fmla="*/ 166684 w 374366"/>
                <a:gd name="connsiteY530" fmla="*/ 632526 h 712723"/>
                <a:gd name="connsiteX531" fmla="*/ 166549 w 374366"/>
                <a:gd name="connsiteY531" fmla="*/ 631651 h 712723"/>
                <a:gd name="connsiteX532" fmla="*/ 167862 w 374366"/>
                <a:gd name="connsiteY532" fmla="*/ 630642 h 712723"/>
                <a:gd name="connsiteX533" fmla="*/ 170453 w 374366"/>
                <a:gd name="connsiteY533" fmla="*/ 630642 h 712723"/>
                <a:gd name="connsiteX534" fmla="*/ 173347 w 374366"/>
                <a:gd name="connsiteY534" fmla="*/ 629902 h 712723"/>
                <a:gd name="connsiteX535" fmla="*/ 176679 w 374366"/>
                <a:gd name="connsiteY535" fmla="*/ 630642 h 712723"/>
                <a:gd name="connsiteX536" fmla="*/ 180011 w 374366"/>
                <a:gd name="connsiteY536" fmla="*/ 631786 h 712723"/>
                <a:gd name="connsiteX537" fmla="*/ 180718 w 374366"/>
                <a:gd name="connsiteY537" fmla="*/ 633098 h 712723"/>
                <a:gd name="connsiteX538" fmla="*/ 184622 w 374366"/>
                <a:gd name="connsiteY538" fmla="*/ 634242 h 712723"/>
                <a:gd name="connsiteX539" fmla="*/ 191891 w 374366"/>
                <a:gd name="connsiteY539" fmla="*/ 633872 h 712723"/>
                <a:gd name="connsiteX540" fmla="*/ 197107 w 374366"/>
                <a:gd name="connsiteY540" fmla="*/ 634511 h 712723"/>
                <a:gd name="connsiteX541" fmla="*/ 202324 w 374366"/>
                <a:gd name="connsiteY541" fmla="*/ 634410 h 712723"/>
                <a:gd name="connsiteX542" fmla="*/ 206901 w 374366"/>
                <a:gd name="connsiteY542" fmla="*/ 634948 h 712723"/>
                <a:gd name="connsiteX543" fmla="*/ 211040 w 374366"/>
                <a:gd name="connsiteY543" fmla="*/ 635856 h 712723"/>
                <a:gd name="connsiteX544" fmla="*/ 213968 w 374366"/>
                <a:gd name="connsiteY544" fmla="*/ 636731 h 712723"/>
                <a:gd name="connsiteX545" fmla="*/ 216829 w 374366"/>
                <a:gd name="connsiteY545" fmla="*/ 635083 h 712723"/>
                <a:gd name="connsiteX546" fmla="*/ 218848 w 374366"/>
                <a:gd name="connsiteY546" fmla="*/ 633064 h 712723"/>
                <a:gd name="connsiteX547" fmla="*/ 220430 w 374366"/>
                <a:gd name="connsiteY547" fmla="*/ 630878 h 712723"/>
                <a:gd name="connsiteX548" fmla="*/ 221440 w 374366"/>
                <a:gd name="connsiteY548" fmla="*/ 628859 h 712723"/>
                <a:gd name="connsiteX549" fmla="*/ 224334 w 374366"/>
                <a:gd name="connsiteY549" fmla="*/ 628859 h 712723"/>
                <a:gd name="connsiteX550" fmla="*/ 226050 w 374366"/>
                <a:gd name="connsiteY550" fmla="*/ 628859 h 712723"/>
                <a:gd name="connsiteX551" fmla="*/ 226925 w 374366"/>
                <a:gd name="connsiteY551" fmla="*/ 631752 h 712723"/>
                <a:gd name="connsiteX552" fmla="*/ 227800 w 374366"/>
                <a:gd name="connsiteY552" fmla="*/ 633636 h 712723"/>
                <a:gd name="connsiteX553" fmla="*/ 229820 w 374366"/>
                <a:gd name="connsiteY553" fmla="*/ 635385 h 712723"/>
                <a:gd name="connsiteX554" fmla="*/ 234026 w 374366"/>
                <a:gd name="connsiteY554" fmla="*/ 635251 h 712723"/>
                <a:gd name="connsiteX555" fmla="*/ 237426 w 374366"/>
                <a:gd name="connsiteY555" fmla="*/ 632358 h 712723"/>
                <a:gd name="connsiteX556" fmla="*/ 239108 w 374366"/>
                <a:gd name="connsiteY556" fmla="*/ 630474 h 712723"/>
                <a:gd name="connsiteX557" fmla="*/ 239108 w 374366"/>
                <a:gd name="connsiteY557" fmla="*/ 629734 h 712723"/>
                <a:gd name="connsiteX558" fmla="*/ 239108 w 374366"/>
                <a:gd name="connsiteY558" fmla="*/ 626269 h 712723"/>
                <a:gd name="connsiteX559" fmla="*/ 240118 w 374366"/>
                <a:gd name="connsiteY559" fmla="*/ 624688 h 712723"/>
                <a:gd name="connsiteX560" fmla="*/ 241700 w 374366"/>
                <a:gd name="connsiteY560" fmla="*/ 622939 h 712723"/>
                <a:gd name="connsiteX561" fmla="*/ 242575 w 374366"/>
                <a:gd name="connsiteY561" fmla="*/ 621795 h 712723"/>
                <a:gd name="connsiteX562" fmla="*/ 243887 w 374366"/>
                <a:gd name="connsiteY562" fmla="*/ 620349 h 712723"/>
                <a:gd name="connsiteX563" fmla="*/ 247959 w 374366"/>
                <a:gd name="connsiteY563" fmla="*/ 619339 h 712723"/>
                <a:gd name="connsiteX564" fmla="*/ 251426 w 374366"/>
                <a:gd name="connsiteY564" fmla="*/ 618465 h 712723"/>
                <a:gd name="connsiteX565" fmla="*/ 253883 w 374366"/>
                <a:gd name="connsiteY565" fmla="*/ 618465 h 712723"/>
                <a:gd name="connsiteX566" fmla="*/ 254623 w 374366"/>
                <a:gd name="connsiteY566" fmla="*/ 620786 h 712723"/>
                <a:gd name="connsiteX567" fmla="*/ 257517 w 374366"/>
                <a:gd name="connsiteY567" fmla="*/ 622670 h 712723"/>
                <a:gd name="connsiteX568" fmla="*/ 261859 w 374366"/>
                <a:gd name="connsiteY568" fmla="*/ 622939 h 712723"/>
                <a:gd name="connsiteX569" fmla="*/ 265191 w 374366"/>
                <a:gd name="connsiteY569" fmla="*/ 619911 h 712723"/>
                <a:gd name="connsiteX570" fmla="*/ 265191 w 374366"/>
                <a:gd name="connsiteY570" fmla="*/ 615874 h 712723"/>
                <a:gd name="connsiteX571" fmla="*/ 266941 w 374366"/>
                <a:gd name="connsiteY571" fmla="*/ 614125 h 712723"/>
                <a:gd name="connsiteX572" fmla="*/ 268119 w 374366"/>
                <a:gd name="connsiteY572" fmla="*/ 611232 h 712723"/>
                <a:gd name="connsiteX573" fmla="*/ 271181 w 374366"/>
                <a:gd name="connsiteY573" fmla="*/ 608642 h 712723"/>
                <a:gd name="connsiteX574" fmla="*/ 275826 w 374366"/>
                <a:gd name="connsiteY574" fmla="*/ 607902 h 712723"/>
                <a:gd name="connsiteX575" fmla="*/ 278888 w 374366"/>
                <a:gd name="connsiteY575" fmla="*/ 608642 h 712723"/>
                <a:gd name="connsiteX576" fmla="*/ 280907 w 374366"/>
                <a:gd name="connsiteY576" fmla="*/ 610660 h 712723"/>
                <a:gd name="connsiteX577" fmla="*/ 282792 w 374366"/>
                <a:gd name="connsiteY577" fmla="*/ 611232 h 712723"/>
                <a:gd name="connsiteX578" fmla="*/ 285249 w 374366"/>
                <a:gd name="connsiteY578" fmla="*/ 610357 h 712723"/>
                <a:gd name="connsiteX579" fmla="*/ 286124 w 374366"/>
                <a:gd name="connsiteY579" fmla="*/ 607902 h 712723"/>
                <a:gd name="connsiteX580" fmla="*/ 286124 w 374366"/>
                <a:gd name="connsiteY580" fmla="*/ 607162 h 712723"/>
                <a:gd name="connsiteX581" fmla="*/ 286124 w 374366"/>
                <a:gd name="connsiteY581" fmla="*/ 604572 h 712723"/>
                <a:gd name="connsiteX582" fmla="*/ 286999 w 374366"/>
                <a:gd name="connsiteY582" fmla="*/ 604572 h 712723"/>
                <a:gd name="connsiteX583" fmla="*/ 290330 w 374366"/>
                <a:gd name="connsiteY583" fmla="*/ 601948 h 712723"/>
                <a:gd name="connsiteX584" fmla="*/ 293393 w 374366"/>
                <a:gd name="connsiteY584" fmla="*/ 599492 h 712723"/>
                <a:gd name="connsiteX585" fmla="*/ 295581 w 374366"/>
                <a:gd name="connsiteY585" fmla="*/ 597608 h 712723"/>
                <a:gd name="connsiteX586" fmla="*/ 297331 w 374366"/>
                <a:gd name="connsiteY586" fmla="*/ 595152 h 712723"/>
                <a:gd name="connsiteX587" fmla="*/ 299215 w 374366"/>
                <a:gd name="connsiteY587" fmla="*/ 592966 h 712723"/>
                <a:gd name="connsiteX588" fmla="*/ 301403 w 374366"/>
                <a:gd name="connsiteY588" fmla="*/ 588492 h 712723"/>
                <a:gd name="connsiteX589" fmla="*/ 302850 w 374366"/>
                <a:gd name="connsiteY589" fmla="*/ 585464 h 712723"/>
                <a:gd name="connsiteX590" fmla="*/ 305307 w 374366"/>
                <a:gd name="connsiteY590" fmla="*/ 582268 h 712723"/>
                <a:gd name="connsiteX591" fmla="*/ 305307 w 374366"/>
                <a:gd name="connsiteY591" fmla="*/ 579375 h 712723"/>
                <a:gd name="connsiteX592" fmla="*/ 304432 w 374366"/>
                <a:gd name="connsiteY592" fmla="*/ 575608 h 712723"/>
                <a:gd name="connsiteX593" fmla="*/ 303422 w 374366"/>
                <a:gd name="connsiteY593" fmla="*/ 572715 h 712723"/>
                <a:gd name="connsiteX594" fmla="*/ 302413 w 374366"/>
                <a:gd name="connsiteY594" fmla="*/ 568813 h 712723"/>
                <a:gd name="connsiteX595" fmla="*/ 301840 w 374366"/>
                <a:gd name="connsiteY595" fmla="*/ 566357 h 712723"/>
                <a:gd name="connsiteX596" fmla="*/ 301403 w 374366"/>
                <a:gd name="connsiteY596" fmla="*/ 563733 h 712723"/>
                <a:gd name="connsiteX597" fmla="*/ 303422 w 374366"/>
                <a:gd name="connsiteY597" fmla="*/ 562858 h 712723"/>
                <a:gd name="connsiteX598" fmla="*/ 304432 w 374366"/>
                <a:gd name="connsiteY598" fmla="*/ 562858 h 712723"/>
                <a:gd name="connsiteX599" fmla="*/ 307326 w 374366"/>
                <a:gd name="connsiteY599" fmla="*/ 562858 h 712723"/>
                <a:gd name="connsiteX600" fmla="*/ 309783 w 374366"/>
                <a:gd name="connsiteY600" fmla="*/ 562724 h 712723"/>
                <a:gd name="connsiteX601" fmla="*/ 312812 w 374366"/>
                <a:gd name="connsiteY601" fmla="*/ 561849 h 712723"/>
                <a:gd name="connsiteX602" fmla="*/ 312812 w 374366"/>
                <a:gd name="connsiteY602" fmla="*/ 560974 h 712723"/>
                <a:gd name="connsiteX603" fmla="*/ 311365 w 374366"/>
                <a:gd name="connsiteY603" fmla="*/ 557947 h 712723"/>
                <a:gd name="connsiteX604" fmla="*/ 310119 w 374366"/>
                <a:gd name="connsiteY604" fmla="*/ 555626 h 712723"/>
                <a:gd name="connsiteX605" fmla="*/ 308740 w 374366"/>
                <a:gd name="connsiteY605" fmla="*/ 553439 h 712723"/>
                <a:gd name="connsiteX606" fmla="*/ 308740 w 374366"/>
                <a:gd name="connsiteY606" fmla="*/ 551555 h 712723"/>
                <a:gd name="connsiteX607" fmla="*/ 310187 w 374366"/>
                <a:gd name="connsiteY607" fmla="*/ 548225 h 712723"/>
                <a:gd name="connsiteX608" fmla="*/ 312072 w 374366"/>
                <a:gd name="connsiteY608" fmla="*/ 546476 h 712723"/>
                <a:gd name="connsiteX609" fmla="*/ 313956 w 374366"/>
                <a:gd name="connsiteY609" fmla="*/ 545601 h 712723"/>
                <a:gd name="connsiteX610" fmla="*/ 313956 w 374366"/>
                <a:gd name="connsiteY610" fmla="*/ 542843 h 712723"/>
                <a:gd name="connsiteX611" fmla="*/ 312879 w 374366"/>
                <a:gd name="connsiteY611" fmla="*/ 540522 h 712723"/>
                <a:gd name="connsiteX612" fmla="*/ 310927 w 374366"/>
                <a:gd name="connsiteY612" fmla="*/ 538335 h 712723"/>
                <a:gd name="connsiteX613" fmla="*/ 309345 w 374366"/>
                <a:gd name="connsiteY613" fmla="*/ 535577 h 712723"/>
                <a:gd name="connsiteX614" fmla="*/ 310927 w 374366"/>
                <a:gd name="connsiteY614" fmla="*/ 533390 h 712723"/>
                <a:gd name="connsiteX615" fmla="*/ 311634 w 374366"/>
                <a:gd name="connsiteY615" fmla="*/ 532078 h 712723"/>
                <a:gd name="connsiteX616" fmla="*/ 310322 w 374366"/>
                <a:gd name="connsiteY616" fmla="*/ 530934 h 712723"/>
                <a:gd name="connsiteX617" fmla="*/ 312072 w 374366"/>
                <a:gd name="connsiteY617" fmla="*/ 529185 h 712723"/>
                <a:gd name="connsiteX618" fmla="*/ 312206 w 374366"/>
                <a:gd name="connsiteY618" fmla="*/ 527873 h 712723"/>
                <a:gd name="connsiteX619" fmla="*/ 310019 w 374366"/>
                <a:gd name="connsiteY619" fmla="*/ 526124 h 712723"/>
                <a:gd name="connsiteX620" fmla="*/ 309009 w 374366"/>
                <a:gd name="connsiteY620" fmla="*/ 523937 h 712723"/>
                <a:gd name="connsiteX621" fmla="*/ 309884 w 374366"/>
                <a:gd name="connsiteY621" fmla="*/ 522188 h 712723"/>
                <a:gd name="connsiteX622" fmla="*/ 311466 w 374366"/>
                <a:gd name="connsiteY622" fmla="*/ 521044 h 712723"/>
                <a:gd name="connsiteX623" fmla="*/ 313047 w 374366"/>
                <a:gd name="connsiteY623" fmla="*/ 521044 h 712723"/>
                <a:gd name="connsiteX624" fmla="*/ 312610 w 374366"/>
                <a:gd name="connsiteY624" fmla="*/ 516402 h 712723"/>
                <a:gd name="connsiteX625" fmla="*/ 312172 w 374366"/>
                <a:gd name="connsiteY625" fmla="*/ 514216 h 712723"/>
                <a:gd name="connsiteX626" fmla="*/ 312172 w 374366"/>
                <a:gd name="connsiteY626" fmla="*/ 513206 h 712723"/>
                <a:gd name="connsiteX627" fmla="*/ 313047 w 374366"/>
                <a:gd name="connsiteY627" fmla="*/ 508295 h 712723"/>
                <a:gd name="connsiteX628" fmla="*/ 315807 w 374366"/>
                <a:gd name="connsiteY628" fmla="*/ 507723 h 712723"/>
                <a:gd name="connsiteX629" fmla="*/ 318567 w 374366"/>
                <a:gd name="connsiteY629" fmla="*/ 506983 h 712723"/>
                <a:gd name="connsiteX630" fmla="*/ 318264 w 374366"/>
                <a:gd name="connsiteY630" fmla="*/ 501903 h 712723"/>
                <a:gd name="connsiteX631" fmla="*/ 313721 w 374366"/>
                <a:gd name="connsiteY631" fmla="*/ 500659 h 712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</a:cxnLst>
              <a:rect l="l" t="t" r="r" b="b"/>
              <a:pathLst>
                <a:path w="374366" h="712723">
                  <a:moveTo>
                    <a:pt x="313721" y="500659"/>
                  </a:moveTo>
                  <a:cubicBezTo>
                    <a:pt x="312408" y="500019"/>
                    <a:pt x="306552" y="495007"/>
                    <a:pt x="306552" y="495007"/>
                  </a:cubicBezTo>
                  <a:lnTo>
                    <a:pt x="301773" y="490870"/>
                  </a:lnTo>
                  <a:cubicBezTo>
                    <a:pt x="301773" y="490870"/>
                    <a:pt x="301571" y="487606"/>
                    <a:pt x="301773" y="486732"/>
                  </a:cubicBezTo>
                  <a:cubicBezTo>
                    <a:pt x="302009" y="485857"/>
                    <a:pt x="301773" y="482830"/>
                    <a:pt x="301773" y="482830"/>
                  </a:cubicBezTo>
                  <a:lnTo>
                    <a:pt x="299821" y="480643"/>
                  </a:lnTo>
                  <a:cubicBezTo>
                    <a:pt x="299821" y="480643"/>
                    <a:pt x="296994" y="476943"/>
                    <a:pt x="296119" y="476304"/>
                  </a:cubicBezTo>
                  <a:cubicBezTo>
                    <a:pt x="295244" y="475664"/>
                    <a:pt x="293494" y="473680"/>
                    <a:pt x="292215" y="472603"/>
                  </a:cubicBezTo>
                  <a:cubicBezTo>
                    <a:pt x="290903" y="471527"/>
                    <a:pt x="291576" y="469340"/>
                    <a:pt x="291576" y="469340"/>
                  </a:cubicBezTo>
                  <a:cubicBezTo>
                    <a:pt x="291576" y="469340"/>
                    <a:pt x="293730" y="467826"/>
                    <a:pt x="297230" y="467389"/>
                  </a:cubicBezTo>
                  <a:cubicBezTo>
                    <a:pt x="300696" y="466952"/>
                    <a:pt x="296994" y="466313"/>
                    <a:pt x="296994" y="466313"/>
                  </a:cubicBezTo>
                  <a:lnTo>
                    <a:pt x="291138" y="462848"/>
                  </a:lnTo>
                  <a:lnTo>
                    <a:pt x="291778" y="459383"/>
                  </a:lnTo>
                  <a:lnTo>
                    <a:pt x="295917" y="457634"/>
                  </a:lnTo>
                  <a:lnTo>
                    <a:pt x="299182" y="455245"/>
                  </a:lnTo>
                  <a:lnTo>
                    <a:pt x="303961" y="455245"/>
                  </a:lnTo>
                  <a:lnTo>
                    <a:pt x="306788" y="451343"/>
                  </a:lnTo>
                  <a:lnTo>
                    <a:pt x="305711" y="449392"/>
                  </a:lnTo>
                  <a:lnTo>
                    <a:pt x="305071" y="446802"/>
                  </a:lnTo>
                  <a:lnTo>
                    <a:pt x="309413" y="445725"/>
                  </a:lnTo>
                  <a:cubicBezTo>
                    <a:pt x="309413" y="445725"/>
                    <a:pt x="312442" y="444649"/>
                    <a:pt x="313317" y="444413"/>
                  </a:cubicBezTo>
                  <a:cubicBezTo>
                    <a:pt x="314192" y="444211"/>
                    <a:pt x="314629" y="444649"/>
                    <a:pt x="315942" y="444413"/>
                  </a:cubicBezTo>
                  <a:cubicBezTo>
                    <a:pt x="317254" y="444211"/>
                    <a:pt x="317692" y="444413"/>
                    <a:pt x="317692" y="444413"/>
                  </a:cubicBezTo>
                  <a:lnTo>
                    <a:pt x="317927" y="441587"/>
                  </a:lnTo>
                  <a:lnTo>
                    <a:pt x="317052" y="437013"/>
                  </a:lnTo>
                  <a:lnTo>
                    <a:pt x="319004" y="430924"/>
                  </a:lnTo>
                  <a:lnTo>
                    <a:pt x="316615" y="429410"/>
                  </a:lnTo>
                  <a:lnTo>
                    <a:pt x="315975" y="423758"/>
                  </a:lnTo>
                  <a:lnTo>
                    <a:pt x="316177" y="418343"/>
                  </a:lnTo>
                  <a:lnTo>
                    <a:pt x="317692" y="414642"/>
                  </a:lnTo>
                  <a:lnTo>
                    <a:pt x="321394" y="410740"/>
                  </a:lnTo>
                  <a:lnTo>
                    <a:pt x="324221" y="405526"/>
                  </a:lnTo>
                  <a:lnTo>
                    <a:pt x="326173" y="399942"/>
                  </a:lnTo>
                  <a:cubicBezTo>
                    <a:pt x="326173" y="399942"/>
                    <a:pt x="329202" y="396039"/>
                    <a:pt x="330380" y="395871"/>
                  </a:cubicBezTo>
                  <a:cubicBezTo>
                    <a:pt x="331524" y="395737"/>
                    <a:pt x="333711" y="394290"/>
                    <a:pt x="334284" y="393987"/>
                  </a:cubicBezTo>
                  <a:cubicBezTo>
                    <a:pt x="334856" y="393685"/>
                    <a:pt x="335865" y="391835"/>
                    <a:pt x="335865" y="391835"/>
                  </a:cubicBezTo>
                  <a:lnTo>
                    <a:pt x="331793" y="387932"/>
                  </a:lnTo>
                  <a:cubicBezTo>
                    <a:pt x="331793" y="387932"/>
                    <a:pt x="331221" y="385746"/>
                    <a:pt x="331490" y="384905"/>
                  </a:cubicBezTo>
                  <a:cubicBezTo>
                    <a:pt x="331793" y="384030"/>
                    <a:pt x="332500" y="382584"/>
                    <a:pt x="333510" y="381877"/>
                  </a:cubicBezTo>
                  <a:cubicBezTo>
                    <a:pt x="334519" y="381137"/>
                    <a:pt x="335966" y="379691"/>
                    <a:pt x="336539" y="379556"/>
                  </a:cubicBezTo>
                  <a:cubicBezTo>
                    <a:pt x="337110" y="379421"/>
                    <a:pt x="337851" y="377672"/>
                    <a:pt x="338995" y="376932"/>
                  </a:cubicBezTo>
                  <a:cubicBezTo>
                    <a:pt x="340139" y="376226"/>
                    <a:pt x="340577" y="375923"/>
                    <a:pt x="341183" y="375486"/>
                  </a:cubicBezTo>
                  <a:cubicBezTo>
                    <a:pt x="341755" y="375048"/>
                    <a:pt x="342495" y="372593"/>
                    <a:pt x="342495" y="372593"/>
                  </a:cubicBezTo>
                  <a:lnTo>
                    <a:pt x="344077" y="368119"/>
                  </a:lnTo>
                  <a:cubicBezTo>
                    <a:pt x="344077" y="368119"/>
                    <a:pt x="346096" y="365091"/>
                    <a:pt x="346399" y="364485"/>
                  </a:cubicBezTo>
                  <a:cubicBezTo>
                    <a:pt x="346702" y="363914"/>
                    <a:pt x="347409" y="360583"/>
                    <a:pt x="347712" y="358699"/>
                  </a:cubicBezTo>
                  <a:cubicBezTo>
                    <a:pt x="348014" y="356816"/>
                    <a:pt x="348284" y="356244"/>
                    <a:pt x="348284" y="355504"/>
                  </a:cubicBezTo>
                  <a:cubicBezTo>
                    <a:pt x="348284" y="354764"/>
                    <a:pt x="348722" y="353048"/>
                    <a:pt x="348856" y="352611"/>
                  </a:cubicBezTo>
                  <a:cubicBezTo>
                    <a:pt x="348991" y="352173"/>
                    <a:pt x="348856" y="350592"/>
                    <a:pt x="348856" y="350592"/>
                  </a:cubicBezTo>
                  <a:cubicBezTo>
                    <a:pt x="348856" y="350592"/>
                    <a:pt x="346971" y="348137"/>
                    <a:pt x="346534" y="347834"/>
                  </a:cubicBezTo>
                  <a:cubicBezTo>
                    <a:pt x="346096" y="347565"/>
                    <a:pt x="343774" y="345816"/>
                    <a:pt x="343774" y="345816"/>
                  </a:cubicBezTo>
                  <a:lnTo>
                    <a:pt x="340880" y="344066"/>
                  </a:lnTo>
                  <a:lnTo>
                    <a:pt x="339736" y="344066"/>
                  </a:lnTo>
                  <a:lnTo>
                    <a:pt x="336841" y="342687"/>
                  </a:lnTo>
                  <a:lnTo>
                    <a:pt x="336707" y="340433"/>
                  </a:lnTo>
                  <a:lnTo>
                    <a:pt x="336976" y="338179"/>
                  </a:lnTo>
                  <a:cubicBezTo>
                    <a:pt x="336976" y="338179"/>
                    <a:pt x="336202" y="337406"/>
                    <a:pt x="336000" y="336867"/>
                  </a:cubicBezTo>
                  <a:cubicBezTo>
                    <a:pt x="335798" y="336329"/>
                    <a:pt x="335697" y="334580"/>
                    <a:pt x="335697" y="334580"/>
                  </a:cubicBezTo>
                  <a:lnTo>
                    <a:pt x="333409" y="331317"/>
                  </a:lnTo>
                  <a:lnTo>
                    <a:pt x="331221" y="329029"/>
                  </a:lnTo>
                  <a:cubicBezTo>
                    <a:pt x="331221" y="329029"/>
                    <a:pt x="330144" y="327717"/>
                    <a:pt x="329808" y="327516"/>
                  </a:cubicBezTo>
                  <a:cubicBezTo>
                    <a:pt x="329471" y="327314"/>
                    <a:pt x="327956" y="325464"/>
                    <a:pt x="327956" y="325464"/>
                  </a:cubicBezTo>
                  <a:lnTo>
                    <a:pt x="325803" y="322974"/>
                  </a:lnTo>
                  <a:lnTo>
                    <a:pt x="324389" y="320586"/>
                  </a:lnTo>
                  <a:cubicBezTo>
                    <a:pt x="324389" y="320586"/>
                    <a:pt x="324389" y="317323"/>
                    <a:pt x="324389" y="316885"/>
                  </a:cubicBezTo>
                  <a:cubicBezTo>
                    <a:pt x="324389" y="316448"/>
                    <a:pt x="324322" y="314060"/>
                    <a:pt x="324221" y="313723"/>
                  </a:cubicBezTo>
                  <a:cubicBezTo>
                    <a:pt x="324120" y="313387"/>
                    <a:pt x="322202" y="312075"/>
                    <a:pt x="321663" y="311671"/>
                  </a:cubicBezTo>
                  <a:cubicBezTo>
                    <a:pt x="321125" y="311234"/>
                    <a:pt x="319913" y="309384"/>
                    <a:pt x="319374" y="308206"/>
                  </a:cubicBezTo>
                  <a:cubicBezTo>
                    <a:pt x="318836" y="307029"/>
                    <a:pt x="319274" y="306020"/>
                    <a:pt x="319274" y="305482"/>
                  </a:cubicBezTo>
                  <a:cubicBezTo>
                    <a:pt x="319274" y="304943"/>
                    <a:pt x="319812" y="302858"/>
                    <a:pt x="319812" y="302858"/>
                  </a:cubicBezTo>
                  <a:lnTo>
                    <a:pt x="320452" y="301243"/>
                  </a:lnTo>
                  <a:lnTo>
                    <a:pt x="320889" y="297980"/>
                  </a:lnTo>
                  <a:lnTo>
                    <a:pt x="320889" y="295390"/>
                  </a:lnTo>
                  <a:lnTo>
                    <a:pt x="319038" y="294851"/>
                  </a:lnTo>
                  <a:lnTo>
                    <a:pt x="316548" y="295390"/>
                  </a:lnTo>
                  <a:lnTo>
                    <a:pt x="313081" y="295390"/>
                  </a:lnTo>
                  <a:cubicBezTo>
                    <a:pt x="313081" y="295390"/>
                    <a:pt x="309446" y="290546"/>
                    <a:pt x="309009" y="290377"/>
                  </a:cubicBezTo>
                  <a:cubicBezTo>
                    <a:pt x="308571" y="290243"/>
                    <a:pt x="306115" y="290175"/>
                    <a:pt x="306115" y="290175"/>
                  </a:cubicBezTo>
                  <a:lnTo>
                    <a:pt x="305542" y="290175"/>
                  </a:lnTo>
                  <a:cubicBezTo>
                    <a:pt x="305542" y="290175"/>
                    <a:pt x="302783" y="291050"/>
                    <a:pt x="302211" y="291185"/>
                  </a:cubicBezTo>
                  <a:cubicBezTo>
                    <a:pt x="301639" y="291319"/>
                    <a:pt x="298576" y="290175"/>
                    <a:pt x="298576" y="290175"/>
                  </a:cubicBezTo>
                  <a:cubicBezTo>
                    <a:pt x="298576" y="290175"/>
                    <a:pt x="295816" y="288157"/>
                    <a:pt x="295379" y="287854"/>
                  </a:cubicBezTo>
                  <a:cubicBezTo>
                    <a:pt x="294941" y="287552"/>
                    <a:pt x="292047" y="285668"/>
                    <a:pt x="292047" y="285668"/>
                  </a:cubicBezTo>
                  <a:lnTo>
                    <a:pt x="290734" y="282640"/>
                  </a:lnTo>
                  <a:cubicBezTo>
                    <a:pt x="290734" y="282640"/>
                    <a:pt x="287100" y="278301"/>
                    <a:pt x="287403" y="277729"/>
                  </a:cubicBezTo>
                  <a:cubicBezTo>
                    <a:pt x="287706" y="277157"/>
                    <a:pt x="289153" y="275273"/>
                    <a:pt x="290432" y="273961"/>
                  </a:cubicBezTo>
                  <a:cubicBezTo>
                    <a:pt x="291744" y="272649"/>
                    <a:pt x="291441" y="271505"/>
                    <a:pt x="291441" y="270934"/>
                  </a:cubicBezTo>
                  <a:cubicBezTo>
                    <a:pt x="291441" y="270362"/>
                    <a:pt x="291172" y="268175"/>
                    <a:pt x="291172" y="268175"/>
                  </a:cubicBezTo>
                  <a:cubicBezTo>
                    <a:pt x="291172" y="268175"/>
                    <a:pt x="290297" y="264710"/>
                    <a:pt x="290297" y="264105"/>
                  </a:cubicBezTo>
                  <a:cubicBezTo>
                    <a:pt x="290297" y="263533"/>
                    <a:pt x="289556" y="258016"/>
                    <a:pt x="289556" y="258016"/>
                  </a:cubicBezTo>
                  <a:lnTo>
                    <a:pt x="289556" y="253676"/>
                  </a:lnTo>
                  <a:lnTo>
                    <a:pt x="290364" y="249606"/>
                  </a:lnTo>
                  <a:lnTo>
                    <a:pt x="292182" y="246713"/>
                  </a:lnTo>
                  <a:cubicBezTo>
                    <a:pt x="292182" y="246713"/>
                    <a:pt x="296388" y="244257"/>
                    <a:pt x="296826" y="243955"/>
                  </a:cubicBezTo>
                  <a:cubicBezTo>
                    <a:pt x="297264" y="243652"/>
                    <a:pt x="299720" y="242945"/>
                    <a:pt x="299720" y="242945"/>
                  </a:cubicBezTo>
                  <a:cubicBezTo>
                    <a:pt x="299720" y="242945"/>
                    <a:pt x="304062" y="242239"/>
                    <a:pt x="304196" y="241802"/>
                  </a:cubicBezTo>
                  <a:cubicBezTo>
                    <a:pt x="304331" y="241364"/>
                    <a:pt x="304937" y="239783"/>
                    <a:pt x="304937" y="239783"/>
                  </a:cubicBezTo>
                  <a:lnTo>
                    <a:pt x="305946" y="236890"/>
                  </a:lnTo>
                  <a:lnTo>
                    <a:pt x="311600" y="233695"/>
                  </a:lnTo>
                  <a:lnTo>
                    <a:pt x="315672" y="230802"/>
                  </a:lnTo>
                  <a:cubicBezTo>
                    <a:pt x="315672" y="230802"/>
                    <a:pt x="316682" y="226159"/>
                    <a:pt x="316817" y="225587"/>
                  </a:cubicBezTo>
                  <a:cubicBezTo>
                    <a:pt x="316951" y="225015"/>
                    <a:pt x="317692" y="222392"/>
                    <a:pt x="317692" y="222392"/>
                  </a:cubicBezTo>
                  <a:lnTo>
                    <a:pt x="317389" y="220071"/>
                  </a:lnTo>
                  <a:lnTo>
                    <a:pt x="314629" y="216303"/>
                  </a:lnTo>
                  <a:lnTo>
                    <a:pt x="311869" y="213713"/>
                  </a:lnTo>
                  <a:lnTo>
                    <a:pt x="309548" y="210820"/>
                  </a:lnTo>
                  <a:lnTo>
                    <a:pt x="307360" y="207489"/>
                  </a:lnTo>
                  <a:lnTo>
                    <a:pt x="306620" y="204294"/>
                  </a:lnTo>
                  <a:lnTo>
                    <a:pt x="309076" y="201838"/>
                  </a:lnTo>
                  <a:lnTo>
                    <a:pt x="312846" y="198070"/>
                  </a:lnTo>
                  <a:lnTo>
                    <a:pt x="314023" y="195413"/>
                  </a:lnTo>
                  <a:lnTo>
                    <a:pt x="317793" y="194302"/>
                  </a:lnTo>
                  <a:lnTo>
                    <a:pt x="318533" y="193899"/>
                  </a:lnTo>
                  <a:lnTo>
                    <a:pt x="320384" y="192856"/>
                  </a:lnTo>
                  <a:lnTo>
                    <a:pt x="321125" y="190535"/>
                  </a:lnTo>
                  <a:lnTo>
                    <a:pt x="326341" y="187070"/>
                  </a:lnTo>
                  <a:lnTo>
                    <a:pt x="330380" y="184614"/>
                  </a:lnTo>
                  <a:cubicBezTo>
                    <a:pt x="330380" y="184614"/>
                    <a:pt x="333005" y="184749"/>
                    <a:pt x="334452" y="185052"/>
                  </a:cubicBezTo>
                  <a:cubicBezTo>
                    <a:pt x="335899" y="185354"/>
                    <a:pt x="336034" y="187373"/>
                    <a:pt x="338087" y="188247"/>
                  </a:cubicBezTo>
                  <a:cubicBezTo>
                    <a:pt x="340106" y="189122"/>
                    <a:pt x="341991" y="192318"/>
                    <a:pt x="344178" y="194471"/>
                  </a:cubicBezTo>
                  <a:cubicBezTo>
                    <a:pt x="346365" y="196657"/>
                    <a:pt x="345625" y="194471"/>
                    <a:pt x="346635" y="194471"/>
                  </a:cubicBezTo>
                  <a:cubicBezTo>
                    <a:pt x="347644" y="194471"/>
                    <a:pt x="348654" y="192587"/>
                    <a:pt x="349394" y="191443"/>
                  </a:cubicBezTo>
                  <a:cubicBezTo>
                    <a:pt x="350135" y="190299"/>
                    <a:pt x="353029" y="190434"/>
                    <a:pt x="353029" y="190434"/>
                  </a:cubicBezTo>
                  <a:cubicBezTo>
                    <a:pt x="353029" y="190434"/>
                    <a:pt x="355049" y="188853"/>
                    <a:pt x="355620" y="188416"/>
                  </a:cubicBezTo>
                  <a:cubicBezTo>
                    <a:pt x="356193" y="187978"/>
                    <a:pt x="357068" y="186229"/>
                    <a:pt x="358649" y="185220"/>
                  </a:cubicBezTo>
                  <a:cubicBezTo>
                    <a:pt x="360265" y="184211"/>
                    <a:pt x="360837" y="183773"/>
                    <a:pt x="362553" y="183033"/>
                  </a:cubicBezTo>
                  <a:cubicBezTo>
                    <a:pt x="364304" y="182293"/>
                    <a:pt x="364169" y="182461"/>
                    <a:pt x="365010" y="182024"/>
                  </a:cubicBezTo>
                  <a:cubicBezTo>
                    <a:pt x="365885" y="181587"/>
                    <a:pt x="367467" y="180275"/>
                    <a:pt x="369486" y="179837"/>
                  </a:cubicBezTo>
                  <a:cubicBezTo>
                    <a:pt x="370900" y="179535"/>
                    <a:pt x="371169" y="179636"/>
                    <a:pt x="371236" y="179737"/>
                  </a:cubicBezTo>
                  <a:lnTo>
                    <a:pt x="371236" y="177954"/>
                  </a:lnTo>
                  <a:cubicBezTo>
                    <a:pt x="371236" y="177954"/>
                    <a:pt x="368275" y="175061"/>
                    <a:pt x="368275" y="174489"/>
                  </a:cubicBezTo>
                  <a:cubicBezTo>
                    <a:pt x="368275" y="173917"/>
                    <a:pt x="367198" y="171461"/>
                    <a:pt x="366592" y="170587"/>
                  </a:cubicBezTo>
                  <a:cubicBezTo>
                    <a:pt x="366020" y="169712"/>
                    <a:pt x="364842" y="167256"/>
                    <a:pt x="365010" y="166516"/>
                  </a:cubicBezTo>
                  <a:cubicBezTo>
                    <a:pt x="365145" y="165810"/>
                    <a:pt x="365145" y="165944"/>
                    <a:pt x="365717" y="165944"/>
                  </a:cubicBezTo>
                  <a:cubicBezTo>
                    <a:pt x="366289" y="165944"/>
                    <a:pt x="367298" y="164801"/>
                    <a:pt x="367736" y="164632"/>
                  </a:cubicBezTo>
                  <a:cubicBezTo>
                    <a:pt x="368174" y="164498"/>
                    <a:pt x="368308" y="163186"/>
                    <a:pt x="368443" y="162748"/>
                  </a:cubicBezTo>
                  <a:cubicBezTo>
                    <a:pt x="368577" y="162311"/>
                    <a:pt x="367871" y="160730"/>
                    <a:pt x="367871" y="160730"/>
                  </a:cubicBezTo>
                  <a:cubicBezTo>
                    <a:pt x="367871" y="160730"/>
                    <a:pt x="366558" y="158846"/>
                    <a:pt x="366558" y="158106"/>
                  </a:cubicBezTo>
                  <a:cubicBezTo>
                    <a:pt x="366558" y="157366"/>
                    <a:pt x="366996" y="155348"/>
                    <a:pt x="366996" y="155348"/>
                  </a:cubicBezTo>
                  <a:lnTo>
                    <a:pt x="369452" y="154339"/>
                  </a:lnTo>
                  <a:lnTo>
                    <a:pt x="370900" y="153464"/>
                  </a:lnTo>
                  <a:lnTo>
                    <a:pt x="372650" y="147947"/>
                  </a:lnTo>
                  <a:lnTo>
                    <a:pt x="373659" y="145357"/>
                  </a:lnTo>
                  <a:lnTo>
                    <a:pt x="373794" y="143776"/>
                  </a:lnTo>
                  <a:lnTo>
                    <a:pt x="374366" y="139436"/>
                  </a:lnTo>
                  <a:lnTo>
                    <a:pt x="373491" y="136241"/>
                  </a:lnTo>
                  <a:lnTo>
                    <a:pt x="373188" y="134054"/>
                  </a:lnTo>
                  <a:cubicBezTo>
                    <a:pt x="373188" y="134054"/>
                    <a:pt x="371438" y="132305"/>
                    <a:pt x="371169" y="131733"/>
                  </a:cubicBezTo>
                  <a:cubicBezTo>
                    <a:pt x="370866" y="131161"/>
                    <a:pt x="369856" y="129849"/>
                    <a:pt x="369856" y="129849"/>
                  </a:cubicBezTo>
                  <a:lnTo>
                    <a:pt x="368544" y="129714"/>
                  </a:lnTo>
                  <a:lnTo>
                    <a:pt x="364774" y="128133"/>
                  </a:lnTo>
                  <a:lnTo>
                    <a:pt x="363630" y="125509"/>
                  </a:lnTo>
                  <a:lnTo>
                    <a:pt x="362486" y="124198"/>
                  </a:lnTo>
                  <a:lnTo>
                    <a:pt x="362486" y="120733"/>
                  </a:lnTo>
                  <a:lnTo>
                    <a:pt x="361241" y="117705"/>
                  </a:lnTo>
                  <a:lnTo>
                    <a:pt x="361376" y="116191"/>
                  </a:lnTo>
                  <a:cubicBezTo>
                    <a:pt x="361376" y="116191"/>
                    <a:pt x="362250" y="113601"/>
                    <a:pt x="363563" y="112289"/>
                  </a:cubicBezTo>
                  <a:cubicBezTo>
                    <a:pt x="364875" y="110977"/>
                    <a:pt x="363563" y="112289"/>
                    <a:pt x="364203" y="111414"/>
                  </a:cubicBezTo>
                  <a:cubicBezTo>
                    <a:pt x="364842" y="110540"/>
                    <a:pt x="365078" y="109463"/>
                    <a:pt x="365279" y="108589"/>
                  </a:cubicBezTo>
                  <a:cubicBezTo>
                    <a:pt x="365515" y="107714"/>
                    <a:pt x="365515" y="105763"/>
                    <a:pt x="365515" y="105763"/>
                  </a:cubicBezTo>
                  <a:lnTo>
                    <a:pt x="363563" y="102937"/>
                  </a:lnTo>
                  <a:cubicBezTo>
                    <a:pt x="363563" y="102937"/>
                    <a:pt x="363361" y="101861"/>
                    <a:pt x="362688" y="101188"/>
                  </a:cubicBezTo>
                  <a:cubicBezTo>
                    <a:pt x="362049" y="100549"/>
                    <a:pt x="361611" y="100751"/>
                    <a:pt x="361611" y="100751"/>
                  </a:cubicBezTo>
                  <a:lnTo>
                    <a:pt x="358347" y="100751"/>
                  </a:lnTo>
                  <a:lnTo>
                    <a:pt x="353332" y="100852"/>
                  </a:lnTo>
                  <a:lnTo>
                    <a:pt x="349428" y="100313"/>
                  </a:lnTo>
                  <a:cubicBezTo>
                    <a:pt x="349428" y="100313"/>
                    <a:pt x="344885" y="99876"/>
                    <a:pt x="343336" y="99876"/>
                  </a:cubicBezTo>
                  <a:cubicBezTo>
                    <a:pt x="341822" y="99876"/>
                    <a:pt x="338995" y="98362"/>
                    <a:pt x="338995" y="98362"/>
                  </a:cubicBezTo>
                  <a:cubicBezTo>
                    <a:pt x="338995" y="98362"/>
                    <a:pt x="333779" y="96176"/>
                    <a:pt x="333106" y="95738"/>
                  </a:cubicBezTo>
                  <a:cubicBezTo>
                    <a:pt x="332466" y="95301"/>
                    <a:pt x="332029" y="93989"/>
                    <a:pt x="332029" y="93989"/>
                  </a:cubicBezTo>
                  <a:lnTo>
                    <a:pt x="330278" y="92038"/>
                  </a:lnTo>
                  <a:cubicBezTo>
                    <a:pt x="330278" y="92038"/>
                    <a:pt x="328529" y="92038"/>
                    <a:pt x="327889" y="92038"/>
                  </a:cubicBezTo>
                  <a:cubicBezTo>
                    <a:pt x="327216" y="92038"/>
                    <a:pt x="325264" y="91601"/>
                    <a:pt x="324423" y="91399"/>
                  </a:cubicBezTo>
                  <a:cubicBezTo>
                    <a:pt x="323548" y="91197"/>
                    <a:pt x="320956" y="88775"/>
                    <a:pt x="320283" y="88136"/>
                  </a:cubicBezTo>
                  <a:cubicBezTo>
                    <a:pt x="319644" y="87497"/>
                    <a:pt x="318971" y="83359"/>
                    <a:pt x="318971" y="83359"/>
                  </a:cubicBezTo>
                  <a:cubicBezTo>
                    <a:pt x="318971" y="83359"/>
                    <a:pt x="320519" y="78145"/>
                    <a:pt x="321158" y="77270"/>
                  </a:cubicBezTo>
                  <a:cubicBezTo>
                    <a:pt x="321798" y="76396"/>
                    <a:pt x="323110" y="75958"/>
                    <a:pt x="323110" y="75958"/>
                  </a:cubicBezTo>
                  <a:lnTo>
                    <a:pt x="325735" y="76396"/>
                  </a:lnTo>
                  <a:cubicBezTo>
                    <a:pt x="325735" y="76396"/>
                    <a:pt x="327923" y="77035"/>
                    <a:pt x="330077" y="77035"/>
                  </a:cubicBezTo>
                  <a:cubicBezTo>
                    <a:pt x="332231" y="77035"/>
                    <a:pt x="331389" y="75958"/>
                    <a:pt x="331389" y="75958"/>
                  </a:cubicBezTo>
                  <a:lnTo>
                    <a:pt x="330952" y="71383"/>
                  </a:lnTo>
                  <a:lnTo>
                    <a:pt x="330312" y="65934"/>
                  </a:lnTo>
                  <a:lnTo>
                    <a:pt x="339231" y="65934"/>
                  </a:lnTo>
                  <a:lnTo>
                    <a:pt x="342697" y="63209"/>
                  </a:lnTo>
                  <a:lnTo>
                    <a:pt x="344885" y="61796"/>
                  </a:lnTo>
                  <a:lnTo>
                    <a:pt x="352491" y="60719"/>
                  </a:lnTo>
                  <a:lnTo>
                    <a:pt x="360332" y="57120"/>
                  </a:lnTo>
                  <a:cubicBezTo>
                    <a:pt x="360332" y="57120"/>
                    <a:pt x="361846" y="56346"/>
                    <a:pt x="362722" y="55909"/>
                  </a:cubicBezTo>
                  <a:cubicBezTo>
                    <a:pt x="363597" y="55472"/>
                    <a:pt x="364135" y="55135"/>
                    <a:pt x="364909" y="54933"/>
                  </a:cubicBezTo>
                  <a:cubicBezTo>
                    <a:pt x="365683" y="54732"/>
                    <a:pt x="366659" y="52444"/>
                    <a:pt x="366659" y="52444"/>
                  </a:cubicBezTo>
                  <a:lnTo>
                    <a:pt x="369823" y="51368"/>
                  </a:lnTo>
                  <a:lnTo>
                    <a:pt x="370058" y="50594"/>
                  </a:lnTo>
                  <a:lnTo>
                    <a:pt x="368645" y="48542"/>
                  </a:lnTo>
                  <a:cubicBezTo>
                    <a:pt x="368577" y="48542"/>
                    <a:pt x="368409" y="48542"/>
                    <a:pt x="368107" y="48542"/>
                  </a:cubicBezTo>
                  <a:cubicBezTo>
                    <a:pt x="367232" y="48542"/>
                    <a:pt x="364741" y="48374"/>
                    <a:pt x="364304" y="48374"/>
                  </a:cubicBezTo>
                  <a:cubicBezTo>
                    <a:pt x="363866" y="48374"/>
                    <a:pt x="361577" y="47667"/>
                    <a:pt x="361577" y="47667"/>
                  </a:cubicBezTo>
                  <a:lnTo>
                    <a:pt x="356798" y="47129"/>
                  </a:lnTo>
                  <a:cubicBezTo>
                    <a:pt x="356798" y="47129"/>
                    <a:pt x="354948" y="47230"/>
                    <a:pt x="354072" y="47028"/>
                  </a:cubicBezTo>
                  <a:cubicBezTo>
                    <a:pt x="353197" y="46826"/>
                    <a:pt x="351784" y="47230"/>
                    <a:pt x="351784" y="47230"/>
                  </a:cubicBezTo>
                  <a:lnTo>
                    <a:pt x="349832" y="43261"/>
                  </a:lnTo>
                  <a:lnTo>
                    <a:pt x="351043" y="39493"/>
                  </a:lnTo>
                  <a:lnTo>
                    <a:pt x="349967" y="34918"/>
                  </a:lnTo>
                  <a:lnTo>
                    <a:pt x="349428" y="29166"/>
                  </a:lnTo>
                  <a:cubicBezTo>
                    <a:pt x="349428" y="29166"/>
                    <a:pt x="348788" y="27114"/>
                    <a:pt x="348788" y="26003"/>
                  </a:cubicBezTo>
                  <a:cubicBezTo>
                    <a:pt x="348788" y="24927"/>
                    <a:pt x="348688" y="23716"/>
                    <a:pt x="348788" y="23279"/>
                  </a:cubicBezTo>
                  <a:cubicBezTo>
                    <a:pt x="348890" y="22841"/>
                    <a:pt x="348587" y="21630"/>
                    <a:pt x="348452" y="21328"/>
                  </a:cubicBezTo>
                  <a:cubicBezTo>
                    <a:pt x="348318" y="20991"/>
                    <a:pt x="347476" y="18939"/>
                    <a:pt x="347342" y="18603"/>
                  </a:cubicBezTo>
                  <a:cubicBezTo>
                    <a:pt x="347240" y="18266"/>
                    <a:pt x="344313" y="15340"/>
                    <a:pt x="343976" y="15138"/>
                  </a:cubicBezTo>
                  <a:cubicBezTo>
                    <a:pt x="343640" y="14936"/>
                    <a:pt x="342024" y="13725"/>
                    <a:pt x="341149" y="13086"/>
                  </a:cubicBezTo>
                  <a:cubicBezTo>
                    <a:pt x="340274" y="12447"/>
                    <a:pt x="337784" y="10260"/>
                    <a:pt x="337784" y="10260"/>
                  </a:cubicBezTo>
                  <a:lnTo>
                    <a:pt x="334183" y="7233"/>
                  </a:lnTo>
                  <a:lnTo>
                    <a:pt x="333409" y="4844"/>
                  </a:lnTo>
                  <a:lnTo>
                    <a:pt x="332432" y="1144"/>
                  </a:lnTo>
                  <a:lnTo>
                    <a:pt x="331692" y="0"/>
                  </a:lnTo>
                  <a:lnTo>
                    <a:pt x="329908" y="34"/>
                  </a:lnTo>
                  <a:lnTo>
                    <a:pt x="328764" y="1446"/>
                  </a:lnTo>
                  <a:lnTo>
                    <a:pt x="326610" y="3061"/>
                  </a:lnTo>
                  <a:lnTo>
                    <a:pt x="326005" y="5450"/>
                  </a:lnTo>
                  <a:lnTo>
                    <a:pt x="326005" y="11101"/>
                  </a:lnTo>
                  <a:lnTo>
                    <a:pt x="326005" y="14566"/>
                  </a:lnTo>
                  <a:lnTo>
                    <a:pt x="326005" y="19780"/>
                  </a:lnTo>
                  <a:lnTo>
                    <a:pt x="322908" y="20655"/>
                  </a:lnTo>
                  <a:lnTo>
                    <a:pt x="320788" y="22068"/>
                  </a:lnTo>
                  <a:lnTo>
                    <a:pt x="320788" y="26744"/>
                  </a:lnTo>
                  <a:cubicBezTo>
                    <a:pt x="320788" y="26744"/>
                    <a:pt x="318701" y="30108"/>
                    <a:pt x="318298" y="30208"/>
                  </a:cubicBezTo>
                  <a:cubicBezTo>
                    <a:pt x="317860" y="30309"/>
                    <a:pt x="312980" y="30747"/>
                    <a:pt x="312980" y="30747"/>
                  </a:cubicBezTo>
                  <a:cubicBezTo>
                    <a:pt x="312980" y="30747"/>
                    <a:pt x="310490" y="29132"/>
                    <a:pt x="310153" y="28997"/>
                  </a:cubicBezTo>
                  <a:cubicBezTo>
                    <a:pt x="309817" y="28896"/>
                    <a:pt x="307225" y="26172"/>
                    <a:pt x="307225" y="26172"/>
                  </a:cubicBezTo>
                  <a:lnTo>
                    <a:pt x="305273" y="25835"/>
                  </a:lnTo>
                  <a:lnTo>
                    <a:pt x="303086" y="27349"/>
                  </a:lnTo>
                  <a:lnTo>
                    <a:pt x="301773" y="31386"/>
                  </a:lnTo>
                  <a:lnTo>
                    <a:pt x="298307" y="35288"/>
                  </a:lnTo>
                  <a:lnTo>
                    <a:pt x="295716" y="38215"/>
                  </a:lnTo>
                  <a:lnTo>
                    <a:pt x="293864" y="41915"/>
                  </a:lnTo>
                  <a:cubicBezTo>
                    <a:pt x="293864" y="41915"/>
                    <a:pt x="292451" y="46591"/>
                    <a:pt x="291677" y="46692"/>
                  </a:cubicBezTo>
                  <a:cubicBezTo>
                    <a:pt x="290936" y="46793"/>
                    <a:pt x="287336" y="48643"/>
                    <a:pt x="287336" y="48643"/>
                  </a:cubicBezTo>
                  <a:lnTo>
                    <a:pt x="284643" y="51233"/>
                  </a:lnTo>
                  <a:lnTo>
                    <a:pt x="281917" y="52646"/>
                  </a:lnTo>
                  <a:lnTo>
                    <a:pt x="277037" y="53184"/>
                  </a:lnTo>
                  <a:cubicBezTo>
                    <a:pt x="277037" y="53184"/>
                    <a:pt x="271181" y="51132"/>
                    <a:pt x="270744" y="50796"/>
                  </a:cubicBezTo>
                  <a:cubicBezTo>
                    <a:pt x="270306" y="50459"/>
                    <a:pt x="263441" y="47095"/>
                    <a:pt x="263441" y="47095"/>
                  </a:cubicBezTo>
                  <a:lnTo>
                    <a:pt x="260950" y="43933"/>
                  </a:lnTo>
                  <a:lnTo>
                    <a:pt x="256710" y="40569"/>
                  </a:lnTo>
                  <a:lnTo>
                    <a:pt x="252234" y="38820"/>
                  </a:lnTo>
                  <a:lnTo>
                    <a:pt x="245940" y="39594"/>
                  </a:lnTo>
                  <a:cubicBezTo>
                    <a:pt x="245940" y="39594"/>
                    <a:pt x="243450" y="41646"/>
                    <a:pt x="242676" y="42756"/>
                  </a:cubicBezTo>
                  <a:cubicBezTo>
                    <a:pt x="241902" y="43832"/>
                    <a:pt x="239209" y="46221"/>
                    <a:pt x="239209" y="46221"/>
                  </a:cubicBezTo>
                  <a:lnTo>
                    <a:pt x="237560" y="48845"/>
                  </a:lnTo>
                  <a:lnTo>
                    <a:pt x="233421" y="57086"/>
                  </a:lnTo>
                  <a:lnTo>
                    <a:pt x="230055" y="61661"/>
                  </a:lnTo>
                  <a:lnTo>
                    <a:pt x="226353" y="66236"/>
                  </a:lnTo>
                  <a:lnTo>
                    <a:pt x="222551" y="69499"/>
                  </a:lnTo>
                  <a:lnTo>
                    <a:pt x="217973" y="70038"/>
                  </a:lnTo>
                  <a:lnTo>
                    <a:pt x="213060" y="68625"/>
                  </a:lnTo>
                  <a:cubicBezTo>
                    <a:pt x="213060" y="68625"/>
                    <a:pt x="206867" y="63512"/>
                    <a:pt x="206430" y="63411"/>
                  </a:cubicBezTo>
                  <a:cubicBezTo>
                    <a:pt x="205992" y="63310"/>
                    <a:pt x="199901" y="58297"/>
                    <a:pt x="199901" y="58297"/>
                  </a:cubicBezTo>
                  <a:cubicBezTo>
                    <a:pt x="199901" y="58297"/>
                    <a:pt x="195559" y="55371"/>
                    <a:pt x="195223" y="55371"/>
                  </a:cubicBezTo>
                  <a:cubicBezTo>
                    <a:pt x="194886" y="55371"/>
                    <a:pt x="189030" y="55135"/>
                    <a:pt x="189030" y="55135"/>
                  </a:cubicBezTo>
                  <a:lnTo>
                    <a:pt x="182838" y="56010"/>
                  </a:lnTo>
                  <a:lnTo>
                    <a:pt x="176309" y="61762"/>
                  </a:lnTo>
                  <a:lnTo>
                    <a:pt x="169241" y="67515"/>
                  </a:lnTo>
                  <a:lnTo>
                    <a:pt x="163823" y="77068"/>
                  </a:lnTo>
                  <a:lnTo>
                    <a:pt x="159381" y="84032"/>
                  </a:lnTo>
                  <a:lnTo>
                    <a:pt x="156655" y="90222"/>
                  </a:lnTo>
                  <a:lnTo>
                    <a:pt x="152078" y="96310"/>
                  </a:lnTo>
                  <a:lnTo>
                    <a:pt x="150328" y="104552"/>
                  </a:lnTo>
                  <a:lnTo>
                    <a:pt x="150328" y="108353"/>
                  </a:lnTo>
                  <a:lnTo>
                    <a:pt x="149789" y="116595"/>
                  </a:lnTo>
                  <a:lnTo>
                    <a:pt x="148712" y="122785"/>
                  </a:lnTo>
                  <a:lnTo>
                    <a:pt x="146525" y="125846"/>
                  </a:lnTo>
                  <a:lnTo>
                    <a:pt x="143159" y="131161"/>
                  </a:lnTo>
                  <a:cubicBezTo>
                    <a:pt x="143159" y="131161"/>
                    <a:pt x="137943" y="132237"/>
                    <a:pt x="137505" y="132372"/>
                  </a:cubicBezTo>
                  <a:cubicBezTo>
                    <a:pt x="137068" y="132473"/>
                    <a:pt x="123168" y="132069"/>
                    <a:pt x="123168" y="132069"/>
                  </a:cubicBezTo>
                  <a:lnTo>
                    <a:pt x="112533" y="131834"/>
                  </a:lnTo>
                  <a:lnTo>
                    <a:pt x="106038" y="131834"/>
                  </a:lnTo>
                  <a:lnTo>
                    <a:pt x="102235" y="132406"/>
                  </a:lnTo>
                  <a:cubicBezTo>
                    <a:pt x="102235" y="132406"/>
                    <a:pt x="97658" y="132708"/>
                    <a:pt x="97557" y="133045"/>
                  </a:cubicBezTo>
                  <a:cubicBezTo>
                    <a:pt x="97456" y="133381"/>
                    <a:pt x="100384" y="137384"/>
                    <a:pt x="100384" y="137384"/>
                  </a:cubicBezTo>
                  <a:lnTo>
                    <a:pt x="102033" y="138360"/>
                  </a:lnTo>
                  <a:lnTo>
                    <a:pt x="104524" y="139436"/>
                  </a:lnTo>
                  <a:cubicBezTo>
                    <a:pt x="104524" y="139436"/>
                    <a:pt x="104860" y="141085"/>
                    <a:pt x="104860" y="141387"/>
                  </a:cubicBezTo>
                  <a:cubicBezTo>
                    <a:pt x="104860" y="141724"/>
                    <a:pt x="104423" y="144011"/>
                    <a:pt x="104322" y="144314"/>
                  </a:cubicBezTo>
                  <a:cubicBezTo>
                    <a:pt x="104221" y="144650"/>
                    <a:pt x="103009" y="146803"/>
                    <a:pt x="103009" y="147140"/>
                  </a:cubicBezTo>
                  <a:cubicBezTo>
                    <a:pt x="103009" y="147476"/>
                    <a:pt x="101360" y="149528"/>
                    <a:pt x="101360" y="149528"/>
                  </a:cubicBezTo>
                  <a:cubicBezTo>
                    <a:pt x="101360" y="149528"/>
                    <a:pt x="99509" y="151580"/>
                    <a:pt x="98870" y="151816"/>
                  </a:cubicBezTo>
                  <a:cubicBezTo>
                    <a:pt x="98230" y="152051"/>
                    <a:pt x="95942" y="153868"/>
                    <a:pt x="95942" y="153868"/>
                  </a:cubicBezTo>
                  <a:cubicBezTo>
                    <a:pt x="95942" y="153868"/>
                    <a:pt x="95201" y="155516"/>
                    <a:pt x="95201" y="155819"/>
                  </a:cubicBezTo>
                  <a:cubicBezTo>
                    <a:pt x="95201" y="156155"/>
                    <a:pt x="95639" y="158308"/>
                    <a:pt x="95201" y="158645"/>
                  </a:cubicBezTo>
                  <a:cubicBezTo>
                    <a:pt x="94764" y="158981"/>
                    <a:pt x="94326" y="159957"/>
                    <a:pt x="92576" y="160596"/>
                  </a:cubicBezTo>
                  <a:cubicBezTo>
                    <a:pt x="90826" y="161235"/>
                    <a:pt x="88437" y="161807"/>
                    <a:pt x="87158" y="161907"/>
                  </a:cubicBezTo>
                  <a:cubicBezTo>
                    <a:pt x="85845" y="162008"/>
                    <a:pt x="85408" y="162109"/>
                    <a:pt x="83456" y="161907"/>
                  </a:cubicBezTo>
                  <a:cubicBezTo>
                    <a:pt x="81504" y="161706"/>
                    <a:pt x="80292" y="161571"/>
                    <a:pt x="79552" y="161571"/>
                  </a:cubicBezTo>
                  <a:cubicBezTo>
                    <a:pt x="78778" y="161571"/>
                    <a:pt x="76388" y="163320"/>
                    <a:pt x="76388" y="163758"/>
                  </a:cubicBezTo>
                  <a:cubicBezTo>
                    <a:pt x="76388" y="164195"/>
                    <a:pt x="75951" y="167996"/>
                    <a:pt x="77903" y="168871"/>
                  </a:cubicBezTo>
                  <a:cubicBezTo>
                    <a:pt x="79855" y="169746"/>
                    <a:pt x="81908" y="170082"/>
                    <a:pt x="82345" y="170284"/>
                  </a:cubicBezTo>
                  <a:cubicBezTo>
                    <a:pt x="82783" y="170486"/>
                    <a:pt x="84398" y="172773"/>
                    <a:pt x="85273" y="173211"/>
                  </a:cubicBezTo>
                  <a:cubicBezTo>
                    <a:pt x="86148" y="173648"/>
                    <a:pt x="87225" y="174085"/>
                    <a:pt x="87898" y="174085"/>
                  </a:cubicBezTo>
                  <a:cubicBezTo>
                    <a:pt x="88538" y="174085"/>
                    <a:pt x="95269" y="172235"/>
                    <a:pt x="88336" y="175834"/>
                  </a:cubicBezTo>
                  <a:cubicBezTo>
                    <a:pt x="81369" y="179434"/>
                    <a:pt x="81067" y="181822"/>
                    <a:pt x="81067" y="181822"/>
                  </a:cubicBezTo>
                  <a:lnTo>
                    <a:pt x="80292" y="188550"/>
                  </a:lnTo>
                  <a:cubicBezTo>
                    <a:pt x="80292" y="188550"/>
                    <a:pt x="80191" y="191712"/>
                    <a:pt x="80191" y="192150"/>
                  </a:cubicBezTo>
                  <a:cubicBezTo>
                    <a:pt x="80191" y="192587"/>
                    <a:pt x="79114" y="196926"/>
                    <a:pt x="79114" y="196926"/>
                  </a:cubicBezTo>
                  <a:lnTo>
                    <a:pt x="77162" y="201165"/>
                  </a:lnTo>
                  <a:lnTo>
                    <a:pt x="74638" y="203654"/>
                  </a:lnTo>
                  <a:lnTo>
                    <a:pt x="71374" y="205942"/>
                  </a:lnTo>
                  <a:lnTo>
                    <a:pt x="69523" y="207691"/>
                  </a:lnTo>
                  <a:lnTo>
                    <a:pt x="67032" y="208465"/>
                  </a:lnTo>
                  <a:cubicBezTo>
                    <a:pt x="67032" y="208465"/>
                    <a:pt x="64643" y="210315"/>
                    <a:pt x="64643" y="210752"/>
                  </a:cubicBezTo>
                  <a:cubicBezTo>
                    <a:pt x="64643" y="211190"/>
                    <a:pt x="64879" y="214116"/>
                    <a:pt x="64643" y="214789"/>
                  </a:cubicBezTo>
                  <a:cubicBezTo>
                    <a:pt x="64441" y="215428"/>
                    <a:pt x="66393" y="218254"/>
                    <a:pt x="66393" y="218254"/>
                  </a:cubicBezTo>
                  <a:cubicBezTo>
                    <a:pt x="66393" y="218254"/>
                    <a:pt x="65956" y="221954"/>
                    <a:pt x="65956" y="222291"/>
                  </a:cubicBezTo>
                  <a:cubicBezTo>
                    <a:pt x="65956" y="222627"/>
                    <a:pt x="64744" y="225453"/>
                    <a:pt x="64744" y="225453"/>
                  </a:cubicBezTo>
                  <a:lnTo>
                    <a:pt x="63465" y="227942"/>
                  </a:lnTo>
                  <a:lnTo>
                    <a:pt x="63465" y="230129"/>
                  </a:lnTo>
                  <a:cubicBezTo>
                    <a:pt x="63465" y="230129"/>
                    <a:pt x="61850" y="234031"/>
                    <a:pt x="61614" y="234367"/>
                  </a:cubicBezTo>
                  <a:cubicBezTo>
                    <a:pt x="61412" y="234704"/>
                    <a:pt x="60436" y="236419"/>
                    <a:pt x="59763" y="237193"/>
                  </a:cubicBezTo>
                  <a:cubicBezTo>
                    <a:pt x="59090" y="237967"/>
                    <a:pt x="57811" y="239480"/>
                    <a:pt x="57475" y="239817"/>
                  </a:cubicBezTo>
                  <a:cubicBezTo>
                    <a:pt x="57138" y="240153"/>
                    <a:pt x="56499" y="241869"/>
                    <a:pt x="56499" y="242407"/>
                  </a:cubicBezTo>
                  <a:cubicBezTo>
                    <a:pt x="56499" y="242945"/>
                    <a:pt x="56499" y="245771"/>
                    <a:pt x="56499" y="245771"/>
                  </a:cubicBezTo>
                  <a:lnTo>
                    <a:pt x="56499" y="249236"/>
                  </a:lnTo>
                  <a:cubicBezTo>
                    <a:pt x="56499" y="249236"/>
                    <a:pt x="55725" y="252163"/>
                    <a:pt x="55624" y="252499"/>
                  </a:cubicBezTo>
                  <a:cubicBezTo>
                    <a:pt x="55523" y="252836"/>
                    <a:pt x="55893" y="255224"/>
                    <a:pt x="55893" y="255224"/>
                  </a:cubicBezTo>
                  <a:lnTo>
                    <a:pt x="54749" y="259900"/>
                  </a:lnTo>
                  <a:lnTo>
                    <a:pt x="54749" y="264879"/>
                  </a:lnTo>
                  <a:lnTo>
                    <a:pt x="53772" y="267704"/>
                  </a:lnTo>
                  <a:lnTo>
                    <a:pt x="51484" y="269218"/>
                  </a:lnTo>
                  <a:lnTo>
                    <a:pt x="48018" y="270093"/>
                  </a:lnTo>
                  <a:lnTo>
                    <a:pt x="45090" y="271606"/>
                  </a:lnTo>
                  <a:lnTo>
                    <a:pt x="43037" y="275307"/>
                  </a:lnTo>
                  <a:cubicBezTo>
                    <a:pt x="43037" y="275307"/>
                    <a:pt x="41724" y="277594"/>
                    <a:pt x="41623" y="277897"/>
                  </a:cubicBezTo>
                  <a:cubicBezTo>
                    <a:pt x="41522" y="278233"/>
                    <a:pt x="40109" y="281497"/>
                    <a:pt x="40109" y="281497"/>
                  </a:cubicBezTo>
                  <a:lnTo>
                    <a:pt x="37921" y="284221"/>
                  </a:lnTo>
                  <a:lnTo>
                    <a:pt x="33344" y="286408"/>
                  </a:lnTo>
                  <a:lnTo>
                    <a:pt x="31157" y="287720"/>
                  </a:lnTo>
                  <a:lnTo>
                    <a:pt x="29205" y="290983"/>
                  </a:lnTo>
                  <a:lnTo>
                    <a:pt x="24426" y="295322"/>
                  </a:lnTo>
                  <a:lnTo>
                    <a:pt x="23214" y="299460"/>
                  </a:lnTo>
                  <a:cubicBezTo>
                    <a:pt x="23214" y="299460"/>
                    <a:pt x="22339" y="301411"/>
                    <a:pt x="22137" y="301848"/>
                  </a:cubicBezTo>
                  <a:cubicBezTo>
                    <a:pt x="21935" y="302286"/>
                    <a:pt x="19950" y="304876"/>
                    <a:pt x="19950" y="304876"/>
                  </a:cubicBezTo>
                  <a:lnTo>
                    <a:pt x="19950" y="308341"/>
                  </a:lnTo>
                  <a:cubicBezTo>
                    <a:pt x="19950" y="308341"/>
                    <a:pt x="22003" y="309115"/>
                    <a:pt x="22238" y="309956"/>
                  </a:cubicBezTo>
                  <a:cubicBezTo>
                    <a:pt x="22474" y="310830"/>
                    <a:pt x="22878" y="312781"/>
                    <a:pt x="22575" y="312781"/>
                  </a:cubicBezTo>
                  <a:cubicBezTo>
                    <a:pt x="22238" y="312781"/>
                    <a:pt x="20724" y="314632"/>
                    <a:pt x="20724" y="315069"/>
                  </a:cubicBezTo>
                  <a:cubicBezTo>
                    <a:pt x="20724" y="315506"/>
                    <a:pt x="19950" y="318332"/>
                    <a:pt x="19950" y="318332"/>
                  </a:cubicBezTo>
                  <a:lnTo>
                    <a:pt x="19950" y="320485"/>
                  </a:lnTo>
                  <a:cubicBezTo>
                    <a:pt x="19950" y="320485"/>
                    <a:pt x="20589" y="321158"/>
                    <a:pt x="19950" y="321797"/>
                  </a:cubicBezTo>
                  <a:cubicBezTo>
                    <a:pt x="19310" y="322436"/>
                    <a:pt x="18873" y="323748"/>
                    <a:pt x="18873" y="324084"/>
                  </a:cubicBezTo>
                  <a:cubicBezTo>
                    <a:pt x="18873" y="324421"/>
                    <a:pt x="20522" y="326574"/>
                    <a:pt x="20926" y="326910"/>
                  </a:cubicBezTo>
                  <a:cubicBezTo>
                    <a:pt x="21363" y="327246"/>
                    <a:pt x="23012" y="328424"/>
                    <a:pt x="23416" y="328525"/>
                  </a:cubicBezTo>
                  <a:cubicBezTo>
                    <a:pt x="23854" y="328626"/>
                    <a:pt x="25032" y="329500"/>
                    <a:pt x="25705" y="330039"/>
                  </a:cubicBezTo>
                  <a:cubicBezTo>
                    <a:pt x="26344" y="330577"/>
                    <a:pt x="28733" y="333402"/>
                    <a:pt x="28733" y="333402"/>
                  </a:cubicBezTo>
                  <a:cubicBezTo>
                    <a:pt x="28733" y="333402"/>
                    <a:pt x="29710" y="334613"/>
                    <a:pt x="30147" y="334815"/>
                  </a:cubicBezTo>
                  <a:cubicBezTo>
                    <a:pt x="30585" y="335017"/>
                    <a:pt x="32267" y="337540"/>
                    <a:pt x="32267" y="337540"/>
                  </a:cubicBezTo>
                  <a:lnTo>
                    <a:pt x="33849" y="340366"/>
                  </a:lnTo>
                  <a:lnTo>
                    <a:pt x="33849" y="343091"/>
                  </a:lnTo>
                  <a:lnTo>
                    <a:pt x="34186" y="344705"/>
                  </a:lnTo>
                  <a:lnTo>
                    <a:pt x="36912" y="345580"/>
                  </a:lnTo>
                  <a:lnTo>
                    <a:pt x="38224" y="346354"/>
                  </a:lnTo>
                  <a:cubicBezTo>
                    <a:pt x="38224" y="346354"/>
                    <a:pt x="38864" y="347329"/>
                    <a:pt x="39200" y="347666"/>
                  </a:cubicBezTo>
                  <a:cubicBezTo>
                    <a:pt x="39537" y="348002"/>
                    <a:pt x="41590" y="348877"/>
                    <a:pt x="41590" y="348877"/>
                  </a:cubicBezTo>
                  <a:lnTo>
                    <a:pt x="44517" y="351265"/>
                  </a:lnTo>
                  <a:cubicBezTo>
                    <a:pt x="44517" y="351265"/>
                    <a:pt x="44517" y="352039"/>
                    <a:pt x="44316" y="352342"/>
                  </a:cubicBezTo>
                  <a:cubicBezTo>
                    <a:pt x="44080" y="352678"/>
                    <a:pt x="43003" y="353519"/>
                    <a:pt x="42566" y="353754"/>
                  </a:cubicBezTo>
                  <a:cubicBezTo>
                    <a:pt x="42128" y="353956"/>
                    <a:pt x="41253" y="354528"/>
                    <a:pt x="41253" y="354528"/>
                  </a:cubicBezTo>
                  <a:lnTo>
                    <a:pt x="40816" y="357623"/>
                  </a:lnTo>
                  <a:lnTo>
                    <a:pt x="40816" y="358767"/>
                  </a:lnTo>
                  <a:lnTo>
                    <a:pt x="44585" y="360079"/>
                  </a:lnTo>
                  <a:lnTo>
                    <a:pt x="47345" y="361525"/>
                  </a:lnTo>
                  <a:lnTo>
                    <a:pt x="46167" y="363543"/>
                  </a:lnTo>
                  <a:lnTo>
                    <a:pt x="44585" y="365730"/>
                  </a:lnTo>
                  <a:lnTo>
                    <a:pt x="44013" y="368320"/>
                  </a:lnTo>
                  <a:lnTo>
                    <a:pt x="47479" y="372525"/>
                  </a:lnTo>
                  <a:lnTo>
                    <a:pt x="46739" y="376865"/>
                  </a:lnTo>
                  <a:cubicBezTo>
                    <a:pt x="46739" y="376865"/>
                    <a:pt x="46739" y="377874"/>
                    <a:pt x="45292" y="379320"/>
                  </a:cubicBezTo>
                  <a:cubicBezTo>
                    <a:pt x="43845" y="380767"/>
                    <a:pt x="42397" y="381642"/>
                    <a:pt x="42397" y="381642"/>
                  </a:cubicBezTo>
                  <a:cubicBezTo>
                    <a:pt x="42397" y="381642"/>
                    <a:pt x="40816" y="380767"/>
                    <a:pt x="39368" y="382214"/>
                  </a:cubicBezTo>
                  <a:cubicBezTo>
                    <a:pt x="37921" y="383660"/>
                    <a:pt x="36339" y="386284"/>
                    <a:pt x="36339" y="386284"/>
                  </a:cubicBezTo>
                  <a:lnTo>
                    <a:pt x="33277" y="388302"/>
                  </a:lnTo>
                  <a:cubicBezTo>
                    <a:pt x="33277" y="388302"/>
                    <a:pt x="33008" y="389883"/>
                    <a:pt x="33008" y="390892"/>
                  </a:cubicBezTo>
                  <a:cubicBezTo>
                    <a:pt x="33008" y="391902"/>
                    <a:pt x="35902" y="395972"/>
                    <a:pt x="35902" y="395972"/>
                  </a:cubicBezTo>
                  <a:lnTo>
                    <a:pt x="37921" y="397587"/>
                  </a:lnTo>
                  <a:lnTo>
                    <a:pt x="38224" y="402061"/>
                  </a:lnTo>
                  <a:lnTo>
                    <a:pt x="37349" y="404819"/>
                  </a:lnTo>
                  <a:cubicBezTo>
                    <a:pt x="37349" y="404819"/>
                    <a:pt x="35027" y="406838"/>
                    <a:pt x="34724" y="407275"/>
                  </a:cubicBezTo>
                  <a:cubicBezTo>
                    <a:pt x="34421" y="407712"/>
                    <a:pt x="32839" y="410908"/>
                    <a:pt x="32839" y="411345"/>
                  </a:cubicBezTo>
                  <a:cubicBezTo>
                    <a:pt x="32839" y="411783"/>
                    <a:pt x="26310" y="416257"/>
                    <a:pt x="26310" y="416257"/>
                  </a:cubicBezTo>
                  <a:lnTo>
                    <a:pt x="22979" y="421606"/>
                  </a:lnTo>
                  <a:cubicBezTo>
                    <a:pt x="22979" y="421606"/>
                    <a:pt x="20791" y="425508"/>
                    <a:pt x="20522" y="425945"/>
                  </a:cubicBezTo>
                  <a:cubicBezTo>
                    <a:pt x="20219" y="426382"/>
                    <a:pt x="19007" y="428973"/>
                    <a:pt x="19007" y="428973"/>
                  </a:cubicBezTo>
                  <a:lnTo>
                    <a:pt x="14733" y="430419"/>
                  </a:lnTo>
                  <a:lnTo>
                    <a:pt x="14733" y="433447"/>
                  </a:lnTo>
                  <a:lnTo>
                    <a:pt x="15743" y="434019"/>
                  </a:lnTo>
                  <a:lnTo>
                    <a:pt x="16180" y="436205"/>
                  </a:lnTo>
                  <a:lnTo>
                    <a:pt x="14733" y="437954"/>
                  </a:lnTo>
                  <a:lnTo>
                    <a:pt x="11031" y="438526"/>
                  </a:lnTo>
                  <a:lnTo>
                    <a:pt x="9517" y="440410"/>
                  </a:lnTo>
                  <a:lnTo>
                    <a:pt x="9517" y="443875"/>
                  </a:lnTo>
                  <a:lnTo>
                    <a:pt x="10392" y="448955"/>
                  </a:lnTo>
                  <a:lnTo>
                    <a:pt x="11704" y="451713"/>
                  </a:lnTo>
                  <a:lnTo>
                    <a:pt x="10560" y="453159"/>
                  </a:lnTo>
                  <a:lnTo>
                    <a:pt x="11704" y="454909"/>
                  </a:lnTo>
                  <a:cubicBezTo>
                    <a:pt x="11704" y="454909"/>
                    <a:pt x="12714" y="455649"/>
                    <a:pt x="12714" y="456221"/>
                  </a:cubicBezTo>
                  <a:cubicBezTo>
                    <a:pt x="12714" y="456793"/>
                    <a:pt x="13421" y="458239"/>
                    <a:pt x="13421" y="458239"/>
                  </a:cubicBezTo>
                  <a:lnTo>
                    <a:pt x="11839" y="460426"/>
                  </a:lnTo>
                  <a:lnTo>
                    <a:pt x="9517" y="461435"/>
                  </a:lnTo>
                  <a:lnTo>
                    <a:pt x="9517" y="463016"/>
                  </a:lnTo>
                  <a:cubicBezTo>
                    <a:pt x="9517" y="463016"/>
                    <a:pt x="11839" y="462007"/>
                    <a:pt x="11974" y="463016"/>
                  </a:cubicBezTo>
                  <a:cubicBezTo>
                    <a:pt x="12108" y="464025"/>
                    <a:pt x="13858" y="465909"/>
                    <a:pt x="13858" y="465909"/>
                  </a:cubicBezTo>
                  <a:cubicBezTo>
                    <a:pt x="13858" y="465909"/>
                    <a:pt x="15474" y="465337"/>
                    <a:pt x="15608" y="465909"/>
                  </a:cubicBezTo>
                  <a:cubicBezTo>
                    <a:pt x="15743" y="466481"/>
                    <a:pt x="15743" y="468230"/>
                    <a:pt x="15743" y="468667"/>
                  </a:cubicBezTo>
                  <a:cubicBezTo>
                    <a:pt x="15743" y="469105"/>
                    <a:pt x="15036" y="470988"/>
                    <a:pt x="15036" y="470988"/>
                  </a:cubicBezTo>
                  <a:lnTo>
                    <a:pt x="14026" y="472872"/>
                  </a:lnTo>
                  <a:lnTo>
                    <a:pt x="12209" y="474016"/>
                  </a:lnTo>
                  <a:lnTo>
                    <a:pt x="11267" y="475765"/>
                  </a:lnTo>
                  <a:lnTo>
                    <a:pt x="11267" y="476909"/>
                  </a:lnTo>
                  <a:cubicBezTo>
                    <a:pt x="11267" y="476909"/>
                    <a:pt x="13017" y="477918"/>
                    <a:pt x="13152" y="478356"/>
                  </a:cubicBezTo>
                  <a:cubicBezTo>
                    <a:pt x="13286" y="478793"/>
                    <a:pt x="15036" y="480811"/>
                    <a:pt x="15036" y="480811"/>
                  </a:cubicBezTo>
                  <a:lnTo>
                    <a:pt x="17628" y="484713"/>
                  </a:lnTo>
                  <a:lnTo>
                    <a:pt x="18940" y="488178"/>
                  </a:lnTo>
                  <a:lnTo>
                    <a:pt x="19950" y="489759"/>
                  </a:lnTo>
                  <a:lnTo>
                    <a:pt x="19950" y="492518"/>
                  </a:lnTo>
                  <a:cubicBezTo>
                    <a:pt x="19950" y="492518"/>
                    <a:pt x="19243" y="494267"/>
                    <a:pt x="19075" y="494839"/>
                  </a:cubicBezTo>
                  <a:cubicBezTo>
                    <a:pt x="18940" y="495411"/>
                    <a:pt x="18368" y="497598"/>
                    <a:pt x="18368" y="497598"/>
                  </a:cubicBezTo>
                  <a:cubicBezTo>
                    <a:pt x="18368" y="497598"/>
                    <a:pt x="17796" y="499178"/>
                    <a:pt x="17358" y="499481"/>
                  </a:cubicBezTo>
                  <a:cubicBezTo>
                    <a:pt x="16921" y="499784"/>
                    <a:pt x="17055" y="501937"/>
                    <a:pt x="16786" y="502072"/>
                  </a:cubicBezTo>
                  <a:cubicBezTo>
                    <a:pt x="16517" y="502206"/>
                    <a:pt x="16517" y="503081"/>
                    <a:pt x="16652" y="503518"/>
                  </a:cubicBezTo>
                  <a:cubicBezTo>
                    <a:pt x="16786" y="503955"/>
                    <a:pt x="17392" y="505402"/>
                    <a:pt x="17392" y="505402"/>
                  </a:cubicBezTo>
                  <a:cubicBezTo>
                    <a:pt x="17392" y="505402"/>
                    <a:pt x="17964" y="508160"/>
                    <a:pt x="17964" y="508598"/>
                  </a:cubicBezTo>
                  <a:cubicBezTo>
                    <a:pt x="17964" y="509035"/>
                    <a:pt x="18267" y="512365"/>
                    <a:pt x="18267" y="512365"/>
                  </a:cubicBezTo>
                  <a:lnTo>
                    <a:pt x="18570" y="515998"/>
                  </a:lnTo>
                  <a:lnTo>
                    <a:pt x="18132" y="519901"/>
                  </a:lnTo>
                  <a:lnTo>
                    <a:pt x="17695" y="525552"/>
                  </a:lnTo>
                  <a:lnTo>
                    <a:pt x="16820" y="527436"/>
                  </a:lnTo>
                  <a:lnTo>
                    <a:pt x="16248" y="530766"/>
                  </a:lnTo>
                  <a:lnTo>
                    <a:pt x="16685" y="535980"/>
                  </a:lnTo>
                  <a:lnTo>
                    <a:pt x="16954" y="541632"/>
                  </a:lnTo>
                  <a:lnTo>
                    <a:pt x="18974" y="544962"/>
                  </a:lnTo>
                  <a:lnTo>
                    <a:pt x="20555" y="548595"/>
                  </a:lnTo>
                  <a:lnTo>
                    <a:pt x="21700" y="553944"/>
                  </a:lnTo>
                  <a:lnTo>
                    <a:pt x="20825" y="558283"/>
                  </a:lnTo>
                  <a:lnTo>
                    <a:pt x="21397" y="565381"/>
                  </a:lnTo>
                  <a:lnTo>
                    <a:pt x="26479" y="571739"/>
                  </a:lnTo>
                  <a:lnTo>
                    <a:pt x="28801" y="574498"/>
                  </a:lnTo>
                  <a:lnTo>
                    <a:pt x="30383" y="582302"/>
                  </a:lnTo>
                  <a:lnTo>
                    <a:pt x="30383" y="586373"/>
                  </a:lnTo>
                  <a:lnTo>
                    <a:pt x="31392" y="591015"/>
                  </a:lnTo>
                  <a:cubicBezTo>
                    <a:pt x="31392" y="591015"/>
                    <a:pt x="30820" y="595792"/>
                    <a:pt x="30820" y="596666"/>
                  </a:cubicBezTo>
                  <a:cubicBezTo>
                    <a:pt x="30820" y="597541"/>
                    <a:pt x="29070" y="600871"/>
                    <a:pt x="29070" y="600871"/>
                  </a:cubicBezTo>
                  <a:cubicBezTo>
                    <a:pt x="29070" y="600871"/>
                    <a:pt x="27926" y="604773"/>
                    <a:pt x="27623" y="605951"/>
                  </a:cubicBezTo>
                  <a:cubicBezTo>
                    <a:pt x="27320" y="607095"/>
                    <a:pt x="26310" y="609146"/>
                    <a:pt x="25738" y="609718"/>
                  </a:cubicBezTo>
                  <a:cubicBezTo>
                    <a:pt x="25166" y="610290"/>
                    <a:pt x="23147" y="613351"/>
                    <a:pt x="23147" y="613923"/>
                  </a:cubicBezTo>
                  <a:cubicBezTo>
                    <a:pt x="23147" y="614495"/>
                    <a:pt x="22575" y="619878"/>
                    <a:pt x="22575" y="619878"/>
                  </a:cubicBezTo>
                  <a:cubicBezTo>
                    <a:pt x="22575" y="619878"/>
                    <a:pt x="18536" y="624654"/>
                    <a:pt x="18233" y="625092"/>
                  </a:cubicBezTo>
                  <a:cubicBezTo>
                    <a:pt x="17930" y="625529"/>
                    <a:pt x="15474" y="628994"/>
                    <a:pt x="14901" y="629869"/>
                  </a:cubicBezTo>
                  <a:cubicBezTo>
                    <a:pt x="14329" y="630743"/>
                    <a:pt x="12882" y="632627"/>
                    <a:pt x="12714" y="633199"/>
                  </a:cubicBezTo>
                  <a:cubicBezTo>
                    <a:pt x="12579" y="633771"/>
                    <a:pt x="9685" y="636832"/>
                    <a:pt x="9517" y="637101"/>
                  </a:cubicBezTo>
                  <a:cubicBezTo>
                    <a:pt x="9382" y="637404"/>
                    <a:pt x="7767" y="639120"/>
                    <a:pt x="7767" y="639994"/>
                  </a:cubicBezTo>
                  <a:cubicBezTo>
                    <a:pt x="7767" y="640869"/>
                    <a:pt x="7767" y="645511"/>
                    <a:pt x="7767" y="645511"/>
                  </a:cubicBezTo>
                  <a:cubicBezTo>
                    <a:pt x="7767" y="645511"/>
                    <a:pt x="7901" y="648269"/>
                    <a:pt x="7767" y="649413"/>
                  </a:cubicBezTo>
                  <a:cubicBezTo>
                    <a:pt x="7632" y="650557"/>
                    <a:pt x="7767" y="654762"/>
                    <a:pt x="7767" y="654762"/>
                  </a:cubicBezTo>
                  <a:cubicBezTo>
                    <a:pt x="7767" y="654762"/>
                    <a:pt x="6892" y="656780"/>
                    <a:pt x="6757" y="657218"/>
                  </a:cubicBezTo>
                  <a:cubicBezTo>
                    <a:pt x="6623" y="657655"/>
                    <a:pt x="6185" y="660245"/>
                    <a:pt x="6017" y="660851"/>
                  </a:cubicBezTo>
                  <a:cubicBezTo>
                    <a:pt x="5882" y="661423"/>
                    <a:pt x="3695" y="664753"/>
                    <a:pt x="3695" y="664753"/>
                  </a:cubicBezTo>
                  <a:cubicBezTo>
                    <a:pt x="3695" y="664753"/>
                    <a:pt x="2180" y="667377"/>
                    <a:pt x="1877" y="668083"/>
                  </a:cubicBezTo>
                  <a:cubicBezTo>
                    <a:pt x="1608" y="668823"/>
                    <a:pt x="800" y="670539"/>
                    <a:pt x="800" y="672154"/>
                  </a:cubicBezTo>
                  <a:cubicBezTo>
                    <a:pt x="800" y="673735"/>
                    <a:pt x="800" y="680261"/>
                    <a:pt x="800" y="680261"/>
                  </a:cubicBezTo>
                  <a:lnTo>
                    <a:pt x="1810" y="682851"/>
                  </a:lnTo>
                  <a:lnTo>
                    <a:pt x="194" y="689814"/>
                  </a:lnTo>
                  <a:cubicBezTo>
                    <a:pt x="194" y="689814"/>
                    <a:pt x="-243" y="700108"/>
                    <a:pt x="194" y="700680"/>
                  </a:cubicBezTo>
                  <a:cubicBezTo>
                    <a:pt x="632" y="701252"/>
                    <a:pt x="632" y="705894"/>
                    <a:pt x="935" y="706634"/>
                  </a:cubicBezTo>
                  <a:cubicBezTo>
                    <a:pt x="1238" y="707341"/>
                    <a:pt x="2820" y="710267"/>
                    <a:pt x="2820" y="710267"/>
                  </a:cubicBezTo>
                  <a:lnTo>
                    <a:pt x="9147" y="712723"/>
                  </a:lnTo>
                  <a:lnTo>
                    <a:pt x="9147" y="712723"/>
                  </a:lnTo>
                  <a:cubicBezTo>
                    <a:pt x="9416" y="712555"/>
                    <a:pt x="9685" y="712420"/>
                    <a:pt x="9921" y="712420"/>
                  </a:cubicBezTo>
                  <a:cubicBezTo>
                    <a:pt x="10930" y="712420"/>
                    <a:pt x="15575" y="712420"/>
                    <a:pt x="15575" y="712420"/>
                  </a:cubicBezTo>
                  <a:lnTo>
                    <a:pt x="17325" y="712420"/>
                  </a:lnTo>
                  <a:lnTo>
                    <a:pt x="22541" y="712420"/>
                  </a:lnTo>
                  <a:cubicBezTo>
                    <a:pt x="22541" y="712420"/>
                    <a:pt x="27455" y="712858"/>
                    <a:pt x="28061" y="712420"/>
                  </a:cubicBezTo>
                  <a:cubicBezTo>
                    <a:pt x="28633" y="711983"/>
                    <a:pt x="34590" y="712420"/>
                    <a:pt x="34590" y="712420"/>
                  </a:cubicBezTo>
                  <a:cubicBezTo>
                    <a:pt x="34590" y="712420"/>
                    <a:pt x="38796" y="712622"/>
                    <a:pt x="39671" y="712218"/>
                  </a:cubicBezTo>
                  <a:cubicBezTo>
                    <a:pt x="40546" y="711848"/>
                    <a:pt x="45763" y="709796"/>
                    <a:pt x="46200" y="709359"/>
                  </a:cubicBezTo>
                  <a:cubicBezTo>
                    <a:pt x="46638" y="708922"/>
                    <a:pt x="48522" y="707341"/>
                    <a:pt x="48522" y="707341"/>
                  </a:cubicBezTo>
                  <a:cubicBezTo>
                    <a:pt x="48522" y="707341"/>
                    <a:pt x="51282" y="705457"/>
                    <a:pt x="51720" y="705019"/>
                  </a:cubicBezTo>
                  <a:cubicBezTo>
                    <a:pt x="52157" y="704582"/>
                    <a:pt x="53032" y="702698"/>
                    <a:pt x="53470" y="702261"/>
                  </a:cubicBezTo>
                  <a:cubicBezTo>
                    <a:pt x="53907" y="701824"/>
                    <a:pt x="55051" y="698493"/>
                    <a:pt x="55657" y="698493"/>
                  </a:cubicBezTo>
                  <a:cubicBezTo>
                    <a:pt x="56229" y="698493"/>
                    <a:pt x="56667" y="698931"/>
                    <a:pt x="57239" y="698493"/>
                  </a:cubicBezTo>
                  <a:cubicBezTo>
                    <a:pt x="57811" y="698056"/>
                    <a:pt x="60874" y="697787"/>
                    <a:pt x="61446" y="697787"/>
                  </a:cubicBezTo>
                  <a:cubicBezTo>
                    <a:pt x="62018" y="697787"/>
                    <a:pt x="64778" y="698090"/>
                    <a:pt x="65383" y="697787"/>
                  </a:cubicBezTo>
                  <a:cubicBezTo>
                    <a:pt x="65956" y="697484"/>
                    <a:pt x="67571" y="698359"/>
                    <a:pt x="67975" y="697787"/>
                  </a:cubicBezTo>
                  <a:cubicBezTo>
                    <a:pt x="68412" y="697215"/>
                    <a:pt x="70600" y="696643"/>
                    <a:pt x="71172" y="696643"/>
                  </a:cubicBezTo>
                  <a:cubicBezTo>
                    <a:pt x="71744" y="696643"/>
                    <a:pt x="74504" y="695062"/>
                    <a:pt x="74504" y="695062"/>
                  </a:cubicBezTo>
                  <a:lnTo>
                    <a:pt x="78139" y="691295"/>
                  </a:lnTo>
                  <a:lnTo>
                    <a:pt x="82917" y="688704"/>
                  </a:lnTo>
                  <a:cubicBezTo>
                    <a:pt x="82917" y="688704"/>
                    <a:pt x="87427" y="688132"/>
                    <a:pt x="87831" y="688132"/>
                  </a:cubicBezTo>
                  <a:cubicBezTo>
                    <a:pt x="88268" y="688132"/>
                    <a:pt x="95639" y="688132"/>
                    <a:pt x="95639" y="688132"/>
                  </a:cubicBezTo>
                  <a:cubicBezTo>
                    <a:pt x="95639" y="688132"/>
                    <a:pt x="97961" y="687560"/>
                    <a:pt x="99577" y="687426"/>
                  </a:cubicBezTo>
                  <a:cubicBezTo>
                    <a:pt x="101158" y="687291"/>
                    <a:pt x="104625" y="685542"/>
                    <a:pt x="105230" y="685542"/>
                  </a:cubicBezTo>
                  <a:cubicBezTo>
                    <a:pt x="105803" y="685542"/>
                    <a:pt x="106240" y="684802"/>
                    <a:pt x="106812" y="684667"/>
                  </a:cubicBezTo>
                  <a:cubicBezTo>
                    <a:pt x="107384" y="684533"/>
                    <a:pt x="109404" y="685307"/>
                    <a:pt x="110009" y="685037"/>
                  </a:cubicBezTo>
                  <a:cubicBezTo>
                    <a:pt x="110581" y="684735"/>
                    <a:pt x="114216" y="684667"/>
                    <a:pt x="114216" y="684667"/>
                  </a:cubicBezTo>
                  <a:lnTo>
                    <a:pt x="114788" y="684667"/>
                  </a:lnTo>
                  <a:lnTo>
                    <a:pt x="118692" y="681909"/>
                  </a:lnTo>
                  <a:cubicBezTo>
                    <a:pt x="118692" y="681909"/>
                    <a:pt x="119264" y="681472"/>
                    <a:pt x="119836" y="681169"/>
                  </a:cubicBezTo>
                  <a:cubicBezTo>
                    <a:pt x="120409" y="680866"/>
                    <a:pt x="121721" y="679723"/>
                    <a:pt x="122293" y="679588"/>
                  </a:cubicBezTo>
                  <a:cubicBezTo>
                    <a:pt x="122865" y="679453"/>
                    <a:pt x="123942" y="678007"/>
                    <a:pt x="123942" y="678007"/>
                  </a:cubicBezTo>
                  <a:lnTo>
                    <a:pt x="124313" y="675988"/>
                  </a:lnTo>
                  <a:lnTo>
                    <a:pt x="124313" y="673365"/>
                  </a:lnTo>
                  <a:lnTo>
                    <a:pt x="126500" y="671783"/>
                  </a:lnTo>
                  <a:lnTo>
                    <a:pt x="128519" y="670034"/>
                  </a:lnTo>
                  <a:cubicBezTo>
                    <a:pt x="128519" y="670034"/>
                    <a:pt x="128957" y="668722"/>
                    <a:pt x="129529" y="668722"/>
                  </a:cubicBezTo>
                  <a:cubicBezTo>
                    <a:pt x="130101" y="668722"/>
                    <a:pt x="131986" y="666973"/>
                    <a:pt x="131986" y="666973"/>
                  </a:cubicBezTo>
                  <a:cubicBezTo>
                    <a:pt x="131986" y="666973"/>
                    <a:pt x="134308" y="664517"/>
                    <a:pt x="134745" y="664517"/>
                  </a:cubicBezTo>
                  <a:cubicBezTo>
                    <a:pt x="135183" y="664517"/>
                    <a:pt x="136933" y="662331"/>
                    <a:pt x="136933" y="662331"/>
                  </a:cubicBezTo>
                  <a:lnTo>
                    <a:pt x="138952" y="660582"/>
                  </a:lnTo>
                  <a:lnTo>
                    <a:pt x="143159" y="655502"/>
                  </a:lnTo>
                  <a:lnTo>
                    <a:pt x="147366" y="652878"/>
                  </a:lnTo>
                  <a:lnTo>
                    <a:pt x="153154" y="651566"/>
                  </a:lnTo>
                  <a:lnTo>
                    <a:pt x="158236" y="651566"/>
                  </a:lnTo>
                  <a:lnTo>
                    <a:pt x="161568" y="652138"/>
                  </a:lnTo>
                  <a:lnTo>
                    <a:pt x="164328" y="653282"/>
                  </a:lnTo>
                  <a:lnTo>
                    <a:pt x="166583" y="653147"/>
                  </a:lnTo>
                  <a:lnTo>
                    <a:pt x="167828" y="651566"/>
                  </a:lnTo>
                  <a:lnTo>
                    <a:pt x="167828" y="648942"/>
                  </a:lnTo>
                  <a:lnTo>
                    <a:pt x="166953" y="645612"/>
                  </a:lnTo>
                  <a:lnTo>
                    <a:pt x="166078" y="643425"/>
                  </a:lnTo>
                  <a:lnTo>
                    <a:pt x="165001" y="641541"/>
                  </a:lnTo>
                  <a:lnTo>
                    <a:pt x="164362" y="639220"/>
                  </a:lnTo>
                  <a:lnTo>
                    <a:pt x="164362" y="638480"/>
                  </a:lnTo>
                  <a:lnTo>
                    <a:pt x="165371" y="636731"/>
                  </a:lnTo>
                  <a:lnTo>
                    <a:pt x="166549" y="634982"/>
                  </a:lnTo>
                  <a:lnTo>
                    <a:pt x="166684" y="632526"/>
                  </a:lnTo>
                  <a:lnTo>
                    <a:pt x="166549" y="631651"/>
                  </a:lnTo>
                  <a:lnTo>
                    <a:pt x="167862" y="630642"/>
                  </a:lnTo>
                  <a:lnTo>
                    <a:pt x="170453" y="630642"/>
                  </a:lnTo>
                  <a:lnTo>
                    <a:pt x="173347" y="629902"/>
                  </a:lnTo>
                  <a:lnTo>
                    <a:pt x="176679" y="630642"/>
                  </a:lnTo>
                  <a:lnTo>
                    <a:pt x="180011" y="631786"/>
                  </a:lnTo>
                  <a:lnTo>
                    <a:pt x="180718" y="633098"/>
                  </a:lnTo>
                  <a:lnTo>
                    <a:pt x="184622" y="634242"/>
                  </a:lnTo>
                  <a:lnTo>
                    <a:pt x="191891" y="633872"/>
                  </a:lnTo>
                  <a:lnTo>
                    <a:pt x="197107" y="634511"/>
                  </a:lnTo>
                  <a:cubicBezTo>
                    <a:pt x="197107" y="634511"/>
                    <a:pt x="202122" y="634410"/>
                    <a:pt x="202324" y="634410"/>
                  </a:cubicBezTo>
                  <a:cubicBezTo>
                    <a:pt x="202526" y="634410"/>
                    <a:pt x="206901" y="634948"/>
                    <a:pt x="206901" y="634948"/>
                  </a:cubicBezTo>
                  <a:lnTo>
                    <a:pt x="211040" y="635856"/>
                  </a:lnTo>
                  <a:lnTo>
                    <a:pt x="213968" y="636731"/>
                  </a:lnTo>
                  <a:lnTo>
                    <a:pt x="216829" y="635083"/>
                  </a:lnTo>
                  <a:lnTo>
                    <a:pt x="218848" y="633064"/>
                  </a:lnTo>
                  <a:lnTo>
                    <a:pt x="220430" y="630878"/>
                  </a:lnTo>
                  <a:lnTo>
                    <a:pt x="221440" y="628859"/>
                  </a:lnTo>
                  <a:lnTo>
                    <a:pt x="224334" y="628859"/>
                  </a:lnTo>
                  <a:lnTo>
                    <a:pt x="226050" y="628859"/>
                  </a:lnTo>
                  <a:lnTo>
                    <a:pt x="226925" y="631752"/>
                  </a:lnTo>
                  <a:lnTo>
                    <a:pt x="227800" y="633636"/>
                  </a:lnTo>
                  <a:cubicBezTo>
                    <a:pt x="227800" y="633636"/>
                    <a:pt x="229248" y="635385"/>
                    <a:pt x="229820" y="635385"/>
                  </a:cubicBezTo>
                  <a:cubicBezTo>
                    <a:pt x="230392" y="635385"/>
                    <a:pt x="233724" y="635823"/>
                    <a:pt x="234026" y="635251"/>
                  </a:cubicBezTo>
                  <a:cubicBezTo>
                    <a:pt x="234330" y="634679"/>
                    <a:pt x="236988" y="632661"/>
                    <a:pt x="237426" y="632358"/>
                  </a:cubicBezTo>
                  <a:cubicBezTo>
                    <a:pt x="237863" y="632055"/>
                    <a:pt x="239108" y="630474"/>
                    <a:pt x="239108" y="630474"/>
                  </a:cubicBezTo>
                  <a:lnTo>
                    <a:pt x="239108" y="629734"/>
                  </a:lnTo>
                  <a:lnTo>
                    <a:pt x="239108" y="626269"/>
                  </a:lnTo>
                  <a:lnTo>
                    <a:pt x="240118" y="624688"/>
                  </a:lnTo>
                  <a:lnTo>
                    <a:pt x="241700" y="622939"/>
                  </a:lnTo>
                  <a:lnTo>
                    <a:pt x="242575" y="621795"/>
                  </a:lnTo>
                  <a:lnTo>
                    <a:pt x="243887" y="620349"/>
                  </a:lnTo>
                  <a:lnTo>
                    <a:pt x="247959" y="619339"/>
                  </a:lnTo>
                  <a:lnTo>
                    <a:pt x="251426" y="618465"/>
                  </a:lnTo>
                  <a:lnTo>
                    <a:pt x="253883" y="618465"/>
                  </a:lnTo>
                  <a:lnTo>
                    <a:pt x="254623" y="620786"/>
                  </a:lnTo>
                  <a:lnTo>
                    <a:pt x="257517" y="622670"/>
                  </a:lnTo>
                  <a:lnTo>
                    <a:pt x="261859" y="622939"/>
                  </a:lnTo>
                  <a:lnTo>
                    <a:pt x="265191" y="619911"/>
                  </a:lnTo>
                  <a:lnTo>
                    <a:pt x="265191" y="615874"/>
                  </a:lnTo>
                  <a:cubicBezTo>
                    <a:pt x="265191" y="615874"/>
                    <a:pt x="266806" y="614731"/>
                    <a:pt x="266941" y="614125"/>
                  </a:cubicBezTo>
                  <a:cubicBezTo>
                    <a:pt x="267075" y="613553"/>
                    <a:pt x="267513" y="611232"/>
                    <a:pt x="268119" y="611232"/>
                  </a:cubicBezTo>
                  <a:cubicBezTo>
                    <a:pt x="268691" y="611232"/>
                    <a:pt x="271181" y="608642"/>
                    <a:pt x="271181" y="608642"/>
                  </a:cubicBezTo>
                  <a:lnTo>
                    <a:pt x="275826" y="607902"/>
                  </a:lnTo>
                  <a:lnTo>
                    <a:pt x="278888" y="608642"/>
                  </a:lnTo>
                  <a:cubicBezTo>
                    <a:pt x="278888" y="608642"/>
                    <a:pt x="280470" y="610526"/>
                    <a:pt x="280907" y="610660"/>
                  </a:cubicBezTo>
                  <a:cubicBezTo>
                    <a:pt x="281345" y="610795"/>
                    <a:pt x="282792" y="611232"/>
                    <a:pt x="282792" y="611232"/>
                  </a:cubicBezTo>
                  <a:lnTo>
                    <a:pt x="285249" y="610357"/>
                  </a:lnTo>
                  <a:lnTo>
                    <a:pt x="286124" y="607902"/>
                  </a:lnTo>
                  <a:lnTo>
                    <a:pt x="286124" y="607162"/>
                  </a:lnTo>
                  <a:lnTo>
                    <a:pt x="286124" y="604572"/>
                  </a:lnTo>
                  <a:lnTo>
                    <a:pt x="286999" y="604572"/>
                  </a:lnTo>
                  <a:cubicBezTo>
                    <a:pt x="286999" y="604572"/>
                    <a:pt x="289893" y="602116"/>
                    <a:pt x="290330" y="601948"/>
                  </a:cubicBezTo>
                  <a:cubicBezTo>
                    <a:pt x="290768" y="601813"/>
                    <a:pt x="292518" y="599929"/>
                    <a:pt x="293393" y="599492"/>
                  </a:cubicBezTo>
                  <a:cubicBezTo>
                    <a:pt x="294268" y="599055"/>
                    <a:pt x="295581" y="597608"/>
                    <a:pt x="295581" y="597608"/>
                  </a:cubicBezTo>
                  <a:lnTo>
                    <a:pt x="297331" y="595152"/>
                  </a:lnTo>
                  <a:lnTo>
                    <a:pt x="299215" y="592966"/>
                  </a:lnTo>
                  <a:lnTo>
                    <a:pt x="301403" y="588492"/>
                  </a:lnTo>
                  <a:lnTo>
                    <a:pt x="302850" y="585464"/>
                  </a:lnTo>
                  <a:lnTo>
                    <a:pt x="305307" y="582268"/>
                  </a:lnTo>
                  <a:lnTo>
                    <a:pt x="305307" y="579375"/>
                  </a:lnTo>
                  <a:lnTo>
                    <a:pt x="304432" y="575608"/>
                  </a:lnTo>
                  <a:cubicBezTo>
                    <a:pt x="304432" y="575608"/>
                    <a:pt x="303422" y="573152"/>
                    <a:pt x="303422" y="572715"/>
                  </a:cubicBezTo>
                  <a:cubicBezTo>
                    <a:pt x="303422" y="572278"/>
                    <a:pt x="302413" y="568813"/>
                    <a:pt x="302413" y="568813"/>
                  </a:cubicBezTo>
                  <a:cubicBezTo>
                    <a:pt x="302413" y="568813"/>
                    <a:pt x="301975" y="566929"/>
                    <a:pt x="301840" y="566357"/>
                  </a:cubicBezTo>
                  <a:cubicBezTo>
                    <a:pt x="301706" y="565785"/>
                    <a:pt x="301403" y="563733"/>
                    <a:pt x="301403" y="563733"/>
                  </a:cubicBezTo>
                  <a:lnTo>
                    <a:pt x="303422" y="562858"/>
                  </a:lnTo>
                  <a:lnTo>
                    <a:pt x="304432" y="562858"/>
                  </a:lnTo>
                  <a:cubicBezTo>
                    <a:pt x="304432" y="562858"/>
                    <a:pt x="306754" y="562556"/>
                    <a:pt x="307326" y="562858"/>
                  </a:cubicBezTo>
                  <a:cubicBezTo>
                    <a:pt x="307898" y="563161"/>
                    <a:pt x="308774" y="562455"/>
                    <a:pt x="309783" y="562724"/>
                  </a:cubicBezTo>
                  <a:cubicBezTo>
                    <a:pt x="310793" y="562993"/>
                    <a:pt x="312408" y="562118"/>
                    <a:pt x="312812" y="561849"/>
                  </a:cubicBezTo>
                  <a:cubicBezTo>
                    <a:pt x="313249" y="561547"/>
                    <a:pt x="312374" y="561547"/>
                    <a:pt x="312812" y="560974"/>
                  </a:cubicBezTo>
                  <a:cubicBezTo>
                    <a:pt x="313249" y="560403"/>
                    <a:pt x="311365" y="557947"/>
                    <a:pt x="311365" y="557947"/>
                  </a:cubicBezTo>
                  <a:lnTo>
                    <a:pt x="310119" y="555626"/>
                  </a:lnTo>
                  <a:lnTo>
                    <a:pt x="308740" y="553439"/>
                  </a:lnTo>
                  <a:lnTo>
                    <a:pt x="308740" y="551555"/>
                  </a:lnTo>
                  <a:lnTo>
                    <a:pt x="310187" y="548225"/>
                  </a:lnTo>
                  <a:lnTo>
                    <a:pt x="312072" y="546476"/>
                  </a:lnTo>
                  <a:lnTo>
                    <a:pt x="313956" y="545601"/>
                  </a:lnTo>
                  <a:lnTo>
                    <a:pt x="313956" y="542843"/>
                  </a:lnTo>
                  <a:lnTo>
                    <a:pt x="312879" y="540522"/>
                  </a:lnTo>
                  <a:lnTo>
                    <a:pt x="310927" y="538335"/>
                  </a:lnTo>
                  <a:lnTo>
                    <a:pt x="309345" y="535577"/>
                  </a:lnTo>
                  <a:lnTo>
                    <a:pt x="310927" y="533390"/>
                  </a:lnTo>
                  <a:lnTo>
                    <a:pt x="311634" y="532078"/>
                  </a:lnTo>
                  <a:lnTo>
                    <a:pt x="310322" y="530934"/>
                  </a:lnTo>
                  <a:lnTo>
                    <a:pt x="312072" y="529185"/>
                  </a:lnTo>
                  <a:lnTo>
                    <a:pt x="312206" y="527873"/>
                  </a:lnTo>
                  <a:lnTo>
                    <a:pt x="310019" y="526124"/>
                  </a:lnTo>
                  <a:lnTo>
                    <a:pt x="309009" y="523937"/>
                  </a:lnTo>
                  <a:lnTo>
                    <a:pt x="309884" y="522188"/>
                  </a:lnTo>
                  <a:lnTo>
                    <a:pt x="311466" y="521044"/>
                  </a:lnTo>
                  <a:lnTo>
                    <a:pt x="313047" y="521044"/>
                  </a:lnTo>
                  <a:lnTo>
                    <a:pt x="312610" y="516402"/>
                  </a:lnTo>
                  <a:lnTo>
                    <a:pt x="312172" y="514216"/>
                  </a:lnTo>
                  <a:lnTo>
                    <a:pt x="312172" y="513206"/>
                  </a:lnTo>
                  <a:lnTo>
                    <a:pt x="313047" y="508295"/>
                  </a:lnTo>
                  <a:lnTo>
                    <a:pt x="315807" y="507723"/>
                  </a:lnTo>
                  <a:cubicBezTo>
                    <a:pt x="315807" y="507723"/>
                    <a:pt x="318129" y="507286"/>
                    <a:pt x="318567" y="506983"/>
                  </a:cubicBezTo>
                  <a:lnTo>
                    <a:pt x="318264" y="501903"/>
                  </a:lnTo>
                  <a:cubicBezTo>
                    <a:pt x="318264" y="502206"/>
                    <a:pt x="315033" y="501331"/>
                    <a:pt x="313721" y="500659"/>
                  </a:cubicBez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39" name="Freeform 905">
              <a:extLst>
                <a:ext uri="{FF2B5EF4-FFF2-40B4-BE49-F238E27FC236}">
                  <a16:creationId xmlns:a16="http://schemas.microsoft.com/office/drawing/2014/main" id="{DD863D5B-0FB1-C0CA-4C24-F6F7346DE767}"/>
                </a:ext>
              </a:extLst>
            </p:cNvPr>
            <p:cNvSpPr/>
            <p:nvPr/>
          </p:nvSpPr>
          <p:spPr>
            <a:xfrm>
              <a:off x="7521508" y="2550228"/>
              <a:ext cx="287196" cy="470349"/>
            </a:xfrm>
            <a:custGeom>
              <a:avLst/>
              <a:gdLst>
                <a:gd name="connsiteX0" fmla="*/ 547829 w 551389"/>
                <a:gd name="connsiteY0" fmla="*/ 36062 h 903022"/>
                <a:gd name="connsiteX1" fmla="*/ 545238 w 551389"/>
                <a:gd name="connsiteY1" fmla="*/ 35187 h 903022"/>
                <a:gd name="connsiteX2" fmla="*/ 542310 w 551389"/>
                <a:gd name="connsiteY2" fmla="*/ 32260 h 903022"/>
                <a:gd name="connsiteX3" fmla="*/ 537868 w 551389"/>
                <a:gd name="connsiteY3" fmla="*/ 30848 h 903022"/>
                <a:gd name="connsiteX4" fmla="*/ 536353 w 551389"/>
                <a:gd name="connsiteY4" fmla="*/ 25734 h 903022"/>
                <a:gd name="connsiteX5" fmla="*/ 539517 w 551389"/>
                <a:gd name="connsiteY5" fmla="*/ 23548 h 903022"/>
                <a:gd name="connsiteX6" fmla="*/ 541906 w 551389"/>
                <a:gd name="connsiteY6" fmla="*/ 23716 h 903022"/>
                <a:gd name="connsiteX7" fmla="*/ 541334 w 551389"/>
                <a:gd name="connsiteY7" fmla="*/ 23009 h 903022"/>
                <a:gd name="connsiteX8" fmla="*/ 542546 w 551389"/>
                <a:gd name="connsiteY8" fmla="*/ 20150 h 903022"/>
                <a:gd name="connsiteX9" fmla="*/ 542546 w 551389"/>
                <a:gd name="connsiteY9" fmla="*/ 16382 h 903022"/>
                <a:gd name="connsiteX10" fmla="*/ 534704 w 551389"/>
                <a:gd name="connsiteY10" fmla="*/ 16382 h 903022"/>
                <a:gd name="connsiteX11" fmla="*/ 533829 w 551389"/>
                <a:gd name="connsiteY11" fmla="*/ 12043 h 903022"/>
                <a:gd name="connsiteX12" fmla="*/ 533829 w 551389"/>
                <a:gd name="connsiteY12" fmla="*/ 8578 h 903022"/>
                <a:gd name="connsiteX13" fmla="*/ 536017 w 551389"/>
                <a:gd name="connsiteY13" fmla="*/ 6392 h 903022"/>
                <a:gd name="connsiteX14" fmla="*/ 537464 w 551389"/>
                <a:gd name="connsiteY14" fmla="*/ 3499 h 903022"/>
                <a:gd name="connsiteX15" fmla="*/ 537161 w 551389"/>
                <a:gd name="connsiteY15" fmla="*/ 1749 h 903022"/>
                <a:gd name="connsiteX16" fmla="*/ 535276 w 551389"/>
                <a:gd name="connsiteY16" fmla="*/ 875 h 903022"/>
                <a:gd name="connsiteX17" fmla="*/ 533829 w 551389"/>
                <a:gd name="connsiteY17" fmla="*/ 0 h 903022"/>
                <a:gd name="connsiteX18" fmla="*/ 530363 w 551389"/>
                <a:gd name="connsiteY18" fmla="*/ 1144 h 903022"/>
                <a:gd name="connsiteX19" fmla="*/ 526156 w 551389"/>
                <a:gd name="connsiteY19" fmla="*/ 4340 h 903022"/>
                <a:gd name="connsiteX20" fmla="*/ 521814 w 551389"/>
                <a:gd name="connsiteY20" fmla="*/ 7233 h 903022"/>
                <a:gd name="connsiteX21" fmla="*/ 513973 w 551389"/>
                <a:gd name="connsiteY21" fmla="*/ 12884 h 903022"/>
                <a:gd name="connsiteX22" fmla="*/ 509631 w 551389"/>
                <a:gd name="connsiteY22" fmla="*/ 17358 h 903022"/>
                <a:gd name="connsiteX23" fmla="*/ 504852 w 551389"/>
                <a:gd name="connsiteY23" fmla="*/ 22572 h 903022"/>
                <a:gd name="connsiteX24" fmla="*/ 503170 w 551389"/>
                <a:gd name="connsiteY24" fmla="*/ 27214 h 903022"/>
                <a:gd name="connsiteX25" fmla="*/ 500780 w 551389"/>
                <a:gd name="connsiteY25" fmla="*/ 30107 h 903022"/>
                <a:gd name="connsiteX26" fmla="*/ 500780 w 551389"/>
                <a:gd name="connsiteY26" fmla="*/ 32866 h 903022"/>
                <a:gd name="connsiteX27" fmla="*/ 498189 w 551389"/>
                <a:gd name="connsiteY27" fmla="*/ 34615 h 903022"/>
                <a:gd name="connsiteX28" fmla="*/ 496876 w 551389"/>
                <a:gd name="connsiteY28" fmla="*/ 37205 h 903022"/>
                <a:gd name="connsiteX29" fmla="*/ 495429 w 551389"/>
                <a:gd name="connsiteY29" fmla="*/ 37205 h 903022"/>
                <a:gd name="connsiteX30" fmla="*/ 490347 w 551389"/>
                <a:gd name="connsiteY30" fmla="*/ 32563 h 903022"/>
                <a:gd name="connsiteX31" fmla="*/ 485568 w 551389"/>
                <a:gd name="connsiteY31" fmla="*/ 31117 h 903022"/>
                <a:gd name="connsiteX32" fmla="*/ 482674 w 551389"/>
                <a:gd name="connsiteY32" fmla="*/ 29367 h 903022"/>
                <a:gd name="connsiteX33" fmla="*/ 480352 w 551389"/>
                <a:gd name="connsiteY33" fmla="*/ 28661 h 903022"/>
                <a:gd name="connsiteX34" fmla="*/ 477761 w 551389"/>
                <a:gd name="connsiteY34" fmla="*/ 28795 h 903022"/>
                <a:gd name="connsiteX35" fmla="*/ 474126 w 551389"/>
                <a:gd name="connsiteY35" fmla="*/ 29939 h 903022"/>
                <a:gd name="connsiteX36" fmla="*/ 474126 w 551389"/>
                <a:gd name="connsiteY36" fmla="*/ 33404 h 903022"/>
                <a:gd name="connsiteX37" fmla="*/ 471972 w 551389"/>
                <a:gd name="connsiteY37" fmla="*/ 34716 h 903022"/>
                <a:gd name="connsiteX38" fmla="*/ 468203 w 551389"/>
                <a:gd name="connsiteY38" fmla="*/ 30377 h 903022"/>
                <a:gd name="connsiteX39" fmla="*/ 464871 w 551389"/>
                <a:gd name="connsiteY39" fmla="*/ 27618 h 903022"/>
                <a:gd name="connsiteX40" fmla="*/ 461775 w 551389"/>
                <a:gd name="connsiteY40" fmla="*/ 23279 h 903022"/>
                <a:gd name="connsiteX41" fmla="*/ 460799 w 551389"/>
                <a:gd name="connsiteY41" fmla="*/ 20823 h 903022"/>
                <a:gd name="connsiteX42" fmla="*/ 460799 w 551389"/>
                <a:gd name="connsiteY42" fmla="*/ 17190 h 903022"/>
                <a:gd name="connsiteX43" fmla="*/ 457601 w 551389"/>
                <a:gd name="connsiteY43" fmla="*/ 15676 h 903022"/>
                <a:gd name="connsiteX44" fmla="*/ 453092 w 551389"/>
                <a:gd name="connsiteY44" fmla="*/ 16315 h 903022"/>
                <a:gd name="connsiteX45" fmla="*/ 449457 w 551389"/>
                <a:gd name="connsiteY45" fmla="*/ 16315 h 903022"/>
                <a:gd name="connsiteX46" fmla="*/ 444678 w 551389"/>
                <a:gd name="connsiteY46" fmla="*/ 16450 h 903022"/>
                <a:gd name="connsiteX47" fmla="*/ 440606 w 551389"/>
                <a:gd name="connsiteY47" fmla="*/ 19343 h 903022"/>
                <a:gd name="connsiteX48" fmla="*/ 444678 w 551389"/>
                <a:gd name="connsiteY48" fmla="*/ 22976 h 903022"/>
                <a:gd name="connsiteX49" fmla="*/ 448885 w 551389"/>
                <a:gd name="connsiteY49" fmla="*/ 27046 h 903022"/>
                <a:gd name="connsiteX50" fmla="*/ 453664 w 551389"/>
                <a:gd name="connsiteY50" fmla="*/ 28795 h 903022"/>
                <a:gd name="connsiteX51" fmla="*/ 451779 w 551389"/>
                <a:gd name="connsiteY51" fmla="*/ 31554 h 903022"/>
                <a:gd name="connsiteX52" fmla="*/ 449020 w 551389"/>
                <a:gd name="connsiteY52" fmla="*/ 34010 h 903022"/>
                <a:gd name="connsiteX53" fmla="*/ 447438 w 551389"/>
                <a:gd name="connsiteY53" fmla="*/ 35591 h 903022"/>
                <a:gd name="connsiteX54" fmla="*/ 443366 w 551389"/>
                <a:gd name="connsiteY54" fmla="*/ 38181 h 903022"/>
                <a:gd name="connsiteX55" fmla="*/ 439462 w 551389"/>
                <a:gd name="connsiteY55" fmla="*/ 40065 h 903022"/>
                <a:gd name="connsiteX56" fmla="*/ 435389 w 551389"/>
                <a:gd name="connsiteY56" fmla="*/ 43261 h 903022"/>
                <a:gd name="connsiteX57" fmla="*/ 431485 w 551389"/>
                <a:gd name="connsiteY57" fmla="*/ 44572 h 903022"/>
                <a:gd name="connsiteX58" fmla="*/ 426269 w 551389"/>
                <a:gd name="connsiteY58" fmla="*/ 49921 h 903022"/>
                <a:gd name="connsiteX59" fmla="*/ 423206 w 551389"/>
                <a:gd name="connsiteY59" fmla="*/ 53689 h 903022"/>
                <a:gd name="connsiteX60" fmla="*/ 418427 w 551389"/>
                <a:gd name="connsiteY60" fmla="*/ 56582 h 903022"/>
                <a:gd name="connsiteX61" fmla="*/ 413480 w 551389"/>
                <a:gd name="connsiteY61" fmla="*/ 58466 h 903022"/>
                <a:gd name="connsiteX62" fmla="*/ 407389 w 551389"/>
                <a:gd name="connsiteY62" fmla="*/ 60047 h 903022"/>
                <a:gd name="connsiteX63" fmla="*/ 405807 w 551389"/>
                <a:gd name="connsiteY63" fmla="*/ 63512 h 903022"/>
                <a:gd name="connsiteX64" fmla="*/ 404225 w 551389"/>
                <a:gd name="connsiteY64" fmla="*/ 68154 h 903022"/>
                <a:gd name="connsiteX65" fmla="*/ 403855 w 551389"/>
                <a:gd name="connsiteY65" fmla="*/ 72359 h 903022"/>
                <a:gd name="connsiteX66" fmla="*/ 403350 w 551389"/>
                <a:gd name="connsiteY66" fmla="*/ 77573 h 903022"/>
                <a:gd name="connsiteX67" fmla="*/ 403350 w 551389"/>
                <a:gd name="connsiteY67" fmla="*/ 81475 h 903022"/>
                <a:gd name="connsiteX68" fmla="*/ 400456 w 551389"/>
                <a:gd name="connsiteY68" fmla="*/ 83796 h 903022"/>
                <a:gd name="connsiteX69" fmla="*/ 398571 w 551389"/>
                <a:gd name="connsiteY69" fmla="*/ 87867 h 903022"/>
                <a:gd name="connsiteX70" fmla="*/ 393490 w 551389"/>
                <a:gd name="connsiteY70" fmla="*/ 89313 h 903022"/>
                <a:gd name="connsiteX71" fmla="*/ 388576 w 551389"/>
                <a:gd name="connsiteY71" fmla="*/ 89313 h 903022"/>
                <a:gd name="connsiteX72" fmla="*/ 384941 w 551389"/>
                <a:gd name="connsiteY72" fmla="*/ 86555 h 903022"/>
                <a:gd name="connsiteX73" fmla="*/ 381744 w 551389"/>
                <a:gd name="connsiteY73" fmla="*/ 88439 h 903022"/>
                <a:gd name="connsiteX74" fmla="*/ 379052 w 551389"/>
                <a:gd name="connsiteY74" fmla="*/ 93653 h 903022"/>
                <a:gd name="connsiteX75" fmla="*/ 377234 w 551389"/>
                <a:gd name="connsiteY75" fmla="*/ 97690 h 903022"/>
                <a:gd name="connsiteX76" fmla="*/ 377234 w 551389"/>
                <a:gd name="connsiteY76" fmla="*/ 102332 h 903022"/>
                <a:gd name="connsiteX77" fmla="*/ 376494 w 551389"/>
                <a:gd name="connsiteY77" fmla="*/ 105965 h 903022"/>
                <a:gd name="connsiteX78" fmla="*/ 378109 w 551389"/>
                <a:gd name="connsiteY78" fmla="*/ 109295 h 903022"/>
                <a:gd name="connsiteX79" fmla="*/ 378681 w 551389"/>
                <a:gd name="connsiteY79" fmla="*/ 111751 h 903022"/>
                <a:gd name="connsiteX80" fmla="*/ 374475 w 551389"/>
                <a:gd name="connsiteY80" fmla="*/ 112491 h 903022"/>
                <a:gd name="connsiteX81" fmla="*/ 370840 w 551389"/>
                <a:gd name="connsiteY81" fmla="*/ 113366 h 903022"/>
                <a:gd name="connsiteX82" fmla="*/ 368383 w 551389"/>
                <a:gd name="connsiteY82" fmla="*/ 116124 h 903022"/>
                <a:gd name="connsiteX83" fmla="*/ 364748 w 551389"/>
                <a:gd name="connsiteY83" fmla="*/ 117436 h 903022"/>
                <a:gd name="connsiteX84" fmla="*/ 361854 w 551389"/>
                <a:gd name="connsiteY84" fmla="*/ 122650 h 903022"/>
                <a:gd name="connsiteX85" fmla="*/ 357647 w 551389"/>
                <a:gd name="connsiteY85" fmla="*/ 126283 h 903022"/>
                <a:gd name="connsiteX86" fmla="*/ 355628 w 551389"/>
                <a:gd name="connsiteY86" fmla="*/ 127292 h 903022"/>
                <a:gd name="connsiteX87" fmla="*/ 351556 w 551389"/>
                <a:gd name="connsiteY87" fmla="*/ 129311 h 903022"/>
                <a:gd name="connsiteX88" fmla="*/ 346777 w 551389"/>
                <a:gd name="connsiteY88" fmla="*/ 129311 h 903022"/>
                <a:gd name="connsiteX89" fmla="*/ 345195 w 551389"/>
                <a:gd name="connsiteY89" fmla="*/ 132776 h 903022"/>
                <a:gd name="connsiteX90" fmla="*/ 342435 w 551389"/>
                <a:gd name="connsiteY90" fmla="*/ 135669 h 903022"/>
                <a:gd name="connsiteX91" fmla="*/ 343075 w 551389"/>
                <a:gd name="connsiteY91" fmla="*/ 140176 h 903022"/>
                <a:gd name="connsiteX92" fmla="*/ 338935 w 551389"/>
                <a:gd name="connsiteY92" fmla="*/ 144516 h 903022"/>
                <a:gd name="connsiteX93" fmla="*/ 338935 w 551389"/>
                <a:gd name="connsiteY93" fmla="*/ 147543 h 903022"/>
                <a:gd name="connsiteX94" fmla="*/ 338935 w 551389"/>
                <a:gd name="connsiteY94" fmla="*/ 149360 h 903022"/>
                <a:gd name="connsiteX95" fmla="*/ 338935 w 551389"/>
                <a:gd name="connsiteY95" fmla="*/ 154574 h 903022"/>
                <a:gd name="connsiteX96" fmla="*/ 337926 w 551389"/>
                <a:gd name="connsiteY96" fmla="*/ 160528 h 903022"/>
                <a:gd name="connsiteX97" fmla="*/ 339810 w 551389"/>
                <a:gd name="connsiteY97" fmla="*/ 163859 h 903022"/>
                <a:gd name="connsiteX98" fmla="*/ 342873 w 551389"/>
                <a:gd name="connsiteY98" fmla="*/ 166617 h 903022"/>
                <a:gd name="connsiteX99" fmla="*/ 345633 w 551389"/>
                <a:gd name="connsiteY99" fmla="*/ 166617 h 903022"/>
                <a:gd name="connsiteX100" fmla="*/ 349537 w 551389"/>
                <a:gd name="connsiteY100" fmla="*/ 170385 h 903022"/>
                <a:gd name="connsiteX101" fmla="*/ 351287 w 551389"/>
                <a:gd name="connsiteY101" fmla="*/ 173850 h 903022"/>
                <a:gd name="connsiteX102" fmla="*/ 351590 w 551389"/>
                <a:gd name="connsiteY102" fmla="*/ 176877 h 903022"/>
                <a:gd name="connsiteX103" fmla="*/ 351455 w 551389"/>
                <a:gd name="connsiteY103" fmla="*/ 179770 h 903022"/>
                <a:gd name="connsiteX104" fmla="*/ 350142 w 551389"/>
                <a:gd name="connsiteY104" fmla="*/ 182226 h 903022"/>
                <a:gd name="connsiteX105" fmla="*/ 348392 w 551389"/>
                <a:gd name="connsiteY105" fmla="*/ 185994 h 903022"/>
                <a:gd name="connsiteX106" fmla="*/ 347517 w 551389"/>
                <a:gd name="connsiteY106" fmla="*/ 188449 h 903022"/>
                <a:gd name="connsiteX107" fmla="*/ 346642 w 551389"/>
                <a:gd name="connsiteY107" fmla="*/ 190636 h 903022"/>
                <a:gd name="connsiteX108" fmla="*/ 344051 w 551389"/>
                <a:gd name="connsiteY108" fmla="*/ 190636 h 903022"/>
                <a:gd name="connsiteX109" fmla="*/ 339137 w 551389"/>
                <a:gd name="connsiteY109" fmla="*/ 190737 h 903022"/>
                <a:gd name="connsiteX110" fmla="*/ 337993 w 551389"/>
                <a:gd name="connsiteY110" fmla="*/ 189189 h 903022"/>
                <a:gd name="connsiteX111" fmla="*/ 337118 w 551389"/>
                <a:gd name="connsiteY111" fmla="*/ 184715 h 903022"/>
                <a:gd name="connsiteX112" fmla="*/ 333921 w 551389"/>
                <a:gd name="connsiteY112" fmla="*/ 182394 h 903022"/>
                <a:gd name="connsiteX113" fmla="*/ 332777 w 551389"/>
                <a:gd name="connsiteY113" fmla="*/ 178761 h 903022"/>
                <a:gd name="connsiteX114" fmla="*/ 331262 w 551389"/>
                <a:gd name="connsiteY114" fmla="*/ 178324 h 903022"/>
                <a:gd name="connsiteX115" fmla="*/ 328570 w 551389"/>
                <a:gd name="connsiteY115" fmla="*/ 178626 h 903022"/>
                <a:gd name="connsiteX116" fmla="*/ 328570 w 551389"/>
                <a:gd name="connsiteY116" fmla="*/ 180645 h 903022"/>
                <a:gd name="connsiteX117" fmla="*/ 326820 w 551389"/>
                <a:gd name="connsiteY117" fmla="*/ 183841 h 903022"/>
                <a:gd name="connsiteX118" fmla="*/ 326820 w 551389"/>
                <a:gd name="connsiteY118" fmla="*/ 185859 h 903022"/>
                <a:gd name="connsiteX119" fmla="*/ 326820 w 551389"/>
                <a:gd name="connsiteY119" fmla="*/ 187608 h 903022"/>
                <a:gd name="connsiteX120" fmla="*/ 325070 w 551389"/>
                <a:gd name="connsiteY120" fmla="*/ 190232 h 903022"/>
                <a:gd name="connsiteX121" fmla="*/ 325070 w 551389"/>
                <a:gd name="connsiteY121" fmla="*/ 192856 h 903022"/>
                <a:gd name="connsiteX122" fmla="*/ 325070 w 551389"/>
                <a:gd name="connsiteY122" fmla="*/ 198070 h 903022"/>
                <a:gd name="connsiteX123" fmla="*/ 325507 w 551389"/>
                <a:gd name="connsiteY123" fmla="*/ 200391 h 903022"/>
                <a:gd name="connsiteX124" fmla="*/ 325070 w 551389"/>
                <a:gd name="connsiteY124" fmla="*/ 203284 h 903022"/>
                <a:gd name="connsiteX125" fmla="*/ 325070 w 551389"/>
                <a:gd name="connsiteY125" fmla="*/ 206749 h 903022"/>
                <a:gd name="connsiteX126" fmla="*/ 325070 w 551389"/>
                <a:gd name="connsiteY126" fmla="*/ 209373 h 903022"/>
                <a:gd name="connsiteX127" fmla="*/ 326820 w 551389"/>
                <a:gd name="connsiteY127" fmla="*/ 211997 h 903022"/>
                <a:gd name="connsiteX128" fmla="*/ 328839 w 551389"/>
                <a:gd name="connsiteY128" fmla="*/ 212872 h 903022"/>
                <a:gd name="connsiteX129" fmla="*/ 331027 w 551389"/>
                <a:gd name="connsiteY129" fmla="*/ 214890 h 903022"/>
                <a:gd name="connsiteX130" fmla="*/ 331464 w 551389"/>
                <a:gd name="connsiteY130" fmla="*/ 217211 h 903022"/>
                <a:gd name="connsiteX131" fmla="*/ 330724 w 551389"/>
                <a:gd name="connsiteY131" fmla="*/ 219667 h 903022"/>
                <a:gd name="connsiteX132" fmla="*/ 327695 w 551389"/>
                <a:gd name="connsiteY132" fmla="*/ 219667 h 903022"/>
                <a:gd name="connsiteX133" fmla="*/ 325070 w 551389"/>
                <a:gd name="connsiteY133" fmla="*/ 220811 h 903022"/>
                <a:gd name="connsiteX134" fmla="*/ 321031 w 551389"/>
                <a:gd name="connsiteY134" fmla="*/ 220811 h 903022"/>
                <a:gd name="connsiteX135" fmla="*/ 313358 w 551389"/>
                <a:gd name="connsiteY135" fmla="*/ 221517 h 903022"/>
                <a:gd name="connsiteX136" fmla="*/ 302050 w 551389"/>
                <a:gd name="connsiteY136" fmla="*/ 218254 h 903022"/>
                <a:gd name="connsiteX137" fmla="*/ 297910 w 551389"/>
                <a:gd name="connsiteY137" fmla="*/ 219330 h 903022"/>
                <a:gd name="connsiteX138" fmla="*/ 292896 w 551389"/>
                <a:gd name="connsiteY138" fmla="*/ 223233 h 903022"/>
                <a:gd name="connsiteX139" fmla="*/ 285929 w 551389"/>
                <a:gd name="connsiteY139" fmla="*/ 223233 h 903022"/>
                <a:gd name="connsiteX140" fmla="*/ 282564 w 551389"/>
                <a:gd name="connsiteY140" fmla="*/ 220912 h 903022"/>
                <a:gd name="connsiteX141" fmla="*/ 279400 w 551389"/>
                <a:gd name="connsiteY141" fmla="*/ 218018 h 903022"/>
                <a:gd name="connsiteX142" fmla="*/ 275497 w 551389"/>
                <a:gd name="connsiteY142" fmla="*/ 218018 h 903022"/>
                <a:gd name="connsiteX143" fmla="*/ 271929 w 551389"/>
                <a:gd name="connsiteY143" fmla="*/ 218355 h 903022"/>
                <a:gd name="connsiteX144" fmla="*/ 270617 w 551389"/>
                <a:gd name="connsiteY144" fmla="*/ 221282 h 903022"/>
                <a:gd name="connsiteX145" fmla="*/ 264188 w 551389"/>
                <a:gd name="connsiteY145" fmla="*/ 219667 h 903022"/>
                <a:gd name="connsiteX146" fmla="*/ 261462 w 551389"/>
                <a:gd name="connsiteY146" fmla="*/ 215866 h 903022"/>
                <a:gd name="connsiteX147" fmla="*/ 258434 w 551389"/>
                <a:gd name="connsiteY147" fmla="*/ 208364 h 903022"/>
                <a:gd name="connsiteX148" fmla="*/ 255842 w 551389"/>
                <a:gd name="connsiteY148" fmla="*/ 203150 h 903022"/>
                <a:gd name="connsiteX149" fmla="*/ 252140 w 551389"/>
                <a:gd name="connsiteY149" fmla="*/ 201199 h 903022"/>
                <a:gd name="connsiteX150" fmla="*/ 251602 w 551389"/>
                <a:gd name="connsiteY150" fmla="*/ 198171 h 903022"/>
                <a:gd name="connsiteX151" fmla="*/ 247159 w 551389"/>
                <a:gd name="connsiteY151" fmla="*/ 199147 h 903022"/>
                <a:gd name="connsiteX152" fmla="*/ 240731 w 551389"/>
                <a:gd name="connsiteY152" fmla="*/ 198171 h 903022"/>
                <a:gd name="connsiteX153" fmla="*/ 234303 w 551389"/>
                <a:gd name="connsiteY153" fmla="*/ 196422 h 903022"/>
                <a:gd name="connsiteX154" fmla="*/ 228414 w 551389"/>
                <a:gd name="connsiteY154" fmla="*/ 194235 h 903022"/>
                <a:gd name="connsiteX155" fmla="*/ 224274 w 551389"/>
                <a:gd name="connsiteY155" fmla="*/ 195312 h 903022"/>
                <a:gd name="connsiteX156" fmla="*/ 223298 w 551389"/>
                <a:gd name="connsiteY156" fmla="*/ 199214 h 903022"/>
                <a:gd name="connsiteX157" fmla="*/ 223298 w 551389"/>
                <a:gd name="connsiteY157" fmla="*/ 201602 h 903022"/>
                <a:gd name="connsiteX158" fmla="*/ 222322 w 551389"/>
                <a:gd name="connsiteY158" fmla="*/ 203890 h 903022"/>
                <a:gd name="connsiteX159" fmla="*/ 220034 w 551389"/>
                <a:gd name="connsiteY159" fmla="*/ 205303 h 903022"/>
                <a:gd name="connsiteX160" fmla="*/ 216029 w 551389"/>
                <a:gd name="connsiteY160" fmla="*/ 206076 h 903022"/>
                <a:gd name="connsiteX161" fmla="*/ 213101 w 551389"/>
                <a:gd name="connsiteY161" fmla="*/ 208465 h 903022"/>
                <a:gd name="connsiteX162" fmla="*/ 208086 w 551389"/>
                <a:gd name="connsiteY162" fmla="*/ 211089 h 903022"/>
                <a:gd name="connsiteX163" fmla="*/ 206471 w 551389"/>
                <a:gd name="connsiteY163" fmla="*/ 213275 h 903022"/>
                <a:gd name="connsiteX164" fmla="*/ 201692 w 551389"/>
                <a:gd name="connsiteY164" fmla="*/ 213713 h 903022"/>
                <a:gd name="connsiteX165" fmla="*/ 199841 w 551389"/>
                <a:gd name="connsiteY165" fmla="*/ 218489 h 903022"/>
                <a:gd name="connsiteX166" fmla="*/ 197351 w 551389"/>
                <a:gd name="connsiteY166" fmla="*/ 223804 h 903022"/>
                <a:gd name="connsiteX167" fmla="*/ 193346 w 551389"/>
                <a:gd name="connsiteY167" fmla="*/ 228480 h 903022"/>
                <a:gd name="connsiteX168" fmla="*/ 193346 w 551389"/>
                <a:gd name="connsiteY168" fmla="*/ 231844 h 903022"/>
                <a:gd name="connsiteX169" fmla="*/ 195668 w 551389"/>
                <a:gd name="connsiteY169" fmla="*/ 234704 h 903022"/>
                <a:gd name="connsiteX170" fmla="*/ 194658 w 551389"/>
                <a:gd name="connsiteY170" fmla="*/ 238337 h 903022"/>
                <a:gd name="connsiteX171" fmla="*/ 190451 w 551389"/>
                <a:gd name="connsiteY171" fmla="*/ 242676 h 903022"/>
                <a:gd name="connsiteX172" fmla="*/ 187254 w 551389"/>
                <a:gd name="connsiteY172" fmla="*/ 246747 h 903022"/>
                <a:gd name="connsiteX173" fmla="*/ 186379 w 551389"/>
                <a:gd name="connsiteY173" fmla="*/ 249943 h 903022"/>
                <a:gd name="connsiteX174" fmla="*/ 188331 w 551389"/>
                <a:gd name="connsiteY174" fmla="*/ 251322 h 903022"/>
                <a:gd name="connsiteX175" fmla="*/ 188634 w 551389"/>
                <a:gd name="connsiteY175" fmla="*/ 252566 h 903022"/>
                <a:gd name="connsiteX176" fmla="*/ 187187 w 551389"/>
                <a:gd name="connsiteY176" fmla="*/ 255257 h 903022"/>
                <a:gd name="connsiteX177" fmla="*/ 184494 w 551389"/>
                <a:gd name="connsiteY177" fmla="*/ 256637 h 903022"/>
                <a:gd name="connsiteX178" fmla="*/ 185369 w 551389"/>
                <a:gd name="connsiteY178" fmla="*/ 259833 h 903022"/>
                <a:gd name="connsiteX179" fmla="*/ 188567 w 551389"/>
                <a:gd name="connsiteY179" fmla="*/ 259833 h 903022"/>
                <a:gd name="connsiteX180" fmla="*/ 188769 w 551389"/>
                <a:gd name="connsiteY180" fmla="*/ 261716 h 903022"/>
                <a:gd name="connsiteX181" fmla="*/ 187826 w 551389"/>
                <a:gd name="connsiteY181" fmla="*/ 264105 h 903022"/>
                <a:gd name="connsiteX182" fmla="*/ 186749 w 551389"/>
                <a:gd name="connsiteY182" fmla="*/ 265989 h 903022"/>
                <a:gd name="connsiteX183" fmla="*/ 186615 w 551389"/>
                <a:gd name="connsiteY183" fmla="*/ 267872 h 903022"/>
                <a:gd name="connsiteX184" fmla="*/ 187860 w 551389"/>
                <a:gd name="connsiteY184" fmla="*/ 270261 h 903022"/>
                <a:gd name="connsiteX185" fmla="*/ 189610 w 551389"/>
                <a:gd name="connsiteY185" fmla="*/ 271203 h 903022"/>
                <a:gd name="connsiteX186" fmla="*/ 191798 w 551389"/>
                <a:gd name="connsiteY186" fmla="*/ 272447 h 903022"/>
                <a:gd name="connsiteX187" fmla="*/ 194322 w 551389"/>
                <a:gd name="connsiteY187" fmla="*/ 274634 h 903022"/>
                <a:gd name="connsiteX188" fmla="*/ 195398 w 551389"/>
                <a:gd name="connsiteY188" fmla="*/ 275576 h 903022"/>
                <a:gd name="connsiteX189" fmla="*/ 195701 w 551389"/>
                <a:gd name="connsiteY189" fmla="*/ 276821 h 903022"/>
                <a:gd name="connsiteX190" fmla="*/ 195500 w 551389"/>
                <a:gd name="connsiteY190" fmla="*/ 278032 h 903022"/>
                <a:gd name="connsiteX191" fmla="*/ 193749 w 551389"/>
                <a:gd name="connsiteY191" fmla="*/ 279478 h 903022"/>
                <a:gd name="connsiteX192" fmla="*/ 191798 w 551389"/>
                <a:gd name="connsiteY192" fmla="*/ 281867 h 903022"/>
                <a:gd name="connsiteX193" fmla="*/ 190889 w 551389"/>
                <a:gd name="connsiteY193" fmla="*/ 285937 h 903022"/>
                <a:gd name="connsiteX194" fmla="*/ 191225 w 551389"/>
                <a:gd name="connsiteY194" fmla="*/ 289637 h 903022"/>
                <a:gd name="connsiteX195" fmla="*/ 191225 w 551389"/>
                <a:gd name="connsiteY195" fmla="*/ 292026 h 903022"/>
                <a:gd name="connsiteX196" fmla="*/ 190519 w 551389"/>
                <a:gd name="connsiteY196" fmla="*/ 295659 h 903022"/>
                <a:gd name="connsiteX197" fmla="*/ 190081 w 551389"/>
                <a:gd name="connsiteY197" fmla="*/ 298283 h 903022"/>
                <a:gd name="connsiteX198" fmla="*/ 189274 w 551389"/>
                <a:gd name="connsiteY198" fmla="*/ 300167 h 903022"/>
                <a:gd name="connsiteX199" fmla="*/ 189644 w 551389"/>
                <a:gd name="connsiteY199" fmla="*/ 303127 h 903022"/>
                <a:gd name="connsiteX200" fmla="*/ 190586 w 551389"/>
                <a:gd name="connsiteY200" fmla="*/ 304640 h 903022"/>
                <a:gd name="connsiteX201" fmla="*/ 192908 w 551389"/>
                <a:gd name="connsiteY201" fmla="*/ 306020 h 903022"/>
                <a:gd name="connsiteX202" fmla="*/ 197115 w 551389"/>
                <a:gd name="connsiteY202" fmla="*/ 306659 h 903022"/>
                <a:gd name="connsiteX203" fmla="*/ 201255 w 551389"/>
                <a:gd name="connsiteY203" fmla="*/ 305751 h 903022"/>
                <a:gd name="connsiteX204" fmla="*/ 202500 w 551389"/>
                <a:gd name="connsiteY204" fmla="*/ 305044 h 903022"/>
                <a:gd name="connsiteX205" fmla="*/ 206033 w 551389"/>
                <a:gd name="connsiteY205" fmla="*/ 305044 h 903022"/>
                <a:gd name="connsiteX206" fmla="*/ 206942 w 551389"/>
                <a:gd name="connsiteY206" fmla="*/ 308610 h 903022"/>
                <a:gd name="connsiteX207" fmla="*/ 207413 w 551389"/>
                <a:gd name="connsiteY207" fmla="*/ 308745 h 903022"/>
                <a:gd name="connsiteX208" fmla="*/ 209803 w 551389"/>
                <a:gd name="connsiteY208" fmla="*/ 309686 h 903022"/>
                <a:gd name="connsiteX209" fmla="*/ 210240 w 551389"/>
                <a:gd name="connsiteY209" fmla="*/ 312580 h 903022"/>
                <a:gd name="connsiteX210" fmla="*/ 210543 w 551389"/>
                <a:gd name="connsiteY210" fmla="*/ 316650 h 903022"/>
                <a:gd name="connsiteX211" fmla="*/ 214312 w 551389"/>
                <a:gd name="connsiteY211" fmla="*/ 317659 h 903022"/>
                <a:gd name="connsiteX212" fmla="*/ 219091 w 551389"/>
                <a:gd name="connsiteY212" fmla="*/ 316078 h 903022"/>
                <a:gd name="connsiteX213" fmla="*/ 220236 w 551389"/>
                <a:gd name="connsiteY213" fmla="*/ 313689 h 903022"/>
                <a:gd name="connsiteX214" fmla="*/ 221683 w 551389"/>
                <a:gd name="connsiteY214" fmla="*/ 311806 h 903022"/>
                <a:gd name="connsiteX215" fmla="*/ 222322 w 551389"/>
                <a:gd name="connsiteY215" fmla="*/ 311234 h 903022"/>
                <a:gd name="connsiteX216" fmla="*/ 226731 w 551389"/>
                <a:gd name="connsiteY216" fmla="*/ 314262 h 903022"/>
                <a:gd name="connsiteX217" fmla="*/ 227875 w 551389"/>
                <a:gd name="connsiteY217" fmla="*/ 315708 h 903022"/>
                <a:gd name="connsiteX218" fmla="*/ 229827 w 551389"/>
                <a:gd name="connsiteY218" fmla="*/ 315910 h 903022"/>
                <a:gd name="connsiteX219" fmla="*/ 231274 w 551389"/>
                <a:gd name="connsiteY219" fmla="*/ 315338 h 903022"/>
                <a:gd name="connsiteX220" fmla="*/ 232351 w 551389"/>
                <a:gd name="connsiteY220" fmla="*/ 314530 h 903022"/>
                <a:gd name="connsiteX221" fmla="*/ 236928 w 551389"/>
                <a:gd name="connsiteY221" fmla="*/ 315775 h 903022"/>
                <a:gd name="connsiteX222" fmla="*/ 241068 w 551389"/>
                <a:gd name="connsiteY222" fmla="*/ 317659 h 903022"/>
                <a:gd name="connsiteX223" fmla="*/ 243525 w 551389"/>
                <a:gd name="connsiteY223" fmla="*/ 319745 h 903022"/>
                <a:gd name="connsiteX224" fmla="*/ 245847 w 551389"/>
                <a:gd name="connsiteY224" fmla="*/ 323008 h 903022"/>
                <a:gd name="connsiteX225" fmla="*/ 247159 w 551389"/>
                <a:gd name="connsiteY225" fmla="*/ 325598 h 903022"/>
                <a:gd name="connsiteX226" fmla="*/ 248977 w 551389"/>
                <a:gd name="connsiteY226" fmla="*/ 329736 h 903022"/>
                <a:gd name="connsiteX227" fmla="*/ 248034 w 551389"/>
                <a:gd name="connsiteY227" fmla="*/ 333436 h 903022"/>
                <a:gd name="connsiteX228" fmla="*/ 251232 w 551389"/>
                <a:gd name="connsiteY228" fmla="*/ 337641 h 903022"/>
                <a:gd name="connsiteX229" fmla="*/ 253385 w 551389"/>
                <a:gd name="connsiteY229" fmla="*/ 336329 h 903022"/>
                <a:gd name="connsiteX230" fmla="*/ 254261 w 551389"/>
                <a:gd name="connsiteY230" fmla="*/ 335320 h 903022"/>
                <a:gd name="connsiteX231" fmla="*/ 256852 w 551389"/>
                <a:gd name="connsiteY231" fmla="*/ 338347 h 903022"/>
                <a:gd name="connsiteX232" fmla="*/ 261496 w 551389"/>
                <a:gd name="connsiteY232" fmla="*/ 342687 h 903022"/>
                <a:gd name="connsiteX233" fmla="*/ 263818 w 551389"/>
                <a:gd name="connsiteY233" fmla="*/ 345008 h 903022"/>
                <a:gd name="connsiteX234" fmla="*/ 266107 w 551389"/>
                <a:gd name="connsiteY234" fmla="*/ 348338 h 903022"/>
                <a:gd name="connsiteX235" fmla="*/ 268025 w 551389"/>
                <a:gd name="connsiteY235" fmla="*/ 347968 h 903022"/>
                <a:gd name="connsiteX236" fmla="*/ 269001 w 551389"/>
                <a:gd name="connsiteY236" fmla="*/ 345513 h 903022"/>
                <a:gd name="connsiteX237" fmla="*/ 269977 w 551389"/>
                <a:gd name="connsiteY237" fmla="*/ 344537 h 903022"/>
                <a:gd name="connsiteX238" fmla="*/ 271391 w 551389"/>
                <a:gd name="connsiteY238" fmla="*/ 342855 h 903022"/>
                <a:gd name="connsiteX239" fmla="*/ 273713 w 551389"/>
                <a:gd name="connsiteY239" fmla="*/ 342788 h 903022"/>
                <a:gd name="connsiteX240" fmla="*/ 276271 w 551389"/>
                <a:gd name="connsiteY240" fmla="*/ 343696 h 903022"/>
                <a:gd name="connsiteX241" fmla="*/ 278458 w 551389"/>
                <a:gd name="connsiteY241" fmla="*/ 345647 h 903022"/>
                <a:gd name="connsiteX242" fmla="*/ 279804 w 551389"/>
                <a:gd name="connsiteY242" fmla="*/ 347262 h 903022"/>
                <a:gd name="connsiteX243" fmla="*/ 281992 w 551389"/>
                <a:gd name="connsiteY243" fmla="*/ 349617 h 903022"/>
                <a:gd name="connsiteX244" fmla="*/ 284213 w 551389"/>
                <a:gd name="connsiteY244" fmla="*/ 351803 h 903022"/>
                <a:gd name="connsiteX245" fmla="*/ 286401 w 551389"/>
                <a:gd name="connsiteY245" fmla="*/ 353721 h 903022"/>
                <a:gd name="connsiteX246" fmla="*/ 291146 w 551389"/>
                <a:gd name="connsiteY246" fmla="*/ 356715 h 903022"/>
                <a:gd name="connsiteX247" fmla="*/ 292997 w 551389"/>
                <a:gd name="connsiteY247" fmla="*/ 360112 h 903022"/>
                <a:gd name="connsiteX248" fmla="*/ 295756 w 551389"/>
                <a:gd name="connsiteY248" fmla="*/ 361189 h 903022"/>
                <a:gd name="connsiteX249" fmla="*/ 298954 w 551389"/>
                <a:gd name="connsiteY249" fmla="*/ 360752 h 903022"/>
                <a:gd name="connsiteX250" fmla="*/ 301074 w 551389"/>
                <a:gd name="connsiteY250" fmla="*/ 360179 h 903022"/>
                <a:gd name="connsiteX251" fmla="*/ 306593 w 551389"/>
                <a:gd name="connsiteY251" fmla="*/ 360886 h 903022"/>
                <a:gd name="connsiteX252" fmla="*/ 309791 w 551389"/>
                <a:gd name="connsiteY252" fmla="*/ 361828 h 903022"/>
                <a:gd name="connsiteX253" fmla="*/ 312247 w 551389"/>
                <a:gd name="connsiteY253" fmla="*/ 363779 h 903022"/>
                <a:gd name="connsiteX254" fmla="*/ 315512 w 551389"/>
                <a:gd name="connsiteY254" fmla="*/ 366907 h 903022"/>
                <a:gd name="connsiteX255" fmla="*/ 316050 w 551389"/>
                <a:gd name="connsiteY255" fmla="*/ 367984 h 903022"/>
                <a:gd name="connsiteX256" fmla="*/ 316522 w 551389"/>
                <a:gd name="connsiteY256" fmla="*/ 371449 h 903022"/>
                <a:gd name="connsiteX257" fmla="*/ 316522 w 551389"/>
                <a:gd name="connsiteY257" fmla="*/ 373703 h 903022"/>
                <a:gd name="connsiteX258" fmla="*/ 316387 w 551389"/>
                <a:gd name="connsiteY258" fmla="*/ 375587 h 903022"/>
                <a:gd name="connsiteX259" fmla="*/ 315815 w 551389"/>
                <a:gd name="connsiteY259" fmla="*/ 377033 h 903022"/>
                <a:gd name="connsiteX260" fmla="*/ 314502 w 551389"/>
                <a:gd name="connsiteY260" fmla="*/ 378849 h 903022"/>
                <a:gd name="connsiteX261" fmla="*/ 312617 w 551389"/>
                <a:gd name="connsiteY261" fmla="*/ 379489 h 903022"/>
                <a:gd name="connsiteX262" fmla="*/ 311238 w 551389"/>
                <a:gd name="connsiteY262" fmla="*/ 381137 h 903022"/>
                <a:gd name="connsiteX263" fmla="*/ 310598 w 551389"/>
                <a:gd name="connsiteY263" fmla="*/ 382584 h 903022"/>
                <a:gd name="connsiteX264" fmla="*/ 310228 w 551389"/>
                <a:gd name="connsiteY264" fmla="*/ 384770 h 903022"/>
                <a:gd name="connsiteX265" fmla="*/ 311810 w 551389"/>
                <a:gd name="connsiteY265" fmla="*/ 386957 h 903022"/>
                <a:gd name="connsiteX266" fmla="*/ 313324 w 551389"/>
                <a:gd name="connsiteY266" fmla="*/ 388605 h 903022"/>
                <a:gd name="connsiteX267" fmla="*/ 314670 w 551389"/>
                <a:gd name="connsiteY267" fmla="*/ 395097 h 903022"/>
                <a:gd name="connsiteX268" fmla="*/ 314872 w 551389"/>
                <a:gd name="connsiteY268" fmla="*/ 398697 h 903022"/>
                <a:gd name="connsiteX269" fmla="*/ 314771 w 551389"/>
                <a:gd name="connsiteY269" fmla="*/ 402162 h 903022"/>
                <a:gd name="connsiteX270" fmla="*/ 317161 w 551389"/>
                <a:gd name="connsiteY270" fmla="*/ 405425 h 903022"/>
                <a:gd name="connsiteX271" fmla="*/ 317935 w 551389"/>
                <a:gd name="connsiteY271" fmla="*/ 407477 h 903022"/>
                <a:gd name="connsiteX272" fmla="*/ 318271 w 551389"/>
                <a:gd name="connsiteY272" fmla="*/ 410202 h 903022"/>
                <a:gd name="connsiteX273" fmla="*/ 317296 w 551389"/>
                <a:gd name="connsiteY273" fmla="*/ 412691 h 903022"/>
                <a:gd name="connsiteX274" fmla="*/ 315781 w 551389"/>
                <a:gd name="connsiteY274" fmla="*/ 415954 h 903022"/>
                <a:gd name="connsiteX275" fmla="*/ 314031 w 551389"/>
                <a:gd name="connsiteY275" fmla="*/ 416728 h 903022"/>
                <a:gd name="connsiteX276" fmla="*/ 311305 w 551389"/>
                <a:gd name="connsiteY276" fmla="*/ 416728 h 903022"/>
                <a:gd name="connsiteX277" fmla="*/ 306964 w 551389"/>
                <a:gd name="connsiteY277" fmla="*/ 416728 h 903022"/>
                <a:gd name="connsiteX278" fmla="*/ 303800 w 551389"/>
                <a:gd name="connsiteY278" fmla="*/ 417502 h 903022"/>
                <a:gd name="connsiteX279" fmla="*/ 301747 w 551389"/>
                <a:gd name="connsiteY279" fmla="*/ 418813 h 903022"/>
                <a:gd name="connsiteX280" fmla="*/ 300098 w 551389"/>
                <a:gd name="connsiteY280" fmla="*/ 419789 h 903022"/>
                <a:gd name="connsiteX281" fmla="*/ 298348 w 551389"/>
                <a:gd name="connsiteY281" fmla="*/ 421101 h 903022"/>
                <a:gd name="connsiteX282" fmla="*/ 297910 w 551389"/>
                <a:gd name="connsiteY282" fmla="*/ 423388 h 903022"/>
                <a:gd name="connsiteX283" fmla="*/ 297675 w 551389"/>
                <a:gd name="connsiteY283" fmla="*/ 426416 h 903022"/>
                <a:gd name="connsiteX284" fmla="*/ 297439 w 551389"/>
                <a:gd name="connsiteY284" fmla="*/ 430318 h 903022"/>
                <a:gd name="connsiteX285" fmla="*/ 297338 w 551389"/>
                <a:gd name="connsiteY285" fmla="*/ 433346 h 903022"/>
                <a:gd name="connsiteX286" fmla="*/ 297540 w 551389"/>
                <a:gd name="connsiteY286" fmla="*/ 435398 h 903022"/>
                <a:gd name="connsiteX287" fmla="*/ 297877 w 551389"/>
                <a:gd name="connsiteY287" fmla="*/ 440275 h 903022"/>
                <a:gd name="connsiteX288" fmla="*/ 297641 w 551389"/>
                <a:gd name="connsiteY288" fmla="*/ 444413 h 903022"/>
                <a:gd name="connsiteX289" fmla="*/ 299055 w 551389"/>
                <a:gd name="connsiteY289" fmla="*/ 449156 h 903022"/>
                <a:gd name="connsiteX290" fmla="*/ 300199 w 551389"/>
                <a:gd name="connsiteY290" fmla="*/ 455077 h 903022"/>
                <a:gd name="connsiteX291" fmla="*/ 304978 w 551389"/>
                <a:gd name="connsiteY291" fmla="*/ 461031 h 903022"/>
                <a:gd name="connsiteX292" fmla="*/ 307300 w 551389"/>
                <a:gd name="connsiteY292" fmla="*/ 463352 h 903022"/>
                <a:gd name="connsiteX293" fmla="*/ 309319 w 551389"/>
                <a:gd name="connsiteY293" fmla="*/ 466817 h 903022"/>
                <a:gd name="connsiteX294" fmla="*/ 308175 w 551389"/>
                <a:gd name="connsiteY294" fmla="*/ 468398 h 903022"/>
                <a:gd name="connsiteX295" fmla="*/ 305113 w 551389"/>
                <a:gd name="connsiteY295" fmla="*/ 468398 h 903022"/>
                <a:gd name="connsiteX296" fmla="*/ 302353 w 551389"/>
                <a:gd name="connsiteY296" fmla="*/ 471594 h 903022"/>
                <a:gd name="connsiteX297" fmla="*/ 302487 w 551389"/>
                <a:gd name="connsiteY297" fmla="*/ 475059 h 903022"/>
                <a:gd name="connsiteX298" fmla="*/ 301040 w 551389"/>
                <a:gd name="connsiteY298" fmla="*/ 480139 h 903022"/>
                <a:gd name="connsiteX299" fmla="*/ 302218 w 551389"/>
                <a:gd name="connsiteY299" fmla="*/ 483771 h 903022"/>
                <a:gd name="connsiteX300" fmla="*/ 303531 w 551389"/>
                <a:gd name="connsiteY300" fmla="*/ 488851 h 903022"/>
                <a:gd name="connsiteX301" fmla="*/ 301209 w 551389"/>
                <a:gd name="connsiteY301" fmla="*/ 492181 h 903022"/>
                <a:gd name="connsiteX302" fmla="*/ 294242 w 551389"/>
                <a:gd name="connsiteY302" fmla="*/ 492181 h 903022"/>
                <a:gd name="connsiteX303" fmla="*/ 289901 w 551389"/>
                <a:gd name="connsiteY303" fmla="*/ 490163 h 903022"/>
                <a:gd name="connsiteX304" fmla="*/ 287141 w 551389"/>
                <a:gd name="connsiteY304" fmla="*/ 490735 h 903022"/>
                <a:gd name="connsiteX305" fmla="*/ 282497 w 551389"/>
                <a:gd name="connsiteY305" fmla="*/ 492383 h 903022"/>
                <a:gd name="connsiteX306" fmla="*/ 277280 w 551389"/>
                <a:gd name="connsiteY306" fmla="*/ 491610 h 903022"/>
                <a:gd name="connsiteX307" fmla="*/ 273645 w 551389"/>
                <a:gd name="connsiteY307" fmla="*/ 488279 h 903022"/>
                <a:gd name="connsiteX308" fmla="*/ 270179 w 551389"/>
                <a:gd name="connsiteY308" fmla="*/ 487842 h 903022"/>
                <a:gd name="connsiteX309" fmla="*/ 264390 w 551389"/>
                <a:gd name="connsiteY309" fmla="*/ 486530 h 903022"/>
                <a:gd name="connsiteX310" fmla="*/ 261059 w 551389"/>
                <a:gd name="connsiteY310" fmla="*/ 489558 h 903022"/>
                <a:gd name="connsiteX311" fmla="*/ 259477 w 551389"/>
                <a:gd name="connsiteY311" fmla="*/ 492350 h 903022"/>
                <a:gd name="connsiteX312" fmla="*/ 255270 w 551389"/>
                <a:gd name="connsiteY312" fmla="*/ 493897 h 903022"/>
                <a:gd name="connsiteX313" fmla="*/ 251366 w 551389"/>
                <a:gd name="connsiteY313" fmla="*/ 495916 h 903022"/>
                <a:gd name="connsiteX314" fmla="*/ 248909 w 551389"/>
                <a:gd name="connsiteY314" fmla="*/ 497934 h 903022"/>
                <a:gd name="connsiteX315" fmla="*/ 245578 w 551389"/>
                <a:gd name="connsiteY315" fmla="*/ 496050 h 903022"/>
                <a:gd name="connsiteX316" fmla="*/ 241236 w 551389"/>
                <a:gd name="connsiteY316" fmla="*/ 493157 h 903022"/>
                <a:gd name="connsiteX317" fmla="*/ 233260 w 551389"/>
                <a:gd name="connsiteY317" fmla="*/ 491845 h 903022"/>
                <a:gd name="connsiteX318" fmla="*/ 229053 w 551389"/>
                <a:gd name="connsiteY318" fmla="*/ 488515 h 903022"/>
                <a:gd name="connsiteX319" fmla="*/ 224409 w 551389"/>
                <a:gd name="connsiteY319" fmla="*/ 485184 h 903022"/>
                <a:gd name="connsiteX320" fmla="*/ 222221 w 551389"/>
                <a:gd name="connsiteY320" fmla="*/ 486496 h 903022"/>
                <a:gd name="connsiteX321" fmla="*/ 222356 w 551389"/>
                <a:gd name="connsiteY321" fmla="*/ 489961 h 903022"/>
                <a:gd name="connsiteX322" fmla="*/ 224106 w 551389"/>
                <a:gd name="connsiteY322" fmla="*/ 493594 h 903022"/>
                <a:gd name="connsiteX323" fmla="*/ 224409 w 551389"/>
                <a:gd name="connsiteY323" fmla="*/ 497934 h 903022"/>
                <a:gd name="connsiteX324" fmla="*/ 223837 w 551389"/>
                <a:gd name="connsiteY324" fmla="*/ 500255 h 903022"/>
                <a:gd name="connsiteX325" fmla="*/ 219765 w 551389"/>
                <a:gd name="connsiteY325" fmla="*/ 499111 h 903022"/>
                <a:gd name="connsiteX326" fmla="*/ 215692 w 551389"/>
                <a:gd name="connsiteY326" fmla="*/ 497362 h 903022"/>
                <a:gd name="connsiteX327" fmla="*/ 215558 w 551389"/>
                <a:gd name="connsiteY327" fmla="*/ 501701 h 903022"/>
                <a:gd name="connsiteX328" fmla="*/ 217308 w 551389"/>
                <a:gd name="connsiteY328" fmla="*/ 505906 h 903022"/>
                <a:gd name="connsiteX329" fmla="*/ 221817 w 551389"/>
                <a:gd name="connsiteY329" fmla="*/ 509809 h 903022"/>
                <a:gd name="connsiteX330" fmla="*/ 224409 w 551389"/>
                <a:gd name="connsiteY330" fmla="*/ 511255 h 903022"/>
                <a:gd name="connsiteX331" fmla="*/ 226563 w 551389"/>
                <a:gd name="connsiteY331" fmla="*/ 513442 h 903022"/>
                <a:gd name="connsiteX332" fmla="*/ 228313 w 551389"/>
                <a:gd name="connsiteY332" fmla="*/ 517209 h 903022"/>
                <a:gd name="connsiteX333" fmla="*/ 231342 w 551389"/>
                <a:gd name="connsiteY333" fmla="*/ 519665 h 903022"/>
                <a:gd name="connsiteX334" fmla="*/ 236558 w 551389"/>
                <a:gd name="connsiteY334" fmla="*/ 518084 h 903022"/>
                <a:gd name="connsiteX335" fmla="*/ 238005 w 551389"/>
                <a:gd name="connsiteY335" fmla="*/ 514619 h 903022"/>
                <a:gd name="connsiteX336" fmla="*/ 243053 w 551389"/>
                <a:gd name="connsiteY336" fmla="*/ 519699 h 903022"/>
                <a:gd name="connsiteX337" fmla="*/ 242784 w 551389"/>
                <a:gd name="connsiteY337" fmla="*/ 521583 h 903022"/>
                <a:gd name="connsiteX338" fmla="*/ 240597 w 551389"/>
                <a:gd name="connsiteY338" fmla="*/ 522592 h 903022"/>
                <a:gd name="connsiteX339" fmla="*/ 236525 w 551389"/>
                <a:gd name="connsiteY339" fmla="*/ 524778 h 903022"/>
                <a:gd name="connsiteX340" fmla="*/ 231443 w 551389"/>
                <a:gd name="connsiteY340" fmla="*/ 525788 h 903022"/>
                <a:gd name="connsiteX341" fmla="*/ 227101 w 551389"/>
                <a:gd name="connsiteY341" fmla="*/ 527234 h 903022"/>
                <a:gd name="connsiteX342" fmla="*/ 223029 w 551389"/>
                <a:gd name="connsiteY342" fmla="*/ 527234 h 903022"/>
                <a:gd name="connsiteX343" fmla="*/ 219832 w 551389"/>
                <a:gd name="connsiteY343" fmla="*/ 529555 h 903022"/>
                <a:gd name="connsiteX344" fmla="*/ 216130 w 551389"/>
                <a:gd name="connsiteY344" fmla="*/ 531136 h 903022"/>
                <a:gd name="connsiteX345" fmla="*/ 213740 w 551389"/>
                <a:gd name="connsiteY345" fmla="*/ 528815 h 903022"/>
                <a:gd name="connsiteX346" fmla="*/ 213740 w 551389"/>
                <a:gd name="connsiteY346" fmla="*/ 526629 h 903022"/>
                <a:gd name="connsiteX347" fmla="*/ 210409 w 551389"/>
                <a:gd name="connsiteY347" fmla="*/ 524610 h 903022"/>
                <a:gd name="connsiteX348" fmla="*/ 207380 w 551389"/>
                <a:gd name="connsiteY348" fmla="*/ 524913 h 903022"/>
                <a:gd name="connsiteX349" fmla="*/ 207110 w 551389"/>
                <a:gd name="connsiteY349" fmla="*/ 528681 h 903022"/>
                <a:gd name="connsiteX350" fmla="*/ 206235 w 551389"/>
                <a:gd name="connsiteY350" fmla="*/ 531708 h 903022"/>
                <a:gd name="connsiteX351" fmla="*/ 203038 w 551389"/>
                <a:gd name="connsiteY351" fmla="*/ 534466 h 903022"/>
                <a:gd name="connsiteX352" fmla="*/ 197519 w 551389"/>
                <a:gd name="connsiteY352" fmla="*/ 534466 h 903022"/>
                <a:gd name="connsiteX353" fmla="*/ 193480 w 551389"/>
                <a:gd name="connsiteY353" fmla="*/ 535207 h 903022"/>
                <a:gd name="connsiteX354" fmla="*/ 187692 w 551389"/>
                <a:gd name="connsiteY354" fmla="*/ 531573 h 903022"/>
                <a:gd name="connsiteX355" fmla="*/ 185067 w 551389"/>
                <a:gd name="connsiteY355" fmla="*/ 529118 h 903022"/>
                <a:gd name="connsiteX356" fmla="*/ 181432 w 551389"/>
                <a:gd name="connsiteY356" fmla="*/ 529824 h 903022"/>
                <a:gd name="connsiteX357" fmla="*/ 180422 w 551389"/>
                <a:gd name="connsiteY357" fmla="*/ 535173 h 903022"/>
                <a:gd name="connsiteX358" fmla="*/ 179413 w 551389"/>
                <a:gd name="connsiteY358" fmla="*/ 537931 h 903022"/>
                <a:gd name="connsiteX359" fmla="*/ 175509 w 551389"/>
                <a:gd name="connsiteY359" fmla="*/ 537057 h 903022"/>
                <a:gd name="connsiteX360" fmla="*/ 170158 w 551389"/>
                <a:gd name="connsiteY360" fmla="*/ 533424 h 903022"/>
                <a:gd name="connsiteX361" fmla="*/ 165951 w 551389"/>
                <a:gd name="connsiteY361" fmla="*/ 528344 h 903022"/>
                <a:gd name="connsiteX362" fmla="*/ 164066 w 551389"/>
                <a:gd name="connsiteY362" fmla="*/ 524005 h 903022"/>
                <a:gd name="connsiteX363" fmla="*/ 167398 w 551389"/>
                <a:gd name="connsiteY363" fmla="*/ 521549 h 903022"/>
                <a:gd name="connsiteX364" fmla="*/ 163494 w 551389"/>
                <a:gd name="connsiteY364" fmla="*/ 517916 h 903022"/>
                <a:gd name="connsiteX365" fmla="*/ 158143 w 551389"/>
                <a:gd name="connsiteY365" fmla="*/ 515292 h 903022"/>
                <a:gd name="connsiteX366" fmla="*/ 154374 w 551389"/>
                <a:gd name="connsiteY366" fmla="*/ 511087 h 903022"/>
                <a:gd name="connsiteX367" fmla="*/ 147272 w 551389"/>
                <a:gd name="connsiteY367" fmla="*/ 510650 h 903022"/>
                <a:gd name="connsiteX368" fmla="*/ 139868 w 551389"/>
                <a:gd name="connsiteY368" fmla="*/ 510952 h 903022"/>
                <a:gd name="connsiteX369" fmla="*/ 137277 w 551389"/>
                <a:gd name="connsiteY369" fmla="*/ 513139 h 903022"/>
                <a:gd name="connsiteX370" fmla="*/ 133508 w 551389"/>
                <a:gd name="connsiteY370" fmla="*/ 514451 h 903022"/>
                <a:gd name="connsiteX371" fmla="*/ 127551 w 551389"/>
                <a:gd name="connsiteY371" fmla="*/ 512130 h 903022"/>
                <a:gd name="connsiteX372" fmla="*/ 121628 w 551389"/>
                <a:gd name="connsiteY372" fmla="*/ 513576 h 903022"/>
                <a:gd name="connsiteX373" fmla="*/ 112339 w 551389"/>
                <a:gd name="connsiteY373" fmla="*/ 513711 h 903022"/>
                <a:gd name="connsiteX374" fmla="*/ 111262 w 551389"/>
                <a:gd name="connsiteY374" fmla="*/ 515897 h 903022"/>
                <a:gd name="connsiteX375" fmla="*/ 109445 w 551389"/>
                <a:gd name="connsiteY375" fmla="*/ 521246 h 903022"/>
                <a:gd name="connsiteX376" fmla="*/ 109445 w 551389"/>
                <a:gd name="connsiteY376" fmla="*/ 524879 h 903022"/>
                <a:gd name="connsiteX377" fmla="*/ 110185 w 551389"/>
                <a:gd name="connsiteY377" fmla="*/ 530531 h 903022"/>
                <a:gd name="connsiteX378" fmla="*/ 111498 w 551389"/>
                <a:gd name="connsiteY378" fmla="*/ 532549 h 903022"/>
                <a:gd name="connsiteX379" fmla="*/ 114695 w 551389"/>
                <a:gd name="connsiteY379" fmla="*/ 536619 h 903022"/>
                <a:gd name="connsiteX380" fmla="*/ 115873 w 551389"/>
                <a:gd name="connsiteY380" fmla="*/ 537931 h 903022"/>
                <a:gd name="connsiteX381" fmla="*/ 116445 w 551389"/>
                <a:gd name="connsiteY381" fmla="*/ 540555 h 903022"/>
                <a:gd name="connsiteX382" fmla="*/ 116580 w 551389"/>
                <a:gd name="connsiteY382" fmla="*/ 542136 h 903022"/>
                <a:gd name="connsiteX383" fmla="*/ 116142 w 551389"/>
                <a:gd name="connsiteY383" fmla="*/ 544895 h 903022"/>
                <a:gd name="connsiteX384" fmla="*/ 116007 w 551389"/>
                <a:gd name="connsiteY384" fmla="*/ 546476 h 903022"/>
                <a:gd name="connsiteX385" fmla="*/ 115132 w 551389"/>
                <a:gd name="connsiteY385" fmla="*/ 547620 h 903022"/>
                <a:gd name="connsiteX386" fmla="*/ 112676 w 551389"/>
                <a:gd name="connsiteY386" fmla="*/ 548360 h 903022"/>
                <a:gd name="connsiteX387" fmla="*/ 109478 w 551389"/>
                <a:gd name="connsiteY387" fmla="*/ 548360 h 903022"/>
                <a:gd name="connsiteX388" fmla="*/ 106887 w 551389"/>
                <a:gd name="connsiteY388" fmla="*/ 548360 h 903022"/>
                <a:gd name="connsiteX389" fmla="*/ 104430 w 551389"/>
                <a:gd name="connsiteY389" fmla="*/ 549806 h 903022"/>
                <a:gd name="connsiteX390" fmla="*/ 102983 w 551389"/>
                <a:gd name="connsiteY390" fmla="*/ 551387 h 903022"/>
                <a:gd name="connsiteX391" fmla="*/ 102243 w 551389"/>
                <a:gd name="connsiteY391" fmla="*/ 552262 h 903022"/>
                <a:gd name="connsiteX392" fmla="*/ 100661 w 551389"/>
                <a:gd name="connsiteY392" fmla="*/ 554718 h 903022"/>
                <a:gd name="connsiteX393" fmla="*/ 99920 w 551389"/>
                <a:gd name="connsiteY393" fmla="*/ 556467 h 903022"/>
                <a:gd name="connsiteX394" fmla="*/ 98036 w 551389"/>
                <a:gd name="connsiteY394" fmla="*/ 559225 h 903022"/>
                <a:gd name="connsiteX395" fmla="*/ 97296 w 551389"/>
                <a:gd name="connsiteY395" fmla="*/ 562421 h 903022"/>
                <a:gd name="connsiteX396" fmla="*/ 97296 w 551389"/>
                <a:gd name="connsiteY396" fmla="*/ 564877 h 903022"/>
                <a:gd name="connsiteX397" fmla="*/ 97296 w 551389"/>
                <a:gd name="connsiteY397" fmla="*/ 568342 h 903022"/>
                <a:gd name="connsiteX398" fmla="*/ 96420 w 551389"/>
                <a:gd name="connsiteY398" fmla="*/ 571235 h 903022"/>
                <a:gd name="connsiteX399" fmla="*/ 97161 w 551389"/>
                <a:gd name="connsiteY399" fmla="*/ 574430 h 903022"/>
                <a:gd name="connsiteX400" fmla="*/ 99483 w 551389"/>
                <a:gd name="connsiteY400" fmla="*/ 576617 h 903022"/>
                <a:gd name="connsiteX401" fmla="*/ 101671 w 551389"/>
                <a:gd name="connsiteY401" fmla="*/ 576617 h 903022"/>
                <a:gd name="connsiteX402" fmla="*/ 103690 w 551389"/>
                <a:gd name="connsiteY402" fmla="*/ 575305 h 903022"/>
                <a:gd name="connsiteX403" fmla="*/ 106887 w 551389"/>
                <a:gd name="connsiteY403" fmla="*/ 576684 h 903022"/>
                <a:gd name="connsiteX404" fmla="*/ 109781 w 551389"/>
                <a:gd name="connsiteY404" fmla="*/ 579073 h 903022"/>
                <a:gd name="connsiteX405" fmla="*/ 113551 w 551389"/>
                <a:gd name="connsiteY405" fmla="*/ 580822 h 903022"/>
                <a:gd name="connsiteX406" fmla="*/ 116310 w 551389"/>
                <a:gd name="connsiteY406" fmla="*/ 582403 h 903022"/>
                <a:gd name="connsiteX407" fmla="*/ 118330 w 551389"/>
                <a:gd name="connsiteY407" fmla="*/ 587045 h 903022"/>
                <a:gd name="connsiteX408" fmla="*/ 122099 w 551389"/>
                <a:gd name="connsiteY408" fmla="*/ 591822 h 903022"/>
                <a:gd name="connsiteX409" fmla="*/ 124286 w 551389"/>
                <a:gd name="connsiteY409" fmla="*/ 593269 h 903022"/>
                <a:gd name="connsiteX410" fmla="*/ 126036 w 551389"/>
                <a:gd name="connsiteY410" fmla="*/ 595186 h 903022"/>
                <a:gd name="connsiteX411" fmla="*/ 128964 w 551389"/>
                <a:gd name="connsiteY411" fmla="*/ 597675 h 903022"/>
                <a:gd name="connsiteX412" fmla="*/ 128729 w 551389"/>
                <a:gd name="connsiteY412" fmla="*/ 600703 h 903022"/>
                <a:gd name="connsiteX413" fmla="*/ 127753 w 551389"/>
                <a:gd name="connsiteY413" fmla="*/ 602822 h 903022"/>
                <a:gd name="connsiteX414" fmla="*/ 125565 w 551389"/>
                <a:gd name="connsiteY414" fmla="*/ 603966 h 903022"/>
                <a:gd name="connsiteX415" fmla="*/ 122536 w 551389"/>
                <a:gd name="connsiteY415" fmla="*/ 603966 h 903022"/>
                <a:gd name="connsiteX416" fmla="*/ 117320 w 551389"/>
                <a:gd name="connsiteY416" fmla="*/ 603966 h 903022"/>
                <a:gd name="connsiteX417" fmla="*/ 115368 w 551389"/>
                <a:gd name="connsiteY417" fmla="*/ 605043 h 903022"/>
                <a:gd name="connsiteX418" fmla="*/ 112103 w 551389"/>
                <a:gd name="connsiteY418" fmla="*/ 606556 h 903022"/>
                <a:gd name="connsiteX419" fmla="*/ 110690 w 551389"/>
                <a:gd name="connsiteY419" fmla="*/ 607633 h 903022"/>
                <a:gd name="connsiteX420" fmla="*/ 107762 w 551389"/>
                <a:gd name="connsiteY420" fmla="*/ 609247 h 903022"/>
                <a:gd name="connsiteX421" fmla="*/ 107762 w 551389"/>
                <a:gd name="connsiteY421" fmla="*/ 611737 h 903022"/>
                <a:gd name="connsiteX422" fmla="*/ 109613 w 551389"/>
                <a:gd name="connsiteY422" fmla="*/ 612376 h 903022"/>
                <a:gd name="connsiteX423" fmla="*/ 114055 w 551389"/>
                <a:gd name="connsiteY423" fmla="*/ 613452 h 903022"/>
                <a:gd name="connsiteX424" fmla="*/ 117656 w 551389"/>
                <a:gd name="connsiteY424" fmla="*/ 615067 h 903022"/>
                <a:gd name="connsiteX425" fmla="*/ 119507 w 551389"/>
                <a:gd name="connsiteY425" fmla="*/ 616480 h 903022"/>
                <a:gd name="connsiteX426" fmla="*/ 120820 w 551389"/>
                <a:gd name="connsiteY426" fmla="*/ 618969 h 903022"/>
                <a:gd name="connsiteX427" fmla="*/ 120181 w 551389"/>
                <a:gd name="connsiteY427" fmla="*/ 621257 h 903022"/>
                <a:gd name="connsiteX428" fmla="*/ 116277 w 551389"/>
                <a:gd name="connsiteY428" fmla="*/ 622031 h 903022"/>
                <a:gd name="connsiteX429" fmla="*/ 112373 w 551389"/>
                <a:gd name="connsiteY429" fmla="*/ 622031 h 903022"/>
                <a:gd name="connsiteX430" fmla="*/ 110522 w 551389"/>
                <a:gd name="connsiteY430" fmla="*/ 623443 h 903022"/>
                <a:gd name="connsiteX431" fmla="*/ 109108 w 551389"/>
                <a:gd name="connsiteY431" fmla="*/ 625394 h 903022"/>
                <a:gd name="connsiteX432" fmla="*/ 106079 w 551389"/>
                <a:gd name="connsiteY432" fmla="*/ 628994 h 903022"/>
                <a:gd name="connsiteX433" fmla="*/ 103791 w 551389"/>
                <a:gd name="connsiteY433" fmla="*/ 631618 h 903022"/>
                <a:gd name="connsiteX434" fmla="*/ 101300 w 551389"/>
                <a:gd name="connsiteY434" fmla="*/ 633670 h 903022"/>
                <a:gd name="connsiteX435" fmla="*/ 100863 w 551389"/>
                <a:gd name="connsiteY435" fmla="*/ 637706 h 903022"/>
                <a:gd name="connsiteX436" fmla="*/ 100863 w 551389"/>
                <a:gd name="connsiteY436" fmla="*/ 642921 h 903022"/>
                <a:gd name="connsiteX437" fmla="*/ 102815 w 551389"/>
                <a:gd name="connsiteY437" fmla="*/ 648909 h 903022"/>
                <a:gd name="connsiteX438" fmla="*/ 104868 w 551389"/>
                <a:gd name="connsiteY438" fmla="*/ 651734 h 903022"/>
                <a:gd name="connsiteX439" fmla="*/ 105945 w 551389"/>
                <a:gd name="connsiteY439" fmla="*/ 652609 h 903022"/>
                <a:gd name="connsiteX440" fmla="*/ 106820 w 551389"/>
                <a:gd name="connsiteY440" fmla="*/ 655098 h 903022"/>
                <a:gd name="connsiteX441" fmla="*/ 106046 w 551389"/>
                <a:gd name="connsiteY441" fmla="*/ 658899 h 903022"/>
                <a:gd name="connsiteX442" fmla="*/ 106046 w 551389"/>
                <a:gd name="connsiteY442" fmla="*/ 662163 h 903022"/>
                <a:gd name="connsiteX443" fmla="*/ 106921 w 551389"/>
                <a:gd name="connsiteY443" fmla="*/ 664988 h 903022"/>
                <a:gd name="connsiteX444" fmla="*/ 108772 w 551389"/>
                <a:gd name="connsiteY444" fmla="*/ 666300 h 903022"/>
                <a:gd name="connsiteX445" fmla="*/ 108435 w 551389"/>
                <a:gd name="connsiteY445" fmla="*/ 667713 h 903022"/>
                <a:gd name="connsiteX446" fmla="*/ 106382 w 551389"/>
                <a:gd name="connsiteY446" fmla="*/ 671952 h 903022"/>
                <a:gd name="connsiteX447" fmla="*/ 109310 w 551389"/>
                <a:gd name="connsiteY447" fmla="*/ 673465 h 903022"/>
                <a:gd name="connsiteX448" fmla="*/ 114089 w 551389"/>
                <a:gd name="connsiteY448" fmla="*/ 673028 h 903022"/>
                <a:gd name="connsiteX449" fmla="*/ 116378 w 551389"/>
                <a:gd name="connsiteY449" fmla="*/ 675316 h 903022"/>
                <a:gd name="connsiteX450" fmla="*/ 117017 w 551389"/>
                <a:gd name="connsiteY450" fmla="*/ 679655 h 903022"/>
                <a:gd name="connsiteX451" fmla="*/ 115806 w 551389"/>
                <a:gd name="connsiteY451" fmla="*/ 683995 h 903022"/>
                <a:gd name="connsiteX452" fmla="*/ 113854 w 551389"/>
                <a:gd name="connsiteY452" fmla="*/ 687258 h 903022"/>
                <a:gd name="connsiteX453" fmla="*/ 112204 w 551389"/>
                <a:gd name="connsiteY453" fmla="*/ 689444 h 903022"/>
                <a:gd name="connsiteX454" fmla="*/ 111430 w 551389"/>
                <a:gd name="connsiteY454" fmla="*/ 690083 h 903022"/>
                <a:gd name="connsiteX455" fmla="*/ 108839 w 551389"/>
                <a:gd name="connsiteY455" fmla="*/ 691160 h 903022"/>
                <a:gd name="connsiteX456" fmla="*/ 105474 w 551389"/>
                <a:gd name="connsiteY456" fmla="*/ 689848 h 903022"/>
                <a:gd name="connsiteX457" fmla="*/ 103421 w 551389"/>
                <a:gd name="connsiteY457" fmla="*/ 687460 h 903022"/>
                <a:gd name="connsiteX458" fmla="*/ 102546 w 551389"/>
                <a:gd name="connsiteY458" fmla="*/ 686686 h 903022"/>
                <a:gd name="connsiteX459" fmla="*/ 102007 w 551389"/>
                <a:gd name="connsiteY459" fmla="*/ 683759 h 903022"/>
                <a:gd name="connsiteX460" fmla="*/ 101805 w 551389"/>
                <a:gd name="connsiteY460" fmla="*/ 681270 h 903022"/>
                <a:gd name="connsiteX461" fmla="*/ 101570 w 551389"/>
                <a:gd name="connsiteY461" fmla="*/ 680193 h 903022"/>
                <a:gd name="connsiteX462" fmla="*/ 101031 w 551389"/>
                <a:gd name="connsiteY462" fmla="*/ 677704 h 903022"/>
                <a:gd name="connsiteX463" fmla="*/ 98843 w 551389"/>
                <a:gd name="connsiteY463" fmla="*/ 676729 h 903022"/>
                <a:gd name="connsiteX464" fmla="*/ 96993 w 551389"/>
                <a:gd name="connsiteY464" fmla="*/ 678141 h 903022"/>
                <a:gd name="connsiteX465" fmla="*/ 95243 w 551389"/>
                <a:gd name="connsiteY465" fmla="*/ 680193 h 903022"/>
                <a:gd name="connsiteX466" fmla="*/ 93627 w 551389"/>
                <a:gd name="connsiteY466" fmla="*/ 682044 h 903022"/>
                <a:gd name="connsiteX467" fmla="*/ 91137 w 551389"/>
                <a:gd name="connsiteY467" fmla="*/ 682683 h 903022"/>
                <a:gd name="connsiteX468" fmla="*/ 89050 w 551389"/>
                <a:gd name="connsiteY468" fmla="*/ 681808 h 903022"/>
                <a:gd name="connsiteX469" fmla="*/ 86122 w 551389"/>
                <a:gd name="connsiteY469" fmla="*/ 681169 h 903022"/>
                <a:gd name="connsiteX470" fmla="*/ 83632 w 551389"/>
                <a:gd name="connsiteY470" fmla="*/ 681505 h 903022"/>
                <a:gd name="connsiteX471" fmla="*/ 81007 w 551389"/>
                <a:gd name="connsiteY471" fmla="*/ 683154 h 903022"/>
                <a:gd name="connsiteX472" fmla="*/ 80031 w 551389"/>
                <a:gd name="connsiteY472" fmla="*/ 684230 h 903022"/>
                <a:gd name="connsiteX473" fmla="*/ 75151 w 551389"/>
                <a:gd name="connsiteY473" fmla="*/ 682178 h 903022"/>
                <a:gd name="connsiteX474" fmla="*/ 73098 w 551389"/>
                <a:gd name="connsiteY474" fmla="*/ 679790 h 903022"/>
                <a:gd name="connsiteX475" fmla="*/ 70910 w 551389"/>
                <a:gd name="connsiteY475" fmla="*/ 677940 h 903022"/>
                <a:gd name="connsiteX476" fmla="*/ 69059 w 551389"/>
                <a:gd name="connsiteY476" fmla="*/ 675450 h 903022"/>
                <a:gd name="connsiteX477" fmla="*/ 65155 w 551389"/>
                <a:gd name="connsiteY477" fmla="*/ 675248 h 903022"/>
                <a:gd name="connsiteX478" fmla="*/ 63641 w 551389"/>
                <a:gd name="connsiteY478" fmla="*/ 676560 h 903022"/>
                <a:gd name="connsiteX479" fmla="*/ 61352 w 551389"/>
                <a:gd name="connsiteY479" fmla="*/ 679050 h 903022"/>
                <a:gd name="connsiteX480" fmla="*/ 59400 w 551389"/>
                <a:gd name="connsiteY480" fmla="*/ 681102 h 903022"/>
                <a:gd name="connsiteX481" fmla="*/ 56237 w 551389"/>
                <a:gd name="connsiteY481" fmla="*/ 682716 h 903022"/>
                <a:gd name="connsiteX482" fmla="*/ 51559 w 551389"/>
                <a:gd name="connsiteY482" fmla="*/ 684566 h 903022"/>
                <a:gd name="connsiteX483" fmla="*/ 50044 w 551389"/>
                <a:gd name="connsiteY483" fmla="*/ 686417 h 903022"/>
                <a:gd name="connsiteX484" fmla="*/ 48833 w 551389"/>
                <a:gd name="connsiteY484" fmla="*/ 689680 h 903022"/>
                <a:gd name="connsiteX485" fmla="*/ 47857 w 551389"/>
                <a:gd name="connsiteY485" fmla="*/ 693380 h 903022"/>
                <a:gd name="connsiteX486" fmla="*/ 46881 w 551389"/>
                <a:gd name="connsiteY486" fmla="*/ 697518 h 903022"/>
                <a:gd name="connsiteX487" fmla="*/ 46881 w 551389"/>
                <a:gd name="connsiteY487" fmla="*/ 702160 h 903022"/>
                <a:gd name="connsiteX488" fmla="*/ 43717 w 551389"/>
                <a:gd name="connsiteY488" fmla="*/ 703035 h 903022"/>
                <a:gd name="connsiteX489" fmla="*/ 38164 w 551389"/>
                <a:gd name="connsiteY489" fmla="*/ 705322 h 903022"/>
                <a:gd name="connsiteX490" fmla="*/ 35775 w 551389"/>
                <a:gd name="connsiteY490" fmla="*/ 706399 h 903022"/>
                <a:gd name="connsiteX491" fmla="*/ 35236 w 551389"/>
                <a:gd name="connsiteY491" fmla="*/ 709124 h 903022"/>
                <a:gd name="connsiteX492" fmla="*/ 35236 w 551389"/>
                <a:gd name="connsiteY492" fmla="*/ 712488 h 903022"/>
                <a:gd name="connsiteX493" fmla="*/ 36010 w 551389"/>
                <a:gd name="connsiteY493" fmla="*/ 715111 h 903022"/>
                <a:gd name="connsiteX494" fmla="*/ 40352 w 551389"/>
                <a:gd name="connsiteY494" fmla="*/ 717062 h 903022"/>
                <a:gd name="connsiteX495" fmla="*/ 42539 w 551389"/>
                <a:gd name="connsiteY495" fmla="*/ 717601 h 903022"/>
                <a:gd name="connsiteX496" fmla="*/ 46443 w 551389"/>
                <a:gd name="connsiteY496" fmla="*/ 717601 h 903022"/>
                <a:gd name="connsiteX497" fmla="*/ 49809 w 551389"/>
                <a:gd name="connsiteY497" fmla="*/ 719787 h 903022"/>
                <a:gd name="connsiteX498" fmla="*/ 52535 w 551389"/>
                <a:gd name="connsiteY498" fmla="*/ 720931 h 903022"/>
                <a:gd name="connsiteX499" fmla="*/ 53174 w 551389"/>
                <a:gd name="connsiteY499" fmla="*/ 722176 h 903022"/>
                <a:gd name="connsiteX500" fmla="*/ 54722 w 551389"/>
                <a:gd name="connsiteY500" fmla="*/ 722176 h 903022"/>
                <a:gd name="connsiteX501" fmla="*/ 57448 w 551389"/>
                <a:gd name="connsiteY501" fmla="*/ 721301 h 903022"/>
                <a:gd name="connsiteX502" fmla="*/ 58761 w 551389"/>
                <a:gd name="connsiteY502" fmla="*/ 721301 h 903022"/>
                <a:gd name="connsiteX503" fmla="*/ 62564 w 551389"/>
                <a:gd name="connsiteY503" fmla="*/ 722176 h 903022"/>
                <a:gd name="connsiteX504" fmla="*/ 64314 w 551389"/>
                <a:gd name="connsiteY504" fmla="*/ 725237 h 903022"/>
                <a:gd name="connsiteX505" fmla="*/ 63775 w 551389"/>
                <a:gd name="connsiteY505" fmla="*/ 727188 h 903022"/>
                <a:gd name="connsiteX506" fmla="*/ 60949 w 551389"/>
                <a:gd name="connsiteY506" fmla="*/ 727726 h 903022"/>
                <a:gd name="connsiteX507" fmla="*/ 58896 w 551389"/>
                <a:gd name="connsiteY507" fmla="*/ 727087 h 903022"/>
                <a:gd name="connsiteX508" fmla="*/ 56708 w 551389"/>
                <a:gd name="connsiteY508" fmla="*/ 727087 h 903022"/>
                <a:gd name="connsiteX509" fmla="*/ 53982 w 551389"/>
                <a:gd name="connsiteY509" fmla="*/ 728500 h 903022"/>
                <a:gd name="connsiteX510" fmla="*/ 52804 w 551389"/>
                <a:gd name="connsiteY510" fmla="*/ 729576 h 903022"/>
                <a:gd name="connsiteX511" fmla="*/ 52367 w 551389"/>
                <a:gd name="connsiteY511" fmla="*/ 732503 h 903022"/>
                <a:gd name="connsiteX512" fmla="*/ 52266 w 551389"/>
                <a:gd name="connsiteY512" fmla="*/ 736102 h 903022"/>
                <a:gd name="connsiteX513" fmla="*/ 52905 w 551389"/>
                <a:gd name="connsiteY513" fmla="*/ 742191 h 903022"/>
                <a:gd name="connsiteX514" fmla="*/ 52468 w 551389"/>
                <a:gd name="connsiteY514" fmla="*/ 743806 h 903022"/>
                <a:gd name="connsiteX515" fmla="*/ 51694 w 551389"/>
                <a:gd name="connsiteY515" fmla="*/ 747271 h 903022"/>
                <a:gd name="connsiteX516" fmla="*/ 51256 w 551389"/>
                <a:gd name="connsiteY516" fmla="*/ 748684 h 903022"/>
                <a:gd name="connsiteX517" fmla="*/ 44290 w 551389"/>
                <a:gd name="connsiteY517" fmla="*/ 753461 h 903022"/>
                <a:gd name="connsiteX518" fmla="*/ 37323 w 551389"/>
                <a:gd name="connsiteY518" fmla="*/ 754537 h 903022"/>
                <a:gd name="connsiteX519" fmla="*/ 31905 w 551389"/>
                <a:gd name="connsiteY519" fmla="*/ 758877 h 903022"/>
                <a:gd name="connsiteX520" fmla="*/ 26688 w 551389"/>
                <a:gd name="connsiteY520" fmla="*/ 761063 h 903022"/>
                <a:gd name="connsiteX521" fmla="*/ 19957 w 551389"/>
                <a:gd name="connsiteY521" fmla="*/ 756724 h 903022"/>
                <a:gd name="connsiteX522" fmla="*/ 13226 w 551389"/>
                <a:gd name="connsiteY522" fmla="*/ 759112 h 903022"/>
                <a:gd name="connsiteX523" fmla="*/ 11476 w 551389"/>
                <a:gd name="connsiteY523" fmla="*/ 756084 h 903022"/>
                <a:gd name="connsiteX524" fmla="*/ 8010 w 551389"/>
                <a:gd name="connsiteY524" fmla="*/ 755210 h 903022"/>
                <a:gd name="connsiteX525" fmla="*/ 2591 w 551389"/>
                <a:gd name="connsiteY525" fmla="*/ 755210 h 903022"/>
                <a:gd name="connsiteX526" fmla="*/ 0 w 551389"/>
                <a:gd name="connsiteY526" fmla="*/ 758473 h 903022"/>
                <a:gd name="connsiteX527" fmla="*/ 0 w 551389"/>
                <a:gd name="connsiteY527" fmla="*/ 763014 h 903022"/>
                <a:gd name="connsiteX528" fmla="*/ 0 w 551389"/>
                <a:gd name="connsiteY528" fmla="*/ 766479 h 903022"/>
                <a:gd name="connsiteX529" fmla="*/ 0 w 551389"/>
                <a:gd name="connsiteY529" fmla="*/ 769944 h 903022"/>
                <a:gd name="connsiteX530" fmla="*/ 2188 w 551389"/>
                <a:gd name="connsiteY530" fmla="*/ 772568 h 903022"/>
                <a:gd name="connsiteX531" fmla="*/ 7842 w 551389"/>
                <a:gd name="connsiteY531" fmla="*/ 772568 h 903022"/>
                <a:gd name="connsiteX532" fmla="*/ 10904 w 551389"/>
                <a:gd name="connsiteY532" fmla="*/ 775393 h 903022"/>
                <a:gd name="connsiteX533" fmla="*/ 14371 w 551389"/>
                <a:gd name="connsiteY533" fmla="*/ 779531 h 903022"/>
                <a:gd name="connsiteX534" fmla="*/ 18510 w 551389"/>
                <a:gd name="connsiteY534" fmla="*/ 779531 h 903022"/>
                <a:gd name="connsiteX535" fmla="*/ 23525 w 551389"/>
                <a:gd name="connsiteY535" fmla="*/ 779531 h 903022"/>
                <a:gd name="connsiteX536" fmla="*/ 28102 w 551389"/>
                <a:gd name="connsiteY536" fmla="*/ 778455 h 903022"/>
                <a:gd name="connsiteX537" fmla="*/ 33116 w 551389"/>
                <a:gd name="connsiteY537" fmla="*/ 775629 h 903022"/>
                <a:gd name="connsiteX538" fmla="*/ 36818 w 551389"/>
                <a:gd name="connsiteY538" fmla="*/ 773443 h 903022"/>
                <a:gd name="connsiteX539" fmla="*/ 39006 w 551389"/>
                <a:gd name="connsiteY539" fmla="*/ 771054 h 903022"/>
                <a:gd name="connsiteX540" fmla="*/ 40756 w 551389"/>
                <a:gd name="connsiteY540" fmla="*/ 769103 h 903022"/>
                <a:gd name="connsiteX541" fmla="*/ 42506 w 551389"/>
                <a:gd name="connsiteY541" fmla="*/ 766715 h 903022"/>
                <a:gd name="connsiteX542" fmla="*/ 45770 w 551389"/>
                <a:gd name="connsiteY542" fmla="*/ 768464 h 903022"/>
                <a:gd name="connsiteX543" fmla="*/ 47722 w 551389"/>
                <a:gd name="connsiteY543" fmla="*/ 768901 h 903022"/>
                <a:gd name="connsiteX544" fmla="*/ 50549 w 551389"/>
                <a:gd name="connsiteY544" fmla="*/ 767152 h 903022"/>
                <a:gd name="connsiteX545" fmla="*/ 57953 w 551389"/>
                <a:gd name="connsiteY545" fmla="*/ 765840 h 903022"/>
                <a:gd name="connsiteX546" fmla="*/ 60545 w 551389"/>
                <a:gd name="connsiteY546" fmla="*/ 766277 h 903022"/>
                <a:gd name="connsiteX547" fmla="*/ 67175 w 551389"/>
                <a:gd name="connsiteY547" fmla="*/ 766815 h 903022"/>
                <a:gd name="connsiteX548" fmla="*/ 68487 w 551389"/>
                <a:gd name="connsiteY548" fmla="*/ 768329 h 903022"/>
                <a:gd name="connsiteX549" fmla="*/ 69026 w 551389"/>
                <a:gd name="connsiteY549" fmla="*/ 771256 h 903022"/>
                <a:gd name="connsiteX550" fmla="*/ 68050 w 551389"/>
                <a:gd name="connsiteY550" fmla="*/ 772332 h 903022"/>
                <a:gd name="connsiteX551" fmla="*/ 65761 w 551389"/>
                <a:gd name="connsiteY551" fmla="*/ 773745 h 903022"/>
                <a:gd name="connsiteX552" fmla="*/ 64785 w 551389"/>
                <a:gd name="connsiteY552" fmla="*/ 775797 h 903022"/>
                <a:gd name="connsiteX553" fmla="*/ 64886 w 551389"/>
                <a:gd name="connsiteY553" fmla="*/ 778825 h 903022"/>
                <a:gd name="connsiteX554" fmla="*/ 66064 w 551389"/>
                <a:gd name="connsiteY554" fmla="*/ 779834 h 903022"/>
                <a:gd name="connsiteX555" fmla="*/ 69329 w 551389"/>
                <a:gd name="connsiteY555" fmla="*/ 781112 h 903022"/>
                <a:gd name="connsiteX556" fmla="*/ 73232 w 551389"/>
                <a:gd name="connsiteY556" fmla="*/ 782424 h 903022"/>
                <a:gd name="connsiteX557" fmla="*/ 76261 w 551389"/>
                <a:gd name="connsiteY557" fmla="*/ 783837 h 903022"/>
                <a:gd name="connsiteX558" fmla="*/ 78112 w 551389"/>
                <a:gd name="connsiteY558" fmla="*/ 785048 h 903022"/>
                <a:gd name="connsiteX559" fmla="*/ 82454 w 551389"/>
                <a:gd name="connsiteY559" fmla="*/ 787336 h 903022"/>
                <a:gd name="connsiteX560" fmla="*/ 85617 w 551389"/>
                <a:gd name="connsiteY560" fmla="*/ 788210 h 903022"/>
                <a:gd name="connsiteX561" fmla="*/ 88781 w 551389"/>
                <a:gd name="connsiteY561" fmla="*/ 788210 h 903022"/>
                <a:gd name="connsiteX562" fmla="*/ 92920 w 551389"/>
                <a:gd name="connsiteY562" fmla="*/ 791372 h 903022"/>
                <a:gd name="connsiteX563" fmla="*/ 94132 w 551389"/>
                <a:gd name="connsiteY563" fmla="*/ 793424 h 903022"/>
                <a:gd name="connsiteX564" fmla="*/ 96622 w 551389"/>
                <a:gd name="connsiteY564" fmla="*/ 793424 h 903022"/>
                <a:gd name="connsiteX565" fmla="*/ 97699 w 551389"/>
                <a:gd name="connsiteY565" fmla="*/ 792348 h 903022"/>
                <a:gd name="connsiteX566" fmla="*/ 100425 w 551389"/>
                <a:gd name="connsiteY566" fmla="*/ 791473 h 903022"/>
                <a:gd name="connsiteX567" fmla="*/ 102613 w 551389"/>
                <a:gd name="connsiteY567" fmla="*/ 789960 h 903022"/>
                <a:gd name="connsiteX568" fmla="*/ 104363 w 551389"/>
                <a:gd name="connsiteY568" fmla="*/ 789320 h 903022"/>
                <a:gd name="connsiteX569" fmla="*/ 105877 w 551389"/>
                <a:gd name="connsiteY569" fmla="*/ 787134 h 903022"/>
                <a:gd name="connsiteX570" fmla="*/ 108166 w 551389"/>
                <a:gd name="connsiteY570" fmla="*/ 785183 h 903022"/>
                <a:gd name="connsiteX571" fmla="*/ 111329 w 551389"/>
                <a:gd name="connsiteY571" fmla="*/ 784544 h 903022"/>
                <a:gd name="connsiteX572" fmla="*/ 113820 w 551389"/>
                <a:gd name="connsiteY572" fmla="*/ 784005 h 903022"/>
                <a:gd name="connsiteX573" fmla="*/ 115233 w 551389"/>
                <a:gd name="connsiteY573" fmla="*/ 783568 h 903022"/>
                <a:gd name="connsiteX574" fmla="*/ 117522 w 551389"/>
                <a:gd name="connsiteY574" fmla="*/ 781920 h 903022"/>
                <a:gd name="connsiteX575" fmla="*/ 120113 w 551389"/>
                <a:gd name="connsiteY575" fmla="*/ 780709 h 903022"/>
                <a:gd name="connsiteX576" fmla="*/ 122065 w 551389"/>
                <a:gd name="connsiteY576" fmla="*/ 779498 h 903022"/>
                <a:gd name="connsiteX577" fmla="*/ 124017 w 551389"/>
                <a:gd name="connsiteY577" fmla="*/ 780137 h 903022"/>
                <a:gd name="connsiteX578" fmla="*/ 127046 w 551389"/>
                <a:gd name="connsiteY578" fmla="*/ 781348 h 903022"/>
                <a:gd name="connsiteX579" fmla="*/ 128561 w 551389"/>
                <a:gd name="connsiteY579" fmla="*/ 784611 h 903022"/>
                <a:gd name="connsiteX580" fmla="*/ 129772 w 551389"/>
                <a:gd name="connsiteY580" fmla="*/ 785923 h 903022"/>
                <a:gd name="connsiteX581" fmla="*/ 132936 w 551389"/>
                <a:gd name="connsiteY581" fmla="*/ 786259 h 903022"/>
                <a:gd name="connsiteX582" fmla="*/ 135426 w 551389"/>
                <a:gd name="connsiteY582" fmla="*/ 786360 h 903022"/>
                <a:gd name="connsiteX583" fmla="*/ 139330 w 551389"/>
                <a:gd name="connsiteY583" fmla="*/ 787134 h 903022"/>
                <a:gd name="connsiteX584" fmla="*/ 142258 w 551389"/>
                <a:gd name="connsiteY584" fmla="*/ 787033 h 903022"/>
                <a:gd name="connsiteX585" fmla="*/ 144109 w 551389"/>
                <a:gd name="connsiteY585" fmla="*/ 786596 h 903022"/>
                <a:gd name="connsiteX586" fmla="*/ 146162 w 551389"/>
                <a:gd name="connsiteY586" fmla="*/ 786495 h 903022"/>
                <a:gd name="connsiteX587" fmla="*/ 147676 w 551389"/>
                <a:gd name="connsiteY587" fmla="*/ 786293 h 903022"/>
                <a:gd name="connsiteX588" fmla="*/ 149864 w 551389"/>
                <a:gd name="connsiteY588" fmla="*/ 785956 h 903022"/>
                <a:gd name="connsiteX589" fmla="*/ 151042 w 551389"/>
                <a:gd name="connsiteY589" fmla="*/ 784443 h 903022"/>
                <a:gd name="connsiteX590" fmla="*/ 154306 w 551389"/>
                <a:gd name="connsiteY590" fmla="*/ 783030 h 903022"/>
                <a:gd name="connsiteX591" fmla="*/ 157470 w 551389"/>
                <a:gd name="connsiteY591" fmla="*/ 783131 h 903022"/>
                <a:gd name="connsiteX592" fmla="*/ 159085 w 551389"/>
                <a:gd name="connsiteY592" fmla="*/ 784005 h 903022"/>
                <a:gd name="connsiteX593" fmla="*/ 160499 w 551389"/>
                <a:gd name="connsiteY593" fmla="*/ 786057 h 903022"/>
                <a:gd name="connsiteX594" fmla="*/ 159960 w 551389"/>
                <a:gd name="connsiteY594" fmla="*/ 789220 h 903022"/>
                <a:gd name="connsiteX595" fmla="*/ 158446 w 551389"/>
                <a:gd name="connsiteY595" fmla="*/ 790834 h 903022"/>
                <a:gd name="connsiteX596" fmla="*/ 158109 w 551389"/>
                <a:gd name="connsiteY596" fmla="*/ 794635 h 903022"/>
                <a:gd name="connsiteX597" fmla="*/ 156359 w 551389"/>
                <a:gd name="connsiteY597" fmla="*/ 796048 h 903022"/>
                <a:gd name="connsiteX598" fmla="*/ 155383 w 551389"/>
                <a:gd name="connsiteY598" fmla="*/ 798235 h 903022"/>
                <a:gd name="connsiteX599" fmla="*/ 154508 w 551389"/>
                <a:gd name="connsiteY599" fmla="*/ 800287 h 903022"/>
                <a:gd name="connsiteX600" fmla="*/ 154407 w 551389"/>
                <a:gd name="connsiteY600" fmla="*/ 803113 h 903022"/>
                <a:gd name="connsiteX601" fmla="*/ 156696 w 551389"/>
                <a:gd name="connsiteY601" fmla="*/ 806140 h 903022"/>
                <a:gd name="connsiteX602" fmla="*/ 158984 w 551389"/>
                <a:gd name="connsiteY602" fmla="*/ 807217 h 903022"/>
                <a:gd name="connsiteX603" fmla="*/ 164201 w 551389"/>
                <a:gd name="connsiteY603" fmla="*/ 809807 h 903022"/>
                <a:gd name="connsiteX604" fmla="*/ 164975 w 551389"/>
                <a:gd name="connsiteY604" fmla="*/ 811993 h 903022"/>
                <a:gd name="connsiteX605" fmla="*/ 165177 w 551389"/>
                <a:gd name="connsiteY605" fmla="*/ 815055 h 903022"/>
                <a:gd name="connsiteX606" fmla="*/ 167465 w 551389"/>
                <a:gd name="connsiteY606" fmla="*/ 817107 h 903022"/>
                <a:gd name="connsiteX607" fmla="*/ 170057 w 551389"/>
                <a:gd name="connsiteY607" fmla="*/ 817645 h 903022"/>
                <a:gd name="connsiteX608" fmla="*/ 173321 w 551389"/>
                <a:gd name="connsiteY608" fmla="*/ 818183 h 903022"/>
                <a:gd name="connsiteX609" fmla="*/ 174836 w 551389"/>
                <a:gd name="connsiteY609" fmla="*/ 818183 h 903022"/>
                <a:gd name="connsiteX610" fmla="*/ 175980 w 551389"/>
                <a:gd name="connsiteY610" fmla="*/ 816232 h 903022"/>
                <a:gd name="connsiteX611" fmla="*/ 175711 w 551389"/>
                <a:gd name="connsiteY611" fmla="*/ 814382 h 903022"/>
                <a:gd name="connsiteX612" fmla="*/ 175711 w 551389"/>
                <a:gd name="connsiteY612" fmla="*/ 811657 h 903022"/>
                <a:gd name="connsiteX613" fmla="*/ 176788 w 551389"/>
                <a:gd name="connsiteY613" fmla="*/ 810883 h 903022"/>
                <a:gd name="connsiteX614" fmla="*/ 177528 w 551389"/>
                <a:gd name="connsiteY614" fmla="*/ 809571 h 903022"/>
                <a:gd name="connsiteX615" fmla="*/ 179278 w 551389"/>
                <a:gd name="connsiteY615" fmla="*/ 808596 h 903022"/>
                <a:gd name="connsiteX616" fmla="*/ 180591 w 551389"/>
                <a:gd name="connsiteY616" fmla="*/ 806308 h 903022"/>
                <a:gd name="connsiteX617" fmla="*/ 181567 w 551389"/>
                <a:gd name="connsiteY617" fmla="*/ 805232 h 903022"/>
                <a:gd name="connsiteX618" fmla="*/ 185807 w 551389"/>
                <a:gd name="connsiteY618" fmla="*/ 805131 h 903022"/>
                <a:gd name="connsiteX619" fmla="*/ 189172 w 551389"/>
                <a:gd name="connsiteY619" fmla="*/ 805131 h 903022"/>
                <a:gd name="connsiteX620" fmla="*/ 190485 w 551389"/>
                <a:gd name="connsiteY620" fmla="*/ 808192 h 903022"/>
                <a:gd name="connsiteX621" fmla="*/ 190048 w 551389"/>
                <a:gd name="connsiteY621" fmla="*/ 810480 h 903022"/>
                <a:gd name="connsiteX622" fmla="*/ 188297 w 551389"/>
                <a:gd name="connsiteY622" fmla="*/ 812431 h 903022"/>
                <a:gd name="connsiteX623" fmla="*/ 187860 w 551389"/>
                <a:gd name="connsiteY623" fmla="*/ 816333 h 903022"/>
                <a:gd name="connsiteX624" fmla="*/ 188398 w 551389"/>
                <a:gd name="connsiteY624" fmla="*/ 817309 h 903022"/>
                <a:gd name="connsiteX625" fmla="*/ 189374 w 551389"/>
                <a:gd name="connsiteY625" fmla="*/ 818183 h 903022"/>
                <a:gd name="connsiteX626" fmla="*/ 190249 w 551389"/>
                <a:gd name="connsiteY626" fmla="*/ 819394 h 903022"/>
                <a:gd name="connsiteX627" fmla="*/ 191663 w 551389"/>
                <a:gd name="connsiteY627" fmla="*/ 822422 h 903022"/>
                <a:gd name="connsiteX628" fmla="*/ 193413 w 551389"/>
                <a:gd name="connsiteY628" fmla="*/ 824709 h 903022"/>
                <a:gd name="connsiteX629" fmla="*/ 195668 w 551389"/>
                <a:gd name="connsiteY629" fmla="*/ 824709 h 903022"/>
                <a:gd name="connsiteX630" fmla="*/ 199134 w 551389"/>
                <a:gd name="connsiteY630" fmla="*/ 824709 h 903022"/>
                <a:gd name="connsiteX631" fmla="*/ 201961 w 551389"/>
                <a:gd name="connsiteY631" fmla="*/ 823734 h 903022"/>
                <a:gd name="connsiteX632" fmla="*/ 203375 w 551389"/>
                <a:gd name="connsiteY632" fmla="*/ 821244 h 903022"/>
                <a:gd name="connsiteX633" fmla="*/ 206740 w 551389"/>
                <a:gd name="connsiteY633" fmla="*/ 820807 h 903022"/>
                <a:gd name="connsiteX634" fmla="*/ 210779 w 551389"/>
                <a:gd name="connsiteY634" fmla="*/ 820908 h 903022"/>
                <a:gd name="connsiteX635" fmla="*/ 213505 w 551389"/>
                <a:gd name="connsiteY635" fmla="*/ 822119 h 903022"/>
                <a:gd name="connsiteX636" fmla="*/ 215793 w 551389"/>
                <a:gd name="connsiteY636" fmla="*/ 823868 h 903022"/>
                <a:gd name="connsiteX637" fmla="*/ 215793 w 551389"/>
                <a:gd name="connsiteY637" fmla="*/ 825281 h 903022"/>
                <a:gd name="connsiteX638" fmla="*/ 218620 w 551389"/>
                <a:gd name="connsiteY638" fmla="*/ 827569 h 903022"/>
                <a:gd name="connsiteX639" fmla="*/ 218721 w 551389"/>
                <a:gd name="connsiteY639" fmla="*/ 830731 h 903022"/>
                <a:gd name="connsiteX640" fmla="*/ 219361 w 551389"/>
                <a:gd name="connsiteY640" fmla="*/ 832480 h 903022"/>
                <a:gd name="connsiteX641" fmla="*/ 219260 w 551389"/>
                <a:gd name="connsiteY641" fmla="*/ 834667 h 903022"/>
                <a:gd name="connsiteX642" fmla="*/ 219798 w 551389"/>
                <a:gd name="connsiteY642" fmla="*/ 837593 h 903022"/>
                <a:gd name="connsiteX643" fmla="*/ 224375 w 551389"/>
                <a:gd name="connsiteY643" fmla="*/ 839544 h 903022"/>
                <a:gd name="connsiteX644" fmla="*/ 227303 w 551389"/>
                <a:gd name="connsiteY644" fmla="*/ 840419 h 903022"/>
                <a:gd name="connsiteX645" fmla="*/ 228818 w 551389"/>
                <a:gd name="connsiteY645" fmla="*/ 843043 h 903022"/>
                <a:gd name="connsiteX646" fmla="*/ 231106 w 551389"/>
                <a:gd name="connsiteY646" fmla="*/ 844456 h 903022"/>
                <a:gd name="connsiteX647" fmla="*/ 232822 w 551389"/>
                <a:gd name="connsiteY647" fmla="*/ 846945 h 903022"/>
                <a:gd name="connsiteX648" fmla="*/ 235010 w 551389"/>
                <a:gd name="connsiteY648" fmla="*/ 850208 h 903022"/>
                <a:gd name="connsiteX649" fmla="*/ 237063 w 551389"/>
                <a:gd name="connsiteY649" fmla="*/ 852395 h 903022"/>
                <a:gd name="connsiteX650" fmla="*/ 239351 w 551389"/>
                <a:gd name="connsiteY650" fmla="*/ 852395 h 903022"/>
                <a:gd name="connsiteX651" fmla="*/ 241303 w 551389"/>
                <a:gd name="connsiteY651" fmla="*/ 850881 h 903022"/>
                <a:gd name="connsiteX652" fmla="*/ 243053 w 551389"/>
                <a:gd name="connsiteY652" fmla="*/ 848829 h 903022"/>
                <a:gd name="connsiteX653" fmla="*/ 243390 w 551389"/>
                <a:gd name="connsiteY653" fmla="*/ 846003 h 903022"/>
                <a:gd name="connsiteX654" fmla="*/ 243289 w 551389"/>
                <a:gd name="connsiteY654" fmla="*/ 844052 h 903022"/>
                <a:gd name="connsiteX655" fmla="*/ 244501 w 551389"/>
                <a:gd name="connsiteY655" fmla="*/ 841563 h 903022"/>
                <a:gd name="connsiteX656" fmla="*/ 246150 w 551389"/>
                <a:gd name="connsiteY656" fmla="*/ 840486 h 903022"/>
                <a:gd name="connsiteX657" fmla="*/ 248438 w 551389"/>
                <a:gd name="connsiteY657" fmla="*/ 839612 h 903022"/>
                <a:gd name="connsiteX658" fmla="*/ 250054 w 551389"/>
                <a:gd name="connsiteY658" fmla="*/ 839712 h 903022"/>
                <a:gd name="connsiteX659" fmla="*/ 252342 w 551389"/>
                <a:gd name="connsiteY659" fmla="*/ 839712 h 903022"/>
                <a:gd name="connsiteX660" fmla="*/ 255169 w 551389"/>
                <a:gd name="connsiteY660" fmla="*/ 840486 h 903022"/>
                <a:gd name="connsiteX661" fmla="*/ 256919 w 551389"/>
                <a:gd name="connsiteY661" fmla="*/ 840486 h 903022"/>
                <a:gd name="connsiteX662" fmla="*/ 259746 w 551389"/>
                <a:gd name="connsiteY662" fmla="*/ 839612 h 903022"/>
                <a:gd name="connsiteX663" fmla="*/ 261362 w 551389"/>
                <a:gd name="connsiteY663" fmla="*/ 839174 h 903022"/>
                <a:gd name="connsiteX664" fmla="*/ 263213 w 551389"/>
                <a:gd name="connsiteY664" fmla="*/ 838838 h 903022"/>
                <a:gd name="connsiteX665" fmla="*/ 265165 w 551389"/>
                <a:gd name="connsiteY665" fmla="*/ 837862 h 903022"/>
                <a:gd name="connsiteX666" fmla="*/ 266814 w 551389"/>
                <a:gd name="connsiteY666" fmla="*/ 836651 h 903022"/>
                <a:gd name="connsiteX667" fmla="*/ 268126 w 551389"/>
                <a:gd name="connsiteY667" fmla="*/ 835777 h 903022"/>
                <a:gd name="connsiteX668" fmla="*/ 269540 w 551389"/>
                <a:gd name="connsiteY668" fmla="*/ 835777 h 903022"/>
                <a:gd name="connsiteX669" fmla="*/ 271391 w 551389"/>
                <a:gd name="connsiteY669" fmla="*/ 836853 h 903022"/>
                <a:gd name="connsiteX670" fmla="*/ 273141 w 551389"/>
                <a:gd name="connsiteY670" fmla="*/ 838602 h 903022"/>
                <a:gd name="connsiteX671" fmla="*/ 274655 w 551389"/>
                <a:gd name="connsiteY671" fmla="*/ 840453 h 903022"/>
                <a:gd name="connsiteX672" fmla="*/ 276169 w 551389"/>
                <a:gd name="connsiteY672" fmla="*/ 840453 h 903022"/>
                <a:gd name="connsiteX673" fmla="*/ 278997 w 551389"/>
                <a:gd name="connsiteY673" fmla="*/ 840453 h 903022"/>
                <a:gd name="connsiteX674" fmla="*/ 286165 w 551389"/>
                <a:gd name="connsiteY674" fmla="*/ 840453 h 903022"/>
                <a:gd name="connsiteX675" fmla="*/ 291348 w 551389"/>
                <a:gd name="connsiteY675" fmla="*/ 840453 h 903022"/>
                <a:gd name="connsiteX676" fmla="*/ 293098 w 551389"/>
                <a:gd name="connsiteY676" fmla="*/ 840453 h 903022"/>
                <a:gd name="connsiteX677" fmla="*/ 295790 w 551389"/>
                <a:gd name="connsiteY677" fmla="*/ 843211 h 903022"/>
                <a:gd name="connsiteX678" fmla="*/ 297742 w 551389"/>
                <a:gd name="connsiteY678" fmla="*/ 846407 h 903022"/>
                <a:gd name="connsiteX679" fmla="*/ 301209 w 551389"/>
                <a:gd name="connsiteY679" fmla="*/ 849165 h 903022"/>
                <a:gd name="connsiteX680" fmla="*/ 306728 w 551389"/>
                <a:gd name="connsiteY680" fmla="*/ 852193 h 903022"/>
                <a:gd name="connsiteX681" fmla="*/ 313391 w 551389"/>
                <a:gd name="connsiteY681" fmla="*/ 855523 h 903022"/>
                <a:gd name="connsiteX682" fmla="*/ 316420 w 551389"/>
                <a:gd name="connsiteY682" fmla="*/ 858988 h 903022"/>
                <a:gd name="connsiteX683" fmla="*/ 319449 w 551389"/>
                <a:gd name="connsiteY683" fmla="*/ 861175 h 903022"/>
                <a:gd name="connsiteX684" fmla="*/ 325810 w 551389"/>
                <a:gd name="connsiteY684" fmla="*/ 865077 h 903022"/>
                <a:gd name="connsiteX685" fmla="*/ 329142 w 551389"/>
                <a:gd name="connsiteY685" fmla="*/ 867398 h 903022"/>
                <a:gd name="connsiteX686" fmla="*/ 331027 w 551389"/>
                <a:gd name="connsiteY686" fmla="*/ 869416 h 903022"/>
                <a:gd name="connsiteX687" fmla="*/ 334493 w 551389"/>
                <a:gd name="connsiteY687" fmla="*/ 871166 h 903022"/>
                <a:gd name="connsiteX688" fmla="*/ 337387 w 551389"/>
                <a:gd name="connsiteY688" fmla="*/ 871300 h 903022"/>
                <a:gd name="connsiteX689" fmla="*/ 340854 w 551389"/>
                <a:gd name="connsiteY689" fmla="*/ 871435 h 903022"/>
                <a:gd name="connsiteX690" fmla="*/ 343445 w 551389"/>
                <a:gd name="connsiteY690" fmla="*/ 872007 h 903022"/>
                <a:gd name="connsiteX691" fmla="*/ 344320 w 551389"/>
                <a:gd name="connsiteY691" fmla="*/ 873756 h 903022"/>
                <a:gd name="connsiteX692" fmla="*/ 346339 w 551389"/>
                <a:gd name="connsiteY692" fmla="*/ 876077 h 903022"/>
                <a:gd name="connsiteX693" fmla="*/ 348359 w 551389"/>
                <a:gd name="connsiteY693" fmla="*/ 877221 h 903022"/>
                <a:gd name="connsiteX694" fmla="*/ 351388 w 551389"/>
                <a:gd name="connsiteY694" fmla="*/ 880686 h 903022"/>
                <a:gd name="connsiteX695" fmla="*/ 352700 w 551389"/>
                <a:gd name="connsiteY695" fmla="*/ 881997 h 903022"/>
                <a:gd name="connsiteX696" fmla="*/ 356167 w 551389"/>
                <a:gd name="connsiteY696" fmla="*/ 884756 h 903022"/>
                <a:gd name="connsiteX697" fmla="*/ 357042 w 551389"/>
                <a:gd name="connsiteY697" fmla="*/ 887514 h 903022"/>
                <a:gd name="connsiteX698" fmla="*/ 358926 w 551389"/>
                <a:gd name="connsiteY698" fmla="*/ 890979 h 903022"/>
                <a:gd name="connsiteX699" fmla="*/ 363873 w 551389"/>
                <a:gd name="connsiteY699" fmla="*/ 895184 h 903022"/>
                <a:gd name="connsiteX700" fmla="*/ 365758 w 551389"/>
                <a:gd name="connsiteY700" fmla="*/ 898817 h 903022"/>
                <a:gd name="connsiteX701" fmla="*/ 369393 w 551389"/>
                <a:gd name="connsiteY701" fmla="*/ 903022 h 903022"/>
                <a:gd name="connsiteX702" fmla="*/ 376494 w 551389"/>
                <a:gd name="connsiteY702" fmla="*/ 903022 h 903022"/>
                <a:gd name="connsiteX703" fmla="*/ 379556 w 551389"/>
                <a:gd name="connsiteY703" fmla="*/ 901946 h 903022"/>
                <a:gd name="connsiteX704" fmla="*/ 386085 w 551389"/>
                <a:gd name="connsiteY704" fmla="*/ 901307 h 903022"/>
                <a:gd name="connsiteX705" fmla="*/ 392177 w 551389"/>
                <a:gd name="connsiteY705" fmla="*/ 901307 h 903022"/>
                <a:gd name="connsiteX706" fmla="*/ 395643 w 551389"/>
                <a:gd name="connsiteY706" fmla="*/ 901307 h 903022"/>
                <a:gd name="connsiteX707" fmla="*/ 401163 w 551389"/>
                <a:gd name="connsiteY707" fmla="*/ 901744 h 903022"/>
                <a:gd name="connsiteX708" fmla="*/ 400019 w 551389"/>
                <a:gd name="connsiteY708" fmla="*/ 897539 h 903022"/>
                <a:gd name="connsiteX709" fmla="*/ 396249 w 551389"/>
                <a:gd name="connsiteY709" fmla="*/ 886539 h 903022"/>
                <a:gd name="connsiteX710" fmla="*/ 395946 w 551389"/>
                <a:gd name="connsiteY710" fmla="*/ 879878 h 903022"/>
                <a:gd name="connsiteX711" fmla="*/ 396384 w 551389"/>
                <a:gd name="connsiteY711" fmla="*/ 871603 h 903022"/>
                <a:gd name="connsiteX712" fmla="*/ 396821 w 551389"/>
                <a:gd name="connsiteY712" fmla="*/ 862756 h 903022"/>
                <a:gd name="connsiteX713" fmla="*/ 396687 w 551389"/>
                <a:gd name="connsiteY713" fmla="*/ 854514 h 903022"/>
                <a:gd name="connsiteX714" fmla="*/ 394499 w 551389"/>
                <a:gd name="connsiteY714" fmla="*/ 849165 h 903022"/>
                <a:gd name="connsiteX715" fmla="*/ 390158 w 551389"/>
                <a:gd name="connsiteY715" fmla="*/ 844388 h 903022"/>
                <a:gd name="connsiteX716" fmla="*/ 384504 w 551389"/>
                <a:gd name="connsiteY716" fmla="*/ 837593 h 903022"/>
                <a:gd name="connsiteX717" fmla="*/ 383932 w 551389"/>
                <a:gd name="connsiteY717" fmla="*/ 832951 h 903022"/>
                <a:gd name="connsiteX718" fmla="*/ 387836 w 551389"/>
                <a:gd name="connsiteY718" fmla="*/ 825988 h 903022"/>
                <a:gd name="connsiteX719" fmla="*/ 391033 w 551389"/>
                <a:gd name="connsiteY719" fmla="*/ 822220 h 903022"/>
                <a:gd name="connsiteX720" fmla="*/ 391739 w 551389"/>
                <a:gd name="connsiteY720" fmla="*/ 814382 h 903022"/>
                <a:gd name="connsiteX721" fmla="*/ 392614 w 551389"/>
                <a:gd name="connsiteY721" fmla="*/ 804391 h 903022"/>
                <a:gd name="connsiteX722" fmla="*/ 395643 w 551389"/>
                <a:gd name="connsiteY722" fmla="*/ 803315 h 903022"/>
                <a:gd name="connsiteX723" fmla="*/ 397965 w 551389"/>
                <a:gd name="connsiteY723" fmla="*/ 800489 h 903022"/>
                <a:gd name="connsiteX724" fmla="*/ 404360 w 551389"/>
                <a:gd name="connsiteY724" fmla="*/ 800489 h 903022"/>
                <a:gd name="connsiteX725" fmla="*/ 409879 w 551389"/>
                <a:gd name="connsiteY725" fmla="*/ 803819 h 903022"/>
                <a:gd name="connsiteX726" fmla="*/ 419000 w 551389"/>
                <a:gd name="connsiteY726" fmla="*/ 803382 h 903022"/>
                <a:gd name="connsiteX727" fmla="*/ 427413 w 551389"/>
                <a:gd name="connsiteY727" fmla="*/ 800489 h 903022"/>
                <a:gd name="connsiteX728" fmla="*/ 432058 w 551389"/>
                <a:gd name="connsiteY728" fmla="*/ 800489 h 903022"/>
                <a:gd name="connsiteX729" fmla="*/ 440606 w 551389"/>
                <a:gd name="connsiteY729" fmla="*/ 798739 h 903022"/>
                <a:gd name="connsiteX730" fmla="*/ 446697 w 551389"/>
                <a:gd name="connsiteY730" fmla="*/ 795544 h 903022"/>
                <a:gd name="connsiteX731" fmla="*/ 449592 w 551389"/>
                <a:gd name="connsiteY731" fmla="*/ 790632 h 903022"/>
                <a:gd name="connsiteX732" fmla="*/ 451039 w 551389"/>
                <a:gd name="connsiteY732" fmla="*/ 785856 h 903022"/>
                <a:gd name="connsiteX733" fmla="*/ 449592 w 551389"/>
                <a:gd name="connsiteY733" fmla="*/ 780204 h 903022"/>
                <a:gd name="connsiteX734" fmla="*/ 441918 w 551389"/>
                <a:gd name="connsiteY734" fmla="*/ 774687 h 903022"/>
                <a:gd name="connsiteX735" fmla="*/ 436702 w 551389"/>
                <a:gd name="connsiteY735" fmla="*/ 771357 h 903022"/>
                <a:gd name="connsiteX736" fmla="*/ 428154 w 551389"/>
                <a:gd name="connsiteY736" fmla="*/ 769910 h 903022"/>
                <a:gd name="connsiteX737" fmla="*/ 421355 w 551389"/>
                <a:gd name="connsiteY737" fmla="*/ 770617 h 903022"/>
                <a:gd name="connsiteX738" fmla="*/ 417283 w 551389"/>
                <a:gd name="connsiteY738" fmla="*/ 770920 h 903022"/>
                <a:gd name="connsiteX739" fmla="*/ 412370 w 551389"/>
                <a:gd name="connsiteY739" fmla="*/ 765840 h 903022"/>
                <a:gd name="connsiteX740" fmla="*/ 412672 w 551389"/>
                <a:gd name="connsiteY740" fmla="*/ 761063 h 903022"/>
                <a:gd name="connsiteX741" fmla="*/ 414860 w 551389"/>
                <a:gd name="connsiteY741" fmla="*/ 756993 h 903022"/>
                <a:gd name="connsiteX742" fmla="*/ 414288 w 551389"/>
                <a:gd name="connsiteY742" fmla="*/ 752081 h 903022"/>
                <a:gd name="connsiteX743" fmla="*/ 413716 w 551389"/>
                <a:gd name="connsiteY743" fmla="*/ 747439 h 903022"/>
                <a:gd name="connsiteX744" fmla="*/ 407624 w 551389"/>
                <a:gd name="connsiteY744" fmla="*/ 744546 h 903022"/>
                <a:gd name="connsiteX745" fmla="*/ 402677 w 551389"/>
                <a:gd name="connsiteY745" fmla="*/ 744546 h 903022"/>
                <a:gd name="connsiteX746" fmla="*/ 397764 w 551389"/>
                <a:gd name="connsiteY746" fmla="*/ 744277 h 903022"/>
                <a:gd name="connsiteX747" fmla="*/ 393994 w 551389"/>
                <a:gd name="connsiteY747" fmla="*/ 742797 h 903022"/>
                <a:gd name="connsiteX748" fmla="*/ 385311 w 551389"/>
                <a:gd name="connsiteY748" fmla="*/ 738726 h 903022"/>
                <a:gd name="connsiteX749" fmla="*/ 384436 w 551389"/>
                <a:gd name="connsiteY749" fmla="*/ 736775 h 903022"/>
                <a:gd name="connsiteX750" fmla="*/ 385210 w 551389"/>
                <a:gd name="connsiteY750" fmla="*/ 733849 h 903022"/>
                <a:gd name="connsiteX751" fmla="*/ 387936 w 551389"/>
                <a:gd name="connsiteY751" fmla="*/ 730485 h 903022"/>
                <a:gd name="connsiteX752" fmla="*/ 389013 w 551389"/>
                <a:gd name="connsiteY752" fmla="*/ 729408 h 903022"/>
                <a:gd name="connsiteX753" fmla="*/ 393590 w 551389"/>
                <a:gd name="connsiteY753" fmla="*/ 727457 h 903022"/>
                <a:gd name="connsiteX754" fmla="*/ 397932 w 551389"/>
                <a:gd name="connsiteY754" fmla="*/ 727457 h 903022"/>
                <a:gd name="connsiteX755" fmla="*/ 402509 w 551389"/>
                <a:gd name="connsiteY755" fmla="*/ 726112 h 903022"/>
                <a:gd name="connsiteX756" fmla="*/ 407523 w 551389"/>
                <a:gd name="connsiteY756" fmla="*/ 723992 h 903022"/>
                <a:gd name="connsiteX757" fmla="*/ 411427 w 551389"/>
                <a:gd name="connsiteY757" fmla="*/ 723992 h 903022"/>
                <a:gd name="connsiteX758" fmla="*/ 415668 w 551389"/>
                <a:gd name="connsiteY758" fmla="*/ 725943 h 903022"/>
                <a:gd name="connsiteX759" fmla="*/ 421086 w 551389"/>
                <a:gd name="connsiteY759" fmla="*/ 728433 h 903022"/>
                <a:gd name="connsiteX760" fmla="*/ 428490 w 551389"/>
                <a:gd name="connsiteY760" fmla="*/ 730922 h 903022"/>
                <a:gd name="connsiteX761" fmla="*/ 435760 w 551389"/>
                <a:gd name="connsiteY761" fmla="*/ 732873 h 903022"/>
                <a:gd name="connsiteX762" fmla="*/ 445217 w 551389"/>
                <a:gd name="connsiteY762" fmla="*/ 735261 h 903022"/>
                <a:gd name="connsiteX763" fmla="*/ 455111 w 551389"/>
                <a:gd name="connsiteY763" fmla="*/ 736910 h 903022"/>
                <a:gd name="connsiteX764" fmla="*/ 462952 w 551389"/>
                <a:gd name="connsiteY764" fmla="*/ 735497 h 903022"/>
                <a:gd name="connsiteX765" fmla="*/ 465544 w 551389"/>
                <a:gd name="connsiteY765" fmla="*/ 733983 h 903022"/>
                <a:gd name="connsiteX766" fmla="*/ 475775 w 551389"/>
                <a:gd name="connsiteY766" fmla="*/ 733748 h 903022"/>
                <a:gd name="connsiteX767" fmla="*/ 482068 w 551389"/>
                <a:gd name="connsiteY767" fmla="*/ 731157 h 903022"/>
                <a:gd name="connsiteX768" fmla="*/ 484794 w 551389"/>
                <a:gd name="connsiteY768" fmla="*/ 729106 h 903022"/>
                <a:gd name="connsiteX769" fmla="*/ 487621 w 551389"/>
                <a:gd name="connsiteY769" fmla="*/ 725506 h 903022"/>
                <a:gd name="connsiteX770" fmla="*/ 490246 w 551389"/>
                <a:gd name="connsiteY770" fmla="*/ 725304 h 903022"/>
                <a:gd name="connsiteX771" fmla="*/ 492299 w 551389"/>
                <a:gd name="connsiteY771" fmla="*/ 726280 h 903022"/>
                <a:gd name="connsiteX772" fmla="*/ 493040 w 551389"/>
                <a:gd name="connsiteY772" fmla="*/ 728130 h 903022"/>
                <a:gd name="connsiteX773" fmla="*/ 492501 w 551389"/>
                <a:gd name="connsiteY773" fmla="*/ 731292 h 903022"/>
                <a:gd name="connsiteX774" fmla="*/ 493040 w 551389"/>
                <a:gd name="connsiteY774" fmla="*/ 733781 h 903022"/>
                <a:gd name="connsiteX775" fmla="*/ 495867 w 551389"/>
                <a:gd name="connsiteY775" fmla="*/ 736607 h 903022"/>
                <a:gd name="connsiteX776" fmla="*/ 499333 w 551389"/>
                <a:gd name="connsiteY776" fmla="*/ 739096 h 903022"/>
                <a:gd name="connsiteX777" fmla="*/ 503035 w 551389"/>
                <a:gd name="connsiteY777" fmla="*/ 740072 h 903022"/>
                <a:gd name="connsiteX778" fmla="*/ 505122 w 551389"/>
                <a:gd name="connsiteY778" fmla="*/ 740173 h 903022"/>
                <a:gd name="connsiteX779" fmla="*/ 508386 w 551389"/>
                <a:gd name="connsiteY779" fmla="*/ 739736 h 903022"/>
                <a:gd name="connsiteX780" fmla="*/ 511550 w 551389"/>
                <a:gd name="connsiteY780" fmla="*/ 737549 h 903022"/>
                <a:gd name="connsiteX781" fmla="*/ 513939 w 551389"/>
                <a:gd name="connsiteY781" fmla="*/ 735699 h 903022"/>
                <a:gd name="connsiteX782" fmla="*/ 515790 w 551389"/>
                <a:gd name="connsiteY782" fmla="*/ 733310 h 903022"/>
                <a:gd name="connsiteX783" fmla="*/ 518180 w 551389"/>
                <a:gd name="connsiteY783" fmla="*/ 731023 h 903022"/>
                <a:gd name="connsiteX784" fmla="*/ 522757 w 551389"/>
                <a:gd name="connsiteY784" fmla="*/ 729274 h 903022"/>
                <a:gd name="connsiteX785" fmla="*/ 526122 w 551389"/>
                <a:gd name="connsiteY785" fmla="*/ 727121 h 903022"/>
                <a:gd name="connsiteX786" fmla="*/ 528276 w 551389"/>
                <a:gd name="connsiteY786" fmla="*/ 725237 h 903022"/>
                <a:gd name="connsiteX787" fmla="*/ 531406 w 551389"/>
                <a:gd name="connsiteY787" fmla="*/ 720527 h 903022"/>
                <a:gd name="connsiteX788" fmla="*/ 534031 w 551389"/>
                <a:gd name="connsiteY788" fmla="*/ 716793 h 903022"/>
                <a:gd name="connsiteX789" fmla="*/ 534031 w 551389"/>
                <a:gd name="connsiteY789" fmla="*/ 712656 h 903022"/>
                <a:gd name="connsiteX790" fmla="*/ 534031 w 551389"/>
                <a:gd name="connsiteY790" fmla="*/ 709393 h 903022"/>
                <a:gd name="connsiteX791" fmla="*/ 534031 w 551389"/>
                <a:gd name="connsiteY791" fmla="*/ 703977 h 903022"/>
                <a:gd name="connsiteX792" fmla="*/ 534603 w 551389"/>
                <a:gd name="connsiteY792" fmla="*/ 701151 h 903022"/>
                <a:gd name="connsiteX793" fmla="*/ 534098 w 551389"/>
                <a:gd name="connsiteY793" fmla="*/ 696240 h 903022"/>
                <a:gd name="connsiteX794" fmla="*/ 532012 w 551389"/>
                <a:gd name="connsiteY794" fmla="*/ 691967 h 903022"/>
                <a:gd name="connsiteX795" fmla="*/ 527738 w 551389"/>
                <a:gd name="connsiteY795" fmla="*/ 688435 h 903022"/>
                <a:gd name="connsiteX796" fmla="*/ 523161 w 551389"/>
                <a:gd name="connsiteY796" fmla="*/ 684466 h 903022"/>
                <a:gd name="connsiteX797" fmla="*/ 519761 w 551389"/>
                <a:gd name="connsiteY797" fmla="*/ 682145 h 903022"/>
                <a:gd name="connsiteX798" fmla="*/ 518247 w 551389"/>
                <a:gd name="connsiteY798" fmla="*/ 680563 h 903022"/>
                <a:gd name="connsiteX799" fmla="*/ 515756 w 551389"/>
                <a:gd name="connsiteY799" fmla="*/ 680563 h 903022"/>
                <a:gd name="connsiteX800" fmla="*/ 512290 w 551389"/>
                <a:gd name="connsiteY800" fmla="*/ 675787 h 903022"/>
                <a:gd name="connsiteX801" fmla="*/ 512290 w 551389"/>
                <a:gd name="connsiteY801" fmla="*/ 670875 h 903022"/>
                <a:gd name="connsiteX802" fmla="*/ 512223 w 551389"/>
                <a:gd name="connsiteY802" fmla="*/ 666670 h 903022"/>
                <a:gd name="connsiteX803" fmla="*/ 509665 w 551389"/>
                <a:gd name="connsiteY803" fmla="*/ 663777 h 903022"/>
                <a:gd name="connsiteX804" fmla="*/ 505458 w 551389"/>
                <a:gd name="connsiteY804" fmla="*/ 659370 h 903022"/>
                <a:gd name="connsiteX805" fmla="*/ 504011 w 551389"/>
                <a:gd name="connsiteY805" fmla="*/ 657991 h 903022"/>
                <a:gd name="connsiteX806" fmla="*/ 498357 w 551389"/>
                <a:gd name="connsiteY806" fmla="*/ 657991 h 903022"/>
                <a:gd name="connsiteX807" fmla="*/ 495597 w 551389"/>
                <a:gd name="connsiteY807" fmla="*/ 657991 h 903022"/>
                <a:gd name="connsiteX808" fmla="*/ 493275 w 551389"/>
                <a:gd name="connsiteY808" fmla="*/ 657251 h 903022"/>
                <a:gd name="connsiteX809" fmla="*/ 492266 w 551389"/>
                <a:gd name="connsiteY809" fmla="*/ 654930 h 903022"/>
                <a:gd name="connsiteX810" fmla="*/ 492266 w 551389"/>
                <a:gd name="connsiteY810" fmla="*/ 651903 h 903022"/>
                <a:gd name="connsiteX811" fmla="*/ 494150 w 551389"/>
                <a:gd name="connsiteY811" fmla="*/ 650153 h 903022"/>
                <a:gd name="connsiteX812" fmla="*/ 495160 w 551389"/>
                <a:gd name="connsiteY812" fmla="*/ 649144 h 903022"/>
                <a:gd name="connsiteX813" fmla="*/ 498492 w 551389"/>
                <a:gd name="connsiteY813" fmla="*/ 645814 h 903022"/>
                <a:gd name="connsiteX814" fmla="*/ 494857 w 551389"/>
                <a:gd name="connsiteY814" fmla="*/ 642349 h 903022"/>
                <a:gd name="connsiteX815" fmla="*/ 489641 w 551389"/>
                <a:gd name="connsiteY815" fmla="*/ 642349 h 903022"/>
                <a:gd name="connsiteX816" fmla="*/ 487049 w 551389"/>
                <a:gd name="connsiteY816" fmla="*/ 640028 h 903022"/>
                <a:gd name="connsiteX817" fmla="*/ 486040 w 551389"/>
                <a:gd name="connsiteY817" fmla="*/ 637000 h 903022"/>
                <a:gd name="connsiteX818" fmla="*/ 487487 w 551389"/>
                <a:gd name="connsiteY818" fmla="*/ 634107 h 903022"/>
                <a:gd name="connsiteX819" fmla="*/ 491256 w 551389"/>
                <a:gd name="connsiteY819" fmla="*/ 630777 h 903022"/>
                <a:gd name="connsiteX820" fmla="*/ 494891 w 551389"/>
                <a:gd name="connsiteY820" fmla="*/ 628893 h 903022"/>
                <a:gd name="connsiteX821" fmla="*/ 497348 w 551389"/>
                <a:gd name="connsiteY821" fmla="*/ 625865 h 903022"/>
                <a:gd name="connsiteX822" fmla="*/ 497482 w 551389"/>
                <a:gd name="connsiteY822" fmla="*/ 624419 h 903022"/>
                <a:gd name="connsiteX823" fmla="*/ 495295 w 551389"/>
                <a:gd name="connsiteY823" fmla="*/ 621829 h 903022"/>
                <a:gd name="connsiteX824" fmla="*/ 493545 w 551389"/>
                <a:gd name="connsiteY824" fmla="*/ 620517 h 903022"/>
                <a:gd name="connsiteX825" fmla="*/ 490650 w 551389"/>
                <a:gd name="connsiteY825" fmla="*/ 618767 h 903022"/>
                <a:gd name="connsiteX826" fmla="*/ 486006 w 551389"/>
                <a:gd name="connsiteY826" fmla="*/ 617590 h 903022"/>
                <a:gd name="connsiteX827" fmla="*/ 481799 w 551389"/>
                <a:gd name="connsiteY827" fmla="*/ 616446 h 903022"/>
                <a:gd name="connsiteX828" fmla="*/ 478164 w 551389"/>
                <a:gd name="connsiteY828" fmla="*/ 614697 h 903022"/>
                <a:gd name="connsiteX829" fmla="*/ 476280 w 551389"/>
                <a:gd name="connsiteY829" fmla="*/ 612241 h 903022"/>
                <a:gd name="connsiteX830" fmla="*/ 474530 w 551389"/>
                <a:gd name="connsiteY830" fmla="*/ 609046 h 903022"/>
                <a:gd name="connsiteX831" fmla="*/ 474530 w 551389"/>
                <a:gd name="connsiteY831" fmla="*/ 608104 h 903022"/>
                <a:gd name="connsiteX832" fmla="*/ 478299 w 551389"/>
                <a:gd name="connsiteY832" fmla="*/ 605850 h 903022"/>
                <a:gd name="connsiteX833" fmla="*/ 480890 w 551389"/>
                <a:gd name="connsiteY833" fmla="*/ 605850 h 903022"/>
                <a:gd name="connsiteX834" fmla="*/ 481597 w 551389"/>
                <a:gd name="connsiteY834" fmla="*/ 604101 h 903022"/>
                <a:gd name="connsiteX835" fmla="*/ 482607 w 551389"/>
                <a:gd name="connsiteY835" fmla="*/ 602520 h 903022"/>
                <a:gd name="connsiteX836" fmla="*/ 480790 w 551389"/>
                <a:gd name="connsiteY836" fmla="*/ 600131 h 903022"/>
                <a:gd name="connsiteX837" fmla="*/ 477458 w 551389"/>
                <a:gd name="connsiteY837" fmla="*/ 596935 h 903022"/>
                <a:gd name="connsiteX838" fmla="*/ 475708 w 551389"/>
                <a:gd name="connsiteY838" fmla="*/ 594917 h 903022"/>
                <a:gd name="connsiteX839" fmla="*/ 471232 w 551389"/>
                <a:gd name="connsiteY839" fmla="*/ 590275 h 903022"/>
                <a:gd name="connsiteX840" fmla="*/ 467597 w 551389"/>
                <a:gd name="connsiteY840" fmla="*/ 585767 h 903022"/>
                <a:gd name="connsiteX841" fmla="*/ 466015 w 551389"/>
                <a:gd name="connsiteY841" fmla="*/ 583446 h 903022"/>
                <a:gd name="connsiteX842" fmla="*/ 466015 w 551389"/>
                <a:gd name="connsiteY842" fmla="*/ 578669 h 903022"/>
                <a:gd name="connsiteX843" fmla="*/ 466755 w 551389"/>
                <a:gd name="connsiteY843" fmla="*/ 576718 h 903022"/>
                <a:gd name="connsiteX844" fmla="*/ 469179 w 551389"/>
                <a:gd name="connsiteY844" fmla="*/ 574599 h 903022"/>
                <a:gd name="connsiteX845" fmla="*/ 469179 w 551389"/>
                <a:gd name="connsiteY845" fmla="*/ 574599 h 903022"/>
                <a:gd name="connsiteX846" fmla="*/ 469179 w 551389"/>
                <a:gd name="connsiteY846" fmla="*/ 574599 h 903022"/>
                <a:gd name="connsiteX847" fmla="*/ 462852 w 551389"/>
                <a:gd name="connsiteY847" fmla="*/ 572143 h 903022"/>
                <a:gd name="connsiteX848" fmla="*/ 460967 w 551389"/>
                <a:gd name="connsiteY848" fmla="*/ 568510 h 903022"/>
                <a:gd name="connsiteX849" fmla="*/ 460260 w 551389"/>
                <a:gd name="connsiteY849" fmla="*/ 562556 h 903022"/>
                <a:gd name="connsiteX850" fmla="*/ 460260 w 551389"/>
                <a:gd name="connsiteY850" fmla="*/ 551690 h 903022"/>
                <a:gd name="connsiteX851" fmla="*/ 461842 w 551389"/>
                <a:gd name="connsiteY851" fmla="*/ 544727 h 903022"/>
                <a:gd name="connsiteX852" fmla="*/ 460832 w 551389"/>
                <a:gd name="connsiteY852" fmla="*/ 542136 h 903022"/>
                <a:gd name="connsiteX853" fmla="*/ 460832 w 551389"/>
                <a:gd name="connsiteY853" fmla="*/ 534029 h 903022"/>
                <a:gd name="connsiteX854" fmla="*/ 461909 w 551389"/>
                <a:gd name="connsiteY854" fmla="*/ 529959 h 903022"/>
                <a:gd name="connsiteX855" fmla="*/ 463727 w 551389"/>
                <a:gd name="connsiteY855" fmla="*/ 526629 h 903022"/>
                <a:gd name="connsiteX856" fmla="*/ 466049 w 551389"/>
                <a:gd name="connsiteY856" fmla="*/ 522726 h 903022"/>
                <a:gd name="connsiteX857" fmla="*/ 466755 w 551389"/>
                <a:gd name="connsiteY857" fmla="*/ 519093 h 903022"/>
                <a:gd name="connsiteX858" fmla="*/ 467765 w 551389"/>
                <a:gd name="connsiteY858" fmla="*/ 516637 h 903022"/>
                <a:gd name="connsiteX859" fmla="*/ 467765 w 551389"/>
                <a:gd name="connsiteY859" fmla="*/ 511289 h 903022"/>
                <a:gd name="connsiteX860" fmla="*/ 467765 w 551389"/>
                <a:gd name="connsiteY860" fmla="*/ 507387 h 903022"/>
                <a:gd name="connsiteX861" fmla="*/ 467765 w 551389"/>
                <a:gd name="connsiteY861" fmla="*/ 501870 h 903022"/>
                <a:gd name="connsiteX862" fmla="*/ 469515 w 551389"/>
                <a:gd name="connsiteY862" fmla="*/ 498977 h 903022"/>
                <a:gd name="connsiteX863" fmla="*/ 472712 w 551389"/>
                <a:gd name="connsiteY863" fmla="*/ 495075 h 903022"/>
                <a:gd name="connsiteX864" fmla="*/ 474900 w 551389"/>
                <a:gd name="connsiteY864" fmla="*/ 491744 h 903022"/>
                <a:gd name="connsiteX865" fmla="*/ 478232 w 551389"/>
                <a:gd name="connsiteY865" fmla="*/ 486967 h 903022"/>
                <a:gd name="connsiteX866" fmla="*/ 482573 w 551389"/>
                <a:gd name="connsiteY866" fmla="*/ 481753 h 903022"/>
                <a:gd name="connsiteX867" fmla="*/ 483145 w 551389"/>
                <a:gd name="connsiteY867" fmla="*/ 475799 h 903022"/>
                <a:gd name="connsiteX868" fmla="*/ 485737 w 551389"/>
                <a:gd name="connsiteY868" fmla="*/ 471594 h 903022"/>
                <a:gd name="connsiteX869" fmla="*/ 487621 w 551389"/>
                <a:gd name="connsiteY869" fmla="*/ 467826 h 903022"/>
                <a:gd name="connsiteX870" fmla="*/ 489068 w 551389"/>
                <a:gd name="connsiteY870" fmla="*/ 462747 h 903022"/>
                <a:gd name="connsiteX871" fmla="*/ 490819 w 551389"/>
                <a:gd name="connsiteY871" fmla="*/ 458542 h 903022"/>
                <a:gd name="connsiteX872" fmla="*/ 491391 w 551389"/>
                <a:gd name="connsiteY872" fmla="*/ 452890 h 903022"/>
                <a:gd name="connsiteX873" fmla="*/ 490381 w 551389"/>
                <a:gd name="connsiteY873" fmla="*/ 448248 h 903022"/>
                <a:gd name="connsiteX874" fmla="*/ 490381 w 551389"/>
                <a:gd name="connsiteY874" fmla="*/ 444178 h 903022"/>
                <a:gd name="connsiteX875" fmla="*/ 488799 w 551389"/>
                <a:gd name="connsiteY875" fmla="*/ 436373 h 903022"/>
                <a:gd name="connsiteX876" fmla="*/ 486477 w 551389"/>
                <a:gd name="connsiteY876" fmla="*/ 433615 h 903022"/>
                <a:gd name="connsiteX877" fmla="*/ 481395 w 551389"/>
                <a:gd name="connsiteY877" fmla="*/ 427257 h 903022"/>
                <a:gd name="connsiteX878" fmla="*/ 480823 w 551389"/>
                <a:gd name="connsiteY878" fmla="*/ 420159 h 903022"/>
                <a:gd name="connsiteX879" fmla="*/ 481698 w 551389"/>
                <a:gd name="connsiteY879" fmla="*/ 415820 h 903022"/>
                <a:gd name="connsiteX880" fmla="*/ 480554 w 551389"/>
                <a:gd name="connsiteY880" fmla="*/ 410471 h 903022"/>
                <a:gd name="connsiteX881" fmla="*/ 478972 w 551389"/>
                <a:gd name="connsiteY881" fmla="*/ 406838 h 903022"/>
                <a:gd name="connsiteX882" fmla="*/ 476953 w 551389"/>
                <a:gd name="connsiteY882" fmla="*/ 403507 h 903022"/>
                <a:gd name="connsiteX883" fmla="*/ 476684 w 551389"/>
                <a:gd name="connsiteY883" fmla="*/ 397856 h 903022"/>
                <a:gd name="connsiteX884" fmla="*/ 476246 w 551389"/>
                <a:gd name="connsiteY884" fmla="*/ 392642 h 903022"/>
                <a:gd name="connsiteX885" fmla="*/ 476818 w 551389"/>
                <a:gd name="connsiteY885" fmla="*/ 389312 h 903022"/>
                <a:gd name="connsiteX886" fmla="*/ 477693 w 551389"/>
                <a:gd name="connsiteY886" fmla="*/ 387428 h 903022"/>
                <a:gd name="connsiteX887" fmla="*/ 478131 w 551389"/>
                <a:gd name="connsiteY887" fmla="*/ 381776 h 903022"/>
                <a:gd name="connsiteX888" fmla="*/ 478568 w 551389"/>
                <a:gd name="connsiteY888" fmla="*/ 377874 h 903022"/>
                <a:gd name="connsiteX889" fmla="*/ 478265 w 551389"/>
                <a:gd name="connsiteY889" fmla="*/ 374241 h 903022"/>
                <a:gd name="connsiteX890" fmla="*/ 477962 w 551389"/>
                <a:gd name="connsiteY890" fmla="*/ 370473 h 903022"/>
                <a:gd name="connsiteX891" fmla="*/ 477390 w 551389"/>
                <a:gd name="connsiteY891" fmla="*/ 367278 h 903022"/>
                <a:gd name="connsiteX892" fmla="*/ 476650 w 551389"/>
                <a:gd name="connsiteY892" fmla="*/ 365394 h 903022"/>
                <a:gd name="connsiteX893" fmla="*/ 476785 w 551389"/>
                <a:gd name="connsiteY893" fmla="*/ 363947 h 903022"/>
                <a:gd name="connsiteX894" fmla="*/ 477357 w 551389"/>
                <a:gd name="connsiteY894" fmla="*/ 361323 h 903022"/>
                <a:gd name="connsiteX895" fmla="*/ 478366 w 551389"/>
                <a:gd name="connsiteY895" fmla="*/ 359440 h 903022"/>
                <a:gd name="connsiteX896" fmla="*/ 479073 w 551389"/>
                <a:gd name="connsiteY896" fmla="*/ 356681 h 903022"/>
                <a:gd name="connsiteX897" fmla="*/ 479948 w 551389"/>
                <a:gd name="connsiteY897" fmla="*/ 354360 h 903022"/>
                <a:gd name="connsiteX898" fmla="*/ 479948 w 551389"/>
                <a:gd name="connsiteY898" fmla="*/ 351601 h 903022"/>
                <a:gd name="connsiteX899" fmla="*/ 478938 w 551389"/>
                <a:gd name="connsiteY899" fmla="*/ 350020 h 903022"/>
                <a:gd name="connsiteX900" fmla="*/ 477626 w 551389"/>
                <a:gd name="connsiteY900" fmla="*/ 346555 h 903022"/>
                <a:gd name="connsiteX901" fmla="*/ 475035 w 551389"/>
                <a:gd name="connsiteY901" fmla="*/ 342653 h 903022"/>
                <a:gd name="connsiteX902" fmla="*/ 473150 w 551389"/>
                <a:gd name="connsiteY902" fmla="*/ 340198 h 903022"/>
                <a:gd name="connsiteX903" fmla="*/ 471265 w 551389"/>
                <a:gd name="connsiteY903" fmla="*/ 338751 h 903022"/>
                <a:gd name="connsiteX904" fmla="*/ 471265 w 551389"/>
                <a:gd name="connsiteY904" fmla="*/ 337607 h 903022"/>
                <a:gd name="connsiteX905" fmla="*/ 472207 w 551389"/>
                <a:gd name="connsiteY905" fmla="*/ 335858 h 903022"/>
                <a:gd name="connsiteX906" fmla="*/ 474025 w 551389"/>
                <a:gd name="connsiteY906" fmla="*/ 334714 h 903022"/>
                <a:gd name="connsiteX907" fmla="*/ 475035 w 551389"/>
                <a:gd name="connsiteY907" fmla="*/ 332830 h 903022"/>
                <a:gd name="connsiteX908" fmla="*/ 475741 w 551389"/>
                <a:gd name="connsiteY908" fmla="*/ 330509 h 903022"/>
                <a:gd name="connsiteX909" fmla="*/ 475607 w 551389"/>
                <a:gd name="connsiteY909" fmla="*/ 327751 h 903022"/>
                <a:gd name="connsiteX910" fmla="*/ 473857 w 551389"/>
                <a:gd name="connsiteY910" fmla="*/ 327751 h 903022"/>
                <a:gd name="connsiteX911" fmla="*/ 471972 w 551389"/>
                <a:gd name="connsiteY911" fmla="*/ 324858 h 903022"/>
                <a:gd name="connsiteX912" fmla="*/ 469515 w 551389"/>
                <a:gd name="connsiteY912" fmla="*/ 324858 h 903022"/>
                <a:gd name="connsiteX913" fmla="*/ 469515 w 551389"/>
                <a:gd name="connsiteY913" fmla="*/ 323277 h 903022"/>
                <a:gd name="connsiteX914" fmla="*/ 471837 w 551389"/>
                <a:gd name="connsiteY914" fmla="*/ 322268 h 903022"/>
                <a:gd name="connsiteX915" fmla="*/ 473419 w 551389"/>
                <a:gd name="connsiteY915" fmla="*/ 320081 h 903022"/>
                <a:gd name="connsiteX916" fmla="*/ 472712 w 551389"/>
                <a:gd name="connsiteY916" fmla="*/ 318063 h 903022"/>
                <a:gd name="connsiteX917" fmla="*/ 471703 w 551389"/>
                <a:gd name="connsiteY917" fmla="*/ 316751 h 903022"/>
                <a:gd name="connsiteX918" fmla="*/ 470558 w 551389"/>
                <a:gd name="connsiteY918" fmla="*/ 315001 h 903022"/>
                <a:gd name="connsiteX919" fmla="*/ 471703 w 551389"/>
                <a:gd name="connsiteY919" fmla="*/ 313555 h 903022"/>
                <a:gd name="connsiteX920" fmla="*/ 470390 w 551389"/>
                <a:gd name="connsiteY920" fmla="*/ 310797 h 903022"/>
                <a:gd name="connsiteX921" fmla="*/ 469515 w 551389"/>
                <a:gd name="connsiteY921" fmla="*/ 305717 h 903022"/>
                <a:gd name="connsiteX922" fmla="*/ 469515 w 551389"/>
                <a:gd name="connsiteY922" fmla="*/ 302252 h 903022"/>
                <a:gd name="connsiteX923" fmla="*/ 471030 w 551389"/>
                <a:gd name="connsiteY923" fmla="*/ 300368 h 903022"/>
                <a:gd name="connsiteX924" fmla="*/ 474732 w 551389"/>
                <a:gd name="connsiteY924" fmla="*/ 299796 h 903022"/>
                <a:gd name="connsiteX925" fmla="*/ 476179 w 551389"/>
                <a:gd name="connsiteY925" fmla="*/ 298047 h 903022"/>
                <a:gd name="connsiteX926" fmla="*/ 475741 w 551389"/>
                <a:gd name="connsiteY926" fmla="*/ 295861 h 903022"/>
                <a:gd name="connsiteX927" fmla="*/ 474732 w 551389"/>
                <a:gd name="connsiteY927" fmla="*/ 295289 h 903022"/>
                <a:gd name="connsiteX928" fmla="*/ 474732 w 551389"/>
                <a:gd name="connsiteY928" fmla="*/ 292261 h 903022"/>
                <a:gd name="connsiteX929" fmla="*/ 479006 w 551389"/>
                <a:gd name="connsiteY929" fmla="*/ 290815 h 903022"/>
                <a:gd name="connsiteX930" fmla="*/ 480520 w 551389"/>
                <a:gd name="connsiteY930" fmla="*/ 287787 h 903022"/>
                <a:gd name="connsiteX931" fmla="*/ 482977 w 551389"/>
                <a:gd name="connsiteY931" fmla="*/ 283447 h 903022"/>
                <a:gd name="connsiteX932" fmla="*/ 486309 w 551389"/>
                <a:gd name="connsiteY932" fmla="*/ 278099 h 903022"/>
                <a:gd name="connsiteX933" fmla="*/ 492838 w 551389"/>
                <a:gd name="connsiteY933" fmla="*/ 273187 h 903022"/>
                <a:gd name="connsiteX934" fmla="*/ 494722 w 551389"/>
                <a:gd name="connsiteY934" fmla="*/ 269117 h 903022"/>
                <a:gd name="connsiteX935" fmla="*/ 497314 w 551389"/>
                <a:gd name="connsiteY935" fmla="*/ 266661 h 903022"/>
                <a:gd name="connsiteX936" fmla="*/ 498189 w 551389"/>
                <a:gd name="connsiteY936" fmla="*/ 263903 h 903022"/>
                <a:gd name="connsiteX937" fmla="*/ 497886 w 551389"/>
                <a:gd name="connsiteY937" fmla="*/ 259395 h 903022"/>
                <a:gd name="connsiteX938" fmla="*/ 495867 w 551389"/>
                <a:gd name="connsiteY938" fmla="*/ 257780 h 903022"/>
                <a:gd name="connsiteX939" fmla="*/ 492972 w 551389"/>
                <a:gd name="connsiteY939" fmla="*/ 252701 h 903022"/>
                <a:gd name="connsiteX940" fmla="*/ 493275 w 551389"/>
                <a:gd name="connsiteY940" fmla="*/ 250111 h 903022"/>
                <a:gd name="connsiteX941" fmla="*/ 496304 w 551389"/>
                <a:gd name="connsiteY941" fmla="*/ 248092 h 903022"/>
                <a:gd name="connsiteX942" fmla="*/ 499333 w 551389"/>
                <a:gd name="connsiteY942" fmla="*/ 244022 h 903022"/>
                <a:gd name="connsiteX943" fmla="*/ 502362 w 551389"/>
                <a:gd name="connsiteY943" fmla="*/ 243450 h 903022"/>
                <a:gd name="connsiteX944" fmla="*/ 505256 w 551389"/>
                <a:gd name="connsiteY944" fmla="*/ 241129 h 903022"/>
                <a:gd name="connsiteX945" fmla="*/ 506703 w 551389"/>
                <a:gd name="connsiteY945" fmla="*/ 238673 h 903022"/>
                <a:gd name="connsiteX946" fmla="*/ 507444 w 551389"/>
                <a:gd name="connsiteY946" fmla="*/ 234334 h 903022"/>
                <a:gd name="connsiteX947" fmla="*/ 503977 w 551389"/>
                <a:gd name="connsiteY947" fmla="*/ 230129 h 903022"/>
                <a:gd name="connsiteX948" fmla="*/ 504550 w 551389"/>
                <a:gd name="connsiteY948" fmla="*/ 227505 h 903022"/>
                <a:gd name="connsiteX949" fmla="*/ 506131 w 551389"/>
                <a:gd name="connsiteY949" fmla="*/ 225318 h 903022"/>
                <a:gd name="connsiteX950" fmla="*/ 507276 w 551389"/>
                <a:gd name="connsiteY950" fmla="*/ 223300 h 903022"/>
                <a:gd name="connsiteX951" fmla="*/ 504516 w 551389"/>
                <a:gd name="connsiteY951" fmla="*/ 221853 h 903022"/>
                <a:gd name="connsiteX952" fmla="*/ 500747 w 551389"/>
                <a:gd name="connsiteY952" fmla="*/ 220541 h 903022"/>
                <a:gd name="connsiteX953" fmla="*/ 500747 w 551389"/>
                <a:gd name="connsiteY953" fmla="*/ 219398 h 903022"/>
                <a:gd name="connsiteX954" fmla="*/ 501184 w 551389"/>
                <a:gd name="connsiteY954" fmla="*/ 216303 h 903022"/>
                <a:gd name="connsiteX955" fmla="*/ 502497 w 551389"/>
                <a:gd name="connsiteY955" fmla="*/ 215529 h 903022"/>
                <a:gd name="connsiteX956" fmla="*/ 504247 w 551389"/>
                <a:gd name="connsiteY956" fmla="*/ 214116 h 903022"/>
                <a:gd name="connsiteX957" fmla="*/ 504449 w 551389"/>
                <a:gd name="connsiteY957" fmla="*/ 213040 h 903022"/>
                <a:gd name="connsiteX958" fmla="*/ 501521 w 551389"/>
                <a:gd name="connsiteY958" fmla="*/ 210651 h 903022"/>
                <a:gd name="connsiteX959" fmla="*/ 499131 w 551389"/>
                <a:gd name="connsiteY959" fmla="*/ 209440 h 903022"/>
                <a:gd name="connsiteX960" fmla="*/ 498155 w 551389"/>
                <a:gd name="connsiteY960" fmla="*/ 208128 h 903022"/>
                <a:gd name="connsiteX961" fmla="*/ 496843 w 551389"/>
                <a:gd name="connsiteY961" fmla="*/ 207355 h 903022"/>
                <a:gd name="connsiteX962" fmla="*/ 494117 w 551389"/>
                <a:gd name="connsiteY962" fmla="*/ 206480 h 903022"/>
                <a:gd name="connsiteX963" fmla="*/ 493780 w 551389"/>
                <a:gd name="connsiteY963" fmla="*/ 204865 h 903022"/>
                <a:gd name="connsiteX964" fmla="*/ 493780 w 551389"/>
                <a:gd name="connsiteY964" fmla="*/ 202141 h 903022"/>
                <a:gd name="connsiteX965" fmla="*/ 492198 w 551389"/>
                <a:gd name="connsiteY965" fmla="*/ 199315 h 903022"/>
                <a:gd name="connsiteX966" fmla="*/ 490078 w 551389"/>
                <a:gd name="connsiteY966" fmla="*/ 196590 h 903022"/>
                <a:gd name="connsiteX967" fmla="*/ 488665 w 551389"/>
                <a:gd name="connsiteY967" fmla="*/ 195177 h 903022"/>
                <a:gd name="connsiteX968" fmla="*/ 485636 w 551389"/>
                <a:gd name="connsiteY968" fmla="*/ 191813 h 903022"/>
                <a:gd name="connsiteX969" fmla="*/ 483347 w 551389"/>
                <a:gd name="connsiteY969" fmla="*/ 190299 h 903022"/>
                <a:gd name="connsiteX970" fmla="*/ 480857 w 551389"/>
                <a:gd name="connsiteY970" fmla="*/ 188685 h 903022"/>
                <a:gd name="connsiteX971" fmla="*/ 478804 w 551389"/>
                <a:gd name="connsiteY971" fmla="*/ 185859 h 903022"/>
                <a:gd name="connsiteX972" fmla="*/ 479881 w 551389"/>
                <a:gd name="connsiteY972" fmla="*/ 183571 h 903022"/>
                <a:gd name="connsiteX973" fmla="*/ 479881 w 551389"/>
                <a:gd name="connsiteY973" fmla="*/ 182260 h 903022"/>
                <a:gd name="connsiteX974" fmla="*/ 479881 w 551389"/>
                <a:gd name="connsiteY974" fmla="*/ 180073 h 903022"/>
                <a:gd name="connsiteX975" fmla="*/ 480655 w 551389"/>
                <a:gd name="connsiteY975" fmla="*/ 176810 h 903022"/>
                <a:gd name="connsiteX976" fmla="*/ 482506 w 551389"/>
                <a:gd name="connsiteY976" fmla="*/ 174522 h 903022"/>
                <a:gd name="connsiteX977" fmla="*/ 482169 w 551389"/>
                <a:gd name="connsiteY977" fmla="*/ 171697 h 903022"/>
                <a:gd name="connsiteX978" fmla="*/ 479914 w 551389"/>
                <a:gd name="connsiteY978" fmla="*/ 170082 h 903022"/>
                <a:gd name="connsiteX979" fmla="*/ 479914 w 551389"/>
                <a:gd name="connsiteY979" fmla="*/ 166617 h 903022"/>
                <a:gd name="connsiteX980" fmla="*/ 482068 w 551389"/>
                <a:gd name="connsiteY980" fmla="*/ 163589 h 903022"/>
                <a:gd name="connsiteX981" fmla="*/ 483145 w 551389"/>
                <a:gd name="connsiteY981" fmla="*/ 161201 h 903022"/>
                <a:gd name="connsiteX982" fmla="*/ 484323 w 551389"/>
                <a:gd name="connsiteY982" fmla="*/ 157063 h 903022"/>
                <a:gd name="connsiteX983" fmla="*/ 489102 w 551389"/>
                <a:gd name="connsiteY983" fmla="*/ 152724 h 903022"/>
                <a:gd name="connsiteX984" fmla="*/ 491054 w 551389"/>
                <a:gd name="connsiteY984" fmla="*/ 149461 h 903022"/>
                <a:gd name="connsiteX985" fmla="*/ 493242 w 551389"/>
                <a:gd name="connsiteY985" fmla="*/ 148149 h 903022"/>
                <a:gd name="connsiteX986" fmla="*/ 497785 w 551389"/>
                <a:gd name="connsiteY986" fmla="*/ 145962 h 903022"/>
                <a:gd name="connsiteX987" fmla="*/ 499972 w 551389"/>
                <a:gd name="connsiteY987" fmla="*/ 143238 h 903022"/>
                <a:gd name="connsiteX988" fmla="*/ 501487 w 551389"/>
                <a:gd name="connsiteY988" fmla="*/ 139638 h 903022"/>
                <a:gd name="connsiteX989" fmla="*/ 502900 w 551389"/>
                <a:gd name="connsiteY989" fmla="*/ 137048 h 903022"/>
                <a:gd name="connsiteX990" fmla="*/ 504953 w 551389"/>
                <a:gd name="connsiteY990" fmla="*/ 133347 h 903022"/>
                <a:gd name="connsiteX991" fmla="*/ 507881 w 551389"/>
                <a:gd name="connsiteY991" fmla="*/ 131834 h 903022"/>
                <a:gd name="connsiteX992" fmla="*/ 511381 w 551389"/>
                <a:gd name="connsiteY992" fmla="*/ 130959 h 903022"/>
                <a:gd name="connsiteX993" fmla="*/ 513670 w 551389"/>
                <a:gd name="connsiteY993" fmla="*/ 129445 h 903022"/>
                <a:gd name="connsiteX994" fmla="*/ 514646 w 551389"/>
                <a:gd name="connsiteY994" fmla="*/ 126620 h 903022"/>
                <a:gd name="connsiteX995" fmla="*/ 514646 w 551389"/>
                <a:gd name="connsiteY995" fmla="*/ 121607 h 903022"/>
                <a:gd name="connsiteX996" fmla="*/ 515790 w 551389"/>
                <a:gd name="connsiteY996" fmla="*/ 116931 h 903022"/>
                <a:gd name="connsiteX997" fmla="*/ 515521 w 551389"/>
                <a:gd name="connsiteY997" fmla="*/ 114206 h 903022"/>
                <a:gd name="connsiteX998" fmla="*/ 516396 w 551389"/>
                <a:gd name="connsiteY998" fmla="*/ 110944 h 903022"/>
                <a:gd name="connsiteX999" fmla="*/ 516396 w 551389"/>
                <a:gd name="connsiteY999" fmla="*/ 107479 h 903022"/>
                <a:gd name="connsiteX1000" fmla="*/ 516396 w 551389"/>
                <a:gd name="connsiteY1000" fmla="*/ 104115 h 903022"/>
                <a:gd name="connsiteX1001" fmla="*/ 517372 w 551389"/>
                <a:gd name="connsiteY1001" fmla="*/ 101524 h 903022"/>
                <a:gd name="connsiteX1002" fmla="*/ 519661 w 551389"/>
                <a:gd name="connsiteY1002" fmla="*/ 98934 h 903022"/>
                <a:gd name="connsiteX1003" fmla="*/ 521511 w 551389"/>
                <a:gd name="connsiteY1003" fmla="*/ 96108 h 903022"/>
                <a:gd name="connsiteX1004" fmla="*/ 523362 w 551389"/>
                <a:gd name="connsiteY1004" fmla="*/ 91870 h 903022"/>
                <a:gd name="connsiteX1005" fmla="*/ 523362 w 551389"/>
                <a:gd name="connsiteY1005" fmla="*/ 89683 h 903022"/>
                <a:gd name="connsiteX1006" fmla="*/ 524641 w 551389"/>
                <a:gd name="connsiteY1006" fmla="*/ 87194 h 903022"/>
                <a:gd name="connsiteX1007" fmla="*/ 525853 w 551389"/>
                <a:gd name="connsiteY1007" fmla="*/ 84032 h 903022"/>
                <a:gd name="connsiteX1008" fmla="*/ 526290 w 551389"/>
                <a:gd name="connsiteY1008" fmla="*/ 80029 h 903022"/>
                <a:gd name="connsiteX1009" fmla="*/ 524574 w 551389"/>
                <a:gd name="connsiteY1009" fmla="*/ 76564 h 903022"/>
                <a:gd name="connsiteX1010" fmla="*/ 524574 w 551389"/>
                <a:gd name="connsiteY1010" fmla="*/ 72527 h 903022"/>
                <a:gd name="connsiteX1011" fmla="*/ 526964 w 551389"/>
                <a:gd name="connsiteY1011" fmla="*/ 70239 h 903022"/>
                <a:gd name="connsiteX1012" fmla="*/ 529454 w 551389"/>
                <a:gd name="connsiteY1012" fmla="*/ 69466 h 903022"/>
                <a:gd name="connsiteX1013" fmla="*/ 531305 w 551389"/>
                <a:gd name="connsiteY1013" fmla="*/ 67717 h 903022"/>
                <a:gd name="connsiteX1014" fmla="*/ 534569 w 551389"/>
                <a:gd name="connsiteY1014" fmla="*/ 65429 h 903022"/>
                <a:gd name="connsiteX1015" fmla="*/ 537060 w 551389"/>
                <a:gd name="connsiteY1015" fmla="*/ 62940 h 903022"/>
                <a:gd name="connsiteX1016" fmla="*/ 539012 w 551389"/>
                <a:gd name="connsiteY1016" fmla="*/ 58701 h 903022"/>
                <a:gd name="connsiteX1017" fmla="*/ 540089 w 551389"/>
                <a:gd name="connsiteY1017" fmla="*/ 53924 h 903022"/>
                <a:gd name="connsiteX1018" fmla="*/ 540190 w 551389"/>
                <a:gd name="connsiteY1018" fmla="*/ 50325 h 903022"/>
                <a:gd name="connsiteX1019" fmla="*/ 540964 w 551389"/>
                <a:gd name="connsiteY1019" fmla="*/ 43597 h 903022"/>
                <a:gd name="connsiteX1020" fmla="*/ 548233 w 551389"/>
                <a:gd name="connsiteY1020" fmla="*/ 37609 h 903022"/>
                <a:gd name="connsiteX1021" fmla="*/ 547829 w 551389"/>
                <a:gd name="connsiteY1021" fmla="*/ 36062 h 903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</a:cxnLst>
              <a:rect l="l" t="t" r="r" b="b"/>
              <a:pathLst>
                <a:path w="551389" h="903022">
                  <a:moveTo>
                    <a:pt x="547829" y="36062"/>
                  </a:moveTo>
                  <a:cubicBezTo>
                    <a:pt x="547190" y="36062"/>
                    <a:pt x="546079" y="35624"/>
                    <a:pt x="545238" y="35187"/>
                  </a:cubicBezTo>
                  <a:cubicBezTo>
                    <a:pt x="544363" y="34750"/>
                    <a:pt x="542748" y="32462"/>
                    <a:pt x="542310" y="32260"/>
                  </a:cubicBezTo>
                  <a:cubicBezTo>
                    <a:pt x="541872" y="32059"/>
                    <a:pt x="539820" y="31722"/>
                    <a:pt x="537868" y="30848"/>
                  </a:cubicBezTo>
                  <a:cubicBezTo>
                    <a:pt x="535916" y="29973"/>
                    <a:pt x="536353" y="26172"/>
                    <a:pt x="536353" y="25734"/>
                  </a:cubicBezTo>
                  <a:cubicBezTo>
                    <a:pt x="536353" y="25297"/>
                    <a:pt x="538743" y="23548"/>
                    <a:pt x="539517" y="23548"/>
                  </a:cubicBezTo>
                  <a:cubicBezTo>
                    <a:pt x="540055" y="23548"/>
                    <a:pt x="540829" y="23615"/>
                    <a:pt x="541906" y="23716"/>
                  </a:cubicBezTo>
                  <a:lnTo>
                    <a:pt x="541334" y="23009"/>
                  </a:lnTo>
                  <a:lnTo>
                    <a:pt x="542546" y="20150"/>
                  </a:lnTo>
                  <a:lnTo>
                    <a:pt x="542546" y="16382"/>
                  </a:lnTo>
                  <a:lnTo>
                    <a:pt x="534704" y="16382"/>
                  </a:lnTo>
                  <a:lnTo>
                    <a:pt x="533829" y="12043"/>
                  </a:lnTo>
                  <a:lnTo>
                    <a:pt x="533829" y="8578"/>
                  </a:lnTo>
                  <a:lnTo>
                    <a:pt x="536017" y="6392"/>
                  </a:lnTo>
                  <a:lnTo>
                    <a:pt x="537464" y="3499"/>
                  </a:lnTo>
                  <a:lnTo>
                    <a:pt x="537161" y="1749"/>
                  </a:lnTo>
                  <a:lnTo>
                    <a:pt x="535276" y="875"/>
                  </a:lnTo>
                  <a:lnTo>
                    <a:pt x="533829" y="0"/>
                  </a:lnTo>
                  <a:lnTo>
                    <a:pt x="530363" y="1144"/>
                  </a:lnTo>
                  <a:lnTo>
                    <a:pt x="526156" y="4340"/>
                  </a:lnTo>
                  <a:lnTo>
                    <a:pt x="521814" y="7233"/>
                  </a:lnTo>
                  <a:cubicBezTo>
                    <a:pt x="521814" y="7233"/>
                    <a:pt x="513973" y="12447"/>
                    <a:pt x="513973" y="12884"/>
                  </a:cubicBezTo>
                  <a:cubicBezTo>
                    <a:pt x="513973" y="13321"/>
                    <a:pt x="509631" y="17358"/>
                    <a:pt x="509631" y="17358"/>
                  </a:cubicBezTo>
                  <a:lnTo>
                    <a:pt x="504852" y="22572"/>
                  </a:lnTo>
                  <a:cubicBezTo>
                    <a:pt x="504852" y="22572"/>
                    <a:pt x="503473" y="26777"/>
                    <a:pt x="503170" y="27214"/>
                  </a:cubicBezTo>
                  <a:cubicBezTo>
                    <a:pt x="502867" y="27652"/>
                    <a:pt x="500780" y="30107"/>
                    <a:pt x="500780" y="30107"/>
                  </a:cubicBezTo>
                  <a:lnTo>
                    <a:pt x="500780" y="32866"/>
                  </a:lnTo>
                  <a:lnTo>
                    <a:pt x="498189" y="34615"/>
                  </a:lnTo>
                  <a:lnTo>
                    <a:pt x="496876" y="37205"/>
                  </a:lnTo>
                  <a:cubicBezTo>
                    <a:pt x="496876" y="37205"/>
                    <a:pt x="496001" y="36903"/>
                    <a:pt x="495429" y="37205"/>
                  </a:cubicBezTo>
                  <a:cubicBezTo>
                    <a:pt x="494857" y="37508"/>
                    <a:pt x="491222" y="32866"/>
                    <a:pt x="490347" y="32563"/>
                  </a:cubicBezTo>
                  <a:cubicBezTo>
                    <a:pt x="489472" y="32260"/>
                    <a:pt x="485568" y="31117"/>
                    <a:pt x="485568" y="31117"/>
                  </a:cubicBezTo>
                  <a:lnTo>
                    <a:pt x="482674" y="29367"/>
                  </a:lnTo>
                  <a:lnTo>
                    <a:pt x="480352" y="28661"/>
                  </a:lnTo>
                  <a:lnTo>
                    <a:pt x="477761" y="28795"/>
                  </a:lnTo>
                  <a:cubicBezTo>
                    <a:pt x="477761" y="28795"/>
                    <a:pt x="474563" y="29670"/>
                    <a:pt x="474126" y="29939"/>
                  </a:cubicBezTo>
                  <a:cubicBezTo>
                    <a:pt x="473688" y="30242"/>
                    <a:pt x="474126" y="33404"/>
                    <a:pt x="474126" y="33404"/>
                  </a:cubicBezTo>
                  <a:lnTo>
                    <a:pt x="471972" y="34716"/>
                  </a:lnTo>
                  <a:lnTo>
                    <a:pt x="468203" y="30377"/>
                  </a:lnTo>
                  <a:lnTo>
                    <a:pt x="464871" y="27618"/>
                  </a:lnTo>
                  <a:lnTo>
                    <a:pt x="461775" y="23279"/>
                  </a:lnTo>
                  <a:lnTo>
                    <a:pt x="460799" y="20823"/>
                  </a:lnTo>
                  <a:lnTo>
                    <a:pt x="460799" y="17190"/>
                  </a:lnTo>
                  <a:lnTo>
                    <a:pt x="457601" y="15676"/>
                  </a:lnTo>
                  <a:lnTo>
                    <a:pt x="453092" y="16315"/>
                  </a:lnTo>
                  <a:lnTo>
                    <a:pt x="449457" y="16315"/>
                  </a:lnTo>
                  <a:lnTo>
                    <a:pt x="444678" y="16450"/>
                  </a:lnTo>
                  <a:lnTo>
                    <a:pt x="440606" y="19343"/>
                  </a:lnTo>
                  <a:lnTo>
                    <a:pt x="444678" y="22976"/>
                  </a:lnTo>
                  <a:lnTo>
                    <a:pt x="448885" y="27046"/>
                  </a:lnTo>
                  <a:lnTo>
                    <a:pt x="453664" y="28795"/>
                  </a:lnTo>
                  <a:cubicBezTo>
                    <a:pt x="453967" y="29536"/>
                    <a:pt x="452789" y="30545"/>
                    <a:pt x="451779" y="31554"/>
                  </a:cubicBezTo>
                  <a:cubicBezTo>
                    <a:pt x="450769" y="32563"/>
                    <a:pt x="449020" y="34010"/>
                    <a:pt x="449020" y="34010"/>
                  </a:cubicBezTo>
                  <a:cubicBezTo>
                    <a:pt x="449020" y="34010"/>
                    <a:pt x="447842" y="35153"/>
                    <a:pt x="447438" y="35591"/>
                  </a:cubicBezTo>
                  <a:cubicBezTo>
                    <a:pt x="447000" y="36028"/>
                    <a:pt x="443803" y="37912"/>
                    <a:pt x="443366" y="38181"/>
                  </a:cubicBezTo>
                  <a:cubicBezTo>
                    <a:pt x="442928" y="38484"/>
                    <a:pt x="440337" y="39190"/>
                    <a:pt x="439462" y="40065"/>
                  </a:cubicBezTo>
                  <a:cubicBezTo>
                    <a:pt x="438587" y="40939"/>
                    <a:pt x="435389" y="43261"/>
                    <a:pt x="435389" y="43261"/>
                  </a:cubicBezTo>
                  <a:cubicBezTo>
                    <a:pt x="435389" y="43261"/>
                    <a:pt x="432495" y="43698"/>
                    <a:pt x="431485" y="44572"/>
                  </a:cubicBezTo>
                  <a:cubicBezTo>
                    <a:pt x="430476" y="45447"/>
                    <a:pt x="426404" y="49047"/>
                    <a:pt x="426269" y="49921"/>
                  </a:cubicBezTo>
                  <a:cubicBezTo>
                    <a:pt x="426134" y="50796"/>
                    <a:pt x="423206" y="53689"/>
                    <a:pt x="423206" y="53689"/>
                  </a:cubicBezTo>
                  <a:lnTo>
                    <a:pt x="418427" y="56582"/>
                  </a:lnTo>
                  <a:lnTo>
                    <a:pt x="413480" y="58466"/>
                  </a:lnTo>
                  <a:lnTo>
                    <a:pt x="407389" y="60047"/>
                  </a:lnTo>
                  <a:lnTo>
                    <a:pt x="405807" y="63512"/>
                  </a:lnTo>
                  <a:lnTo>
                    <a:pt x="404225" y="68154"/>
                  </a:lnTo>
                  <a:cubicBezTo>
                    <a:pt x="404225" y="68154"/>
                    <a:pt x="403855" y="71921"/>
                    <a:pt x="403855" y="72359"/>
                  </a:cubicBezTo>
                  <a:cubicBezTo>
                    <a:pt x="403855" y="72796"/>
                    <a:pt x="403350" y="77573"/>
                    <a:pt x="403350" y="77573"/>
                  </a:cubicBezTo>
                  <a:lnTo>
                    <a:pt x="403350" y="81475"/>
                  </a:lnTo>
                  <a:lnTo>
                    <a:pt x="400456" y="83796"/>
                  </a:lnTo>
                  <a:lnTo>
                    <a:pt x="398571" y="87867"/>
                  </a:lnTo>
                  <a:lnTo>
                    <a:pt x="393490" y="89313"/>
                  </a:lnTo>
                  <a:lnTo>
                    <a:pt x="388576" y="89313"/>
                  </a:lnTo>
                  <a:lnTo>
                    <a:pt x="384941" y="86555"/>
                  </a:lnTo>
                  <a:lnTo>
                    <a:pt x="381744" y="88439"/>
                  </a:lnTo>
                  <a:cubicBezTo>
                    <a:pt x="381744" y="88439"/>
                    <a:pt x="379052" y="93215"/>
                    <a:pt x="379052" y="93653"/>
                  </a:cubicBezTo>
                  <a:cubicBezTo>
                    <a:pt x="379052" y="94090"/>
                    <a:pt x="377234" y="97690"/>
                    <a:pt x="377234" y="97690"/>
                  </a:cubicBezTo>
                  <a:lnTo>
                    <a:pt x="377234" y="102332"/>
                  </a:lnTo>
                  <a:lnTo>
                    <a:pt x="376494" y="105965"/>
                  </a:lnTo>
                  <a:lnTo>
                    <a:pt x="378109" y="109295"/>
                  </a:lnTo>
                  <a:lnTo>
                    <a:pt x="378681" y="111751"/>
                  </a:lnTo>
                  <a:lnTo>
                    <a:pt x="374475" y="112491"/>
                  </a:lnTo>
                  <a:lnTo>
                    <a:pt x="370840" y="113366"/>
                  </a:lnTo>
                  <a:lnTo>
                    <a:pt x="368383" y="116124"/>
                  </a:lnTo>
                  <a:cubicBezTo>
                    <a:pt x="368383" y="116124"/>
                    <a:pt x="365051" y="116999"/>
                    <a:pt x="364748" y="117436"/>
                  </a:cubicBezTo>
                  <a:cubicBezTo>
                    <a:pt x="364446" y="117873"/>
                    <a:pt x="361854" y="122650"/>
                    <a:pt x="361854" y="122650"/>
                  </a:cubicBezTo>
                  <a:lnTo>
                    <a:pt x="357647" y="126283"/>
                  </a:lnTo>
                  <a:lnTo>
                    <a:pt x="355628" y="127292"/>
                  </a:lnTo>
                  <a:lnTo>
                    <a:pt x="351556" y="129311"/>
                  </a:lnTo>
                  <a:lnTo>
                    <a:pt x="346777" y="129311"/>
                  </a:lnTo>
                  <a:lnTo>
                    <a:pt x="345195" y="132776"/>
                  </a:lnTo>
                  <a:lnTo>
                    <a:pt x="342435" y="135669"/>
                  </a:lnTo>
                  <a:lnTo>
                    <a:pt x="343075" y="140176"/>
                  </a:lnTo>
                  <a:lnTo>
                    <a:pt x="338935" y="144516"/>
                  </a:lnTo>
                  <a:lnTo>
                    <a:pt x="338935" y="147543"/>
                  </a:lnTo>
                  <a:lnTo>
                    <a:pt x="338935" y="149360"/>
                  </a:lnTo>
                  <a:lnTo>
                    <a:pt x="338935" y="154574"/>
                  </a:lnTo>
                  <a:lnTo>
                    <a:pt x="337926" y="160528"/>
                  </a:lnTo>
                  <a:lnTo>
                    <a:pt x="339810" y="163859"/>
                  </a:lnTo>
                  <a:lnTo>
                    <a:pt x="342873" y="166617"/>
                  </a:lnTo>
                  <a:cubicBezTo>
                    <a:pt x="342873" y="166617"/>
                    <a:pt x="345027" y="165742"/>
                    <a:pt x="345633" y="166617"/>
                  </a:cubicBezTo>
                  <a:cubicBezTo>
                    <a:pt x="346205" y="167492"/>
                    <a:pt x="349099" y="170250"/>
                    <a:pt x="349537" y="170385"/>
                  </a:cubicBezTo>
                  <a:cubicBezTo>
                    <a:pt x="349974" y="170519"/>
                    <a:pt x="351287" y="173850"/>
                    <a:pt x="351287" y="173850"/>
                  </a:cubicBezTo>
                  <a:lnTo>
                    <a:pt x="351590" y="176877"/>
                  </a:lnTo>
                  <a:cubicBezTo>
                    <a:pt x="351590" y="176877"/>
                    <a:pt x="351590" y="179333"/>
                    <a:pt x="351455" y="179770"/>
                  </a:cubicBezTo>
                  <a:cubicBezTo>
                    <a:pt x="351320" y="180207"/>
                    <a:pt x="350142" y="182226"/>
                    <a:pt x="350142" y="182226"/>
                  </a:cubicBezTo>
                  <a:lnTo>
                    <a:pt x="348392" y="185994"/>
                  </a:lnTo>
                  <a:cubicBezTo>
                    <a:pt x="348392" y="185994"/>
                    <a:pt x="347652" y="188012"/>
                    <a:pt x="347517" y="188449"/>
                  </a:cubicBezTo>
                  <a:cubicBezTo>
                    <a:pt x="347383" y="188887"/>
                    <a:pt x="347214" y="190333"/>
                    <a:pt x="346642" y="190636"/>
                  </a:cubicBezTo>
                  <a:cubicBezTo>
                    <a:pt x="346070" y="190938"/>
                    <a:pt x="346205" y="190501"/>
                    <a:pt x="344051" y="190636"/>
                  </a:cubicBezTo>
                  <a:cubicBezTo>
                    <a:pt x="341863" y="190770"/>
                    <a:pt x="339575" y="190972"/>
                    <a:pt x="339137" y="190737"/>
                  </a:cubicBezTo>
                  <a:cubicBezTo>
                    <a:pt x="338700" y="190501"/>
                    <a:pt x="338128" y="190064"/>
                    <a:pt x="337993" y="189189"/>
                  </a:cubicBezTo>
                  <a:cubicBezTo>
                    <a:pt x="337858" y="188315"/>
                    <a:pt x="337253" y="185119"/>
                    <a:pt x="337118" y="184715"/>
                  </a:cubicBezTo>
                  <a:cubicBezTo>
                    <a:pt x="336983" y="184278"/>
                    <a:pt x="333921" y="182394"/>
                    <a:pt x="333921" y="182394"/>
                  </a:cubicBezTo>
                  <a:lnTo>
                    <a:pt x="332777" y="178761"/>
                  </a:lnTo>
                  <a:lnTo>
                    <a:pt x="331262" y="178324"/>
                  </a:lnTo>
                  <a:lnTo>
                    <a:pt x="328570" y="178626"/>
                  </a:lnTo>
                  <a:lnTo>
                    <a:pt x="328570" y="180645"/>
                  </a:lnTo>
                  <a:lnTo>
                    <a:pt x="326820" y="183841"/>
                  </a:lnTo>
                  <a:lnTo>
                    <a:pt x="326820" y="185859"/>
                  </a:lnTo>
                  <a:lnTo>
                    <a:pt x="326820" y="187608"/>
                  </a:lnTo>
                  <a:lnTo>
                    <a:pt x="325070" y="190232"/>
                  </a:lnTo>
                  <a:lnTo>
                    <a:pt x="325070" y="192856"/>
                  </a:lnTo>
                  <a:lnTo>
                    <a:pt x="325070" y="198070"/>
                  </a:lnTo>
                  <a:cubicBezTo>
                    <a:pt x="325070" y="198070"/>
                    <a:pt x="326079" y="199954"/>
                    <a:pt x="325507" y="200391"/>
                  </a:cubicBezTo>
                  <a:cubicBezTo>
                    <a:pt x="324935" y="200829"/>
                    <a:pt x="325070" y="203284"/>
                    <a:pt x="325070" y="203284"/>
                  </a:cubicBezTo>
                  <a:lnTo>
                    <a:pt x="325070" y="206749"/>
                  </a:lnTo>
                  <a:cubicBezTo>
                    <a:pt x="325070" y="206749"/>
                    <a:pt x="325036" y="208936"/>
                    <a:pt x="325070" y="209373"/>
                  </a:cubicBezTo>
                  <a:cubicBezTo>
                    <a:pt x="325070" y="209810"/>
                    <a:pt x="326820" y="211997"/>
                    <a:pt x="326820" y="211997"/>
                  </a:cubicBezTo>
                  <a:cubicBezTo>
                    <a:pt x="326820" y="211997"/>
                    <a:pt x="327829" y="211862"/>
                    <a:pt x="328839" y="212872"/>
                  </a:cubicBezTo>
                  <a:cubicBezTo>
                    <a:pt x="329849" y="213881"/>
                    <a:pt x="330589" y="214755"/>
                    <a:pt x="331027" y="214890"/>
                  </a:cubicBezTo>
                  <a:cubicBezTo>
                    <a:pt x="331464" y="215025"/>
                    <a:pt x="331599" y="216774"/>
                    <a:pt x="331464" y="217211"/>
                  </a:cubicBezTo>
                  <a:cubicBezTo>
                    <a:pt x="331329" y="217648"/>
                    <a:pt x="330724" y="219667"/>
                    <a:pt x="330724" y="219667"/>
                  </a:cubicBezTo>
                  <a:cubicBezTo>
                    <a:pt x="330724" y="219667"/>
                    <a:pt x="328570" y="218792"/>
                    <a:pt x="327695" y="219667"/>
                  </a:cubicBezTo>
                  <a:cubicBezTo>
                    <a:pt x="326820" y="220541"/>
                    <a:pt x="327358" y="220676"/>
                    <a:pt x="325070" y="220811"/>
                  </a:cubicBezTo>
                  <a:cubicBezTo>
                    <a:pt x="322781" y="220945"/>
                    <a:pt x="321031" y="220811"/>
                    <a:pt x="321031" y="220811"/>
                  </a:cubicBezTo>
                  <a:lnTo>
                    <a:pt x="313358" y="221517"/>
                  </a:lnTo>
                  <a:lnTo>
                    <a:pt x="302050" y="218254"/>
                  </a:lnTo>
                  <a:lnTo>
                    <a:pt x="297910" y="219330"/>
                  </a:lnTo>
                  <a:lnTo>
                    <a:pt x="292896" y="223233"/>
                  </a:lnTo>
                  <a:lnTo>
                    <a:pt x="285929" y="223233"/>
                  </a:lnTo>
                  <a:lnTo>
                    <a:pt x="282564" y="220912"/>
                  </a:lnTo>
                  <a:lnTo>
                    <a:pt x="279400" y="218018"/>
                  </a:lnTo>
                  <a:lnTo>
                    <a:pt x="275497" y="218018"/>
                  </a:lnTo>
                  <a:lnTo>
                    <a:pt x="271929" y="218355"/>
                  </a:lnTo>
                  <a:cubicBezTo>
                    <a:pt x="271929" y="218355"/>
                    <a:pt x="271054" y="221180"/>
                    <a:pt x="270617" y="221282"/>
                  </a:cubicBezTo>
                  <a:cubicBezTo>
                    <a:pt x="270179" y="221382"/>
                    <a:pt x="264626" y="219667"/>
                    <a:pt x="264188" y="219667"/>
                  </a:cubicBezTo>
                  <a:cubicBezTo>
                    <a:pt x="263751" y="219667"/>
                    <a:pt x="261462" y="216303"/>
                    <a:pt x="261462" y="215866"/>
                  </a:cubicBezTo>
                  <a:cubicBezTo>
                    <a:pt x="261462" y="215428"/>
                    <a:pt x="258736" y="208801"/>
                    <a:pt x="258434" y="208364"/>
                  </a:cubicBezTo>
                  <a:cubicBezTo>
                    <a:pt x="258097" y="207926"/>
                    <a:pt x="255842" y="203150"/>
                    <a:pt x="255842" y="203150"/>
                  </a:cubicBezTo>
                  <a:lnTo>
                    <a:pt x="252140" y="201199"/>
                  </a:lnTo>
                  <a:lnTo>
                    <a:pt x="251602" y="198171"/>
                  </a:lnTo>
                  <a:lnTo>
                    <a:pt x="247159" y="199147"/>
                  </a:lnTo>
                  <a:cubicBezTo>
                    <a:pt x="247159" y="199147"/>
                    <a:pt x="242044" y="198070"/>
                    <a:pt x="240731" y="198171"/>
                  </a:cubicBezTo>
                  <a:cubicBezTo>
                    <a:pt x="239419" y="198272"/>
                    <a:pt x="234303" y="196422"/>
                    <a:pt x="234303" y="196422"/>
                  </a:cubicBezTo>
                  <a:lnTo>
                    <a:pt x="228414" y="194235"/>
                  </a:lnTo>
                  <a:lnTo>
                    <a:pt x="224274" y="195312"/>
                  </a:lnTo>
                  <a:cubicBezTo>
                    <a:pt x="224274" y="195312"/>
                    <a:pt x="223298" y="198911"/>
                    <a:pt x="223298" y="199214"/>
                  </a:cubicBezTo>
                  <a:cubicBezTo>
                    <a:pt x="223298" y="199550"/>
                    <a:pt x="223736" y="201165"/>
                    <a:pt x="223298" y="201602"/>
                  </a:cubicBezTo>
                  <a:cubicBezTo>
                    <a:pt x="222861" y="202040"/>
                    <a:pt x="222322" y="203890"/>
                    <a:pt x="222322" y="203890"/>
                  </a:cubicBezTo>
                  <a:cubicBezTo>
                    <a:pt x="222322" y="203890"/>
                    <a:pt x="220606" y="204966"/>
                    <a:pt x="220034" y="205303"/>
                  </a:cubicBezTo>
                  <a:cubicBezTo>
                    <a:pt x="219495" y="205639"/>
                    <a:pt x="216332" y="205740"/>
                    <a:pt x="216029" y="206076"/>
                  </a:cubicBezTo>
                  <a:cubicBezTo>
                    <a:pt x="215692" y="206413"/>
                    <a:pt x="213841" y="207926"/>
                    <a:pt x="213101" y="208465"/>
                  </a:cubicBezTo>
                  <a:cubicBezTo>
                    <a:pt x="212327" y="209003"/>
                    <a:pt x="208086" y="211089"/>
                    <a:pt x="208086" y="211089"/>
                  </a:cubicBezTo>
                  <a:lnTo>
                    <a:pt x="206471" y="213275"/>
                  </a:lnTo>
                  <a:lnTo>
                    <a:pt x="201692" y="213713"/>
                  </a:lnTo>
                  <a:lnTo>
                    <a:pt x="199841" y="218489"/>
                  </a:lnTo>
                  <a:lnTo>
                    <a:pt x="197351" y="223804"/>
                  </a:lnTo>
                  <a:cubicBezTo>
                    <a:pt x="197351" y="223804"/>
                    <a:pt x="193346" y="227707"/>
                    <a:pt x="193346" y="228480"/>
                  </a:cubicBezTo>
                  <a:cubicBezTo>
                    <a:pt x="193346" y="229254"/>
                    <a:pt x="192471" y="230667"/>
                    <a:pt x="193346" y="231844"/>
                  </a:cubicBezTo>
                  <a:cubicBezTo>
                    <a:pt x="194221" y="233022"/>
                    <a:pt x="195668" y="234704"/>
                    <a:pt x="195668" y="234704"/>
                  </a:cubicBezTo>
                  <a:lnTo>
                    <a:pt x="194658" y="238337"/>
                  </a:lnTo>
                  <a:lnTo>
                    <a:pt x="190451" y="242676"/>
                  </a:lnTo>
                  <a:lnTo>
                    <a:pt x="187254" y="246747"/>
                  </a:lnTo>
                  <a:lnTo>
                    <a:pt x="186379" y="249943"/>
                  </a:lnTo>
                  <a:lnTo>
                    <a:pt x="188331" y="251322"/>
                  </a:lnTo>
                  <a:lnTo>
                    <a:pt x="188634" y="252566"/>
                  </a:lnTo>
                  <a:lnTo>
                    <a:pt x="187187" y="255257"/>
                  </a:lnTo>
                  <a:lnTo>
                    <a:pt x="184494" y="256637"/>
                  </a:lnTo>
                  <a:lnTo>
                    <a:pt x="185369" y="259833"/>
                  </a:lnTo>
                  <a:lnTo>
                    <a:pt x="188567" y="259833"/>
                  </a:lnTo>
                  <a:lnTo>
                    <a:pt x="188769" y="261716"/>
                  </a:lnTo>
                  <a:lnTo>
                    <a:pt x="187826" y="264105"/>
                  </a:lnTo>
                  <a:lnTo>
                    <a:pt x="186749" y="265989"/>
                  </a:lnTo>
                  <a:lnTo>
                    <a:pt x="186615" y="267872"/>
                  </a:lnTo>
                  <a:lnTo>
                    <a:pt x="187860" y="270261"/>
                  </a:lnTo>
                  <a:cubicBezTo>
                    <a:pt x="187860" y="270261"/>
                    <a:pt x="189004" y="270900"/>
                    <a:pt x="189610" y="271203"/>
                  </a:cubicBezTo>
                  <a:cubicBezTo>
                    <a:pt x="190182" y="271505"/>
                    <a:pt x="191495" y="272279"/>
                    <a:pt x="191798" y="272447"/>
                  </a:cubicBezTo>
                  <a:cubicBezTo>
                    <a:pt x="192067" y="272582"/>
                    <a:pt x="194322" y="274634"/>
                    <a:pt x="194322" y="274634"/>
                  </a:cubicBezTo>
                  <a:lnTo>
                    <a:pt x="195398" y="275576"/>
                  </a:lnTo>
                  <a:lnTo>
                    <a:pt x="195701" y="276821"/>
                  </a:lnTo>
                  <a:cubicBezTo>
                    <a:pt x="195701" y="276821"/>
                    <a:pt x="195634" y="277830"/>
                    <a:pt x="195500" y="278032"/>
                  </a:cubicBezTo>
                  <a:cubicBezTo>
                    <a:pt x="195365" y="278267"/>
                    <a:pt x="193749" y="279478"/>
                    <a:pt x="193749" y="279478"/>
                  </a:cubicBezTo>
                  <a:lnTo>
                    <a:pt x="191798" y="281867"/>
                  </a:lnTo>
                  <a:lnTo>
                    <a:pt x="190889" y="285937"/>
                  </a:lnTo>
                  <a:lnTo>
                    <a:pt x="191225" y="289637"/>
                  </a:lnTo>
                  <a:lnTo>
                    <a:pt x="191225" y="292026"/>
                  </a:lnTo>
                  <a:lnTo>
                    <a:pt x="190519" y="295659"/>
                  </a:lnTo>
                  <a:cubicBezTo>
                    <a:pt x="190519" y="295659"/>
                    <a:pt x="190317" y="297980"/>
                    <a:pt x="190081" y="298283"/>
                  </a:cubicBezTo>
                  <a:cubicBezTo>
                    <a:pt x="189879" y="298585"/>
                    <a:pt x="189274" y="300167"/>
                    <a:pt x="189274" y="300167"/>
                  </a:cubicBezTo>
                  <a:cubicBezTo>
                    <a:pt x="189274" y="300167"/>
                    <a:pt x="189543" y="302925"/>
                    <a:pt x="189644" y="303127"/>
                  </a:cubicBezTo>
                  <a:cubicBezTo>
                    <a:pt x="189711" y="303362"/>
                    <a:pt x="190586" y="304640"/>
                    <a:pt x="190586" y="304640"/>
                  </a:cubicBezTo>
                  <a:cubicBezTo>
                    <a:pt x="190586" y="304640"/>
                    <a:pt x="192774" y="305784"/>
                    <a:pt x="192908" y="306020"/>
                  </a:cubicBezTo>
                  <a:cubicBezTo>
                    <a:pt x="193043" y="306222"/>
                    <a:pt x="197115" y="306659"/>
                    <a:pt x="197115" y="306659"/>
                  </a:cubicBezTo>
                  <a:lnTo>
                    <a:pt x="201255" y="305751"/>
                  </a:lnTo>
                  <a:lnTo>
                    <a:pt x="202500" y="305044"/>
                  </a:lnTo>
                  <a:lnTo>
                    <a:pt x="206033" y="305044"/>
                  </a:lnTo>
                  <a:lnTo>
                    <a:pt x="206942" y="308610"/>
                  </a:lnTo>
                  <a:cubicBezTo>
                    <a:pt x="207009" y="308610"/>
                    <a:pt x="207144" y="308644"/>
                    <a:pt x="207413" y="308745"/>
                  </a:cubicBezTo>
                  <a:cubicBezTo>
                    <a:pt x="208221" y="309047"/>
                    <a:pt x="209668" y="309384"/>
                    <a:pt x="209803" y="309686"/>
                  </a:cubicBezTo>
                  <a:cubicBezTo>
                    <a:pt x="209937" y="309989"/>
                    <a:pt x="210240" y="312580"/>
                    <a:pt x="210240" y="312580"/>
                  </a:cubicBezTo>
                  <a:cubicBezTo>
                    <a:pt x="210240" y="312580"/>
                    <a:pt x="210375" y="316347"/>
                    <a:pt x="210543" y="316650"/>
                  </a:cubicBezTo>
                  <a:cubicBezTo>
                    <a:pt x="210678" y="316953"/>
                    <a:pt x="214010" y="317592"/>
                    <a:pt x="214312" y="317659"/>
                  </a:cubicBezTo>
                  <a:cubicBezTo>
                    <a:pt x="214615" y="317726"/>
                    <a:pt x="218957" y="316280"/>
                    <a:pt x="219091" y="316078"/>
                  </a:cubicBezTo>
                  <a:cubicBezTo>
                    <a:pt x="219226" y="315876"/>
                    <a:pt x="219967" y="314329"/>
                    <a:pt x="220236" y="313689"/>
                  </a:cubicBezTo>
                  <a:cubicBezTo>
                    <a:pt x="220539" y="313050"/>
                    <a:pt x="221683" y="311806"/>
                    <a:pt x="221683" y="311806"/>
                  </a:cubicBezTo>
                  <a:cubicBezTo>
                    <a:pt x="221683" y="311806"/>
                    <a:pt x="220875" y="310864"/>
                    <a:pt x="222322" y="311234"/>
                  </a:cubicBezTo>
                  <a:cubicBezTo>
                    <a:pt x="223769" y="311604"/>
                    <a:pt x="226596" y="313992"/>
                    <a:pt x="226731" y="314262"/>
                  </a:cubicBezTo>
                  <a:cubicBezTo>
                    <a:pt x="226866" y="314564"/>
                    <a:pt x="227875" y="315708"/>
                    <a:pt x="227875" y="315708"/>
                  </a:cubicBezTo>
                  <a:lnTo>
                    <a:pt x="229827" y="315910"/>
                  </a:lnTo>
                  <a:lnTo>
                    <a:pt x="231274" y="315338"/>
                  </a:lnTo>
                  <a:lnTo>
                    <a:pt x="232351" y="314530"/>
                  </a:lnTo>
                  <a:cubicBezTo>
                    <a:pt x="232351" y="314530"/>
                    <a:pt x="236625" y="315540"/>
                    <a:pt x="236928" y="315775"/>
                  </a:cubicBezTo>
                  <a:cubicBezTo>
                    <a:pt x="237231" y="315977"/>
                    <a:pt x="240900" y="317289"/>
                    <a:pt x="241068" y="317659"/>
                  </a:cubicBezTo>
                  <a:cubicBezTo>
                    <a:pt x="241203" y="318029"/>
                    <a:pt x="243457" y="319543"/>
                    <a:pt x="243525" y="319745"/>
                  </a:cubicBezTo>
                  <a:cubicBezTo>
                    <a:pt x="243592" y="319947"/>
                    <a:pt x="245477" y="322570"/>
                    <a:pt x="245847" y="323008"/>
                  </a:cubicBezTo>
                  <a:cubicBezTo>
                    <a:pt x="246217" y="323445"/>
                    <a:pt x="246856" y="325026"/>
                    <a:pt x="247159" y="325598"/>
                  </a:cubicBezTo>
                  <a:cubicBezTo>
                    <a:pt x="247462" y="326170"/>
                    <a:pt x="248977" y="329736"/>
                    <a:pt x="248977" y="329736"/>
                  </a:cubicBezTo>
                  <a:lnTo>
                    <a:pt x="248034" y="333436"/>
                  </a:lnTo>
                  <a:cubicBezTo>
                    <a:pt x="248034" y="333436"/>
                    <a:pt x="250222" y="337506"/>
                    <a:pt x="251232" y="337641"/>
                  </a:cubicBezTo>
                  <a:cubicBezTo>
                    <a:pt x="252241" y="337776"/>
                    <a:pt x="253385" y="336329"/>
                    <a:pt x="253385" y="336329"/>
                  </a:cubicBezTo>
                  <a:lnTo>
                    <a:pt x="254261" y="335320"/>
                  </a:lnTo>
                  <a:lnTo>
                    <a:pt x="256852" y="338347"/>
                  </a:lnTo>
                  <a:lnTo>
                    <a:pt x="261496" y="342687"/>
                  </a:lnTo>
                  <a:lnTo>
                    <a:pt x="263818" y="345008"/>
                  </a:lnTo>
                  <a:lnTo>
                    <a:pt x="266107" y="348338"/>
                  </a:lnTo>
                  <a:lnTo>
                    <a:pt x="268025" y="347968"/>
                  </a:lnTo>
                  <a:cubicBezTo>
                    <a:pt x="268025" y="347968"/>
                    <a:pt x="268833" y="345513"/>
                    <a:pt x="269001" y="345513"/>
                  </a:cubicBezTo>
                  <a:cubicBezTo>
                    <a:pt x="269169" y="345513"/>
                    <a:pt x="269775" y="344806"/>
                    <a:pt x="269977" y="344537"/>
                  </a:cubicBezTo>
                  <a:cubicBezTo>
                    <a:pt x="270179" y="344268"/>
                    <a:pt x="271391" y="342855"/>
                    <a:pt x="271391" y="342855"/>
                  </a:cubicBezTo>
                  <a:cubicBezTo>
                    <a:pt x="271391" y="342855"/>
                    <a:pt x="273410" y="342788"/>
                    <a:pt x="273713" y="342788"/>
                  </a:cubicBezTo>
                  <a:cubicBezTo>
                    <a:pt x="274049" y="342788"/>
                    <a:pt x="276102" y="343595"/>
                    <a:pt x="276271" y="343696"/>
                  </a:cubicBezTo>
                  <a:cubicBezTo>
                    <a:pt x="276439" y="343797"/>
                    <a:pt x="278290" y="345479"/>
                    <a:pt x="278458" y="345647"/>
                  </a:cubicBezTo>
                  <a:cubicBezTo>
                    <a:pt x="278626" y="345816"/>
                    <a:pt x="279501" y="346724"/>
                    <a:pt x="279804" y="347262"/>
                  </a:cubicBezTo>
                  <a:cubicBezTo>
                    <a:pt x="280141" y="347800"/>
                    <a:pt x="281487" y="349213"/>
                    <a:pt x="281992" y="349617"/>
                  </a:cubicBezTo>
                  <a:cubicBezTo>
                    <a:pt x="282497" y="349987"/>
                    <a:pt x="284213" y="351803"/>
                    <a:pt x="284213" y="351803"/>
                  </a:cubicBezTo>
                  <a:cubicBezTo>
                    <a:pt x="284213" y="351803"/>
                    <a:pt x="286064" y="353418"/>
                    <a:pt x="286401" y="353721"/>
                  </a:cubicBezTo>
                  <a:cubicBezTo>
                    <a:pt x="286737" y="353990"/>
                    <a:pt x="291146" y="356715"/>
                    <a:pt x="291146" y="356715"/>
                  </a:cubicBezTo>
                  <a:cubicBezTo>
                    <a:pt x="291146" y="356715"/>
                    <a:pt x="293064" y="359810"/>
                    <a:pt x="292997" y="360112"/>
                  </a:cubicBezTo>
                  <a:cubicBezTo>
                    <a:pt x="292930" y="360415"/>
                    <a:pt x="295756" y="361189"/>
                    <a:pt x="295756" y="361189"/>
                  </a:cubicBezTo>
                  <a:lnTo>
                    <a:pt x="298954" y="360752"/>
                  </a:lnTo>
                  <a:lnTo>
                    <a:pt x="301074" y="360179"/>
                  </a:lnTo>
                  <a:cubicBezTo>
                    <a:pt x="301074" y="360179"/>
                    <a:pt x="306358" y="360752"/>
                    <a:pt x="306593" y="360886"/>
                  </a:cubicBezTo>
                  <a:cubicBezTo>
                    <a:pt x="306795" y="361020"/>
                    <a:pt x="309555" y="361525"/>
                    <a:pt x="309791" y="361828"/>
                  </a:cubicBezTo>
                  <a:cubicBezTo>
                    <a:pt x="309993" y="362131"/>
                    <a:pt x="312247" y="363779"/>
                    <a:pt x="312247" y="363779"/>
                  </a:cubicBezTo>
                  <a:lnTo>
                    <a:pt x="315512" y="366907"/>
                  </a:lnTo>
                  <a:lnTo>
                    <a:pt x="316050" y="367984"/>
                  </a:lnTo>
                  <a:lnTo>
                    <a:pt x="316522" y="371449"/>
                  </a:lnTo>
                  <a:lnTo>
                    <a:pt x="316522" y="373703"/>
                  </a:lnTo>
                  <a:lnTo>
                    <a:pt x="316387" y="375587"/>
                  </a:lnTo>
                  <a:lnTo>
                    <a:pt x="315815" y="377033"/>
                  </a:lnTo>
                  <a:lnTo>
                    <a:pt x="314502" y="378849"/>
                  </a:lnTo>
                  <a:cubicBezTo>
                    <a:pt x="314502" y="378849"/>
                    <a:pt x="312617" y="379220"/>
                    <a:pt x="312617" y="379489"/>
                  </a:cubicBezTo>
                  <a:cubicBezTo>
                    <a:pt x="312617" y="379791"/>
                    <a:pt x="311238" y="381137"/>
                    <a:pt x="311238" y="381137"/>
                  </a:cubicBezTo>
                  <a:lnTo>
                    <a:pt x="310598" y="382584"/>
                  </a:lnTo>
                  <a:cubicBezTo>
                    <a:pt x="310598" y="382584"/>
                    <a:pt x="310228" y="384535"/>
                    <a:pt x="310228" y="384770"/>
                  </a:cubicBezTo>
                  <a:cubicBezTo>
                    <a:pt x="310228" y="385006"/>
                    <a:pt x="311810" y="386957"/>
                    <a:pt x="311810" y="386957"/>
                  </a:cubicBezTo>
                  <a:lnTo>
                    <a:pt x="313324" y="388605"/>
                  </a:lnTo>
                  <a:lnTo>
                    <a:pt x="314670" y="395097"/>
                  </a:lnTo>
                  <a:lnTo>
                    <a:pt x="314872" y="398697"/>
                  </a:lnTo>
                  <a:lnTo>
                    <a:pt x="314771" y="402162"/>
                  </a:lnTo>
                  <a:lnTo>
                    <a:pt x="317161" y="405425"/>
                  </a:lnTo>
                  <a:lnTo>
                    <a:pt x="317935" y="407477"/>
                  </a:lnTo>
                  <a:lnTo>
                    <a:pt x="318271" y="410202"/>
                  </a:lnTo>
                  <a:cubicBezTo>
                    <a:pt x="318271" y="410202"/>
                    <a:pt x="317497" y="411816"/>
                    <a:pt x="317296" y="412691"/>
                  </a:cubicBezTo>
                  <a:cubicBezTo>
                    <a:pt x="317094" y="413566"/>
                    <a:pt x="315781" y="415954"/>
                    <a:pt x="315781" y="415954"/>
                  </a:cubicBezTo>
                  <a:lnTo>
                    <a:pt x="314031" y="416728"/>
                  </a:lnTo>
                  <a:cubicBezTo>
                    <a:pt x="314031" y="416728"/>
                    <a:pt x="311642" y="416526"/>
                    <a:pt x="311305" y="416728"/>
                  </a:cubicBezTo>
                  <a:cubicBezTo>
                    <a:pt x="310968" y="416930"/>
                    <a:pt x="307300" y="416290"/>
                    <a:pt x="306964" y="416728"/>
                  </a:cubicBezTo>
                  <a:cubicBezTo>
                    <a:pt x="306627" y="417165"/>
                    <a:pt x="303800" y="417502"/>
                    <a:pt x="303800" y="417502"/>
                  </a:cubicBezTo>
                  <a:cubicBezTo>
                    <a:pt x="303800" y="417502"/>
                    <a:pt x="302084" y="418713"/>
                    <a:pt x="301747" y="418813"/>
                  </a:cubicBezTo>
                  <a:cubicBezTo>
                    <a:pt x="301410" y="418914"/>
                    <a:pt x="300872" y="419587"/>
                    <a:pt x="300098" y="419789"/>
                  </a:cubicBezTo>
                  <a:cubicBezTo>
                    <a:pt x="299324" y="419991"/>
                    <a:pt x="298348" y="420428"/>
                    <a:pt x="298348" y="421101"/>
                  </a:cubicBezTo>
                  <a:cubicBezTo>
                    <a:pt x="298348" y="421740"/>
                    <a:pt x="297910" y="423388"/>
                    <a:pt x="297910" y="423388"/>
                  </a:cubicBezTo>
                  <a:cubicBezTo>
                    <a:pt x="297910" y="423388"/>
                    <a:pt x="297574" y="425878"/>
                    <a:pt x="297675" y="426416"/>
                  </a:cubicBezTo>
                  <a:cubicBezTo>
                    <a:pt x="297776" y="426954"/>
                    <a:pt x="297574" y="430015"/>
                    <a:pt x="297439" y="430318"/>
                  </a:cubicBezTo>
                  <a:cubicBezTo>
                    <a:pt x="297338" y="430655"/>
                    <a:pt x="297338" y="433043"/>
                    <a:pt x="297338" y="433346"/>
                  </a:cubicBezTo>
                  <a:cubicBezTo>
                    <a:pt x="297338" y="433682"/>
                    <a:pt x="297540" y="435398"/>
                    <a:pt x="297540" y="435398"/>
                  </a:cubicBezTo>
                  <a:lnTo>
                    <a:pt x="297877" y="440275"/>
                  </a:lnTo>
                  <a:lnTo>
                    <a:pt x="297641" y="444413"/>
                  </a:lnTo>
                  <a:lnTo>
                    <a:pt x="299055" y="449156"/>
                  </a:lnTo>
                  <a:cubicBezTo>
                    <a:pt x="299055" y="449156"/>
                    <a:pt x="299930" y="454505"/>
                    <a:pt x="300199" y="455077"/>
                  </a:cubicBezTo>
                  <a:cubicBezTo>
                    <a:pt x="300502" y="455649"/>
                    <a:pt x="304978" y="461031"/>
                    <a:pt x="304978" y="461031"/>
                  </a:cubicBezTo>
                  <a:lnTo>
                    <a:pt x="307300" y="463352"/>
                  </a:lnTo>
                  <a:lnTo>
                    <a:pt x="309319" y="466817"/>
                  </a:lnTo>
                  <a:lnTo>
                    <a:pt x="308175" y="468398"/>
                  </a:lnTo>
                  <a:lnTo>
                    <a:pt x="305113" y="468398"/>
                  </a:lnTo>
                  <a:lnTo>
                    <a:pt x="302353" y="471594"/>
                  </a:lnTo>
                  <a:lnTo>
                    <a:pt x="302487" y="475059"/>
                  </a:lnTo>
                  <a:lnTo>
                    <a:pt x="301040" y="480139"/>
                  </a:lnTo>
                  <a:cubicBezTo>
                    <a:pt x="301040" y="480139"/>
                    <a:pt x="301781" y="483603"/>
                    <a:pt x="302218" y="483771"/>
                  </a:cubicBezTo>
                  <a:cubicBezTo>
                    <a:pt x="302656" y="483906"/>
                    <a:pt x="303531" y="488851"/>
                    <a:pt x="303531" y="488851"/>
                  </a:cubicBezTo>
                  <a:cubicBezTo>
                    <a:pt x="303531" y="488851"/>
                    <a:pt x="301343" y="491744"/>
                    <a:pt x="301209" y="492181"/>
                  </a:cubicBezTo>
                  <a:cubicBezTo>
                    <a:pt x="301074" y="492619"/>
                    <a:pt x="294982" y="492181"/>
                    <a:pt x="294242" y="492181"/>
                  </a:cubicBezTo>
                  <a:cubicBezTo>
                    <a:pt x="293502" y="492181"/>
                    <a:pt x="290776" y="490163"/>
                    <a:pt x="289901" y="490163"/>
                  </a:cubicBezTo>
                  <a:cubicBezTo>
                    <a:pt x="289026" y="490163"/>
                    <a:pt x="287578" y="490600"/>
                    <a:pt x="287141" y="490735"/>
                  </a:cubicBezTo>
                  <a:cubicBezTo>
                    <a:pt x="286703" y="490870"/>
                    <a:pt x="283809" y="492417"/>
                    <a:pt x="282497" y="492383"/>
                  </a:cubicBezTo>
                  <a:cubicBezTo>
                    <a:pt x="281184" y="492316"/>
                    <a:pt x="277852" y="491744"/>
                    <a:pt x="277280" y="491610"/>
                  </a:cubicBezTo>
                  <a:cubicBezTo>
                    <a:pt x="276708" y="491475"/>
                    <a:pt x="273645" y="488279"/>
                    <a:pt x="273645" y="488279"/>
                  </a:cubicBezTo>
                  <a:cubicBezTo>
                    <a:pt x="273645" y="488279"/>
                    <a:pt x="271020" y="487976"/>
                    <a:pt x="270179" y="487842"/>
                  </a:cubicBezTo>
                  <a:cubicBezTo>
                    <a:pt x="269304" y="487707"/>
                    <a:pt x="264390" y="486530"/>
                    <a:pt x="264390" y="486530"/>
                  </a:cubicBezTo>
                  <a:lnTo>
                    <a:pt x="261059" y="489558"/>
                  </a:lnTo>
                  <a:lnTo>
                    <a:pt x="259477" y="492350"/>
                  </a:lnTo>
                  <a:lnTo>
                    <a:pt x="255270" y="493897"/>
                  </a:lnTo>
                  <a:lnTo>
                    <a:pt x="251366" y="495916"/>
                  </a:lnTo>
                  <a:lnTo>
                    <a:pt x="248909" y="497934"/>
                  </a:lnTo>
                  <a:cubicBezTo>
                    <a:pt x="248909" y="497934"/>
                    <a:pt x="246150" y="496185"/>
                    <a:pt x="245578" y="496050"/>
                  </a:cubicBezTo>
                  <a:cubicBezTo>
                    <a:pt x="245006" y="495916"/>
                    <a:pt x="242111" y="493292"/>
                    <a:pt x="241236" y="493157"/>
                  </a:cubicBezTo>
                  <a:cubicBezTo>
                    <a:pt x="240361" y="493022"/>
                    <a:pt x="233260" y="491845"/>
                    <a:pt x="233260" y="491845"/>
                  </a:cubicBezTo>
                  <a:lnTo>
                    <a:pt x="229053" y="488515"/>
                  </a:lnTo>
                  <a:lnTo>
                    <a:pt x="224409" y="485184"/>
                  </a:lnTo>
                  <a:lnTo>
                    <a:pt x="222221" y="486496"/>
                  </a:lnTo>
                  <a:lnTo>
                    <a:pt x="222356" y="489961"/>
                  </a:lnTo>
                  <a:lnTo>
                    <a:pt x="224106" y="493594"/>
                  </a:lnTo>
                  <a:lnTo>
                    <a:pt x="224409" y="497934"/>
                  </a:lnTo>
                  <a:cubicBezTo>
                    <a:pt x="224409" y="497934"/>
                    <a:pt x="224409" y="500120"/>
                    <a:pt x="223837" y="500255"/>
                  </a:cubicBezTo>
                  <a:cubicBezTo>
                    <a:pt x="223265" y="500389"/>
                    <a:pt x="219765" y="499111"/>
                    <a:pt x="219765" y="499111"/>
                  </a:cubicBezTo>
                  <a:lnTo>
                    <a:pt x="215692" y="497362"/>
                  </a:lnTo>
                  <a:lnTo>
                    <a:pt x="215558" y="501701"/>
                  </a:lnTo>
                  <a:cubicBezTo>
                    <a:pt x="215558" y="501701"/>
                    <a:pt x="217005" y="505032"/>
                    <a:pt x="217308" y="505906"/>
                  </a:cubicBezTo>
                  <a:cubicBezTo>
                    <a:pt x="217611" y="506781"/>
                    <a:pt x="221817" y="509809"/>
                    <a:pt x="221817" y="509809"/>
                  </a:cubicBezTo>
                  <a:lnTo>
                    <a:pt x="224409" y="511255"/>
                  </a:lnTo>
                  <a:lnTo>
                    <a:pt x="226563" y="513442"/>
                  </a:lnTo>
                  <a:lnTo>
                    <a:pt x="228313" y="517209"/>
                  </a:lnTo>
                  <a:lnTo>
                    <a:pt x="231342" y="519665"/>
                  </a:lnTo>
                  <a:lnTo>
                    <a:pt x="236558" y="518084"/>
                  </a:lnTo>
                  <a:lnTo>
                    <a:pt x="238005" y="514619"/>
                  </a:lnTo>
                  <a:lnTo>
                    <a:pt x="243053" y="519699"/>
                  </a:lnTo>
                  <a:cubicBezTo>
                    <a:pt x="243053" y="519699"/>
                    <a:pt x="243491" y="521280"/>
                    <a:pt x="242784" y="521583"/>
                  </a:cubicBezTo>
                  <a:cubicBezTo>
                    <a:pt x="242044" y="521885"/>
                    <a:pt x="242347" y="521583"/>
                    <a:pt x="240597" y="522592"/>
                  </a:cubicBezTo>
                  <a:cubicBezTo>
                    <a:pt x="238847" y="523601"/>
                    <a:pt x="238443" y="524476"/>
                    <a:pt x="236525" y="524778"/>
                  </a:cubicBezTo>
                  <a:cubicBezTo>
                    <a:pt x="234640" y="525081"/>
                    <a:pt x="232890" y="525216"/>
                    <a:pt x="231443" y="525788"/>
                  </a:cubicBezTo>
                  <a:cubicBezTo>
                    <a:pt x="229996" y="526359"/>
                    <a:pt x="229255" y="526931"/>
                    <a:pt x="227101" y="527234"/>
                  </a:cubicBezTo>
                  <a:cubicBezTo>
                    <a:pt x="224914" y="527537"/>
                    <a:pt x="223029" y="527234"/>
                    <a:pt x="223029" y="527234"/>
                  </a:cubicBezTo>
                  <a:lnTo>
                    <a:pt x="219832" y="529555"/>
                  </a:lnTo>
                  <a:lnTo>
                    <a:pt x="216130" y="531136"/>
                  </a:lnTo>
                  <a:lnTo>
                    <a:pt x="213740" y="528815"/>
                  </a:lnTo>
                  <a:lnTo>
                    <a:pt x="213740" y="526629"/>
                  </a:lnTo>
                  <a:lnTo>
                    <a:pt x="210409" y="524610"/>
                  </a:lnTo>
                  <a:lnTo>
                    <a:pt x="207380" y="524913"/>
                  </a:lnTo>
                  <a:lnTo>
                    <a:pt x="207110" y="528681"/>
                  </a:lnTo>
                  <a:lnTo>
                    <a:pt x="206235" y="531708"/>
                  </a:lnTo>
                  <a:lnTo>
                    <a:pt x="203038" y="534466"/>
                  </a:lnTo>
                  <a:cubicBezTo>
                    <a:pt x="203038" y="534466"/>
                    <a:pt x="197956" y="533726"/>
                    <a:pt x="197519" y="534466"/>
                  </a:cubicBezTo>
                  <a:cubicBezTo>
                    <a:pt x="197081" y="535207"/>
                    <a:pt x="193480" y="535207"/>
                    <a:pt x="193480" y="535207"/>
                  </a:cubicBezTo>
                  <a:lnTo>
                    <a:pt x="187692" y="531573"/>
                  </a:lnTo>
                  <a:lnTo>
                    <a:pt x="185067" y="529118"/>
                  </a:lnTo>
                  <a:lnTo>
                    <a:pt x="181432" y="529824"/>
                  </a:lnTo>
                  <a:lnTo>
                    <a:pt x="180422" y="535173"/>
                  </a:lnTo>
                  <a:lnTo>
                    <a:pt x="179413" y="537931"/>
                  </a:lnTo>
                  <a:lnTo>
                    <a:pt x="175509" y="537057"/>
                  </a:lnTo>
                  <a:lnTo>
                    <a:pt x="170158" y="533424"/>
                  </a:lnTo>
                  <a:lnTo>
                    <a:pt x="165951" y="528344"/>
                  </a:lnTo>
                  <a:lnTo>
                    <a:pt x="164066" y="524005"/>
                  </a:lnTo>
                  <a:cubicBezTo>
                    <a:pt x="164066" y="524005"/>
                    <a:pt x="167398" y="521986"/>
                    <a:pt x="167398" y="521549"/>
                  </a:cubicBezTo>
                  <a:cubicBezTo>
                    <a:pt x="167398" y="521112"/>
                    <a:pt x="165210" y="519093"/>
                    <a:pt x="163494" y="517916"/>
                  </a:cubicBezTo>
                  <a:cubicBezTo>
                    <a:pt x="161744" y="516738"/>
                    <a:pt x="158143" y="515292"/>
                    <a:pt x="158143" y="515292"/>
                  </a:cubicBezTo>
                  <a:cubicBezTo>
                    <a:pt x="158143" y="515292"/>
                    <a:pt x="154946" y="511087"/>
                    <a:pt x="154374" y="511087"/>
                  </a:cubicBezTo>
                  <a:cubicBezTo>
                    <a:pt x="153801" y="511087"/>
                    <a:pt x="147272" y="510650"/>
                    <a:pt x="147272" y="510650"/>
                  </a:cubicBezTo>
                  <a:lnTo>
                    <a:pt x="139868" y="510952"/>
                  </a:lnTo>
                  <a:lnTo>
                    <a:pt x="137277" y="513139"/>
                  </a:lnTo>
                  <a:lnTo>
                    <a:pt x="133508" y="514451"/>
                  </a:lnTo>
                  <a:lnTo>
                    <a:pt x="127551" y="512130"/>
                  </a:lnTo>
                  <a:lnTo>
                    <a:pt x="121628" y="513576"/>
                  </a:lnTo>
                  <a:lnTo>
                    <a:pt x="112339" y="513711"/>
                  </a:lnTo>
                  <a:lnTo>
                    <a:pt x="111262" y="515897"/>
                  </a:lnTo>
                  <a:cubicBezTo>
                    <a:pt x="111262" y="515897"/>
                    <a:pt x="109445" y="520237"/>
                    <a:pt x="109445" y="521246"/>
                  </a:cubicBezTo>
                  <a:cubicBezTo>
                    <a:pt x="109445" y="522255"/>
                    <a:pt x="109445" y="524879"/>
                    <a:pt x="109445" y="524879"/>
                  </a:cubicBezTo>
                  <a:lnTo>
                    <a:pt x="110185" y="530531"/>
                  </a:lnTo>
                  <a:cubicBezTo>
                    <a:pt x="110185" y="530531"/>
                    <a:pt x="111195" y="532112"/>
                    <a:pt x="111498" y="532549"/>
                  </a:cubicBezTo>
                  <a:cubicBezTo>
                    <a:pt x="111801" y="532986"/>
                    <a:pt x="114695" y="536619"/>
                    <a:pt x="114695" y="536619"/>
                  </a:cubicBezTo>
                  <a:lnTo>
                    <a:pt x="115873" y="537931"/>
                  </a:lnTo>
                  <a:lnTo>
                    <a:pt x="116445" y="540555"/>
                  </a:lnTo>
                  <a:cubicBezTo>
                    <a:pt x="116445" y="540555"/>
                    <a:pt x="116580" y="541565"/>
                    <a:pt x="116580" y="542136"/>
                  </a:cubicBezTo>
                  <a:cubicBezTo>
                    <a:pt x="116580" y="542708"/>
                    <a:pt x="116142" y="544895"/>
                    <a:pt x="116142" y="544895"/>
                  </a:cubicBezTo>
                  <a:lnTo>
                    <a:pt x="116007" y="546476"/>
                  </a:lnTo>
                  <a:lnTo>
                    <a:pt x="115132" y="547620"/>
                  </a:lnTo>
                  <a:cubicBezTo>
                    <a:pt x="115132" y="547620"/>
                    <a:pt x="113382" y="548360"/>
                    <a:pt x="112676" y="548360"/>
                  </a:cubicBezTo>
                  <a:cubicBezTo>
                    <a:pt x="111969" y="548360"/>
                    <a:pt x="110791" y="548225"/>
                    <a:pt x="109478" y="548360"/>
                  </a:cubicBezTo>
                  <a:cubicBezTo>
                    <a:pt x="108166" y="548494"/>
                    <a:pt x="107459" y="547620"/>
                    <a:pt x="106887" y="548360"/>
                  </a:cubicBezTo>
                  <a:cubicBezTo>
                    <a:pt x="106315" y="549066"/>
                    <a:pt x="104430" y="549806"/>
                    <a:pt x="104430" y="549806"/>
                  </a:cubicBezTo>
                  <a:lnTo>
                    <a:pt x="102983" y="551387"/>
                  </a:lnTo>
                  <a:lnTo>
                    <a:pt x="102243" y="552262"/>
                  </a:lnTo>
                  <a:lnTo>
                    <a:pt x="100661" y="554718"/>
                  </a:lnTo>
                  <a:cubicBezTo>
                    <a:pt x="100661" y="554718"/>
                    <a:pt x="100358" y="556030"/>
                    <a:pt x="99920" y="556467"/>
                  </a:cubicBezTo>
                  <a:cubicBezTo>
                    <a:pt x="99483" y="556904"/>
                    <a:pt x="98036" y="559225"/>
                    <a:pt x="98036" y="559225"/>
                  </a:cubicBezTo>
                  <a:lnTo>
                    <a:pt x="97296" y="562421"/>
                  </a:lnTo>
                  <a:lnTo>
                    <a:pt x="97296" y="564877"/>
                  </a:lnTo>
                  <a:lnTo>
                    <a:pt x="97296" y="568342"/>
                  </a:lnTo>
                  <a:lnTo>
                    <a:pt x="96420" y="571235"/>
                  </a:lnTo>
                  <a:lnTo>
                    <a:pt x="97161" y="574430"/>
                  </a:lnTo>
                  <a:lnTo>
                    <a:pt x="99483" y="576617"/>
                  </a:lnTo>
                  <a:cubicBezTo>
                    <a:pt x="99483" y="576617"/>
                    <a:pt x="100055" y="576751"/>
                    <a:pt x="101671" y="576617"/>
                  </a:cubicBezTo>
                  <a:cubicBezTo>
                    <a:pt x="103252" y="576482"/>
                    <a:pt x="103252" y="575473"/>
                    <a:pt x="103690" y="575305"/>
                  </a:cubicBezTo>
                  <a:cubicBezTo>
                    <a:pt x="104127" y="575171"/>
                    <a:pt x="106887" y="576684"/>
                    <a:pt x="106887" y="576684"/>
                  </a:cubicBezTo>
                  <a:lnTo>
                    <a:pt x="109781" y="579073"/>
                  </a:lnTo>
                  <a:cubicBezTo>
                    <a:pt x="109781" y="579073"/>
                    <a:pt x="112978" y="580822"/>
                    <a:pt x="113551" y="580822"/>
                  </a:cubicBezTo>
                  <a:cubicBezTo>
                    <a:pt x="114123" y="580822"/>
                    <a:pt x="116310" y="582403"/>
                    <a:pt x="116310" y="582403"/>
                  </a:cubicBezTo>
                  <a:cubicBezTo>
                    <a:pt x="116310" y="582403"/>
                    <a:pt x="118195" y="586608"/>
                    <a:pt x="118330" y="587045"/>
                  </a:cubicBezTo>
                  <a:cubicBezTo>
                    <a:pt x="118464" y="587483"/>
                    <a:pt x="122099" y="591822"/>
                    <a:pt x="122099" y="591822"/>
                  </a:cubicBezTo>
                  <a:lnTo>
                    <a:pt x="124286" y="593269"/>
                  </a:lnTo>
                  <a:lnTo>
                    <a:pt x="126036" y="595186"/>
                  </a:lnTo>
                  <a:lnTo>
                    <a:pt x="128964" y="597675"/>
                  </a:lnTo>
                  <a:cubicBezTo>
                    <a:pt x="128964" y="597675"/>
                    <a:pt x="128729" y="600266"/>
                    <a:pt x="128729" y="600703"/>
                  </a:cubicBezTo>
                  <a:cubicBezTo>
                    <a:pt x="128729" y="601140"/>
                    <a:pt x="128190" y="602721"/>
                    <a:pt x="127753" y="602822"/>
                  </a:cubicBezTo>
                  <a:cubicBezTo>
                    <a:pt x="127315" y="602923"/>
                    <a:pt x="125565" y="603966"/>
                    <a:pt x="125565" y="603966"/>
                  </a:cubicBezTo>
                  <a:lnTo>
                    <a:pt x="122536" y="603966"/>
                  </a:lnTo>
                  <a:lnTo>
                    <a:pt x="117320" y="603966"/>
                  </a:lnTo>
                  <a:cubicBezTo>
                    <a:pt x="117320" y="603966"/>
                    <a:pt x="116546" y="604504"/>
                    <a:pt x="115368" y="605043"/>
                  </a:cubicBezTo>
                  <a:cubicBezTo>
                    <a:pt x="114190" y="605581"/>
                    <a:pt x="112440" y="606354"/>
                    <a:pt x="112103" y="606556"/>
                  </a:cubicBezTo>
                  <a:cubicBezTo>
                    <a:pt x="111767" y="606758"/>
                    <a:pt x="111027" y="607330"/>
                    <a:pt x="110690" y="607633"/>
                  </a:cubicBezTo>
                  <a:cubicBezTo>
                    <a:pt x="110354" y="607969"/>
                    <a:pt x="107762" y="609247"/>
                    <a:pt x="107762" y="609247"/>
                  </a:cubicBezTo>
                  <a:lnTo>
                    <a:pt x="107762" y="611737"/>
                  </a:lnTo>
                  <a:cubicBezTo>
                    <a:pt x="107762" y="611737"/>
                    <a:pt x="107964" y="612073"/>
                    <a:pt x="109613" y="612376"/>
                  </a:cubicBezTo>
                  <a:cubicBezTo>
                    <a:pt x="111262" y="612712"/>
                    <a:pt x="113416" y="613452"/>
                    <a:pt x="114055" y="613452"/>
                  </a:cubicBezTo>
                  <a:cubicBezTo>
                    <a:pt x="114695" y="613452"/>
                    <a:pt x="117320" y="614663"/>
                    <a:pt x="117656" y="615067"/>
                  </a:cubicBezTo>
                  <a:cubicBezTo>
                    <a:pt x="117993" y="615504"/>
                    <a:pt x="119171" y="616278"/>
                    <a:pt x="119507" y="616480"/>
                  </a:cubicBezTo>
                  <a:cubicBezTo>
                    <a:pt x="119844" y="616682"/>
                    <a:pt x="120820" y="617792"/>
                    <a:pt x="120820" y="618969"/>
                  </a:cubicBezTo>
                  <a:cubicBezTo>
                    <a:pt x="120820" y="620180"/>
                    <a:pt x="121358" y="620920"/>
                    <a:pt x="120181" y="621257"/>
                  </a:cubicBezTo>
                  <a:cubicBezTo>
                    <a:pt x="118969" y="621593"/>
                    <a:pt x="117118" y="622131"/>
                    <a:pt x="116277" y="622031"/>
                  </a:cubicBezTo>
                  <a:cubicBezTo>
                    <a:pt x="115402" y="621929"/>
                    <a:pt x="112373" y="622031"/>
                    <a:pt x="112373" y="622031"/>
                  </a:cubicBezTo>
                  <a:cubicBezTo>
                    <a:pt x="112373" y="622031"/>
                    <a:pt x="111498" y="622872"/>
                    <a:pt x="110522" y="623443"/>
                  </a:cubicBezTo>
                  <a:cubicBezTo>
                    <a:pt x="109546" y="623982"/>
                    <a:pt x="109108" y="625394"/>
                    <a:pt x="109108" y="625394"/>
                  </a:cubicBezTo>
                  <a:lnTo>
                    <a:pt x="106079" y="628994"/>
                  </a:lnTo>
                  <a:lnTo>
                    <a:pt x="103791" y="631618"/>
                  </a:lnTo>
                  <a:cubicBezTo>
                    <a:pt x="103791" y="631618"/>
                    <a:pt x="101300" y="633233"/>
                    <a:pt x="101300" y="633670"/>
                  </a:cubicBezTo>
                  <a:cubicBezTo>
                    <a:pt x="101300" y="634107"/>
                    <a:pt x="100964" y="637269"/>
                    <a:pt x="100863" y="637706"/>
                  </a:cubicBezTo>
                  <a:cubicBezTo>
                    <a:pt x="100762" y="638144"/>
                    <a:pt x="100526" y="641710"/>
                    <a:pt x="100863" y="642921"/>
                  </a:cubicBezTo>
                  <a:cubicBezTo>
                    <a:pt x="101199" y="644098"/>
                    <a:pt x="102815" y="648909"/>
                    <a:pt x="102815" y="648909"/>
                  </a:cubicBezTo>
                  <a:lnTo>
                    <a:pt x="104868" y="651734"/>
                  </a:lnTo>
                  <a:lnTo>
                    <a:pt x="105945" y="652609"/>
                  </a:lnTo>
                  <a:cubicBezTo>
                    <a:pt x="105945" y="652609"/>
                    <a:pt x="106820" y="654661"/>
                    <a:pt x="106820" y="655098"/>
                  </a:cubicBezTo>
                  <a:cubicBezTo>
                    <a:pt x="106820" y="655535"/>
                    <a:pt x="106046" y="658462"/>
                    <a:pt x="106046" y="658899"/>
                  </a:cubicBezTo>
                  <a:cubicBezTo>
                    <a:pt x="106046" y="659337"/>
                    <a:pt x="106046" y="662163"/>
                    <a:pt x="106046" y="662163"/>
                  </a:cubicBezTo>
                  <a:lnTo>
                    <a:pt x="106921" y="664988"/>
                  </a:lnTo>
                  <a:lnTo>
                    <a:pt x="108772" y="666300"/>
                  </a:lnTo>
                  <a:cubicBezTo>
                    <a:pt x="108772" y="666300"/>
                    <a:pt x="109108" y="666637"/>
                    <a:pt x="108435" y="667713"/>
                  </a:cubicBezTo>
                  <a:cubicBezTo>
                    <a:pt x="107796" y="668789"/>
                    <a:pt x="106382" y="671514"/>
                    <a:pt x="106382" y="671952"/>
                  </a:cubicBezTo>
                  <a:cubicBezTo>
                    <a:pt x="106382" y="672389"/>
                    <a:pt x="107897" y="673802"/>
                    <a:pt x="109310" y="673465"/>
                  </a:cubicBezTo>
                  <a:cubicBezTo>
                    <a:pt x="110724" y="673129"/>
                    <a:pt x="114089" y="673028"/>
                    <a:pt x="114089" y="673028"/>
                  </a:cubicBezTo>
                  <a:lnTo>
                    <a:pt x="116378" y="675316"/>
                  </a:lnTo>
                  <a:cubicBezTo>
                    <a:pt x="116378" y="675316"/>
                    <a:pt x="117017" y="679319"/>
                    <a:pt x="117017" y="679655"/>
                  </a:cubicBezTo>
                  <a:cubicBezTo>
                    <a:pt x="117017" y="679992"/>
                    <a:pt x="116243" y="683019"/>
                    <a:pt x="115806" y="683995"/>
                  </a:cubicBezTo>
                  <a:cubicBezTo>
                    <a:pt x="115368" y="684970"/>
                    <a:pt x="113955" y="686181"/>
                    <a:pt x="113854" y="687258"/>
                  </a:cubicBezTo>
                  <a:cubicBezTo>
                    <a:pt x="113753" y="688334"/>
                    <a:pt x="112204" y="689444"/>
                    <a:pt x="112204" y="689444"/>
                  </a:cubicBezTo>
                  <a:cubicBezTo>
                    <a:pt x="112204" y="689444"/>
                    <a:pt x="111868" y="689781"/>
                    <a:pt x="111430" y="690083"/>
                  </a:cubicBezTo>
                  <a:cubicBezTo>
                    <a:pt x="110993" y="690420"/>
                    <a:pt x="110118" y="691160"/>
                    <a:pt x="108839" y="691160"/>
                  </a:cubicBezTo>
                  <a:cubicBezTo>
                    <a:pt x="107526" y="691160"/>
                    <a:pt x="106113" y="690723"/>
                    <a:pt x="105474" y="689848"/>
                  </a:cubicBezTo>
                  <a:cubicBezTo>
                    <a:pt x="104834" y="688973"/>
                    <a:pt x="103723" y="687460"/>
                    <a:pt x="103421" y="687460"/>
                  </a:cubicBezTo>
                  <a:cubicBezTo>
                    <a:pt x="103084" y="687460"/>
                    <a:pt x="102646" y="687123"/>
                    <a:pt x="102546" y="686686"/>
                  </a:cubicBezTo>
                  <a:cubicBezTo>
                    <a:pt x="102445" y="686248"/>
                    <a:pt x="102007" y="684196"/>
                    <a:pt x="102007" y="683759"/>
                  </a:cubicBezTo>
                  <a:cubicBezTo>
                    <a:pt x="102007" y="683322"/>
                    <a:pt x="101906" y="681573"/>
                    <a:pt x="101805" y="681270"/>
                  </a:cubicBezTo>
                  <a:cubicBezTo>
                    <a:pt x="101704" y="680934"/>
                    <a:pt x="101570" y="680631"/>
                    <a:pt x="101570" y="680193"/>
                  </a:cubicBezTo>
                  <a:cubicBezTo>
                    <a:pt x="101570" y="679756"/>
                    <a:pt x="101334" y="677906"/>
                    <a:pt x="101031" y="677704"/>
                  </a:cubicBezTo>
                  <a:cubicBezTo>
                    <a:pt x="100695" y="677502"/>
                    <a:pt x="99820" y="675854"/>
                    <a:pt x="98843" y="676729"/>
                  </a:cubicBezTo>
                  <a:cubicBezTo>
                    <a:pt x="97868" y="677603"/>
                    <a:pt x="97868" y="677502"/>
                    <a:pt x="96993" y="678141"/>
                  </a:cubicBezTo>
                  <a:cubicBezTo>
                    <a:pt x="96117" y="678781"/>
                    <a:pt x="96117" y="679218"/>
                    <a:pt x="95243" y="680193"/>
                  </a:cubicBezTo>
                  <a:cubicBezTo>
                    <a:pt x="94368" y="681169"/>
                    <a:pt x="94031" y="681270"/>
                    <a:pt x="93627" y="682044"/>
                  </a:cubicBezTo>
                  <a:cubicBezTo>
                    <a:pt x="93190" y="682817"/>
                    <a:pt x="91440" y="682683"/>
                    <a:pt x="91137" y="682683"/>
                  </a:cubicBezTo>
                  <a:cubicBezTo>
                    <a:pt x="90800" y="682683"/>
                    <a:pt x="90497" y="682044"/>
                    <a:pt x="89050" y="681808"/>
                  </a:cubicBezTo>
                  <a:cubicBezTo>
                    <a:pt x="87637" y="681573"/>
                    <a:pt x="87199" y="681169"/>
                    <a:pt x="86122" y="681169"/>
                  </a:cubicBezTo>
                  <a:cubicBezTo>
                    <a:pt x="85045" y="681169"/>
                    <a:pt x="83632" y="681505"/>
                    <a:pt x="83632" y="681505"/>
                  </a:cubicBezTo>
                  <a:cubicBezTo>
                    <a:pt x="83632" y="681505"/>
                    <a:pt x="81444" y="682279"/>
                    <a:pt x="81007" y="683154"/>
                  </a:cubicBezTo>
                  <a:cubicBezTo>
                    <a:pt x="80569" y="684028"/>
                    <a:pt x="81007" y="684028"/>
                    <a:pt x="80031" y="684230"/>
                  </a:cubicBezTo>
                  <a:cubicBezTo>
                    <a:pt x="79055" y="684432"/>
                    <a:pt x="75151" y="682178"/>
                    <a:pt x="75151" y="682178"/>
                  </a:cubicBezTo>
                  <a:lnTo>
                    <a:pt x="73098" y="679790"/>
                  </a:lnTo>
                  <a:cubicBezTo>
                    <a:pt x="73098" y="679790"/>
                    <a:pt x="71247" y="677940"/>
                    <a:pt x="70910" y="677940"/>
                  </a:cubicBezTo>
                  <a:cubicBezTo>
                    <a:pt x="70574" y="677940"/>
                    <a:pt x="69059" y="675450"/>
                    <a:pt x="69059" y="675450"/>
                  </a:cubicBezTo>
                  <a:lnTo>
                    <a:pt x="65155" y="675248"/>
                  </a:lnTo>
                  <a:lnTo>
                    <a:pt x="63641" y="676560"/>
                  </a:lnTo>
                  <a:cubicBezTo>
                    <a:pt x="63641" y="676560"/>
                    <a:pt x="61689" y="678949"/>
                    <a:pt x="61352" y="679050"/>
                  </a:cubicBezTo>
                  <a:cubicBezTo>
                    <a:pt x="61016" y="679151"/>
                    <a:pt x="59501" y="680799"/>
                    <a:pt x="59400" y="681102"/>
                  </a:cubicBezTo>
                  <a:cubicBezTo>
                    <a:pt x="59299" y="681438"/>
                    <a:pt x="57549" y="682414"/>
                    <a:pt x="56237" y="682716"/>
                  </a:cubicBezTo>
                  <a:cubicBezTo>
                    <a:pt x="54924" y="683053"/>
                    <a:pt x="51559" y="684566"/>
                    <a:pt x="51559" y="684566"/>
                  </a:cubicBezTo>
                  <a:cubicBezTo>
                    <a:pt x="51559" y="684566"/>
                    <a:pt x="50044" y="685744"/>
                    <a:pt x="50044" y="686417"/>
                  </a:cubicBezTo>
                  <a:cubicBezTo>
                    <a:pt x="50044" y="687056"/>
                    <a:pt x="48968" y="689343"/>
                    <a:pt x="48833" y="689680"/>
                  </a:cubicBezTo>
                  <a:cubicBezTo>
                    <a:pt x="48732" y="690016"/>
                    <a:pt x="47857" y="693380"/>
                    <a:pt x="47857" y="693380"/>
                  </a:cubicBezTo>
                  <a:lnTo>
                    <a:pt x="46881" y="697518"/>
                  </a:lnTo>
                  <a:lnTo>
                    <a:pt x="46881" y="702160"/>
                  </a:lnTo>
                  <a:cubicBezTo>
                    <a:pt x="46881" y="702160"/>
                    <a:pt x="44491" y="702496"/>
                    <a:pt x="43717" y="703035"/>
                  </a:cubicBezTo>
                  <a:cubicBezTo>
                    <a:pt x="42943" y="703573"/>
                    <a:pt x="38501" y="704986"/>
                    <a:pt x="38164" y="705322"/>
                  </a:cubicBezTo>
                  <a:cubicBezTo>
                    <a:pt x="37828" y="705659"/>
                    <a:pt x="36112" y="705659"/>
                    <a:pt x="35775" y="706399"/>
                  </a:cubicBezTo>
                  <a:cubicBezTo>
                    <a:pt x="35438" y="707172"/>
                    <a:pt x="35135" y="708585"/>
                    <a:pt x="35236" y="709124"/>
                  </a:cubicBezTo>
                  <a:cubicBezTo>
                    <a:pt x="35337" y="709662"/>
                    <a:pt x="35102" y="711613"/>
                    <a:pt x="35236" y="712488"/>
                  </a:cubicBezTo>
                  <a:cubicBezTo>
                    <a:pt x="35371" y="713362"/>
                    <a:pt x="34933" y="714338"/>
                    <a:pt x="36010" y="715111"/>
                  </a:cubicBezTo>
                  <a:cubicBezTo>
                    <a:pt x="37087" y="715885"/>
                    <a:pt x="40049" y="716961"/>
                    <a:pt x="40352" y="717062"/>
                  </a:cubicBezTo>
                  <a:cubicBezTo>
                    <a:pt x="40688" y="717163"/>
                    <a:pt x="41126" y="717500"/>
                    <a:pt x="42539" y="717601"/>
                  </a:cubicBezTo>
                  <a:cubicBezTo>
                    <a:pt x="43953" y="717702"/>
                    <a:pt x="46443" y="717601"/>
                    <a:pt x="46443" y="717601"/>
                  </a:cubicBezTo>
                  <a:lnTo>
                    <a:pt x="49809" y="719787"/>
                  </a:lnTo>
                  <a:lnTo>
                    <a:pt x="52535" y="720931"/>
                  </a:lnTo>
                  <a:lnTo>
                    <a:pt x="53174" y="722176"/>
                  </a:lnTo>
                  <a:lnTo>
                    <a:pt x="54722" y="722176"/>
                  </a:lnTo>
                  <a:lnTo>
                    <a:pt x="57448" y="721301"/>
                  </a:lnTo>
                  <a:cubicBezTo>
                    <a:pt x="57448" y="721301"/>
                    <a:pt x="58088" y="721200"/>
                    <a:pt x="58761" y="721301"/>
                  </a:cubicBezTo>
                  <a:cubicBezTo>
                    <a:pt x="59400" y="721402"/>
                    <a:pt x="62126" y="722277"/>
                    <a:pt x="62564" y="722176"/>
                  </a:cubicBezTo>
                  <a:cubicBezTo>
                    <a:pt x="63001" y="722075"/>
                    <a:pt x="64314" y="725237"/>
                    <a:pt x="64314" y="725237"/>
                  </a:cubicBezTo>
                  <a:cubicBezTo>
                    <a:pt x="64314" y="725237"/>
                    <a:pt x="64314" y="726885"/>
                    <a:pt x="63775" y="727188"/>
                  </a:cubicBezTo>
                  <a:cubicBezTo>
                    <a:pt x="63237" y="727524"/>
                    <a:pt x="60949" y="727726"/>
                    <a:pt x="60949" y="727726"/>
                  </a:cubicBezTo>
                  <a:cubicBezTo>
                    <a:pt x="60949" y="727726"/>
                    <a:pt x="59199" y="727087"/>
                    <a:pt x="58896" y="727087"/>
                  </a:cubicBezTo>
                  <a:cubicBezTo>
                    <a:pt x="58559" y="727087"/>
                    <a:pt x="57381" y="726650"/>
                    <a:pt x="56708" y="727087"/>
                  </a:cubicBezTo>
                  <a:cubicBezTo>
                    <a:pt x="56069" y="727524"/>
                    <a:pt x="54319" y="728063"/>
                    <a:pt x="53982" y="728500"/>
                  </a:cubicBezTo>
                  <a:cubicBezTo>
                    <a:pt x="53645" y="728937"/>
                    <a:pt x="53006" y="728937"/>
                    <a:pt x="52804" y="729576"/>
                  </a:cubicBezTo>
                  <a:cubicBezTo>
                    <a:pt x="52602" y="730215"/>
                    <a:pt x="52468" y="731326"/>
                    <a:pt x="52367" y="732503"/>
                  </a:cubicBezTo>
                  <a:cubicBezTo>
                    <a:pt x="52266" y="733680"/>
                    <a:pt x="52266" y="736102"/>
                    <a:pt x="52266" y="736102"/>
                  </a:cubicBezTo>
                  <a:lnTo>
                    <a:pt x="52905" y="742191"/>
                  </a:lnTo>
                  <a:cubicBezTo>
                    <a:pt x="52905" y="742191"/>
                    <a:pt x="52468" y="743369"/>
                    <a:pt x="52468" y="743806"/>
                  </a:cubicBezTo>
                  <a:cubicBezTo>
                    <a:pt x="52468" y="744243"/>
                    <a:pt x="51694" y="747271"/>
                    <a:pt x="51694" y="747271"/>
                  </a:cubicBezTo>
                  <a:lnTo>
                    <a:pt x="51256" y="748684"/>
                  </a:lnTo>
                  <a:lnTo>
                    <a:pt x="44290" y="753461"/>
                  </a:lnTo>
                  <a:lnTo>
                    <a:pt x="37323" y="754537"/>
                  </a:lnTo>
                  <a:lnTo>
                    <a:pt x="31905" y="758877"/>
                  </a:lnTo>
                  <a:lnTo>
                    <a:pt x="26688" y="761063"/>
                  </a:lnTo>
                  <a:lnTo>
                    <a:pt x="19957" y="756724"/>
                  </a:lnTo>
                  <a:lnTo>
                    <a:pt x="13226" y="759112"/>
                  </a:lnTo>
                  <a:lnTo>
                    <a:pt x="11476" y="756084"/>
                  </a:lnTo>
                  <a:lnTo>
                    <a:pt x="8010" y="755210"/>
                  </a:lnTo>
                  <a:lnTo>
                    <a:pt x="2591" y="755210"/>
                  </a:lnTo>
                  <a:lnTo>
                    <a:pt x="0" y="758473"/>
                  </a:lnTo>
                  <a:lnTo>
                    <a:pt x="0" y="763014"/>
                  </a:lnTo>
                  <a:lnTo>
                    <a:pt x="0" y="766479"/>
                  </a:lnTo>
                  <a:lnTo>
                    <a:pt x="0" y="769944"/>
                  </a:lnTo>
                  <a:lnTo>
                    <a:pt x="2188" y="772568"/>
                  </a:lnTo>
                  <a:lnTo>
                    <a:pt x="7842" y="772568"/>
                  </a:lnTo>
                  <a:lnTo>
                    <a:pt x="10904" y="775393"/>
                  </a:lnTo>
                  <a:lnTo>
                    <a:pt x="14371" y="779531"/>
                  </a:lnTo>
                  <a:cubicBezTo>
                    <a:pt x="14371" y="779531"/>
                    <a:pt x="16996" y="778892"/>
                    <a:pt x="18510" y="779531"/>
                  </a:cubicBezTo>
                  <a:cubicBezTo>
                    <a:pt x="20025" y="780170"/>
                    <a:pt x="22650" y="779733"/>
                    <a:pt x="23525" y="779531"/>
                  </a:cubicBezTo>
                  <a:cubicBezTo>
                    <a:pt x="24400" y="779329"/>
                    <a:pt x="28102" y="778455"/>
                    <a:pt x="28102" y="778455"/>
                  </a:cubicBezTo>
                  <a:cubicBezTo>
                    <a:pt x="28102" y="778455"/>
                    <a:pt x="32241" y="775629"/>
                    <a:pt x="33116" y="775629"/>
                  </a:cubicBezTo>
                  <a:cubicBezTo>
                    <a:pt x="33991" y="775629"/>
                    <a:pt x="36818" y="773443"/>
                    <a:pt x="36818" y="773443"/>
                  </a:cubicBezTo>
                  <a:lnTo>
                    <a:pt x="39006" y="771054"/>
                  </a:lnTo>
                  <a:lnTo>
                    <a:pt x="40756" y="769103"/>
                  </a:lnTo>
                  <a:lnTo>
                    <a:pt x="42506" y="766715"/>
                  </a:lnTo>
                  <a:lnTo>
                    <a:pt x="45770" y="768464"/>
                  </a:lnTo>
                  <a:lnTo>
                    <a:pt x="47722" y="768901"/>
                  </a:lnTo>
                  <a:cubicBezTo>
                    <a:pt x="47722" y="768901"/>
                    <a:pt x="49035" y="767589"/>
                    <a:pt x="50549" y="767152"/>
                  </a:cubicBezTo>
                  <a:cubicBezTo>
                    <a:pt x="52064" y="766715"/>
                    <a:pt x="57953" y="765840"/>
                    <a:pt x="57953" y="765840"/>
                  </a:cubicBezTo>
                  <a:lnTo>
                    <a:pt x="60545" y="766277"/>
                  </a:lnTo>
                  <a:lnTo>
                    <a:pt x="67175" y="766815"/>
                  </a:lnTo>
                  <a:lnTo>
                    <a:pt x="68487" y="768329"/>
                  </a:lnTo>
                  <a:lnTo>
                    <a:pt x="69026" y="771256"/>
                  </a:lnTo>
                  <a:lnTo>
                    <a:pt x="68050" y="772332"/>
                  </a:lnTo>
                  <a:lnTo>
                    <a:pt x="65761" y="773745"/>
                  </a:lnTo>
                  <a:cubicBezTo>
                    <a:pt x="65761" y="773745"/>
                    <a:pt x="64785" y="775360"/>
                    <a:pt x="64785" y="775797"/>
                  </a:cubicBezTo>
                  <a:cubicBezTo>
                    <a:pt x="64785" y="776234"/>
                    <a:pt x="64886" y="778825"/>
                    <a:pt x="64886" y="778825"/>
                  </a:cubicBezTo>
                  <a:lnTo>
                    <a:pt x="66064" y="779834"/>
                  </a:lnTo>
                  <a:cubicBezTo>
                    <a:pt x="66064" y="779834"/>
                    <a:pt x="68891" y="781011"/>
                    <a:pt x="69329" y="781112"/>
                  </a:cubicBezTo>
                  <a:cubicBezTo>
                    <a:pt x="69766" y="781213"/>
                    <a:pt x="72795" y="782088"/>
                    <a:pt x="73232" y="782424"/>
                  </a:cubicBezTo>
                  <a:cubicBezTo>
                    <a:pt x="73670" y="782761"/>
                    <a:pt x="75858" y="783602"/>
                    <a:pt x="76261" y="783837"/>
                  </a:cubicBezTo>
                  <a:cubicBezTo>
                    <a:pt x="76699" y="784073"/>
                    <a:pt x="77675" y="784813"/>
                    <a:pt x="78112" y="785048"/>
                  </a:cubicBezTo>
                  <a:cubicBezTo>
                    <a:pt x="78550" y="785250"/>
                    <a:pt x="82016" y="787100"/>
                    <a:pt x="82454" y="787336"/>
                  </a:cubicBezTo>
                  <a:cubicBezTo>
                    <a:pt x="82891" y="787538"/>
                    <a:pt x="85617" y="788210"/>
                    <a:pt x="85617" y="788210"/>
                  </a:cubicBezTo>
                  <a:cubicBezTo>
                    <a:pt x="85617" y="788210"/>
                    <a:pt x="86930" y="787773"/>
                    <a:pt x="88781" y="788210"/>
                  </a:cubicBezTo>
                  <a:cubicBezTo>
                    <a:pt x="90632" y="788648"/>
                    <a:pt x="92920" y="791372"/>
                    <a:pt x="92920" y="791372"/>
                  </a:cubicBezTo>
                  <a:lnTo>
                    <a:pt x="94132" y="793424"/>
                  </a:lnTo>
                  <a:lnTo>
                    <a:pt x="96622" y="793424"/>
                  </a:lnTo>
                  <a:cubicBezTo>
                    <a:pt x="96622" y="793424"/>
                    <a:pt x="96858" y="792550"/>
                    <a:pt x="97699" y="792348"/>
                  </a:cubicBezTo>
                  <a:cubicBezTo>
                    <a:pt x="98574" y="792146"/>
                    <a:pt x="99752" y="791574"/>
                    <a:pt x="100425" y="791473"/>
                  </a:cubicBezTo>
                  <a:cubicBezTo>
                    <a:pt x="101065" y="791372"/>
                    <a:pt x="102276" y="790061"/>
                    <a:pt x="102613" y="789960"/>
                  </a:cubicBezTo>
                  <a:cubicBezTo>
                    <a:pt x="102949" y="789859"/>
                    <a:pt x="104127" y="789758"/>
                    <a:pt x="104363" y="789320"/>
                  </a:cubicBezTo>
                  <a:cubicBezTo>
                    <a:pt x="104598" y="788883"/>
                    <a:pt x="105440" y="787268"/>
                    <a:pt x="105877" y="787134"/>
                  </a:cubicBezTo>
                  <a:cubicBezTo>
                    <a:pt x="106315" y="787033"/>
                    <a:pt x="108166" y="785183"/>
                    <a:pt x="108166" y="785183"/>
                  </a:cubicBezTo>
                  <a:cubicBezTo>
                    <a:pt x="108166" y="785183"/>
                    <a:pt x="110555" y="784544"/>
                    <a:pt x="111329" y="784544"/>
                  </a:cubicBezTo>
                  <a:cubicBezTo>
                    <a:pt x="112070" y="784544"/>
                    <a:pt x="113820" y="784005"/>
                    <a:pt x="113820" y="784005"/>
                  </a:cubicBezTo>
                  <a:cubicBezTo>
                    <a:pt x="113820" y="784005"/>
                    <a:pt x="114796" y="783568"/>
                    <a:pt x="115233" y="783568"/>
                  </a:cubicBezTo>
                  <a:cubicBezTo>
                    <a:pt x="115671" y="783568"/>
                    <a:pt x="117185" y="782054"/>
                    <a:pt x="117522" y="781920"/>
                  </a:cubicBezTo>
                  <a:cubicBezTo>
                    <a:pt x="117858" y="781819"/>
                    <a:pt x="119810" y="780843"/>
                    <a:pt x="120113" y="780709"/>
                  </a:cubicBezTo>
                  <a:cubicBezTo>
                    <a:pt x="120450" y="780608"/>
                    <a:pt x="122065" y="779498"/>
                    <a:pt x="122065" y="779498"/>
                  </a:cubicBezTo>
                  <a:lnTo>
                    <a:pt x="124017" y="780137"/>
                  </a:lnTo>
                  <a:lnTo>
                    <a:pt x="127046" y="781348"/>
                  </a:lnTo>
                  <a:cubicBezTo>
                    <a:pt x="127046" y="781348"/>
                    <a:pt x="128561" y="784174"/>
                    <a:pt x="128561" y="784611"/>
                  </a:cubicBezTo>
                  <a:cubicBezTo>
                    <a:pt x="128561" y="785048"/>
                    <a:pt x="129772" y="785923"/>
                    <a:pt x="129772" y="785923"/>
                  </a:cubicBezTo>
                  <a:cubicBezTo>
                    <a:pt x="129772" y="785923"/>
                    <a:pt x="132263" y="786259"/>
                    <a:pt x="132936" y="786259"/>
                  </a:cubicBezTo>
                  <a:cubicBezTo>
                    <a:pt x="133575" y="786259"/>
                    <a:pt x="133037" y="785620"/>
                    <a:pt x="135426" y="786360"/>
                  </a:cubicBezTo>
                  <a:cubicBezTo>
                    <a:pt x="137816" y="787134"/>
                    <a:pt x="139330" y="787134"/>
                    <a:pt x="139330" y="787134"/>
                  </a:cubicBezTo>
                  <a:lnTo>
                    <a:pt x="142258" y="787033"/>
                  </a:lnTo>
                  <a:lnTo>
                    <a:pt x="144109" y="786596"/>
                  </a:lnTo>
                  <a:cubicBezTo>
                    <a:pt x="144109" y="786596"/>
                    <a:pt x="145725" y="786495"/>
                    <a:pt x="146162" y="786495"/>
                  </a:cubicBezTo>
                  <a:cubicBezTo>
                    <a:pt x="146599" y="786495"/>
                    <a:pt x="147676" y="786293"/>
                    <a:pt x="147676" y="786293"/>
                  </a:cubicBezTo>
                  <a:lnTo>
                    <a:pt x="149864" y="785956"/>
                  </a:lnTo>
                  <a:cubicBezTo>
                    <a:pt x="149864" y="785956"/>
                    <a:pt x="150200" y="784880"/>
                    <a:pt x="151042" y="784443"/>
                  </a:cubicBezTo>
                  <a:cubicBezTo>
                    <a:pt x="151917" y="784005"/>
                    <a:pt x="153869" y="782828"/>
                    <a:pt x="154306" y="783030"/>
                  </a:cubicBezTo>
                  <a:cubicBezTo>
                    <a:pt x="154744" y="783232"/>
                    <a:pt x="157470" y="783131"/>
                    <a:pt x="157470" y="783131"/>
                  </a:cubicBezTo>
                  <a:lnTo>
                    <a:pt x="159085" y="784005"/>
                  </a:lnTo>
                  <a:cubicBezTo>
                    <a:pt x="159085" y="784005"/>
                    <a:pt x="160499" y="785755"/>
                    <a:pt x="160499" y="786057"/>
                  </a:cubicBezTo>
                  <a:cubicBezTo>
                    <a:pt x="160499" y="786394"/>
                    <a:pt x="159960" y="789220"/>
                    <a:pt x="159960" y="789220"/>
                  </a:cubicBezTo>
                  <a:lnTo>
                    <a:pt x="158446" y="790834"/>
                  </a:lnTo>
                  <a:cubicBezTo>
                    <a:pt x="158446" y="790834"/>
                    <a:pt x="158782" y="793862"/>
                    <a:pt x="158109" y="794635"/>
                  </a:cubicBezTo>
                  <a:cubicBezTo>
                    <a:pt x="157436" y="795409"/>
                    <a:pt x="156359" y="796048"/>
                    <a:pt x="156359" y="796048"/>
                  </a:cubicBezTo>
                  <a:cubicBezTo>
                    <a:pt x="156359" y="796048"/>
                    <a:pt x="155720" y="797461"/>
                    <a:pt x="155383" y="798235"/>
                  </a:cubicBezTo>
                  <a:cubicBezTo>
                    <a:pt x="155047" y="798975"/>
                    <a:pt x="154508" y="800287"/>
                    <a:pt x="154508" y="800287"/>
                  </a:cubicBezTo>
                  <a:cubicBezTo>
                    <a:pt x="154508" y="800287"/>
                    <a:pt x="153431" y="801700"/>
                    <a:pt x="154407" y="803113"/>
                  </a:cubicBezTo>
                  <a:cubicBezTo>
                    <a:pt x="155383" y="804526"/>
                    <a:pt x="156696" y="806140"/>
                    <a:pt x="156696" y="806140"/>
                  </a:cubicBezTo>
                  <a:lnTo>
                    <a:pt x="158984" y="807217"/>
                  </a:lnTo>
                  <a:lnTo>
                    <a:pt x="164201" y="809807"/>
                  </a:lnTo>
                  <a:lnTo>
                    <a:pt x="164975" y="811993"/>
                  </a:lnTo>
                  <a:cubicBezTo>
                    <a:pt x="164975" y="811993"/>
                    <a:pt x="165076" y="814718"/>
                    <a:pt x="165177" y="815055"/>
                  </a:cubicBezTo>
                  <a:cubicBezTo>
                    <a:pt x="165278" y="815391"/>
                    <a:pt x="167028" y="816905"/>
                    <a:pt x="167465" y="817107"/>
                  </a:cubicBezTo>
                  <a:cubicBezTo>
                    <a:pt x="167903" y="817309"/>
                    <a:pt x="169653" y="817645"/>
                    <a:pt x="170057" y="817645"/>
                  </a:cubicBezTo>
                  <a:cubicBezTo>
                    <a:pt x="170494" y="817645"/>
                    <a:pt x="172884" y="817847"/>
                    <a:pt x="173321" y="818183"/>
                  </a:cubicBezTo>
                  <a:cubicBezTo>
                    <a:pt x="173759" y="818520"/>
                    <a:pt x="173961" y="819159"/>
                    <a:pt x="174836" y="818183"/>
                  </a:cubicBezTo>
                  <a:cubicBezTo>
                    <a:pt x="175711" y="817208"/>
                    <a:pt x="175980" y="817410"/>
                    <a:pt x="175980" y="816232"/>
                  </a:cubicBezTo>
                  <a:cubicBezTo>
                    <a:pt x="175980" y="815055"/>
                    <a:pt x="175711" y="814819"/>
                    <a:pt x="175711" y="814382"/>
                  </a:cubicBezTo>
                  <a:cubicBezTo>
                    <a:pt x="175711" y="813945"/>
                    <a:pt x="175711" y="811657"/>
                    <a:pt x="175711" y="811657"/>
                  </a:cubicBezTo>
                  <a:cubicBezTo>
                    <a:pt x="175711" y="811657"/>
                    <a:pt x="176586" y="811321"/>
                    <a:pt x="176788" y="810883"/>
                  </a:cubicBezTo>
                  <a:cubicBezTo>
                    <a:pt x="176990" y="810446"/>
                    <a:pt x="176990" y="810009"/>
                    <a:pt x="177528" y="809571"/>
                  </a:cubicBezTo>
                  <a:cubicBezTo>
                    <a:pt x="178067" y="809134"/>
                    <a:pt x="178639" y="809470"/>
                    <a:pt x="179278" y="808596"/>
                  </a:cubicBezTo>
                  <a:cubicBezTo>
                    <a:pt x="179917" y="807721"/>
                    <a:pt x="180355" y="806847"/>
                    <a:pt x="180591" y="806308"/>
                  </a:cubicBezTo>
                  <a:cubicBezTo>
                    <a:pt x="180793" y="805770"/>
                    <a:pt x="180052" y="805434"/>
                    <a:pt x="181567" y="805232"/>
                  </a:cubicBezTo>
                  <a:cubicBezTo>
                    <a:pt x="183081" y="804997"/>
                    <a:pt x="185369" y="805131"/>
                    <a:pt x="185807" y="805131"/>
                  </a:cubicBezTo>
                  <a:cubicBezTo>
                    <a:pt x="186245" y="805131"/>
                    <a:pt x="188735" y="804795"/>
                    <a:pt x="189172" y="805131"/>
                  </a:cubicBezTo>
                  <a:cubicBezTo>
                    <a:pt x="189610" y="805467"/>
                    <a:pt x="190249" y="807620"/>
                    <a:pt x="190485" y="808192"/>
                  </a:cubicBezTo>
                  <a:cubicBezTo>
                    <a:pt x="190687" y="808730"/>
                    <a:pt x="190384" y="810244"/>
                    <a:pt x="190048" y="810480"/>
                  </a:cubicBezTo>
                  <a:cubicBezTo>
                    <a:pt x="189745" y="810682"/>
                    <a:pt x="189307" y="809605"/>
                    <a:pt x="188297" y="812431"/>
                  </a:cubicBezTo>
                  <a:cubicBezTo>
                    <a:pt x="187322" y="815257"/>
                    <a:pt x="187860" y="816333"/>
                    <a:pt x="187860" y="816333"/>
                  </a:cubicBezTo>
                  <a:lnTo>
                    <a:pt x="188398" y="817309"/>
                  </a:lnTo>
                  <a:cubicBezTo>
                    <a:pt x="188398" y="817309"/>
                    <a:pt x="189172" y="817847"/>
                    <a:pt x="189374" y="818183"/>
                  </a:cubicBezTo>
                  <a:cubicBezTo>
                    <a:pt x="189576" y="818520"/>
                    <a:pt x="189913" y="818822"/>
                    <a:pt x="190249" y="819394"/>
                  </a:cubicBezTo>
                  <a:cubicBezTo>
                    <a:pt x="190586" y="819933"/>
                    <a:pt x="191663" y="822422"/>
                    <a:pt x="191663" y="822422"/>
                  </a:cubicBezTo>
                  <a:lnTo>
                    <a:pt x="193413" y="824709"/>
                  </a:lnTo>
                  <a:lnTo>
                    <a:pt x="195668" y="824709"/>
                  </a:lnTo>
                  <a:lnTo>
                    <a:pt x="199134" y="824709"/>
                  </a:lnTo>
                  <a:cubicBezTo>
                    <a:pt x="199134" y="824709"/>
                    <a:pt x="201625" y="824272"/>
                    <a:pt x="201961" y="823734"/>
                  </a:cubicBezTo>
                  <a:cubicBezTo>
                    <a:pt x="202298" y="823195"/>
                    <a:pt x="203038" y="821345"/>
                    <a:pt x="203375" y="821244"/>
                  </a:cubicBezTo>
                  <a:cubicBezTo>
                    <a:pt x="203711" y="821144"/>
                    <a:pt x="205764" y="820807"/>
                    <a:pt x="206740" y="820807"/>
                  </a:cubicBezTo>
                  <a:cubicBezTo>
                    <a:pt x="207716" y="820807"/>
                    <a:pt x="210779" y="820908"/>
                    <a:pt x="210779" y="820908"/>
                  </a:cubicBezTo>
                  <a:lnTo>
                    <a:pt x="213505" y="822119"/>
                  </a:lnTo>
                  <a:cubicBezTo>
                    <a:pt x="213505" y="822119"/>
                    <a:pt x="216096" y="823532"/>
                    <a:pt x="215793" y="823868"/>
                  </a:cubicBezTo>
                  <a:cubicBezTo>
                    <a:pt x="215457" y="824205"/>
                    <a:pt x="215793" y="825281"/>
                    <a:pt x="215793" y="825281"/>
                  </a:cubicBezTo>
                  <a:lnTo>
                    <a:pt x="218620" y="827569"/>
                  </a:lnTo>
                  <a:lnTo>
                    <a:pt x="218721" y="830731"/>
                  </a:lnTo>
                  <a:lnTo>
                    <a:pt x="219361" y="832480"/>
                  </a:lnTo>
                  <a:lnTo>
                    <a:pt x="219260" y="834667"/>
                  </a:lnTo>
                  <a:cubicBezTo>
                    <a:pt x="219260" y="834667"/>
                    <a:pt x="219697" y="836853"/>
                    <a:pt x="219798" y="837593"/>
                  </a:cubicBezTo>
                  <a:cubicBezTo>
                    <a:pt x="219899" y="838367"/>
                    <a:pt x="224375" y="839544"/>
                    <a:pt x="224375" y="839544"/>
                  </a:cubicBezTo>
                  <a:lnTo>
                    <a:pt x="227303" y="840419"/>
                  </a:lnTo>
                  <a:lnTo>
                    <a:pt x="228818" y="843043"/>
                  </a:lnTo>
                  <a:cubicBezTo>
                    <a:pt x="228818" y="843043"/>
                    <a:pt x="230769" y="843817"/>
                    <a:pt x="231106" y="844456"/>
                  </a:cubicBezTo>
                  <a:cubicBezTo>
                    <a:pt x="231443" y="845095"/>
                    <a:pt x="232419" y="846642"/>
                    <a:pt x="232822" y="846945"/>
                  </a:cubicBezTo>
                  <a:cubicBezTo>
                    <a:pt x="233260" y="847281"/>
                    <a:pt x="235010" y="850208"/>
                    <a:pt x="235010" y="850208"/>
                  </a:cubicBezTo>
                  <a:cubicBezTo>
                    <a:pt x="235010" y="850208"/>
                    <a:pt x="236760" y="852395"/>
                    <a:pt x="237063" y="852395"/>
                  </a:cubicBezTo>
                  <a:cubicBezTo>
                    <a:pt x="237400" y="852395"/>
                    <a:pt x="238039" y="852832"/>
                    <a:pt x="239351" y="852395"/>
                  </a:cubicBezTo>
                  <a:cubicBezTo>
                    <a:pt x="240664" y="851957"/>
                    <a:pt x="240866" y="851184"/>
                    <a:pt x="241303" y="850881"/>
                  </a:cubicBezTo>
                  <a:cubicBezTo>
                    <a:pt x="241741" y="850545"/>
                    <a:pt x="242717" y="849569"/>
                    <a:pt x="243053" y="848829"/>
                  </a:cubicBezTo>
                  <a:cubicBezTo>
                    <a:pt x="243356" y="848055"/>
                    <a:pt x="243390" y="846777"/>
                    <a:pt x="243390" y="846003"/>
                  </a:cubicBezTo>
                  <a:cubicBezTo>
                    <a:pt x="243390" y="845229"/>
                    <a:pt x="243154" y="844388"/>
                    <a:pt x="243289" y="844052"/>
                  </a:cubicBezTo>
                  <a:cubicBezTo>
                    <a:pt x="243390" y="843716"/>
                    <a:pt x="244164" y="841664"/>
                    <a:pt x="244501" y="841563"/>
                  </a:cubicBezTo>
                  <a:cubicBezTo>
                    <a:pt x="244837" y="841462"/>
                    <a:pt x="246150" y="840486"/>
                    <a:pt x="246150" y="840486"/>
                  </a:cubicBezTo>
                  <a:cubicBezTo>
                    <a:pt x="246150" y="840486"/>
                    <a:pt x="248001" y="839612"/>
                    <a:pt x="248438" y="839612"/>
                  </a:cubicBezTo>
                  <a:cubicBezTo>
                    <a:pt x="248876" y="839612"/>
                    <a:pt x="250054" y="839712"/>
                    <a:pt x="250054" y="839712"/>
                  </a:cubicBezTo>
                  <a:cubicBezTo>
                    <a:pt x="250054" y="839712"/>
                    <a:pt x="251703" y="839511"/>
                    <a:pt x="252342" y="839712"/>
                  </a:cubicBezTo>
                  <a:cubicBezTo>
                    <a:pt x="252982" y="839948"/>
                    <a:pt x="255169" y="840486"/>
                    <a:pt x="255169" y="840486"/>
                  </a:cubicBezTo>
                  <a:cubicBezTo>
                    <a:pt x="255169" y="840486"/>
                    <a:pt x="256044" y="840924"/>
                    <a:pt x="256919" y="840486"/>
                  </a:cubicBezTo>
                  <a:cubicBezTo>
                    <a:pt x="257794" y="840049"/>
                    <a:pt x="259309" y="839712"/>
                    <a:pt x="259746" y="839612"/>
                  </a:cubicBezTo>
                  <a:cubicBezTo>
                    <a:pt x="260184" y="839511"/>
                    <a:pt x="260958" y="839174"/>
                    <a:pt x="261362" y="839174"/>
                  </a:cubicBezTo>
                  <a:cubicBezTo>
                    <a:pt x="261799" y="839174"/>
                    <a:pt x="262674" y="838972"/>
                    <a:pt x="263213" y="838838"/>
                  </a:cubicBezTo>
                  <a:cubicBezTo>
                    <a:pt x="263751" y="838737"/>
                    <a:pt x="264727" y="838064"/>
                    <a:pt x="265165" y="837862"/>
                  </a:cubicBezTo>
                  <a:cubicBezTo>
                    <a:pt x="265602" y="837627"/>
                    <a:pt x="266814" y="836651"/>
                    <a:pt x="266814" y="836651"/>
                  </a:cubicBezTo>
                  <a:lnTo>
                    <a:pt x="268126" y="835777"/>
                  </a:lnTo>
                  <a:cubicBezTo>
                    <a:pt x="268126" y="835777"/>
                    <a:pt x="269102" y="835676"/>
                    <a:pt x="269540" y="835777"/>
                  </a:cubicBezTo>
                  <a:cubicBezTo>
                    <a:pt x="269977" y="835878"/>
                    <a:pt x="270953" y="836752"/>
                    <a:pt x="271391" y="836853"/>
                  </a:cubicBezTo>
                  <a:cubicBezTo>
                    <a:pt x="271828" y="836954"/>
                    <a:pt x="273040" y="838064"/>
                    <a:pt x="273141" y="838602"/>
                  </a:cubicBezTo>
                  <a:cubicBezTo>
                    <a:pt x="273242" y="839141"/>
                    <a:pt x="274655" y="840453"/>
                    <a:pt x="274655" y="840453"/>
                  </a:cubicBezTo>
                  <a:cubicBezTo>
                    <a:pt x="274655" y="840453"/>
                    <a:pt x="274857" y="840553"/>
                    <a:pt x="276169" y="840453"/>
                  </a:cubicBezTo>
                  <a:cubicBezTo>
                    <a:pt x="277482" y="840352"/>
                    <a:pt x="278694" y="840553"/>
                    <a:pt x="278997" y="840453"/>
                  </a:cubicBezTo>
                  <a:cubicBezTo>
                    <a:pt x="279333" y="840352"/>
                    <a:pt x="286165" y="840453"/>
                    <a:pt x="286165" y="840453"/>
                  </a:cubicBezTo>
                  <a:lnTo>
                    <a:pt x="291348" y="840453"/>
                  </a:lnTo>
                  <a:lnTo>
                    <a:pt x="293098" y="840453"/>
                  </a:lnTo>
                  <a:cubicBezTo>
                    <a:pt x="293098" y="840453"/>
                    <a:pt x="295992" y="842774"/>
                    <a:pt x="295790" y="843211"/>
                  </a:cubicBezTo>
                  <a:cubicBezTo>
                    <a:pt x="295588" y="843648"/>
                    <a:pt x="297742" y="846407"/>
                    <a:pt x="297742" y="846407"/>
                  </a:cubicBezTo>
                  <a:cubicBezTo>
                    <a:pt x="297742" y="846407"/>
                    <a:pt x="300805" y="848863"/>
                    <a:pt x="301209" y="849165"/>
                  </a:cubicBezTo>
                  <a:cubicBezTo>
                    <a:pt x="301646" y="849468"/>
                    <a:pt x="306728" y="852193"/>
                    <a:pt x="306728" y="852193"/>
                  </a:cubicBezTo>
                  <a:lnTo>
                    <a:pt x="313391" y="855523"/>
                  </a:lnTo>
                  <a:lnTo>
                    <a:pt x="316420" y="858988"/>
                  </a:lnTo>
                  <a:lnTo>
                    <a:pt x="319449" y="861175"/>
                  </a:lnTo>
                  <a:lnTo>
                    <a:pt x="325810" y="865077"/>
                  </a:lnTo>
                  <a:lnTo>
                    <a:pt x="329142" y="867398"/>
                  </a:lnTo>
                  <a:lnTo>
                    <a:pt x="331027" y="869416"/>
                  </a:lnTo>
                  <a:lnTo>
                    <a:pt x="334493" y="871166"/>
                  </a:lnTo>
                  <a:cubicBezTo>
                    <a:pt x="334493" y="871166"/>
                    <a:pt x="335806" y="871300"/>
                    <a:pt x="337387" y="871300"/>
                  </a:cubicBezTo>
                  <a:cubicBezTo>
                    <a:pt x="338969" y="871300"/>
                    <a:pt x="340282" y="871435"/>
                    <a:pt x="340854" y="871435"/>
                  </a:cubicBezTo>
                  <a:cubicBezTo>
                    <a:pt x="341426" y="871435"/>
                    <a:pt x="343445" y="872007"/>
                    <a:pt x="343445" y="872007"/>
                  </a:cubicBezTo>
                  <a:lnTo>
                    <a:pt x="344320" y="873756"/>
                  </a:lnTo>
                  <a:cubicBezTo>
                    <a:pt x="344320" y="873756"/>
                    <a:pt x="345767" y="875942"/>
                    <a:pt x="346339" y="876077"/>
                  </a:cubicBezTo>
                  <a:cubicBezTo>
                    <a:pt x="346911" y="876212"/>
                    <a:pt x="347652" y="876380"/>
                    <a:pt x="348359" y="877221"/>
                  </a:cubicBezTo>
                  <a:cubicBezTo>
                    <a:pt x="349099" y="878095"/>
                    <a:pt x="351388" y="880686"/>
                    <a:pt x="351388" y="880686"/>
                  </a:cubicBezTo>
                  <a:lnTo>
                    <a:pt x="352700" y="881997"/>
                  </a:lnTo>
                  <a:lnTo>
                    <a:pt x="356167" y="884756"/>
                  </a:lnTo>
                  <a:lnTo>
                    <a:pt x="357042" y="887514"/>
                  </a:lnTo>
                  <a:cubicBezTo>
                    <a:pt x="357042" y="887514"/>
                    <a:pt x="357917" y="889533"/>
                    <a:pt x="358926" y="890979"/>
                  </a:cubicBezTo>
                  <a:cubicBezTo>
                    <a:pt x="359936" y="892426"/>
                    <a:pt x="363873" y="895184"/>
                    <a:pt x="363873" y="895184"/>
                  </a:cubicBezTo>
                  <a:lnTo>
                    <a:pt x="365758" y="898817"/>
                  </a:lnTo>
                  <a:lnTo>
                    <a:pt x="369393" y="903022"/>
                  </a:lnTo>
                  <a:lnTo>
                    <a:pt x="376494" y="903022"/>
                  </a:lnTo>
                  <a:lnTo>
                    <a:pt x="379556" y="901946"/>
                  </a:lnTo>
                  <a:lnTo>
                    <a:pt x="386085" y="901307"/>
                  </a:lnTo>
                  <a:lnTo>
                    <a:pt x="392177" y="901307"/>
                  </a:lnTo>
                  <a:lnTo>
                    <a:pt x="395643" y="901307"/>
                  </a:lnTo>
                  <a:lnTo>
                    <a:pt x="401163" y="901744"/>
                  </a:lnTo>
                  <a:cubicBezTo>
                    <a:pt x="401163" y="901744"/>
                    <a:pt x="400422" y="898111"/>
                    <a:pt x="400019" y="897539"/>
                  </a:cubicBezTo>
                  <a:cubicBezTo>
                    <a:pt x="399581" y="896967"/>
                    <a:pt x="396249" y="886539"/>
                    <a:pt x="396249" y="886539"/>
                  </a:cubicBezTo>
                  <a:cubicBezTo>
                    <a:pt x="396249" y="886539"/>
                    <a:pt x="395946" y="880450"/>
                    <a:pt x="395946" y="879878"/>
                  </a:cubicBezTo>
                  <a:cubicBezTo>
                    <a:pt x="395946" y="879306"/>
                    <a:pt x="396384" y="872208"/>
                    <a:pt x="396384" y="871603"/>
                  </a:cubicBezTo>
                  <a:cubicBezTo>
                    <a:pt x="396384" y="871031"/>
                    <a:pt x="396956" y="864202"/>
                    <a:pt x="396821" y="862756"/>
                  </a:cubicBezTo>
                  <a:cubicBezTo>
                    <a:pt x="396687" y="861309"/>
                    <a:pt x="396687" y="854514"/>
                    <a:pt x="396687" y="854514"/>
                  </a:cubicBezTo>
                  <a:cubicBezTo>
                    <a:pt x="396687" y="854514"/>
                    <a:pt x="395542" y="849872"/>
                    <a:pt x="394499" y="849165"/>
                  </a:cubicBezTo>
                  <a:cubicBezTo>
                    <a:pt x="393490" y="848425"/>
                    <a:pt x="391436" y="845970"/>
                    <a:pt x="390158" y="844388"/>
                  </a:cubicBezTo>
                  <a:cubicBezTo>
                    <a:pt x="388845" y="842807"/>
                    <a:pt x="384941" y="838165"/>
                    <a:pt x="384504" y="837593"/>
                  </a:cubicBezTo>
                  <a:cubicBezTo>
                    <a:pt x="384066" y="837021"/>
                    <a:pt x="383494" y="834700"/>
                    <a:pt x="383932" y="832951"/>
                  </a:cubicBezTo>
                  <a:cubicBezTo>
                    <a:pt x="384369" y="831202"/>
                    <a:pt x="386691" y="827165"/>
                    <a:pt x="387836" y="825988"/>
                  </a:cubicBezTo>
                  <a:cubicBezTo>
                    <a:pt x="388980" y="824844"/>
                    <a:pt x="390461" y="822657"/>
                    <a:pt x="391033" y="822220"/>
                  </a:cubicBezTo>
                  <a:cubicBezTo>
                    <a:pt x="391605" y="821783"/>
                    <a:pt x="391739" y="814382"/>
                    <a:pt x="391739" y="814382"/>
                  </a:cubicBezTo>
                  <a:lnTo>
                    <a:pt x="392614" y="804391"/>
                  </a:lnTo>
                  <a:lnTo>
                    <a:pt x="395643" y="803315"/>
                  </a:lnTo>
                  <a:lnTo>
                    <a:pt x="397965" y="800489"/>
                  </a:lnTo>
                  <a:lnTo>
                    <a:pt x="404360" y="800489"/>
                  </a:lnTo>
                  <a:lnTo>
                    <a:pt x="409879" y="803819"/>
                  </a:lnTo>
                  <a:cubicBezTo>
                    <a:pt x="409879" y="803819"/>
                    <a:pt x="417990" y="803685"/>
                    <a:pt x="419000" y="803382"/>
                  </a:cubicBezTo>
                  <a:cubicBezTo>
                    <a:pt x="420009" y="803079"/>
                    <a:pt x="427413" y="800489"/>
                    <a:pt x="427413" y="800489"/>
                  </a:cubicBezTo>
                  <a:cubicBezTo>
                    <a:pt x="427413" y="800489"/>
                    <a:pt x="429870" y="799042"/>
                    <a:pt x="432058" y="800489"/>
                  </a:cubicBezTo>
                  <a:cubicBezTo>
                    <a:pt x="434245" y="801935"/>
                    <a:pt x="438856" y="799345"/>
                    <a:pt x="440606" y="798739"/>
                  </a:cubicBezTo>
                  <a:cubicBezTo>
                    <a:pt x="442356" y="798168"/>
                    <a:pt x="445957" y="796418"/>
                    <a:pt x="446697" y="795544"/>
                  </a:cubicBezTo>
                  <a:cubicBezTo>
                    <a:pt x="447404" y="794669"/>
                    <a:pt x="449020" y="791776"/>
                    <a:pt x="449592" y="790632"/>
                  </a:cubicBezTo>
                  <a:cubicBezTo>
                    <a:pt x="450164" y="789489"/>
                    <a:pt x="451342" y="788311"/>
                    <a:pt x="451039" y="785856"/>
                  </a:cubicBezTo>
                  <a:cubicBezTo>
                    <a:pt x="450736" y="783400"/>
                    <a:pt x="451476" y="781651"/>
                    <a:pt x="449592" y="780204"/>
                  </a:cubicBezTo>
                  <a:cubicBezTo>
                    <a:pt x="447707" y="778757"/>
                    <a:pt x="443063" y="775427"/>
                    <a:pt x="441918" y="774687"/>
                  </a:cubicBezTo>
                  <a:cubicBezTo>
                    <a:pt x="440774" y="773947"/>
                    <a:pt x="439462" y="771794"/>
                    <a:pt x="436702" y="771357"/>
                  </a:cubicBezTo>
                  <a:cubicBezTo>
                    <a:pt x="433942" y="770920"/>
                    <a:pt x="432798" y="769776"/>
                    <a:pt x="428154" y="769910"/>
                  </a:cubicBezTo>
                  <a:cubicBezTo>
                    <a:pt x="423509" y="770045"/>
                    <a:pt x="423947" y="770348"/>
                    <a:pt x="421355" y="770617"/>
                  </a:cubicBezTo>
                  <a:cubicBezTo>
                    <a:pt x="418730" y="770920"/>
                    <a:pt x="419471" y="772938"/>
                    <a:pt x="417283" y="770920"/>
                  </a:cubicBezTo>
                  <a:cubicBezTo>
                    <a:pt x="415096" y="768901"/>
                    <a:pt x="412370" y="768161"/>
                    <a:pt x="412370" y="765840"/>
                  </a:cubicBezTo>
                  <a:cubicBezTo>
                    <a:pt x="412370" y="763519"/>
                    <a:pt x="412504" y="761500"/>
                    <a:pt x="412672" y="761063"/>
                  </a:cubicBezTo>
                  <a:cubicBezTo>
                    <a:pt x="412807" y="760626"/>
                    <a:pt x="414860" y="756993"/>
                    <a:pt x="414860" y="756993"/>
                  </a:cubicBezTo>
                  <a:lnTo>
                    <a:pt x="414288" y="752081"/>
                  </a:lnTo>
                  <a:lnTo>
                    <a:pt x="413716" y="747439"/>
                  </a:lnTo>
                  <a:cubicBezTo>
                    <a:pt x="413716" y="747439"/>
                    <a:pt x="409072" y="745118"/>
                    <a:pt x="407624" y="744546"/>
                  </a:cubicBezTo>
                  <a:cubicBezTo>
                    <a:pt x="406177" y="743974"/>
                    <a:pt x="402677" y="744546"/>
                    <a:pt x="402677" y="744546"/>
                  </a:cubicBezTo>
                  <a:cubicBezTo>
                    <a:pt x="402677" y="744546"/>
                    <a:pt x="400355" y="745488"/>
                    <a:pt x="397764" y="744277"/>
                  </a:cubicBezTo>
                  <a:cubicBezTo>
                    <a:pt x="395172" y="743100"/>
                    <a:pt x="394566" y="743671"/>
                    <a:pt x="393994" y="742797"/>
                  </a:cubicBezTo>
                  <a:cubicBezTo>
                    <a:pt x="393422" y="741922"/>
                    <a:pt x="385311" y="738726"/>
                    <a:pt x="385311" y="738726"/>
                  </a:cubicBezTo>
                  <a:cubicBezTo>
                    <a:pt x="385311" y="738726"/>
                    <a:pt x="384436" y="737213"/>
                    <a:pt x="384436" y="736775"/>
                  </a:cubicBezTo>
                  <a:cubicBezTo>
                    <a:pt x="384436" y="736338"/>
                    <a:pt x="384874" y="734050"/>
                    <a:pt x="385210" y="733849"/>
                  </a:cubicBezTo>
                  <a:cubicBezTo>
                    <a:pt x="385547" y="733647"/>
                    <a:pt x="387701" y="730922"/>
                    <a:pt x="387936" y="730485"/>
                  </a:cubicBezTo>
                  <a:cubicBezTo>
                    <a:pt x="388172" y="730047"/>
                    <a:pt x="388037" y="729947"/>
                    <a:pt x="389013" y="729408"/>
                  </a:cubicBezTo>
                  <a:cubicBezTo>
                    <a:pt x="389989" y="728870"/>
                    <a:pt x="392917" y="727457"/>
                    <a:pt x="393590" y="727457"/>
                  </a:cubicBezTo>
                  <a:cubicBezTo>
                    <a:pt x="394264" y="727457"/>
                    <a:pt x="396855" y="727995"/>
                    <a:pt x="397932" y="727457"/>
                  </a:cubicBezTo>
                  <a:cubicBezTo>
                    <a:pt x="399042" y="726919"/>
                    <a:pt x="401836" y="726549"/>
                    <a:pt x="402509" y="726112"/>
                  </a:cubicBezTo>
                  <a:cubicBezTo>
                    <a:pt x="403148" y="725674"/>
                    <a:pt x="407523" y="723992"/>
                    <a:pt x="407523" y="723992"/>
                  </a:cubicBezTo>
                  <a:lnTo>
                    <a:pt x="411427" y="723992"/>
                  </a:lnTo>
                  <a:lnTo>
                    <a:pt x="415668" y="725943"/>
                  </a:lnTo>
                  <a:cubicBezTo>
                    <a:pt x="415668" y="725943"/>
                    <a:pt x="420447" y="728231"/>
                    <a:pt x="421086" y="728433"/>
                  </a:cubicBezTo>
                  <a:cubicBezTo>
                    <a:pt x="421726" y="728668"/>
                    <a:pt x="427178" y="730720"/>
                    <a:pt x="428490" y="730922"/>
                  </a:cubicBezTo>
                  <a:cubicBezTo>
                    <a:pt x="429803" y="731124"/>
                    <a:pt x="434683" y="732873"/>
                    <a:pt x="435760" y="732873"/>
                  </a:cubicBezTo>
                  <a:cubicBezTo>
                    <a:pt x="436837" y="732873"/>
                    <a:pt x="444240" y="735261"/>
                    <a:pt x="445217" y="735261"/>
                  </a:cubicBezTo>
                  <a:cubicBezTo>
                    <a:pt x="446193" y="735261"/>
                    <a:pt x="454135" y="737213"/>
                    <a:pt x="455111" y="736910"/>
                  </a:cubicBezTo>
                  <a:cubicBezTo>
                    <a:pt x="456087" y="736573"/>
                    <a:pt x="462952" y="735497"/>
                    <a:pt x="462952" y="735497"/>
                  </a:cubicBezTo>
                  <a:lnTo>
                    <a:pt x="465544" y="733983"/>
                  </a:lnTo>
                  <a:lnTo>
                    <a:pt x="475775" y="733748"/>
                  </a:lnTo>
                  <a:cubicBezTo>
                    <a:pt x="475775" y="733748"/>
                    <a:pt x="481664" y="731797"/>
                    <a:pt x="482068" y="731157"/>
                  </a:cubicBezTo>
                  <a:cubicBezTo>
                    <a:pt x="482506" y="730485"/>
                    <a:pt x="484794" y="729106"/>
                    <a:pt x="484794" y="729106"/>
                  </a:cubicBezTo>
                  <a:lnTo>
                    <a:pt x="487621" y="725506"/>
                  </a:lnTo>
                  <a:lnTo>
                    <a:pt x="490246" y="725304"/>
                  </a:lnTo>
                  <a:lnTo>
                    <a:pt x="492299" y="726280"/>
                  </a:lnTo>
                  <a:lnTo>
                    <a:pt x="493040" y="728130"/>
                  </a:lnTo>
                  <a:lnTo>
                    <a:pt x="492501" y="731292"/>
                  </a:lnTo>
                  <a:cubicBezTo>
                    <a:pt x="492501" y="731292"/>
                    <a:pt x="492064" y="732907"/>
                    <a:pt x="493040" y="733781"/>
                  </a:cubicBezTo>
                  <a:cubicBezTo>
                    <a:pt x="494016" y="734656"/>
                    <a:pt x="495126" y="735968"/>
                    <a:pt x="495867" y="736607"/>
                  </a:cubicBezTo>
                  <a:cubicBezTo>
                    <a:pt x="496641" y="737246"/>
                    <a:pt x="499030" y="738895"/>
                    <a:pt x="499333" y="739096"/>
                  </a:cubicBezTo>
                  <a:cubicBezTo>
                    <a:pt x="499670" y="739332"/>
                    <a:pt x="503035" y="740072"/>
                    <a:pt x="503035" y="740072"/>
                  </a:cubicBezTo>
                  <a:cubicBezTo>
                    <a:pt x="503035" y="740072"/>
                    <a:pt x="504247" y="740173"/>
                    <a:pt x="505122" y="740173"/>
                  </a:cubicBezTo>
                  <a:cubicBezTo>
                    <a:pt x="505997" y="740173"/>
                    <a:pt x="507747" y="739937"/>
                    <a:pt x="508386" y="739736"/>
                  </a:cubicBezTo>
                  <a:cubicBezTo>
                    <a:pt x="509026" y="739500"/>
                    <a:pt x="511112" y="738121"/>
                    <a:pt x="511550" y="737549"/>
                  </a:cubicBezTo>
                  <a:cubicBezTo>
                    <a:pt x="511987" y="737011"/>
                    <a:pt x="513502" y="736035"/>
                    <a:pt x="513939" y="735699"/>
                  </a:cubicBezTo>
                  <a:cubicBezTo>
                    <a:pt x="514377" y="735362"/>
                    <a:pt x="515252" y="733849"/>
                    <a:pt x="515790" y="733310"/>
                  </a:cubicBezTo>
                  <a:cubicBezTo>
                    <a:pt x="516329" y="732772"/>
                    <a:pt x="516766" y="731460"/>
                    <a:pt x="518180" y="731023"/>
                  </a:cubicBezTo>
                  <a:cubicBezTo>
                    <a:pt x="519593" y="730586"/>
                    <a:pt x="521882" y="729947"/>
                    <a:pt x="522757" y="729274"/>
                  </a:cubicBezTo>
                  <a:cubicBezTo>
                    <a:pt x="523632" y="728635"/>
                    <a:pt x="525348" y="728197"/>
                    <a:pt x="526122" y="727121"/>
                  </a:cubicBezTo>
                  <a:cubicBezTo>
                    <a:pt x="526425" y="726683"/>
                    <a:pt x="527334" y="725943"/>
                    <a:pt x="528276" y="725237"/>
                  </a:cubicBezTo>
                  <a:lnTo>
                    <a:pt x="531406" y="720527"/>
                  </a:lnTo>
                  <a:lnTo>
                    <a:pt x="534031" y="716793"/>
                  </a:lnTo>
                  <a:lnTo>
                    <a:pt x="534031" y="712656"/>
                  </a:lnTo>
                  <a:cubicBezTo>
                    <a:pt x="534031" y="712656"/>
                    <a:pt x="534031" y="709695"/>
                    <a:pt x="534031" y="709393"/>
                  </a:cubicBezTo>
                  <a:cubicBezTo>
                    <a:pt x="534031" y="709090"/>
                    <a:pt x="534031" y="703977"/>
                    <a:pt x="534031" y="703977"/>
                  </a:cubicBezTo>
                  <a:lnTo>
                    <a:pt x="534603" y="701151"/>
                  </a:lnTo>
                  <a:cubicBezTo>
                    <a:pt x="534603" y="701151"/>
                    <a:pt x="534166" y="696441"/>
                    <a:pt x="534098" y="696240"/>
                  </a:cubicBezTo>
                  <a:cubicBezTo>
                    <a:pt x="534031" y="696004"/>
                    <a:pt x="532214" y="692102"/>
                    <a:pt x="532012" y="691967"/>
                  </a:cubicBezTo>
                  <a:cubicBezTo>
                    <a:pt x="531776" y="691833"/>
                    <a:pt x="527939" y="688570"/>
                    <a:pt x="527738" y="688435"/>
                  </a:cubicBezTo>
                  <a:cubicBezTo>
                    <a:pt x="527536" y="688301"/>
                    <a:pt x="523228" y="684667"/>
                    <a:pt x="523161" y="684466"/>
                  </a:cubicBezTo>
                  <a:cubicBezTo>
                    <a:pt x="523093" y="684264"/>
                    <a:pt x="519761" y="682145"/>
                    <a:pt x="519761" y="682145"/>
                  </a:cubicBezTo>
                  <a:lnTo>
                    <a:pt x="518247" y="680563"/>
                  </a:lnTo>
                  <a:lnTo>
                    <a:pt x="515756" y="680563"/>
                  </a:lnTo>
                  <a:cubicBezTo>
                    <a:pt x="515756" y="680563"/>
                    <a:pt x="512425" y="676358"/>
                    <a:pt x="512290" y="675787"/>
                  </a:cubicBezTo>
                  <a:cubicBezTo>
                    <a:pt x="512155" y="675215"/>
                    <a:pt x="512290" y="670875"/>
                    <a:pt x="512290" y="670875"/>
                  </a:cubicBezTo>
                  <a:lnTo>
                    <a:pt x="512223" y="666670"/>
                  </a:lnTo>
                  <a:cubicBezTo>
                    <a:pt x="512223" y="666670"/>
                    <a:pt x="509968" y="664349"/>
                    <a:pt x="509665" y="663777"/>
                  </a:cubicBezTo>
                  <a:cubicBezTo>
                    <a:pt x="509362" y="663205"/>
                    <a:pt x="505458" y="659370"/>
                    <a:pt x="505458" y="659370"/>
                  </a:cubicBezTo>
                  <a:lnTo>
                    <a:pt x="504011" y="657991"/>
                  </a:lnTo>
                  <a:lnTo>
                    <a:pt x="498357" y="657991"/>
                  </a:lnTo>
                  <a:cubicBezTo>
                    <a:pt x="498357" y="657991"/>
                    <a:pt x="496035" y="657688"/>
                    <a:pt x="495597" y="657991"/>
                  </a:cubicBezTo>
                  <a:cubicBezTo>
                    <a:pt x="495160" y="658294"/>
                    <a:pt x="493275" y="657251"/>
                    <a:pt x="493275" y="657251"/>
                  </a:cubicBezTo>
                  <a:lnTo>
                    <a:pt x="492266" y="654930"/>
                  </a:lnTo>
                  <a:lnTo>
                    <a:pt x="492266" y="651903"/>
                  </a:lnTo>
                  <a:lnTo>
                    <a:pt x="494150" y="650153"/>
                  </a:lnTo>
                  <a:cubicBezTo>
                    <a:pt x="494150" y="650153"/>
                    <a:pt x="494722" y="649279"/>
                    <a:pt x="495160" y="649144"/>
                  </a:cubicBezTo>
                  <a:cubicBezTo>
                    <a:pt x="495597" y="649010"/>
                    <a:pt x="498492" y="645814"/>
                    <a:pt x="498492" y="645814"/>
                  </a:cubicBezTo>
                  <a:lnTo>
                    <a:pt x="494857" y="642349"/>
                  </a:lnTo>
                  <a:lnTo>
                    <a:pt x="489641" y="642349"/>
                  </a:lnTo>
                  <a:cubicBezTo>
                    <a:pt x="489641" y="642349"/>
                    <a:pt x="487319" y="640465"/>
                    <a:pt x="487049" y="640028"/>
                  </a:cubicBezTo>
                  <a:cubicBezTo>
                    <a:pt x="486746" y="639590"/>
                    <a:pt x="486040" y="637572"/>
                    <a:pt x="486040" y="637000"/>
                  </a:cubicBezTo>
                  <a:cubicBezTo>
                    <a:pt x="486040" y="636428"/>
                    <a:pt x="486477" y="635116"/>
                    <a:pt x="487487" y="634107"/>
                  </a:cubicBezTo>
                  <a:cubicBezTo>
                    <a:pt x="488496" y="633098"/>
                    <a:pt x="490684" y="631080"/>
                    <a:pt x="491256" y="630777"/>
                  </a:cubicBezTo>
                  <a:cubicBezTo>
                    <a:pt x="491828" y="630508"/>
                    <a:pt x="494319" y="629196"/>
                    <a:pt x="494891" y="628893"/>
                  </a:cubicBezTo>
                  <a:cubicBezTo>
                    <a:pt x="495463" y="628590"/>
                    <a:pt x="497348" y="625865"/>
                    <a:pt x="497348" y="625865"/>
                  </a:cubicBezTo>
                  <a:cubicBezTo>
                    <a:pt x="497348" y="625865"/>
                    <a:pt x="497650" y="624991"/>
                    <a:pt x="497482" y="624419"/>
                  </a:cubicBezTo>
                  <a:cubicBezTo>
                    <a:pt x="497348" y="623847"/>
                    <a:pt x="495900" y="622098"/>
                    <a:pt x="495295" y="621829"/>
                  </a:cubicBezTo>
                  <a:cubicBezTo>
                    <a:pt x="494722" y="621526"/>
                    <a:pt x="493545" y="620517"/>
                    <a:pt x="493545" y="620517"/>
                  </a:cubicBezTo>
                  <a:cubicBezTo>
                    <a:pt x="493545" y="620517"/>
                    <a:pt x="491963" y="619373"/>
                    <a:pt x="490650" y="618767"/>
                  </a:cubicBezTo>
                  <a:cubicBezTo>
                    <a:pt x="489338" y="618196"/>
                    <a:pt x="486443" y="617893"/>
                    <a:pt x="486006" y="617590"/>
                  </a:cubicBezTo>
                  <a:cubicBezTo>
                    <a:pt x="485568" y="617287"/>
                    <a:pt x="482371" y="616581"/>
                    <a:pt x="481799" y="616446"/>
                  </a:cubicBezTo>
                  <a:cubicBezTo>
                    <a:pt x="481227" y="616312"/>
                    <a:pt x="478164" y="614697"/>
                    <a:pt x="478164" y="614697"/>
                  </a:cubicBezTo>
                  <a:lnTo>
                    <a:pt x="476280" y="612241"/>
                  </a:lnTo>
                  <a:lnTo>
                    <a:pt x="474530" y="609046"/>
                  </a:lnTo>
                  <a:cubicBezTo>
                    <a:pt x="474530" y="609046"/>
                    <a:pt x="473520" y="608238"/>
                    <a:pt x="474530" y="608104"/>
                  </a:cubicBezTo>
                  <a:cubicBezTo>
                    <a:pt x="475539" y="607969"/>
                    <a:pt x="478299" y="605850"/>
                    <a:pt x="478299" y="605850"/>
                  </a:cubicBezTo>
                  <a:lnTo>
                    <a:pt x="480890" y="605850"/>
                  </a:lnTo>
                  <a:lnTo>
                    <a:pt x="481597" y="604101"/>
                  </a:lnTo>
                  <a:lnTo>
                    <a:pt x="482607" y="602520"/>
                  </a:lnTo>
                  <a:lnTo>
                    <a:pt x="480790" y="600131"/>
                  </a:lnTo>
                  <a:lnTo>
                    <a:pt x="477458" y="596935"/>
                  </a:lnTo>
                  <a:lnTo>
                    <a:pt x="475708" y="594917"/>
                  </a:lnTo>
                  <a:lnTo>
                    <a:pt x="471232" y="590275"/>
                  </a:lnTo>
                  <a:lnTo>
                    <a:pt x="467597" y="585767"/>
                  </a:lnTo>
                  <a:cubicBezTo>
                    <a:pt x="467597" y="585767"/>
                    <a:pt x="466015" y="584018"/>
                    <a:pt x="466015" y="583446"/>
                  </a:cubicBezTo>
                  <a:cubicBezTo>
                    <a:pt x="466015" y="582874"/>
                    <a:pt x="466015" y="578669"/>
                    <a:pt x="466015" y="578669"/>
                  </a:cubicBezTo>
                  <a:lnTo>
                    <a:pt x="466755" y="576718"/>
                  </a:lnTo>
                  <a:cubicBezTo>
                    <a:pt x="466755" y="576718"/>
                    <a:pt x="468135" y="575238"/>
                    <a:pt x="469179" y="574599"/>
                  </a:cubicBezTo>
                  <a:cubicBezTo>
                    <a:pt x="469179" y="574599"/>
                    <a:pt x="469179" y="574599"/>
                    <a:pt x="469179" y="574599"/>
                  </a:cubicBezTo>
                  <a:lnTo>
                    <a:pt x="469179" y="574599"/>
                  </a:lnTo>
                  <a:lnTo>
                    <a:pt x="462852" y="572143"/>
                  </a:lnTo>
                  <a:cubicBezTo>
                    <a:pt x="462852" y="572143"/>
                    <a:pt x="461270" y="569250"/>
                    <a:pt x="460967" y="568510"/>
                  </a:cubicBezTo>
                  <a:cubicBezTo>
                    <a:pt x="460664" y="567770"/>
                    <a:pt x="460664" y="563161"/>
                    <a:pt x="460260" y="562556"/>
                  </a:cubicBezTo>
                  <a:cubicBezTo>
                    <a:pt x="459823" y="561984"/>
                    <a:pt x="460260" y="551690"/>
                    <a:pt x="460260" y="551690"/>
                  </a:cubicBezTo>
                  <a:lnTo>
                    <a:pt x="461842" y="544727"/>
                  </a:lnTo>
                  <a:lnTo>
                    <a:pt x="460832" y="542136"/>
                  </a:lnTo>
                  <a:cubicBezTo>
                    <a:pt x="460832" y="542136"/>
                    <a:pt x="460832" y="535610"/>
                    <a:pt x="460832" y="534029"/>
                  </a:cubicBezTo>
                  <a:cubicBezTo>
                    <a:pt x="460832" y="532448"/>
                    <a:pt x="461606" y="530699"/>
                    <a:pt x="461909" y="529959"/>
                  </a:cubicBezTo>
                  <a:cubicBezTo>
                    <a:pt x="462212" y="529252"/>
                    <a:pt x="463727" y="526629"/>
                    <a:pt x="463727" y="526629"/>
                  </a:cubicBezTo>
                  <a:cubicBezTo>
                    <a:pt x="463727" y="526629"/>
                    <a:pt x="465880" y="523298"/>
                    <a:pt x="466049" y="522726"/>
                  </a:cubicBezTo>
                  <a:cubicBezTo>
                    <a:pt x="466183" y="522154"/>
                    <a:pt x="466621" y="519530"/>
                    <a:pt x="466755" y="519093"/>
                  </a:cubicBezTo>
                  <a:cubicBezTo>
                    <a:pt x="466890" y="518656"/>
                    <a:pt x="467765" y="516637"/>
                    <a:pt x="467765" y="516637"/>
                  </a:cubicBezTo>
                  <a:cubicBezTo>
                    <a:pt x="467765" y="516637"/>
                    <a:pt x="467630" y="512433"/>
                    <a:pt x="467765" y="511289"/>
                  </a:cubicBezTo>
                  <a:cubicBezTo>
                    <a:pt x="467900" y="510145"/>
                    <a:pt x="467765" y="507387"/>
                    <a:pt x="467765" y="507387"/>
                  </a:cubicBezTo>
                  <a:cubicBezTo>
                    <a:pt x="467765" y="507387"/>
                    <a:pt x="467765" y="502744"/>
                    <a:pt x="467765" y="501870"/>
                  </a:cubicBezTo>
                  <a:cubicBezTo>
                    <a:pt x="467765" y="500995"/>
                    <a:pt x="469347" y="499280"/>
                    <a:pt x="469515" y="498977"/>
                  </a:cubicBezTo>
                  <a:cubicBezTo>
                    <a:pt x="469650" y="498674"/>
                    <a:pt x="472544" y="495646"/>
                    <a:pt x="472712" y="495075"/>
                  </a:cubicBezTo>
                  <a:cubicBezTo>
                    <a:pt x="472847" y="494503"/>
                    <a:pt x="474328" y="492619"/>
                    <a:pt x="474900" y="491744"/>
                  </a:cubicBezTo>
                  <a:cubicBezTo>
                    <a:pt x="475472" y="490870"/>
                    <a:pt x="477929" y="487405"/>
                    <a:pt x="478232" y="486967"/>
                  </a:cubicBezTo>
                  <a:cubicBezTo>
                    <a:pt x="478535" y="486530"/>
                    <a:pt x="482573" y="481753"/>
                    <a:pt x="482573" y="481753"/>
                  </a:cubicBezTo>
                  <a:cubicBezTo>
                    <a:pt x="482573" y="481753"/>
                    <a:pt x="483145" y="476404"/>
                    <a:pt x="483145" y="475799"/>
                  </a:cubicBezTo>
                  <a:cubicBezTo>
                    <a:pt x="483145" y="475227"/>
                    <a:pt x="485165" y="472166"/>
                    <a:pt x="485737" y="471594"/>
                  </a:cubicBezTo>
                  <a:cubicBezTo>
                    <a:pt x="486309" y="471022"/>
                    <a:pt x="487319" y="469004"/>
                    <a:pt x="487621" y="467826"/>
                  </a:cubicBezTo>
                  <a:cubicBezTo>
                    <a:pt x="487891" y="466683"/>
                    <a:pt x="489068" y="462747"/>
                    <a:pt x="489068" y="462747"/>
                  </a:cubicBezTo>
                  <a:cubicBezTo>
                    <a:pt x="489068" y="462747"/>
                    <a:pt x="490819" y="459416"/>
                    <a:pt x="490819" y="458542"/>
                  </a:cubicBezTo>
                  <a:cubicBezTo>
                    <a:pt x="490819" y="457667"/>
                    <a:pt x="491391" y="452890"/>
                    <a:pt x="491391" y="452890"/>
                  </a:cubicBezTo>
                  <a:lnTo>
                    <a:pt x="490381" y="448248"/>
                  </a:lnTo>
                  <a:lnTo>
                    <a:pt x="490381" y="444178"/>
                  </a:lnTo>
                  <a:lnTo>
                    <a:pt x="488799" y="436373"/>
                  </a:lnTo>
                  <a:lnTo>
                    <a:pt x="486477" y="433615"/>
                  </a:lnTo>
                  <a:lnTo>
                    <a:pt x="481395" y="427257"/>
                  </a:lnTo>
                  <a:lnTo>
                    <a:pt x="480823" y="420159"/>
                  </a:lnTo>
                  <a:lnTo>
                    <a:pt x="481698" y="415820"/>
                  </a:lnTo>
                  <a:lnTo>
                    <a:pt x="480554" y="410471"/>
                  </a:lnTo>
                  <a:lnTo>
                    <a:pt x="478972" y="406838"/>
                  </a:lnTo>
                  <a:lnTo>
                    <a:pt x="476953" y="403507"/>
                  </a:lnTo>
                  <a:lnTo>
                    <a:pt x="476684" y="397856"/>
                  </a:lnTo>
                  <a:lnTo>
                    <a:pt x="476246" y="392642"/>
                  </a:lnTo>
                  <a:lnTo>
                    <a:pt x="476818" y="389312"/>
                  </a:lnTo>
                  <a:lnTo>
                    <a:pt x="477693" y="387428"/>
                  </a:lnTo>
                  <a:lnTo>
                    <a:pt x="478131" y="381776"/>
                  </a:lnTo>
                  <a:lnTo>
                    <a:pt x="478568" y="377874"/>
                  </a:lnTo>
                  <a:lnTo>
                    <a:pt x="478265" y="374241"/>
                  </a:lnTo>
                  <a:cubicBezTo>
                    <a:pt x="478265" y="374241"/>
                    <a:pt x="477962" y="370911"/>
                    <a:pt x="477962" y="370473"/>
                  </a:cubicBezTo>
                  <a:cubicBezTo>
                    <a:pt x="477962" y="370036"/>
                    <a:pt x="477390" y="367278"/>
                    <a:pt x="477390" y="367278"/>
                  </a:cubicBezTo>
                  <a:cubicBezTo>
                    <a:pt x="477390" y="367278"/>
                    <a:pt x="476818" y="365831"/>
                    <a:pt x="476650" y="365394"/>
                  </a:cubicBezTo>
                  <a:cubicBezTo>
                    <a:pt x="476515" y="364956"/>
                    <a:pt x="476515" y="364082"/>
                    <a:pt x="476785" y="363947"/>
                  </a:cubicBezTo>
                  <a:cubicBezTo>
                    <a:pt x="477087" y="363813"/>
                    <a:pt x="476919" y="361626"/>
                    <a:pt x="477357" y="361323"/>
                  </a:cubicBezTo>
                  <a:cubicBezTo>
                    <a:pt x="477794" y="361020"/>
                    <a:pt x="478366" y="359440"/>
                    <a:pt x="478366" y="359440"/>
                  </a:cubicBezTo>
                  <a:cubicBezTo>
                    <a:pt x="478366" y="359440"/>
                    <a:pt x="478938" y="357253"/>
                    <a:pt x="479073" y="356681"/>
                  </a:cubicBezTo>
                  <a:cubicBezTo>
                    <a:pt x="479208" y="356109"/>
                    <a:pt x="479948" y="354360"/>
                    <a:pt x="479948" y="354360"/>
                  </a:cubicBezTo>
                  <a:lnTo>
                    <a:pt x="479948" y="351601"/>
                  </a:lnTo>
                  <a:lnTo>
                    <a:pt x="478938" y="350020"/>
                  </a:lnTo>
                  <a:lnTo>
                    <a:pt x="477626" y="346555"/>
                  </a:lnTo>
                  <a:lnTo>
                    <a:pt x="475035" y="342653"/>
                  </a:lnTo>
                  <a:cubicBezTo>
                    <a:pt x="475035" y="342653"/>
                    <a:pt x="473284" y="340635"/>
                    <a:pt x="473150" y="340198"/>
                  </a:cubicBezTo>
                  <a:cubicBezTo>
                    <a:pt x="473015" y="339760"/>
                    <a:pt x="471265" y="338751"/>
                    <a:pt x="471265" y="338751"/>
                  </a:cubicBezTo>
                  <a:lnTo>
                    <a:pt x="471265" y="337607"/>
                  </a:lnTo>
                  <a:lnTo>
                    <a:pt x="472207" y="335858"/>
                  </a:lnTo>
                  <a:lnTo>
                    <a:pt x="474025" y="334714"/>
                  </a:lnTo>
                  <a:lnTo>
                    <a:pt x="475035" y="332830"/>
                  </a:lnTo>
                  <a:cubicBezTo>
                    <a:pt x="475035" y="332830"/>
                    <a:pt x="475741" y="330947"/>
                    <a:pt x="475741" y="330509"/>
                  </a:cubicBezTo>
                  <a:cubicBezTo>
                    <a:pt x="475741" y="330072"/>
                    <a:pt x="475741" y="328323"/>
                    <a:pt x="475607" y="327751"/>
                  </a:cubicBezTo>
                  <a:cubicBezTo>
                    <a:pt x="475472" y="327179"/>
                    <a:pt x="473857" y="327751"/>
                    <a:pt x="473857" y="327751"/>
                  </a:cubicBezTo>
                  <a:cubicBezTo>
                    <a:pt x="473857" y="327751"/>
                    <a:pt x="472140" y="325867"/>
                    <a:pt x="471972" y="324858"/>
                  </a:cubicBezTo>
                  <a:cubicBezTo>
                    <a:pt x="471837" y="323849"/>
                    <a:pt x="469515" y="324858"/>
                    <a:pt x="469515" y="324858"/>
                  </a:cubicBezTo>
                  <a:lnTo>
                    <a:pt x="469515" y="323277"/>
                  </a:lnTo>
                  <a:lnTo>
                    <a:pt x="471837" y="322268"/>
                  </a:lnTo>
                  <a:lnTo>
                    <a:pt x="473419" y="320081"/>
                  </a:lnTo>
                  <a:cubicBezTo>
                    <a:pt x="473419" y="320081"/>
                    <a:pt x="472712" y="318635"/>
                    <a:pt x="472712" y="318063"/>
                  </a:cubicBezTo>
                  <a:cubicBezTo>
                    <a:pt x="472712" y="317491"/>
                    <a:pt x="471703" y="316751"/>
                    <a:pt x="471703" y="316751"/>
                  </a:cubicBezTo>
                  <a:lnTo>
                    <a:pt x="470558" y="315001"/>
                  </a:lnTo>
                  <a:lnTo>
                    <a:pt x="471703" y="313555"/>
                  </a:lnTo>
                  <a:lnTo>
                    <a:pt x="470390" y="310797"/>
                  </a:lnTo>
                  <a:lnTo>
                    <a:pt x="469515" y="305717"/>
                  </a:lnTo>
                  <a:lnTo>
                    <a:pt x="469515" y="302252"/>
                  </a:lnTo>
                  <a:lnTo>
                    <a:pt x="471030" y="300368"/>
                  </a:lnTo>
                  <a:lnTo>
                    <a:pt x="474732" y="299796"/>
                  </a:lnTo>
                  <a:lnTo>
                    <a:pt x="476179" y="298047"/>
                  </a:lnTo>
                  <a:lnTo>
                    <a:pt x="475741" y="295861"/>
                  </a:lnTo>
                  <a:lnTo>
                    <a:pt x="474732" y="295289"/>
                  </a:lnTo>
                  <a:lnTo>
                    <a:pt x="474732" y="292261"/>
                  </a:lnTo>
                  <a:lnTo>
                    <a:pt x="479006" y="290815"/>
                  </a:lnTo>
                  <a:cubicBezTo>
                    <a:pt x="479006" y="290815"/>
                    <a:pt x="480251" y="288224"/>
                    <a:pt x="480520" y="287787"/>
                  </a:cubicBezTo>
                  <a:cubicBezTo>
                    <a:pt x="480823" y="287350"/>
                    <a:pt x="482977" y="283447"/>
                    <a:pt x="482977" y="283447"/>
                  </a:cubicBezTo>
                  <a:lnTo>
                    <a:pt x="486309" y="278099"/>
                  </a:lnTo>
                  <a:cubicBezTo>
                    <a:pt x="486309" y="278099"/>
                    <a:pt x="492838" y="273625"/>
                    <a:pt x="492838" y="273187"/>
                  </a:cubicBezTo>
                  <a:cubicBezTo>
                    <a:pt x="492838" y="272750"/>
                    <a:pt x="494420" y="269554"/>
                    <a:pt x="494722" y="269117"/>
                  </a:cubicBezTo>
                  <a:cubicBezTo>
                    <a:pt x="495025" y="268680"/>
                    <a:pt x="497314" y="266661"/>
                    <a:pt x="497314" y="266661"/>
                  </a:cubicBezTo>
                  <a:lnTo>
                    <a:pt x="498189" y="263903"/>
                  </a:lnTo>
                  <a:lnTo>
                    <a:pt x="497886" y="259395"/>
                  </a:lnTo>
                  <a:lnTo>
                    <a:pt x="495867" y="257780"/>
                  </a:lnTo>
                  <a:cubicBezTo>
                    <a:pt x="495867" y="257780"/>
                    <a:pt x="492972" y="253744"/>
                    <a:pt x="492972" y="252701"/>
                  </a:cubicBezTo>
                  <a:cubicBezTo>
                    <a:pt x="492972" y="251658"/>
                    <a:pt x="493275" y="250111"/>
                    <a:pt x="493275" y="250111"/>
                  </a:cubicBezTo>
                  <a:lnTo>
                    <a:pt x="496304" y="248092"/>
                  </a:lnTo>
                  <a:cubicBezTo>
                    <a:pt x="496304" y="248092"/>
                    <a:pt x="497886" y="245468"/>
                    <a:pt x="499333" y="244022"/>
                  </a:cubicBezTo>
                  <a:cubicBezTo>
                    <a:pt x="500780" y="242575"/>
                    <a:pt x="502362" y="243450"/>
                    <a:pt x="502362" y="243450"/>
                  </a:cubicBezTo>
                  <a:cubicBezTo>
                    <a:pt x="502362" y="243450"/>
                    <a:pt x="503809" y="242575"/>
                    <a:pt x="505256" y="241129"/>
                  </a:cubicBezTo>
                  <a:cubicBezTo>
                    <a:pt x="506703" y="239682"/>
                    <a:pt x="506703" y="238673"/>
                    <a:pt x="506703" y="238673"/>
                  </a:cubicBezTo>
                  <a:lnTo>
                    <a:pt x="507444" y="234334"/>
                  </a:lnTo>
                  <a:lnTo>
                    <a:pt x="503977" y="230129"/>
                  </a:lnTo>
                  <a:lnTo>
                    <a:pt x="504550" y="227505"/>
                  </a:lnTo>
                  <a:lnTo>
                    <a:pt x="506131" y="225318"/>
                  </a:lnTo>
                  <a:lnTo>
                    <a:pt x="507276" y="223300"/>
                  </a:lnTo>
                  <a:lnTo>
                    <a:pt x="504516" y="221853"/>
                  </a:lnTo>
                  <a:lnTo>
                    <a:pt x="500747" y="220541"/>
                  </a:lnTo>
                  <a:lnTo>
                    <a:pt x="500747" y="219398"/>
                  </a:lnTo>
                  <a:lnTo>
                    <a:pt x="501184" y="216303"/>
                  </a:lnTo>
                  <a:cubicBezTo>
                    <a:pt x="501184" y="216303"/>
                    <a:pt x="502059" y="215765"/>
                    <a:pt x="502497" y="215529"/>
                  </a:cubicBezTo>
                  <a:cubicBezTo>
                    <a:pt x="502934" y="215327"/>
                    <a:pt x="504011" y="214453"/>
                    <a:pt x="504247" y="214116"/>
                  </a:cubicBezTo>
                  <a:cubicBezTo>
                    <a:pt x="504449" y="213780"/>
                    <a:pt x="504449" y="213040"/>
                    <a:pt x="504449" y="213040"/>
                  </a:cubicBezTo>
                  <a:lnTo>
                    <a:pt x="501521" y="210651"/>
                  </a:lnTo>
                  <a:cubicBezTo>
                    <a:pt x="501521" y="210651"/>
                    <a:pt x="499468" y="209777"/>
                    <a:pt x="499131" y="209440"/>
                  </a:cubicBezTo>
                  <a:cubicBezTo>
                    <a:pt x="498795" y="209104"/>
                    <a:pt x="498155" y="208128"/>
                    <a:pt x="498155" y="208128"/>
                  </a:cubicBezTo>
                  <a:lnTo>
                    <a:pt x="496843" y="207355"/>
                  </a:lnTo>
                  <a:lnTo>
                    <a:pt x="494117" y="206480"/>
                  </a:lnTo>
                  <a:lnTo>
                    <a:pt x="493780" y="204865"/>
                  </a:lnTo>
                  <a:lnTo>
                    <a:pt x="493780" y="202141"/>
                  </a:lnTo>
                  <a:lnTo>
                    <a:pt x="492198" y="199315"/>
                  </a:lnTo>
                  <a:cubicBezTo>
                    <a:pt x="492198" y="199315"/>
                    <a:pt x="490516" y="196825"/>
                    <a:pt x="490078" y="196590"/>
                  </a:cubicBezTo>
                  <a:cubicBezTo>
                    <a:pt x="489641" y="196388"/>
                    <a:pt x="488665" y="195177"/>
                    <a:pt x="488665" y="195177"/>
                  </a:cubicBezTo>
                  <a:cubicBezTo>
                    <a:pt x="488665" y="195177"/>
                    <a:pt x="486275" y="192352"/>
                    <a:pt x="485636" y="191813"/>
                  </a:cubicBezTo>
                  <a:cubicBezTo>
                    <a:pt x="484996" y="191275"/>
                    <a:pt x="483785" y="190400"/>
                    <a:pt x="483347" y="190299"/>
                  </a:cubicBezTo>
                  <a:cubicBezTo>
                    <a:pt x="482910" y="190199"/>
                    <a:pt x="481294" y="188988"/>
                    <a:pt x="480857" y="188685"/>
                  </a:cubicBezTo>
                  <a:cubicBezTo>
                    <a:pt x="480419" y="188348"/>
                    <a:pt x="478804" y="186195"/>
                    <a:pt x="478804" y="185859"/>
                  </a:cubicBezTo>
                  <a:cubicBezTo>
                    <a:pt x="478804" y="185523"/>
                    <a:pt x="479241" y="184211"/>
                    <a:pt x="479881" y="183571"/>
                  </a:cubicBezTo>
                  <a:cubicBezTo>
                    <a:pt x="480520" y="182932"/>
                    <a:pt x="479881" y="182260"/>
                    <a:pt x="479881" y="182260"/>
                  </a:cubicBezTo>
                  <a:lnTo>
                    <a:pt x="479881" y="180073"/>
                  </a:lnTo>
                  <a:cubicBezTo>
                    <a:pt x="479881" y="180073"/>
                    <a:pt x="480655" y="177247"/>
                    <a:pt x="480655" y="176810"/>
                  </a:cubicBezTo>
                  <a:cubicBezTo>
                    <a:pt x="480655" y="176373"/>
                    <a:pt x="482169" y="174522"/>
                    <a:pt x="482506" y="174522"/>
                  </a:cubicBezTo>
                  <a:cubicBezTo>
                    <a:pt x="482842" y="174522"/>
                    <a:pt x="482405" y="172571"/>
                    <a:pt x="482169" y="171697"/>
                  </a:cubicBezTo>
                  <a:cubicBezTo>
                    <a:pt x="481967" y="170822"/>
                    <a:pt x="479914" y="170082"/>
                    <a:pt x="479914" y="170082"/>
                  </a:cubicBezTo>
                  <a:lnTo>
                    <a:pt x="479914" y="166617"/>
                  </a:lnTo>
                  <a:cubicBezTo>
                    <a:pt x="479914" y="166617"/>
                    <a:pt x="481866" y="163993"/>
                    <a:pt x="482068" y="163589"/>
                  </a:cubicBezTo>
                  <a:cubicBezTo>
                    <a:pt x="482304" y="163152"/>
                    <a:pt x="483145" y="161201"/>
                    <a:pt x="483145" y="161201"/>
                  </a:cubicBezTo>
                  <a:lnTo>
                    <a:pt x="484323" y="157063"/>
                  </a:lnTo>
                  <a:lnTo>
                    <a:pt x="489102" y="152724"/>
                  </a:lnTo>
                  <a:lnTo>
                    <a:pt x="491054" y="149461"/>
                  </a:lnTo>
                  <a:lnTo>
                    <a:pt x="493242" y="148149"/>
                  </a:lnTo>
                  <a:lnTo>
                    <a:pt x="497785" y="145962"/>
                  </a:lnTo>
                  <a:lnTo>
                    <a:pt x="499972" y="143238"/>
                  </a:lnTo>
                  <a:cubicBezTo>
                    <a:pt x="499972" y="143238"/>
                    <a:pt x="501386" y="139975"/>
                    <a:pt x="501487" y="139638"/>
                  </a:cubicBezTo>
                  <a:cubicBezTo>
                    <a:pt x="501588" y="139302"/>
                    <a:pt x="502900" y="137048"/>
                    <a:pt x="502900" y="137048"/>
                  </a:cubicBezTo>
                  <a:lnTo>
                    <a:pt x="504953" y="133347"/>
                  </a:lnTo>
                  <a:lnTo>
                    <a:pt x="507881" y="131834"/>
                  </a:lnTo>
                  <a:lnTo>
                    <a:pt x="511381" y="130959"/>
                  </a:lnTo>
                  <a:lnTo>
                    <a:pt x="513670" y="129445"/>
                  </a:lnTo>
                  <a:lnTo>
                    <a:pt x="514646" y="126620"/>
                  </a:lnTo>
                  <a:lnTo>
                    <a:pt x="514646" y="121607"/>
                  </a:lnTo>
                  <a:lnTo>
                    <a:pt x="515790" y="116931"/>
                  </a:lnTo>
                  <a:cubicBezTo>
                    <a:pt x="515790" y="116931"/>
                    <a:pt x="515420" y="114543"/>
                    <a:pt x="515521" y="114206"/>
                  </a:cubicBezTo>
                  <a:cubicBezTo>
                    <a:pt x="515622" y="113870"/>
                    <a:pt x="516396" y="110944"/>
                    <a:pt x="516396" y="110944"/>
                  </a:cubicBezTo>
                  <a:lnTo>
                    <a:pt x="516396" y="107479"/>
                  </a:lnTo>
                  <a:cubicBezTo>
                    <a:pt x="516396" y="107479"/>
                    <a:pt x="516396" y="104653"/>
                    <a:pt x="516396" y="104115"/>
                  </a:cubicBezTo>
                  <a:cubicBezTo>
                    <a:pt x="516396" y="103576"/>
                    <a:pt x="517035" y="101827"/>
                    <a:pt x="517372" y="101524"/>
                  </a:cubicBezTo>
                  <a:cubicBezTo>
                    <a:pt x="517708" y="101188"/>
                    <a:pt x="518987" y="99674"/>
                    <a:pt x="519661" y="98934"/>
                  </a:cubicBezTo>
                  <a:cubicBezTo>
                    <a:pt x="520300" y="98161"/>
                    <a:pt x="521310" y="96445"/>
                    <a:pt x="521511" y="96108"/>
                  </a:cubicBezTo>
                  <a:cubicBezTo>
                    <a:pt x="521747" y="95772"/>
                    <a:pt x="523362" y="91870"/>
                    <a:pt x="523362" y="91870"/>
                  </a:cubicBezTo>
                  <a:lnTo>
                    <a:pt x="523362" y="89683"/>
                  </a:lnTo>
                  <a:lnTo>
                    <a:pt x="524641" y="87194"/>
                  </a:lnTo>
                  <a:cubicBezTo>
                    <a:pt x="524641" y="87194"/>
                    <a:pt x="525853" y="84368"/>
                    <a:pt x="525853" y="84032"/>
                  </a:cubicBezTo>
                  <a:cubicBezTo>
                    <a:pt x="525853" y="83695"/>
                    <a:pt x="526290" y="80029"/>
                    <a:pt x="526290" y="80029"/>
                  </a:cubicBezTo>
                  <a:cubicBezTo>
                    <a:pt x="526290" y="80029"/>
                    <a:pt x="524339" y="77203"/>
                    <a:pt x="524574" y="76564"/>
                  </a:cubicBezTo>
                  <a:cubicBezTo>
                    <a:pt x="524776" y="75925"/>
                    <a:pt x="524574" y="72964"/>
                    <a:pt x="524574" y="72527"/>
                  </a:cubicBezTo>
                  <a:cubicBezTo>
                    <a:pt x="524574" y="72090"/>
                    <a:pt x="526964" y="70239"/>
                    <a:pt x="526964" y="70239"/>
                  </a:cubicBezTo>
                  <a:lnTo>
                    <a:pt x="529454" y="69466"/>
                  </a:lnTo>
                  <a:lnTo>
                    <a:pt x="531305" y="67717"/>
                  </a:lnTo>
                  <a:lnTo>
                    <a:pt x="534569" y="65429"/>
                  </a:lnTo>
                  <a:lnTo>
                    <a:pt x="537060" y="62940"/>
                  </a:lnTo>
                  <a:lnTo>
                    <a:pt x="539012" y="58701"/>
                  </a:lnTo>
                  <a:cubicBezTo>
                    <a:pt x="539012" y="58701"/>
                    <a:pt x="540089" y="54362"/>
                    <a:pt x="540089" y="53924"/>
                  </a:cubicBezTo>
                  <a:cubicBezTo>
                    <a:pt x="540089" y="53487"/>
                    <a:pt x="540190" y="50325"/>
                    <a:pt x="540190" y="50325"/>
                  </a:cubicBezTo>
                  <a:lnTo>
                    <a:pt x="540964" y="43597"/>
                  </a:lnTo>
                  <a:cubicBezTo>
                    <a:pt x="540964" y="43597"/>
                    <a:pt x="541300" y="41208"/>
                    <a:pt x="548233" y="37609"/>
                  </a:cubicBezTo>
                  <a:cubicBezTo>
                    <a:pt x="555233" y="34178"/>
                    <a:pt x="548503" y="36062"/>
                    <a:pt x="547829" y="36062"/>
                  </a:cubicBez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40" name="Freeform 906">
              <a:extLst>
                <a:ext uri="{FF2B5EF4-FFF2-40B4-BE49-F238E27FC236}">
                  <a16:creationId xmlns:a16="http://schemas.microsoft.com/office/drawing/2014/main" id="{2403820E-E29F-41A1-4728-6CA4E1804DE9}"/>
                </a:ext>
              </a:extLst>
            </p:cNvPr>
            <p:cNvSpPr/>
            <p:nvPr/>
          </p:nvSpPr>
          <p:spPr>
            <a:xfrm>
              <a:off x="7482803" y="2560251"/>
              <a:ext cx="157817" cy="247545"/>
            </a:xfrm>
            <a:custGeom>
              <a:avLst/>
              <a:gdLst>
                <a:gd name="connsiteX0" fmla="*/ 75352 w 302992"/>
                <a:gd name="connsiteY0" fmla="*/ 278402 h 475260"/>
                <a:gd name="connsiteX1" fmla="*/ 78180 w 302992"/>
                <a:gd name="connsiteY1" fmla="*/ 278940 h 475260"/>
                <a:gd name="connsiteX2" fmla="*/ 81545 w 302992"/>
                <a:gd name="connsiteY2" fmla="*/ 279814 h 475260"/>
                <a:gd name="connsiteX3" fmla="*/ 83160 w 302992"/>
                <a:gd name="connsiteY3" fmla="*/ 280252 h 475260"/>
                <a:gd name="connsiteX4" fmla="*/ 85785 w 302992"/>
                <a:gd name="connsiteY4" fmla="*/ 282876 h 475260"/>
                <a:gd name="connsiteX5" fmla="*/ 87636 w 302992"/>
                <a:gd name="connsiteY5" fmla="*/ 286475 h 475260"/>
                <a:gd name="connsiteX6" fmla="*/ 89925 w 302992"/>
                <a:gd name="connsiteY6" fmla="*/ 289738 h 475260"/>
                <a:gd name="connsiteX7" fmla="*/ 90026 w 302992"/>
                <a:gd name="connsiteY7" fmla="*/ 292328 h 475260"/>
                <a:gd name="connsiteX8" fmla="*/ 89824 w 302992"/>
                <a:gd name="connsiteY8" fmla="*/ 295154 h 475260"/>
                <a:gd name="connsiteX9" fmla="*/ 89185 w 302992"/>
                <a:gd name="connsiteY9" fmla="*/ 297105 h 475260"/>
                <a:gd name="connsiteX10" fmla="*/ 87435 w 302992"/>
                <a:gd name="connsiteY10" fmla="*/ 298955 h 475260"/>
                <a:gd name="connsiteX11" fmla="*/ 85920 w 302992"/>
                <a:gd name="connsiteY11" fmla="*/ 299931 h 475260"/>
                <a:gd name="connsiteX12" fmla="*/ 85045 w 302992"/>
                <a:gd name="connsiteY12" fmla="*/ 300267 h 475260"/>
                <a:gd name="connsiteX13" fmla="*/ 82218 w 302992"/>
                <a:gd name="connsiteY13" fmla="*/ 301579 h 475260"/>
                <a:gd name="connsiteX14" fmla="*/ 80906 w 302992"/>
                <a:gd name="connsiteY14" fmla="*/ 303968 h 475260"/>
                <a:gd name="connsiteX15" fmla="*/ 79593 w 302992"/>
                <a:gd name="connsiteY15" fmla="*/ 305482 h 475260"/>
                <a:gd name="connsiteX16" fmla="*/ 78180 w 302992"/>
                <a:gd name="connsiteY16" fmla="*/ 310157 h 475260"/>
                <a:gd name="connsiteX17" fmla="*/ 78718 w 302992"/>
                <a:gd name="connsiteY17" fmla="*/ 313420 h 475260"/>
                <a:gd name="connsiteX18" fmla="*/ 78180 w 302992"/>
                <a:gd name="connsiteY18" fmla="*/ 316684 h 475260"/>
                <a:gd name="connsiteX19" fmla="*/ 78718 w 302992"/>
                <a:gd name="connsiteY19" fmla="*/ 319947 h 475260"/>
                <a:gd name="connsiteX20" fmla="*/ 80569 w 302992"/>
                <a:gd name="connsiteY20" fmla="*/ 322571 h 475260"/>
                <a:gd name="connsiteX21" fmla="*/ 83833 w 302992"/>
                <a:gd name="connsiteY21" fmla="*/ 323647 h 475260"/>
                <a:gd name="connsiteX22" fmla="*/ 87535 w 302992"/>
                <a:gd name="connsiteY22" fmla="*/ 324084 h 475260"/>
                <a:gd name="connsiteX23" fmla="*/ 90161 w 302992"/>
                <a:gd name="connsiteY23" fmla="*/ 324320 h 475260"/>
                <a:gd name="connsiteX24" fmla="*/ 93088 w 302992"/>
                <a:gd name="connsiteY24" fmla="*/ 326607 h 475260"/>
                <a:gd name="connsiteX25" fmla="*/ 93694 w 302992"/>
                <a:gd name="connsiteY25" fmla="*/ 330812 h 475260"/>
                <a:gd name="connsiteX26" fmla="*/ 96454 w 302992"/>
                <a:gd name="connsiteY26" fmla="*/ 337338 h 475260"/>
                <a:gd name="connsiteX27" fmla="*/ 99348 w 302992"/>
                <a:gd name="connsiteY27" fmla="*/ 345143 h 475260"/>
                <a:gd name="connsiteX28" fmla="*/ 100089 w 302992"/>
                <a:gd name="connsiteY28" fmla="*/ 354427 h 475260"/>
                <a:gd name="connsiteX29" fmla="*/ 101233 w 302992"/>
                <a:gd name="connsiteY29" fmla="*/ 359641 h 475260"/>
                <a:gd name="connsiteX30" fmla="*/ 100089 w 302992"/>
                <a:gd name="connsiteY30" fmla="*/ 365495 h 475260"/>
                <a:gd name="connsiteX31" fmla="*/ 100493 w 302992"/>
                <a:gd name="connsiteY31" fmla="*/ 369935 h 475260"/>
                <a:gd name="connsiteX32" fmla="*/ 100593 w 302992"/>
                <a:gd name="connsiteY32" fmla="*/ 371953 h 475260"/>
                <a:gd name="connsiteX33" fmla="*/ 99079 w 302992"/>
                <a:gd name="connsiteY33" fmla="*/ 374207 h 475260"/>
                <a:gd name="connsiteX34" fmla="*/ 95949 w 302992"/>
                <a:gd name="connsiteY34" fmla="*/ 378446 h 475260"/>
                <a:gd name="connsiteX35" fmla="*/ 93661 w 302992"/>
                <a:gd name="connsiteY35" fmla="*/ 379455 h 475260"/>
                <a:gd name="connsiteX36" fmla="*/ 91776 w 302992"/>
                <a:gd name="connsiteY36" fmla="*/ 380229 h 475260"/>
                <a:gd name="connsiteX37" fmla="*/ 89858 w 302992"/>
                <a:gd name="connsiteY37" fmla="*/ 381406 h 475260"/>
                <a:gd name="connsiteX38" fmla="*/ 89622 w 302992"/>
                <a:gd name="connsiteY38" fmla="*/ 383021 h 475260"/>
                <a:gd name="connsiteX39" fmla="*/ 89387 w 302992"/>
                <a:gd name="connsiteY39" fmla="*/ 384669 h 475260"/>
                <a:gd name="connsiteX40" fmla="*/ 88007 w 302992"/>
                <a:gd name="connsiteY40" fmla="*/ 386351 h 475260"/>
                <a:gd name="connsiteX41" fmla="*/ 86324 w 302992"/>
                <a:gd name="connsiteY41" fmla="*/ 387327 h 475260"/>
                <a:gd name="connsiteX42" fmla="*/ 83901 w 302992"/>
                <a:gd name="connsiteY42" fmla="*/ 389513 h 475260"/>
                <a:gd name="connsiteX43" fmla="*/ 83833 w 302992"/>
                <a:gd name="connsiteY43" fmla="*/ 392003 h 475260"/>
                <a:gd name="connsiteX44" fmla="*/ 83463 w 302992"/>
                <a:gd name="connsiteY44" fmla="*/ 394257 h 475260"/>
                <a:gd name="connsiteX45" fmla="*/ 83463 w 302992"/>
                <a:gd name="connsiteY45" fmla="*/ 396510 h 475260"/>
                <a:gd name="connsiteX46" fmla="*/ 83766 w 302992"/>
                <a:gd name="connsiteY46" fmla="*/ 397822 h 475260"/>
                <a:gd name="connsiteX47" fmla="*/ 85550 w 302992"/>
                <a:gd name="connsiteY47" fmla="*/ 399639 h 475260"/>
                <a:gd name="connsiteX48" fmla="*/ 88074 w 302992"/>
                <a:gd name="connsiteY48" fmla="*/ 401624 h 475260"/>
                <a:gd name="connsiteX49" fmla="*/ 88612 w 302992"/>
                <a:gd name="connsiteY49" fmla="*/ 403406 h 475260"/>
                <a:gd name="connsiteX50" fmla="*/ 87805 w 302992"/>
                <a:gd name="connsiteY50" fmla="*/ 404954 h 475260"/>
                <a:gd name="connsiteX51" fmla="*/ 89252 w 302992"/>
                <a:gd name="connsiteY51" fmla="*/ 406299 h 475260"/>
                <a:gd name="connsiteX52" fmla="*/ 91204 w 302992"/>
                <a:gd name="connsiteY52" fmla="*/ 407073 h 475260"/>
                <a:gd name="connsiteX53" fmla="*/ 93257 w 302992"/>
                <a:gd name="connsiteY53" fmla="*/ 407746 h 475260"/>
                <a:gd name="connsiteX54" fmla="*/ 94771 w 302992"/>
                <a:gd name="connsiteY54" fmla="*/ 409024 h 475260"/>
                <a:gd name="connsiteX55" fmla="*/ 96084 w 302992"/>
                <a:gd name="connsiteY55" fmla="*/ 411211 h 475260"/>
                <a:gd name="connsiteX56" fmla="*/ 96622 w 302992"/>
                <a:gd name="connsiteY56" fmla="*/ 413297 h 475260"/>
                <a:gd name="connsiteX57" fmla="*/ 99247 w 302992"/>
                <a:gd name="connsiteY57" fmla="*/ 414171 h 475260"/>
                <a:gd name="connsiteX58" fmla="*/ 104161 w 302992"/>
                <a:gd name="connsiteY58" fmla="*/ 415618 h 475260"/>
                <a:gd name="connsiteX59" fmla="*/ 106180 w 302992"/>
                <a:gd name="connsiteY59" fmla="*/ 415315 h 475260"/>
                <a:gd name="connsiteX60" fmla="*/ 108199 w 302992"/>
                <a:gd name="connsiteY60" fmla="*/ 414440 h 475260"/>
                <a:gd name="connsiteX61" fmla="*/ 111666 w 302992"/>
                <a:gd name="connsiteY61" fmla="*/ 414440 h 475260"/>
                <a:gd name="connsiteX62" fmla="*/ 118632 w 302992"/>
                <a:gd name="connsiteY62" fmla="*/ 415584 h 475260"/>
                <a:gd name="connsiteX63" fmla="*/ 120955 w 302992"/>
                <a:gd name="connsiteY63" fmla="*/ 416459 h 475260"/>
                <a:gd name="connsiteX64" fmla="*/ 120652 w 302992"/>
                <a:gd name="connsiteY64" fmla="*/ 417905 h 475260"/>
                <a:gd name="connsiteX65" fmla="*/ 120080 w 302992"/>
                <a:gd name="connsiteY65" fmla="*/ 421101 h 475260"/>
                <a:gd name="connsiteX66" fmla="*/ 118632 w 302992"/>
                <a:gd name="connsiteY66" fmla="*/ 422245 h 475260"/>
                <a:gd name="connsiteX67" fmla="*/ 120652 w 302992"/>
                <a:gd name="connsiteY67" fmla="*/ 426315 h 475260"/>
                <a:gd name="connsiteX68" fmla="*/ 122099 w 302992"/>
                <a:gd name="connsiteY68" fmla="*/ 432337 h 475260"/>
                <a:gd name="connsiteX69" fmla="*/ 131084 w 302992"/>
                <a:gd name="connsiteY69" fmla="*/ 436743 h 475260"/>
                <a:gd name="connsiteX70" fmla="*/ 134551 w 302992"/>
                <a:gd name="connsiteY70" fmla="*/ 437887 h 475260"/>
                <a:gd name="connsiteX71" fmla="*/ 141214 w 302992"/>
                <a:gd name="connsiteY71" fmla="*/ 440780 h 475260"/>
                <a:gd name="connsiteX72" fmla="*/ 146936 w 302992"/>
                <a:gd name="connsiteY72" fmla="*/ 444615 h 475260"/>
                <a:gd name="connsiteX73" fmla="*/ 149628 w 302992"/>
                <a:gd name="connsiteY73" fmla="*/ 447441 h 475260"/>
                <a:gd name="connsiteX74" fmla="*/ 149763 w 302992"/>
                <a:gd name="connsiteY74" fmla="*/ 449627 h 475260"/>
                <a:gd name="connsiteX75" fmla="*/ 149056 w 302992"/>
                <a:gd name="connsiteY75" fmla="*/ 451814 h 475260"/>
                <a:gd name="connsiteX76" fmla="*/ 149056 w 302992"/>
                <a:gd name="connsiteY76" fmla="*/ 454135 h 475260"/>
                <a:gd name="connsiteX77" fmla="*/ 150301 w 302992"/>
                <a:gd name="connsiteY77" fmla="*/ 457028 h 475260"/>
                <a:gd name="connsiteX78" fmla="*/ 151681 w 302992"/>
                <a:gd name="connsiteY78" fmla="*/ 459047 h 475260"/>
                <a:gd name="connsiteX79" fmla="*/ 154003 w 302992"/>
                <a:gd name="connsiteY79" fmla="*/ 458172 h 475260"/>
                <a:gd name="connsiteX80" fmla="*/ 155148 w 302992"/>
                <a:gd name="connsiteY80" fmla="*/ 457028 h 475260"/>
                <a:gd name="connsiteX81" fmla="*/ 155888 w 302992"/>
                <a:gd name="connsiteY81" fmla="*/ 455447 h 475260"/>
                <a:gd name="connsiteX82" fmla="*/ 157773 w 302992"/>
                <a:gd name="connsiteY82" fmla="*/ 454572 h 475260"/>
                <a:gd name="connsiteX83" fmla="*/ 161239 w 302992"/>
                <a:gd name="connsiteY83" fmla="*/ 455279 h 475260"/>
                <a:gd name="connsiteX84" fmla="*/ 161239 w 302992"/>
                <a:gd name="connsiteY84" fmla="*/ 455144 h 475260"/>
                <a:gd name="connsiteX85" fmla="*/ 162754 w 302992"/>
                <a:gd name="connsiteY85" fmla="*/ 455716 h 475260"/>
                <a:gd name="connsiteX86" fmla="*/ 165883 w 302992"/>
                <a:gd name="connsiteY86" fmla="*/ 456591 h 475260"/>
                <a:gd name="connsiteX87" fmla="*/ 167465 w 302992"/>
                <a:gd name="connsiteY87" fmla="*/ 458609 h 475260"/>
                <a:gd name="connsiteX88" fmla="*/ 168609 w 302992"/>
                <a:gd name="connsiteY88" fmla="*/ 461367 h 475260"/>
                <a:gd name="connsiteX89" fmla="*/ 169619 w 302992"/>
                <a:gd name="connsiteY89" fmla="*/ 464698 h 475260"/>
                <a:gd name="connsiteX90" fmla="*/ 171369 w 302992"/>
                <a:gd name="connsiteY90" fmla="*/ 466716 h 475260"/>
                <a:gd name="connsiteX91" fmla="*/ 171369 w 302992"/>
                <a:gd name="connsiteY91" fmla="*/ 468735 h 475260"/>
                <a:gd name="connsiteX92" fmla="*/ 172816 w 302992"/>
                <a:gd name="connsiteY92" fmla="*/ 471493 h 475260"/>
                <a:gd name="connsiteX93" fmla="*/ 173961 w 302992"/>
                <a:gd name="connsiteY93" fmla="*/ 472368 h 475260"/>
                <a:gd name="connsiteX94" fmla="*/ 176148 w 302992"/>
                <a:gd name="connsiteY94" fmla="*/ 474386 h 475260"/>
                <a:gd name="connsiteX95" fmla="*/ 177730 w 302992"/>
                <a:gd name="connsiteY95" fmla="*/ 475261 h 475260"/>
                <a:gd name="connsiteX96" fmla="*/ 179480 w 302992"/>
                <a:gd name="connsiteY96" fmla="*/ 475261 h 475260"/>
                <a:gd name="connsiteX97" fmla="*/ 180624 w 302992"/>
                <a:gd name="connsiteY97" fmla="*/ 474117 h 475260"/>
                <a:gd name="connsiteX98" fmla="*/ 181634 w 302992"/>
                <a:gd name="connsiteY98" fmla="*/ 472368 h 475260"/>
                <a:gd name="connsiteX99" fmla="*/ 182643 w 302992"/>
                <a:gd name="connsiteY99" fmla="*/ 469307 h 475260"/>
                <a:gd name="connsiteX100" fmla="*/ 183216 w 302992"/>
                <a:gd name="connsiteY100" fmla="*/ 467557 h 475260"/>
                <a:gd name="connsiteX101" fmla="*/ 184360 w 302992"/>
                <a:gd name="connsiteY101" fmla="*/ 463790 h 475260"/>
                <a:gd name="connsiteX102" fmla="*/ 184932 w 302992"/>
                <a:gd name="connsiteY102" fmla="*/ 460325 h 475260"/>
                <a:gd name="connsiteX103" fmla="*/ 185672 w 302992"/>
                <a:gd name="connsiteY103" fmla="*/ 457566 h 475260"/>
                <a:gd name="connsiteX104" fmla="*/ 185369 w 302992"/>
                <a:gd name="connsiteY104" fmla="*/ 454808 h 475260"/>
                <a:gd name="connsiteX105" fmla="*/ 184663 w 302992"/>
                <a:gd name="connsiteY105" fmla="*/ 452049 h 475260"/>
                <a:gd name="connsiteX106" fmla="*/ 182643 w 302992"/>
                <a:gd name="connsiteY106" fmla="*/ 445826 h 475260"/>
                <a:gd name="connsiteX107" fmla="*/ 182071 w 302992"/>
                <a:gd name="connsiteY107" fmla="*/ 440612 h 475260"/>
                <a:gd name="connsiteX108" fmla="*/ 184023 w 302992"/>
                <a:gd name="connsiteY108" fmla="*/ 436104 h 475260"/>
                <a:gd name="connsiteX109" fmla="*/ 182509 w 302992"/>
                <a:gd name="connsiteY109" fmla="*/ 433817 h 475260"/>
                <a:gd name="connsiteX110" fmla="*/ 181297 w 302992"/>
                <a:gd name="connsiteY110" fmla="*/ 429679 h 475260"/>
                <a:gd name="connsiteX111" fmla="*/ 180321 w 302992"/>
                <a:gd name="connsiteY111" fmla="*/ 427392 h 475260"/>
                <a:gd name="connsiteX112" fmla="*/ 180321 w 302992"/>
                <a:gd name="connsiteY112" fmla="*/ 426315 h 475260"/>
                <a:gd name="connsiteX113" fmla="*/ 179951 w 302992"/>
                <a:gd name="connsiteY113" fmla="*/ 424028 h 475260"/>
                <a:gd name="connsiteX114" fmla="*/ 178605 w 302992"/>
                <a:gd name="connsiteY114" fmla="*/ 422177 h 475260"/>
                <a:gd name="connsiteX115" fmla="*/ 178605 w 302992"/>
                <a:gd name="connsiteY115" fmla="*/ 419789 h 475260"/>
                <a:gd name="connsiteX116" fmla="*/ 179379 w 302992"/>
                <a:gd name="connsiteY116" fmla="*/ 417737 h 475260"/>
                <a:gd name="connsiteX117" fmla="*/ 182643 w 302992"/>
                <a:gd name="connsiteY117" fmla="*/ 416862 h 475260"/>
                <a:gd name="connsiteX118" fmla="*/ 184595 w 302992"/>
                <a:gd name="connsiteY118" fmla="*/ 416089 h 475260"/>
                <a:gd name="connsiteX119" fmla="*/ 187220 w 302992"/>
                <a:gd name="connsiteY119" fmla="*/ 413801 h 475260"/>
                <a:gd name="connsiteX120" fmla="*/ 188970 w 302992"/>
                <a:gd name="connsiteY120" fmla="*/ 413700 h 475260"/>
                <a:gd name="connsiteX121" fmla="*/ 191898 w 302992"/>
                <a:gd name="connsiteY121" fmla="*/ 416728 h 475260"/>
                <a:gd name="connsiteX122" fmla="*/ 194288 w 302992"/>
                <a:gd name="connsiteY122" fmla="*/ 417602 h 475260"/>
                <a:gd name="connsiteX123" fmla="*/ 197350 w 302992"/>
                <a:gd name="connsiteY123" fmla="*/ 419352 h 475260"/>
                <a:gd name="connsiteX124" fmla="*/ 200951 w 302992"/>
                <a:gd name="connsiteY124" fmla="*/ 422076 h 475260"/>
                <a:gd name="connsiteX125" fmla="*/ 203879 w 302992"/>
                <a:gd name="connsiteY125" fmla="*/ 424801 h 475260"/>
                <a:gd name="connsiteX126" fmla="*/ 205831 w 302992"/>
                <a:gd name="connsiteY126" fmla="*/ 424801 h 475260"/>
                <a:gd name="connsiteX127" fmla="*/ 207783 w 302992"/>
                <a:gd name="connsiteY127" fmla="*/ 423119 h 475260"/>
                <a:gd name="connsiteX128" fmla="*/ 209870 w 302992"/>
                <a:gd name="connsiteY128" fmla="*/ 421202 h 475260"/>
                <a:gd name="connsiteX129" fmla="*/ 213572 w 302992"/>
                <a:gd name="connsiteY129" fmla="*/ 421976 h 475260"/>
                <a:gd name="connsiteX130" fmla="*/ 215860 w 302992"/>
                <a:gd name="connsiteY130" fmla="*/ 418511 h 475260"/>
                <a:gd name="connsiteX131" fmla="*/ 216399 w 302992"/>
                <a:gd name="connsiteY131" fmla="*/ 417972 h 475260"/>
                <a:gd name="connsiteX132" fmla="*/ 217712 w 302992"/>
                <a:gd name="connsiteY132" fmla="*/ 416122 h 475260"/>
                <a:gd name="connsiteX133" fmla="*/ 219562 w 302992"/>
                <a:gd name="connsiteY133" fmla="*/ 416122 h 475260"/>
                <a:gd name="connsiteX134" fmla="*/ 223466 w 302992"/>
                <a:gd name="connsiteY134" fmla="*/ 416122 h 475260"/>
                <a:gd name="connsiteX135" fmla="*/ 226192 w 302992"/>
                <a:gd name="connsiteY135" fmla="*/ 415416 h 475260"/>
                <a:gd name="connsiteX136" fmla="*/ 227404 w 302992"/>
                <a:gd name="connsiteY136" fmla="*/ 415248 h 475260"/>
                <a:gd name="connsiteX137" fmla="*/ 227404 w 302992"/>
                <a:gd name="connsiteY137" fmla="*/ 413398 h 475260"/>
                <a:gd name="connsiteX138" fmla="*/ 226933 w 302992"/>
                <a:gd name="connsiteY138" fmla="*/ 410572 h 475260"/>
                <a:gd name="connsiteX139" fmla="*/ 227000 w 302992"/>
                <a:gd name="connsiteY139" fmla="*/ 409697 h 475260"/>
                <a:gd name="connsiteX140" fmla="*/ 223836 w 302992"/>
                <a:gd name="connsiteY140" fmla="*/ 406333 h 475260"/>
                <a:gd name="connsiteX141" fmla="*/ 220471 w 302992"/>
                <a:gd name="connsiteY141" fmla="*/ 401354 h 475260"/>
                <a:gd name="connsiteX142" fmla="*/ 220471 w 302992"/>
                <a:gd name="connsiteY142" fmla="*/ 399605 h 475260"/>
                <a:gd name="connsiteX143" fmla="*/ 224274 w 302992"/>
                <a:gd name="connsiteY143" fmla="*/ 397755 h 475260"/>
                <a:gd name="connsiteX144" fmla="*/ 226563 w 302992"/>
                <a:gd name="connsiteY144" fmla="*/ 396342 h 475260"/>
                <a:gd name="connsiteX145" fmla="*/ 228414 w 302992"/>
                <a:gd name="connsiteY145" fmla="*/ 392440 h 475260"/>
                <a:gd name="connsiteX146" fmla="*/ 229188 w 302992"/>
                <a:gd name="connsiteY146" fmla="*/ 387865 h 475260"/>
                <a:gd name="connsiteX147" fmla="*/ 230365 w 302992"/>
                <a:gd name="connsiteY147" fmla="*/ 383828 h 475260"/>
                <a:gd name="connsiteX148" fmla="*/ 232452 w 302992"/>
                <a:gd name="connsiteY148" fmla="*/ 380128 h 475260"/>
                <a:gd name="connsiteX149" fmla="*/ 231577 w 302992"/>
                <a:gd name="connsiteY149" fmla="*/ 377403 h 475260"/>
                <a:gd name="connsiteX150" fmla="*/ 229726 w 302992"/>
                <a:gd name="connsiteY150" fmla="*/ 375788 h 475260"/>
                <a:gd name="connsiteX151" fmla="*/ 227539 w 302992"/>
                <a:gd name="connsiteY151" fmla="*/ 373299 h 475260"/>
                <a:gd name="connsiteX152" fmla="*/ 226226 w 302992"/>
                <a:gd name="connsiteY152" fmla="*/ 371348 h 475260"/>
                <a:gd name="connsiteX153" fmla="*/ 228414 w 302992"/>
                <a:gd name="connsiteY153" fmla="*/ 368421 h 475260"/>
                <a:gd name="connsiteX154" fmla="*/ 226226 w 302992"/>
                <a:gd name="connsiteY154" fmla="*/ 366134 h 475260"/>
                <a:gd name="connsiteX155" fmla="*/ 221346 w 302992"/>
                <a:gd name="connsiteY155" fmla="*/ 363947 h 475260"/>
                <a:gd name="connsiteX156" fmla="*/ 218721 w 302992"/>
                <a:gd name="connsiteY156" fmla="*/ 363947 h 475260"/>
                <a:gd name="connsiteX157" fmla="*/ 214178 w 302992"/>
                <a:gd name="connsiteY157" fmla="*/ 362904 h 475260"/>
                <a:gd name="connsiteX158" fmla="*/ 209836 w 302992"/>
                <a:gd name="connsiteY158" fmla="*/ 361222 h 475260"/>
                <a:gd name="connsiteX159" fmla="*/ 207110 w 302992"/>
                <a:gd name="connsiteY159" fmla="*/ 359271 h 475260"/>
                <a:gd name="connsiteX160" fmla="*/ 205158 w 302992"/>
                <a:gd name="connsiteY160" fmla="*/ 356883 h 475260"/>
                <a:gd name="connsiteX161" fmla="*/ 201793 w 302992"/>
                <a:gd name="connsiteY161" fmla="*/ 355806 h 475260"/>
                <a:gd name="connsiteX162" fmla="*/ 198528 w 302992"/>
                <a:gd name="connsiteY162" fmla="*/ 357455 h 475260"/>
                <a:gd name="connsiteX163" fmla="*/ 189408 w 302992"/>
                <a:gd name="connsiteY163" fmla="*/ 357455 h 475260"/>
                <a:gd name="connsiteX164" fmla="*/ 186480 w 302992"/>
                <a:gd name="connsiteY164" fmla="*/ 355941 h 475260"/>
                <a:gd name="connsiteX165" fmla="*/ 184865 w 302992"/>
                <a:gd name="connsiteY165" fmla="*/ 352476 h 475260"/>
                <a:gd name="connsiteX166" fmla="*/ 189206 w 302992"/>
                <a:gd name="connsiteY166" fmla="*/ 349449 h 475260"/>
                <a:gd name="connsiteX167" fmla="*/ 190821 w 302992"/>
                <a:gd name="connsiteY167" fmla="*/ 347935 h 475260"/>
                <a:gd name="connsiteX168" fmla="*/ 191696 w 302992"/>
                <a:gd name="connsiteY168" fmla="*/ 343595 h 475260"/>
                <a:gd name="connsiteX169" fmla="*/ 191158 w 302992"/>
                <a:gd name="connsiteY169" fmla="*/ 339895 h 475260"/>
                <a:gd name="connsiteX170" fmla="*/ 189408 w 302992"/>
                <a:gd name="connsiteY170" fmla="*/ 337406 h 475260"/>
                <a:gd name="connsiteX171" fmla="*/ 187355 w 302992"/>
                <a:gd name="connsiteY171" fmla="*/ 334243 h 475260"/>
                <a:gd name="connsiteX172" fmla="*/ 184427 w 302992"/>
                <a:gd name="connsiteY172" fmla="*/ 332057 h 475260"/>
                <a:gd name="connsiteX173" fmla="*/ 181701 w 302992"/>
                <a:gd name="connsiteY173" fmla="*/ 330207 h 475260"/>
                <a:gd name="connsiteX174" fmla="*/ 178975 w 302992"/>
                <a:gd name="connsiteY174" fmla="*/ 326944 h 475260"/>
                <a:gd name="connsiteX175" fmla="*/ 178975 w 302992"/>
                <a:gd name="connsiteY175" fmla="*/ 323680 h 475260"/>
                <a:gd name="connsiteX176" fmla="*/ 181028 w 302992"/>
                <a:gd name="connsiteY176" fmla="*/ 322604 h 475260"/>
                <a:gd name="connsiteX177" fmla="*/ 184494 w 302992"/>
                <a:gd name="connsiteY177" fmla="*/ 322604 h 475260"/>
                <a:gd name="connsiteX178" fmla="*/ 185369 w 302992"/>
                <a:gd name="connsiteY178" fmla="*/ 320216 h 475260"/>
                <a:gd name="connsiteX179" fmla="*/ 187456 w 302992"/>
                <a:gd name="connsiteY179" fmla="*/ 318904 h 475260"/>
                <a:gd name="connsiteX180" fmla="*/ 189206 w 302992"/>
                <a:gd name="connsiteY180" fmla="*/ 316414 h 475260"/>
                <a:gd name="connsiteX181" fmla="*/ 189206 w 302992"/>
                <a:gd name="connsiteY181" fmla="*/ 314463 h 475260"/>
                <a:gd name="connsiteX182" fmla="*/ 189206 w 302992"/>
                <a:gd name="connsiteY182" fmla="*/ 311873 h 475260"/>
                <a:gd name="connsiteX183" fmla="*/ 190619 w 302992"/>
                <a:gd name="connsiteY183" fmla="*/ 308845 h 475260"/>
                <a:gd name="connsiteX184" fmla="*/ 192571 w 302992"/>
                <a:gd name="connsiteY184" fmla="*/ 306020 h 475260"/>
                <a:gd name="connsiteX185" fmla="*/ 194322 w 302992"/>
                <a:gd name="connsiteY185" fmla="*/ 303867 h 475260"/>
                <a:gd name="connsiteX186" fmla="*/ 197586 w 302992"/>
                <a:gd name="connsiteY186" fmla="*/ 303833 h 475260"/>
                <a:gd name="connsiteX187" fmla="*/ 200649 w 302992"/>
                <a:gd name="connsiteY187" fmla="*/ 303833 h 475260"/>
                <a:gd name="connsiteX188" fmla="*/ 204115 w 302992"/>
                <a:gd name="connsiteY188" fmla="*/ 303295 h 475260"/>
                <a:gd name="connsiteX189" fmla="*/ 203577 w 302992"/>
                <a:gd name="connsiteY189" fmla="*/ 300907 h 475260"/>
                <a:gd name="connsiteX190" fmla="*/ 202802 w 302992"/>
                <a:gd name="connsiteY190" fmla="*/ 299595 h 475260"/>
                <a:gd name="connsiteX191" fmla="*/ 203240 w 302992"/>
                <a:gd name="connsiteY191" fmla="*/ 295793 h 475260"/>
                <a:gd name="connsiteX192" fmla="*/ 205629 w 302992"/>
                <a:gd name="connsiteY192" fmla="*/ 295154 h 475260"/>
                <a:gd name="connsiteX193" fmla="*/ 205529 w 302992"/>
                <a:gd name="connsiteY193" fmla="*/ 292429 h 475260"/>
                <a:gd name="connsiteX194" fmla="*/ 204317 w 302992"/>
                <a:gd name="connsiteY194" fmla="*/ 290680 h 475260"/>
                <a:gd name="connsiteX195" fmla="*/ 201052 w 302992"/>
                <a:gd name="connsiteY195" fmla="*/ 289065 h 475260"/>
                <a:gd name="connsiteX196" fmla="*/ 197687 w 302992"/>
                <a:gd name="connsiteY196" fmla="*/ 287653 h 475260"/>
                <a:gd name="connsiteX197" fmla="*/ 195398 w 302992"/>
                <a:gd name="connsiteY197" fmla="*/ 282876 h 475260"/>
                <a:gd name="connsiteX198" fmla="*/ 196711 w 302992"/>
                <a:gd name="connsiteY198" fmla="*/ 280151 h 475260"/>
                <a:gd name="connsiteX199" fmla="*/ 200312 w 302992"/>
                <a:gd name="connsiteY199" fmla="*/ 278502 h 475260"/>
                <a:gd name="connsiteX200" fmla="*/ 203677 w 302992"/>
                <a:gd name="connsiteY200" fmla="*/ 277964 h 475260"/>
                <a:gd name="connsiteX201" fmla="*/ 204216 w 302992"/>
                <a:gd name="connsiteY201" fmla="*/ 275374 h 475260"/>
                <a:gd name="connsiteX202" fmla="*/ 204855 w 302992"/>
                <a:gd name="connsiteY202" fmla="*/ 272750 h 475260"/>
                <a:gd name="connsiteX203" fmla="*/ 204855 w 302992"/>
                <a:gd name="connsiteY203" fmla="*/ 267536 h 475260"/>
                <a:gd name="connsiteX204" fmla="*/ 204855 w 302992"/>
                <a:gd name="connsiteY204" fmla="*/ 263028 h 475260"/>
                <a:gd name="connsiteX205" fmla="*/ 206033 w 302992"/>
                <a:gd name="connsiteY205" fmla="*/ 259833 h 475260"/>
                <a:gd name="connsiteX206" fmla="*/ 208187 w 302992"/>
                <a:gd name="connsiteY206" fmla="*/ 259664 h 475260"/>
                <a:gd name="connsiteX207" fmla="*/ 210509 w 302992"/>
                <a:gd name="connsiteY207" fmla="*/ 260169 h 475260"/>
                <a:gd name="connsiteX208" fmla="*/ 214413 w 302992"/>
                <a:gd name="connsiteY208" fmla="*/ 260943 h 475260"/>
                <a:gd name="connsiteX209" fmla="*/ 216332 w 302992"/>
                <a:gd name="connsiteY209" fmla="*/ 259294 h 475260"/>
                <a:gd name="connsiteX210" fmla="*/ 217139 w 302992"/>
                <a:gd name="connsiteY210" fmla="*/ 257511 h 475260"/>
                <a:gd name="connsiteX211" fmla="*/ 221043 w 302992"/>
                <a:gd name="connsiteY211" fmla="*/ 255762 h 475260"/>
                <a:gd name="connsiteX212" fmla="*/ 224308 w 302992"/>
                <a:gd name="connsiteY212" fmla="*/ 256267 h 475260"/>
                <a:gd name="connsiteX213" fmla="*/ 227808 w 302992"/>
                <a:gd name="connsiteY213" fmla="*/ 260573 h 475260"/>
                <a:gd name="connsiteX214" fmla="*/ 228245 w 302992"/>
                <a:gd name="connsiteY214" fmla="*/ 260236 h 475260"/>
                <a:gd name="connsiteX215" fmla="*/ 231442 w 302992"/>
                <a:gd name="connsiteY215" fmla="*/ 257579 h 475260"/>
                <a:gd name="connsiteX216" fmla="*/ 233933 w 302992"/>
                <a:gd name="connsiteY216" fmla="*/ 258050 h 475260"/>
                <a:gd name="connsiteX217" fmla="*/ 237265 w 302992"/>
                <a:gd name="connsiteY217" fmla="*/ 261481 h 475260"/>
                <a:gd name="connsiteX218" fmla="*/ 239688 w 302992"/>
                <a:gd name="connsiteY218" fmla="*/ 260606 h 475260"/>
                <a:gd name="connsiteX219" fmla="*/ 241875 w 302992"/>
                <a:gd name="connsiteY219" fmla="*/ 258756 h 475260"/>
                <a:gd name="connsiteX220" fmla="*/ 244736 w 302992"/>
                <a:gd name="connsiteY220" fmla="*/ 256570 h 475260"/>
                <a:gd name="connsiteX221" fmla="*/ 248606 w 302992"/>
                <a:gd name="connsiteY221" fmla="*/ 256199 h 475260"/>
                <a:gd name="connsiteX222" fmla="*/ 254530 w 302992"/>
                <a:gd name="connsiteY222" fmla="*/ 258386 h 475260"/>
                <a:gd name="connsiteX223" fmla="*/ 258063 w 302992"/>
                <a:gd name="connsiteY223" fmla="*/ 260505 h 475260"/>
                <a:gd name="connsiteX224" fmla="*/ 260049 w 302992"/>
                <a:gd name="connsiteY224" fmla="*/ 262457 h 475260"/>
                <a:gd name="connsiteX225" fmla="*/ 265501 w 302992"/>
                <a:gd name="connsiteY225" fmla="*/ 265383 h 475260"/>
                <a:gd name="connsiteX226" fmla="*/ 265669 w 302992"/>
                <a:gd name="connsiteY226" fmla="*/ 265383 h 475260"/>
                <a:gd name="connsiteX227" fmla="*/ 265366 w 302992"/>
                <a:gd name="connsiteY227" fmla="*/ 266729 h 475260"/>
                <a:gd name="connsiteX228" fmla="*/ 266275 w 302992"/>
                <a:gd name="connsiteY228" fmla="*/ 262658 h 475260"/>
                <a:gd name="connsiteX229" fmla="*/ 268227 w 302992"/>
                <a:gd name="connsiteY229" fmla="*/ 260270 h 475260"/>
                <a:gd name="connsiteX230" fmla="*/ 269977 w 302992"/>
                <a:gd name="connsiteY230" fmla="*/ 258823 h 475260"/>
                <a:gd name="connsiteX231" fmla="*/ 270179 w 302992"/>
                <a:gd name="connsiteY231" fmla="*/ 257579 h 475260"/>
                <a:gd name="connsiteX232" fmla="*/ 269876 w 302992"/>
                <a:gd name="connsiteY232" fmla="*/ 256334 h 475260"/>
                <a:gd name="connsiteX233" fmla="*/ 268799 w 302992"/>
                <a:gd name="connsiteY233" fmla="*/ 255392 h 475260"/>
                <a:gd name="connsiteX234" fmla="*/ 266275 w 302992"/>
                <a:gd name="connsiteY234" fmla="*/ 253206 h 475260"/>
                <a:gd name="connsiteX235" fmla="*/ 264087 w 302992"/>
                <a:gd name="connsiteY235" fmla="*/ 251961 h 475260"/>
                <a:gd name="connsiteX236" fmla="*/ 262337 w 302992"/>
                <a:gd name="connsiteY236" fmla="*/ 251019 h 475260"/>
                <a:gd name="connsiteX237" fmla="*/ 261092 w 302992"/>
                <a:gd name="connsiteY237" fmla="*/ 248630 h 475260"/>
                <a:gd name="connsiteX238" fmla="*/ 261227 w 302992"/>
                <a:gd name="connsiteY238" fmla="*/ 246747 h 475260"/>
                <a:gd name="connsiteX239" fmla="*/ 262304 w 302992"/>
                <a:gd name="connsiteY239" fmla="*/ 244863 h 475260"/>
                <a:gd name="connsiteX240" fmla="*/ 263246 w 302992"/>
                <a:gd name="connsiteY240" fmla="*/ 242475 h 475260"/>
                <a:gd name="connsiteX241" fmla="*/ 263044 w 302992"/>
                <a:gd name="connsiteY241" fmla="*/ 240591 h 475260"/>
                <a:gd name="connsiteX242" fmla="*/ 259847 w 302992"/>
                <a:gd name="connsiteY242" fmla="*/ 240591 h 475260"/>
                <a:gd name="connsiteX243" fmla="*/ 258972 w 302992"/>
                <a:gd name="connsiteY243" fmla="*/ 237395 h 475260"/>
                <a:gd name="connsiteX244" fmla="*/ 261664 w 302992"/>
                <a:gd name="connsiteY244" fmla="*/ 236016 h 475260"/>
                <a:gd name="connsiteX245" fmla="*/ 263112 w 302992"/>
                <a:gd name="connsiteY245" fmla="*/ 233324 h 475260"/>
                <a:gd name="connsiteX246" fmla="*/ 262809 w 302992"/>
                <a:gd name="connsiteY246" fmla="*/ 232080 h 475260"/>
                <a:gd name="connsiteX247" fmla="*/ 260856 w 302992"/>
                <a:gd name="connsiteY247" fmla="*/ 230701 h 475260"/>
                <a:gd name="connsiteX248" fmla="*/ 261732 w 302992"/>
                <a:gd name="connsiteY248" fmla="*/ 227505 h 475260"/>
                <a:gd name="connsiteX249" fmla="*/ 264929 w 302992"/>
                <a:gd name="connsiteY249" fmla="*/ 223434 h 475260"/>
                <a:gd name="connsiteX250" fmla="*/ 269136 w 302992"/>
                <a:gd name="connsiteY250" fmla="*/ 219095 h 475260"/>
                <a:gd name="connsiteX251" fmla="*/ 270145 w 302992"/>
                <a:gd name="connsiteY251" fmla="*/ 215462 h 475260"/>
                <a:gd name="connsiteX252" fmla="*/ 267823 w 302992"/>
                <a:gd name="connsiteY252" fmla="*/ 212603 h 475260"/>
                <a:gd name="connsiteX253" fmla="*/ 267823 w 302992"/>
                <a:gd name="connsiteY253" fmla="*/ 209239 h 475260"/>
                <a:gd name="connsiteX254" fmla="*/ 271862 w 302992"/>
                <a:gd name="connsiteY254" fmla="*/ 204563 h 475260"/>
                <a:gd name="connsiteX255" fmla="*/ 274352 w 302992"/>
                <a:gd name="connsiteY255" fmla="*/ 199247 h 475260"/>
                <a:gd name="connsiteX256" fmla="*/ 276203 w 302992"/>
                <a:gd name="connsiteY256" fmla="*/ 194471 h 475260"/>
                <a:gd name="connsiteX257" fmla="*/ 280982 w 302992"/>
                <a:gd name="connsiteY257" fmla="*/ 194033 h 475260"/>
                <a:gd name="connsiteX258" fmla="*/ 282631 w 302992"/>
                <a:gd name="connsiteY258" fmla="*/ 191847 h 475260"/>
                <a:gd name="connsiteX259" fmla="*/ 287646 w 302992"/>
                <a:gd name="connsiteY259" fmla="*/ 189257 h 475260"/>
                <a:gd name="connsiteX260" fmla="*/ 290574 w 302992"/>
                <a:gd name="connsiteY260" fmla="*/ 186868 h 475260"/>
                <a:gd name="connsiteX261" fmla="*/ 294612 w 302992"/>
                <a:gd name="connsiteY261" fmla="*/ 186094 h 475260"/>
                <a:gd name="connsiteX262" fmla="*/ 296901 w 302992"/>
                <a:gd name="connsiteY262" fmla="*/ 184681 h 475260"/>
                <a:gd name="connsiteX263" fmla="*/ 297877 w 302992"/>
                <a:gd name="connsiteY263" fmla="*/ 182394 h 475260"/>
                <a:gd name="connsiteX264" fmla="*/ 297877 w 302992"/>
                <a:gd name="connsiteY264" fmla="*/ 180006 h 475260"/>
                <a:gd name="connsiteX265" fmla="*/ 298853 w 302992"/>
                <a:gd name="connsiteY265" fmla="*/ 176103 h 475260"/>
                <a:gd name="connsiteX266" fmla="*/ 302992 w 302992"/>
                <a:gd name="connsiteY266" fmla="*/ 175027 h 475260"/>
                <a:gd name="connsiteX267" fmla="*/ 296867 w 302992"/>
                <a:gd name="connsiteY267" fmla="*/ 174489 h 475260"/>
                <a:gd name="connsiteX268" fmla="*/ 292458 w 302992"/>
                <a:gd name="connsiteY268" fmla="*/ 174859 h 475260"/>
                <a:gd name="connsiteX269" fmla="*/ 288117 w 302992"/>
                <a:gd name="connsiteY269" fmla="*/ 172605 h 475260"/>
                <a:gd name="connsiteX270" fmla="*/ 286165 w 302992"/>
                <a:gd name="connsiteY270" fmla="*/ 169342 h 475260"/>
                <a:gd name="connsiteX271" fmla="*/ 285155 w 302992"/>
                <a:gd name="connsiteY271" fmla="*/ 165137 h 475260"/>
                <a:gd name="connsiteX272" fmla="*/ 281016 w 302992"/>
                <a:gd name="connsiteY272" fmla="*/ 160293 h 475260"/>
                <a:gd name="connsiteX273" fmla="*/ 277886 w 302992"/>
                <a:gd name="connsiteY273" fmla="*/ 153834 h 475260"/>
                <a:gd name="connsiteX274" fmla="*/ 275261 w 302992"/>
                <a:gd name="connsiteY274" fmla="*/ 151008 h 475260"/>
                <a:gd name="connsiteX275" fmla="*/ 270549 w 302992"/>
                <a:gd name="connsiteY275" fmla="*/ 145357 h 475260"/>
                <a:gd name="connsiteX276" fmla="*/ 268664 w 302992"/>
                <a:gd name="connsiteY276" fmla="*/ 144112 h 475260"/>
                <a:gd name="connsiteX277" fmla="*/ 262640 w 302992"/>
                <a:gd name="connsiteY277" fmla="*/ 142228 h 475260"/>
                <a:gd name="connsiteX278" fmla="*/ 259578 w 302992"/>
                <a:gd name="connsiteY278" fmla="*/ 141421 h 475260"/>
                <a:gd name="connsiteX279" fmla="*/ 256549 w 302992"/>
                <a:gd name="connsiteY279" fmla="*/ 141421 h 475260"/>
                <a:gd name="connsiteX280" fmla="*/ 253217 w 302992"/>
                <a:gd name="connsiteY280" fmla="*/ 143708 h 475260"/>
                <a:gd name="connsiteX281" fmla="*/ 247563 w 302992"/>
                <a:gd name="connsiteY281" fmla="*/ 145996 h 475260"/>
                <a:gd name="connsiteX282" fmla="*/ 244164 w 302992"/>
                <a:gd name="connsiteY282" fmla="*/ 146702 h 475260"/>
                <a:gd name="connsiteX283" fmla="*/ 238140 w 302992"/>
                <a:gd name="connsiteY283" fmla="*/ 146702 h 475260"/>
                <a:gd name="connsiteX284" fmla="*/ 234068 w 302992"/>
                <a:gd name="connsiteY284" fmla="*/ 145256 h 475260"/>
                <a:gd name="connsiteX285" fmla="*/ 225149 w 302992"/>
                <a:gd name="connsiteY285" fmla="*/ 139100 h 475260"/>
                <a:gd name="connsiteX286" fmla="*/ 219798 w 302992"/>
                <a:gd name="connsiteY286" fmla="*/ 136409 h 475260"/>
                <a:gd name="connsiteX287" fmla="*/ 215221 w 302992"/>
                <a:gd name="connsiteY287" fmla="*/ 133381 h 475260"/>
                <a:gd name="connsiteX288" fmla="*/ 212832 w 302992"/>
                <a:gd name="connsiteY288" fmla="*/ 131867 h 475260"/>
                <a:gd name="connsiteX289" fmla="*/ 208692 w 302992"/>
                <a:gd name="connsiteY289" fmla="*/ 129042 h 475260"/>
                <a:gd name="connsiteX290" fmla="*/ 203475 w 302992"/>
                <a:gd name="connsiteY290" fmla="*/ 124029 h 475260"/>
                <a:gd name="connsiteX291" fmla="*/ 202399 w 302992"/>
                <a:gd name="connsiteY291" fmla="*/ 122515 h 475260"/>
                <a:gd name="connsiteX292" fmla="*/ 202634 w 302992"/>
                <a:gd name="connsiteY292" fmla="*/ 119051 h 475260"/>
                <a:gd name="connsiteX293" fmla="*/ 203947 w 302992"/>
                <a:gd name="connsiteY293" fmla="*/ 114476 h 475260"/>
                <a:gd name="connsiteX294" fmla="*/ 202870 w 302992"/>
                <a:gd name="connsiteY294" fmla="*/ 111852 h 475260"/>
                <a:gd name="connsiteX295" fmla="*/ 202230 w 302992"/>
                <a:gd name="connsiteY295" fmla="*/ 108151 h 475260"/>
                <a:gd name="connsiteX296" fmla="*/ 203980 w 302992"/>
                <a:gd name="connsiteY296" fmla="*/ 104922 h 475260"/>
                <a:gd name="connsiteX297" fmla="*/ 205495 w 302992"/>
                <a:gd name="connsiteY297" fmla="*/ 103408 h 475260"/>
                <a:gd name="connsiteX298" fmla="*/ 206572 w 302992"/>
                <a:gd name="connsiteY298" fmla="*/ 100582 h 475260"/>
                <a:gd name="connsiteX299" fmla="*/ 206572 w 302992"/>
                <a:gd name="connsiteY299" fmla="*/ 99069 h 475260"/>
                <a:gd name="connsiteX300" fmla="*/ 203846 w 302992"/>
                <a:gd name="connsiteY300" fmla="*/ 95368 h 475260"/>
                <a:gd name="connsiteX301" fmla="*/ 203072 w 302992"/>
                <a:gd name="connsiteY301" fmla="*/ 93619 h 475260"/>
                <a:gd name="connsiteX302" fmla="*/ 203072 w 302992"/>
                <a:gd name="connsiteY302" fmla="*/ 89919 h 475260"/>
                <a:gd name="connsiteX303" fmla="*/ 205798 w 302992"/>
                <a:gd name="connsiteY303" fmla="*/ 86858 h 475260"/>
                <a:gd name="connsiteX304" fmla="*/ 206336 w 302992"/>
                <a:gd name="connsiteY304" fmla="*/ 84906 h 475260"/>
                <a:gd name="connsiteX305" fmla="*/ 206774 w 302992"/>
                <a:gd name="connsiteY305" fmla="*/ 81879 h 475260"/>
                <a:gd name="connsiteX306" fmla="*/ 207851 w 302992"/>
                <a:gd name="connsiteY306" fmla="*/ 79289 h 475260"/>
                <a:gd name="connsiteX307" fmla="*/ 208490 w 302992"/>
                <a:gd name="connsiteY307" fmla="*/ 76463 h 475260"/>
                <a:gd name="connsiteX308" fmla="*/ 211519 w 302992"/>
                <a:gd name="connsiteY308" fmla="*/ 72763 h 475260"/>
                <a:gd name="connsiteX309" fmla="*/ 213269 w 302992"/>
                <a:gd name="connsiteY309" fmla="*/ 68860 h 475260"/>
                <a:gd name="connsiteX310" fmla="*/ 215894 w 302992"/>
                <a:gd name="connsiteY310" fmla="*/ 63209 h 475260"/>
                <a:gd name="connsiteX311" fmla="*/ 220303 w 302992"/>
                <a:gd name="connsiteY311" fmla="*/ 61762 h 475260"/>
                <a:gd name="connsiteX312" fmla="*/ 222760 w 302992"/>
                <a:gd name="connsiteY312" fmla="*/ 56683 h 475260"/>
                <a:gd name="connsiteX313" fmla="*/ 226529 w 302992"/>
                <a:gd name="connsiteY313" fmla="*/ 55236 h 475260"/>
                <a:gd name="connsiteX314" fmla="*/ 231880 w 302992"/>
                <a:gd name="connsiteY314" fmla="*/ 53050 h 475260"/>
                <a:gd name="connsiteX315" fmla="*/ 234909 w 302992"/>
                <a:gd name="connsiteY315" fmla="*/ 53487 h 475260"/>
                <a:gd name="connsiteX316" fmla="*/ 238678 w 302992"/>
                <a:gd name="connsiteY316" fmla="*/ 53790 h 475260"/>
                <a:gd name="connsiteX317" fmla="*/ 240428 w 302992"/>
                <a:gd name="connsiteY317" fmla="*/ 54227 h 475260"/>
                <a:gd name="connsiteX318" fmla="*/ 242751 w 302992"/>
                <a:gd name="connsiteY318" fmla="*/ 54664 h 475260"/>
                <a:gd name="connsiteX319" fmla="*/ 244063 w 302992"/>
                <a:gd name="connsiteY319" fmla="*/ 53655 h 475260"/>
                <a:gd name="connsiteX320" fmla="*/ 244635 w 302992"/>
                <a:gd name="connsiteY320" fmla="*/ 49316 h 475260"/>
                <a:gd name="connsiteX321" fmla="*/ 244635 w 302992"/>
                <a:gd name="connsiteY321" fmla="*/ 46288 h 475260"/>
                <a:gd name="connsiteX322" fmla="*/ 243625 w 302992"/>
                <a:gd name="connsiteY322" fmla="*/ 42958 h 475260"/>
                <a:gd name="connsiteX323" fmla="*/ 242481 w 302992"/>
                <a:gd name="connsiteY323" fmla="*/ 39325 h 475260"/>
                <a:gd name="connsiteX324" fmla="*/ 239722 w 302992"/>
                <a:gd name="connsiteY324" fmla="*/ 36566 h 475260"/>
                <a:gd name="connsiteX325" fmla="*/ 236390 w 302992"/>
                <a:gd name="connsiteY325" fmla="*/ 36566 h 475260"/>
                <a:gd name="connsiteX326" fmla="*/ 234774 w 302992"/>
                <a:gd name="connsiteY326" fmla="*/ 36701 h 475260"/>
                <a:gd name="connsiteX327" fmla="*/ 232587 w 302992"/>
                <a:gd name="connsiteY327" fmla="*/ 38013 h 475260"/>
                <a:gd name="connsiteX328" fmla="*/ 232587 w 302992"/>
                <a:gd name="connsiteY328" fmla="*/ 30612 h 475260"/>
                <a:gd name="connsiteX329" fmla="*/ 231510 w 302992"/>
                <a:gd name="connsiteY329" fmla="*/ 26979 h 475260"/>
                <a:gd name="connsiteX330" fmla="*/ 231745 w 302992"/>
                <a:gd name="connsiteY330" fmla="*/ 22337 h 475260"/>
                <a:gd name="connsiteX331" fmla="*/ 230635 w 302992"/>
                <a:gd name="connsiteY331" fmla="*/ 17694 h 475260"/>
                <a:gd name="connsiteX332" fmla="*/ 228851 w 302992"/>
                <a:gd name="connsiteY332" fmla="*/ 14936 h 475260"/>
                <a:gd name="connsiteX333" fmla="*/ 230467 w 302992"/>
                <a:gd name="connsiteY333" fmla="*/ 11034 h 475260"/>
                <a:gd name="connsiteX334" fmla="*/ 230433 w 302992"/>
                <a:gd name="connsiteY334" fmla="*/ 7569 h 475260"/>
                <a:gd name="connsiteX335" fmla="*/ 230433 w 302992"/>
                <a:gd name="connsiteY335" fmla="*/ 3936 h 475260"/>
                <a:gd name="connsiteX336" fmla="*/ 229726 w 302992"/>
                <a:gd name="connsiteY336" fmla="*/ 740 h 475260"/>
                <a:gd name="connsiteX337" fmla="*/ 225654 w 302992"/>
                <a:gd name="connsiteY337" fmla="*/ 0 h 475260"/>
                <a:gd name="connsiteX338" fmla="*/ 222187 w 302992"/>
                <a:gd name="connsiteY338" fmla="*/ 3465 h 475260"/>
                <a:gd name="connsiteX339" fmla="*/ 216096 w 302992"/>
                <a:gd name="connsiteY339" fmla="*/ 4037 h 475260"/>
                <a:gd name="connsiteX340" fmla="*/ 211014 w 302992"/>
                <a:gd name="connsiteY340" fmla="*/ 4037 h 475260"/>
                <a:gd name="connsiteX341" fmla="*/ 208692 w 302992"/>
                <a:gd name="connsiteY341" fmla="*/ 4911 h 475260"/>
                <a:gd name="connsiteX342" fmla="*/ 205495 w 302992"/>
                <a:gd name="connsiteY342" fmla="*/ 6930 h 475260"/>
                <a:gd name="connsiteX343" fmla="*/ 201860 w 302992"/>
                <a:gd name="connsiteY343" fmla="*/ 8242 h 475260"/>
                <a:gd name="connsiteX344" fmla="*/ 196946 w 302992"/>
                <a:gd name="connsiteY344" fmla="*/ 9554 h 475260"/>
                <a:gd name="connsiteX345" fmla="*/ 193615 w 302992"/>
                <a:gd name="connsiteY345" fmla="*/ 9554 h 475260"/>
                <a:gd name="connsiteX346" fmla="*/ 190552 w 302992"/>
                <a:gd name="connsiteY346" fmla="*/ 8242 h 475260"/>
                <a:gd name="connsiteX347" fmla="*/ 187793 w 302992"/>
                <a:gd name="connsiteY347" fmla="*/ 11707 h 475260"/>
                <a:gd name="connsiteX348" fmla="*/ 184461 w 302992"/>
                <a:gd name="connsiteY348" fmla="*/ 16618 h 475260"/>
                <a:gd name="connsiteX349" fmla="*/ 183754 w 302992"/>
                <a:gd name="connsiteY349" fmla="*/ 19814 h 475260"/>
                <a:gd name="connsiteX350" fmla="*/ 183014 w 302992"/>
                <a:gd name="connsiteY350" fmla="*/ 25768 h 475260"/>
                <a:gd name="connsiteX351" fmla="*/ 180691 w 302992"/>
                <a:gd name="connsiteY351" fmla="*/ 27786 h 475260"/>
                <a:gd name="connsiteX352" fmla="*/ 176787 w 302992"/>
                <a:gd name="connsiteY352" fmla="*/ 30108 h 475260"/>
                <a:gd name="connsiteX353" fmla="*/ 172715 w 302992"/>
                <a:gd name="connsiteY353" fmla="*/ 32731 h 475260"/>
                <a:gd name="connsiteX354" fmla="*/ 169249 w 302992"/>
                <a:gd name="connsiteY354" fmla="*/ 35490 h 475260"/>
                <a:gd name="connsiteX355" fmla="*/ 167364 w 302992"/>
                <a:gd name="connsiteY355" fmla="*/ 37945 h 475260"/>
                <a:gd name="connsiteX356" fmla="*/ 165042 w 302992"/>
                <a:gd name="connsiteY356" fmla="*/ 42722 h 475260"/>
                <a:gd name="connsiteX357" fmla="*/ 162720 w 302992"/>
                <a:gd name="connsiteY357" fmla="*/ 45918 h 475260"/>
                <a:gd name="connsiteX358" fmla="*/ 158244 w 302992"/>
                <a:gd name="connsiteY358" fmla="*/ 50695 h 475260"/>
                <a:gd name="connsiteX359" fmla="*/ 153027 w 302992"/>
                <a:gd name="connsiteY359" fmla="*/ 56044 h 475260"/>
                <a:gd name="connsiteX360" fmla="*/ 149830 w 302992"/>
                <a:gd name="connsiteY360" fmla="*/ 65025 h 475260"/>
                <a:gd name="connsiteX361" fmla="*/ 147070 w 302992"/>
                <a:gd name="connsiteY361" fmla="*/ 74882 h 475260"/>
                <a:gd name="connsiteX362" fmla="*/ 143167 w 302992"/>
                <a:gd name="connsiteY362" fmla="*/ 80096 h 475260"/>
                <a:gd name="connsiteX363" fmla="*/ 142157 w 302992"/>
                <a:gd name="connsiteY363" fmla="*/ 93552 h 475260"/>
                <a:gd name="connsiteX364" fmla="*/ 142157 w 302992"/>
                <a:gd name="connsiteY364" fmla="*/ 99338 h 475260"/>
                <a:gd name="connsiteX365" fmla="*/ 145287 w 302992"/>
                <a:gd name="connsiteY365" fmla="*/ 102971 h 475260"/>
                <a:gd name="connsiteX366" fmla="*/ 145926 w 302992"/>
                <a:gd name="connsiteY366" fmla="*/ 107176 h 475260"/>
                <a:gd name="connsiteX367" fmla="*/ 144479 w 302992"/>
                <a:gd name="connsiteY367" fmla="*/ 110943 h 475260"/>
                <a:gd name="connsiteX368" fmla="*/ 143739 w 302992"/>
                <a:gd name="connsiteY368" fmla="*/ 116730 h 475260"/>
                <a:gd name="connsiteX369" fmla="*/ 144479 w 302992"/>
                <a:gd name="connsiteY369" fmla="*/ 120766 h 475260"/>
                <a:gd name="connsiteX370" fmla="*/ 139565 w 302992"/>
                <a:gd name="connsiteY370" fmla="*/ 125106 h 475260"/>
                <a:gd name="connsiteX371" fmla="*/ 136099 w 302992"/>
                <a:gd name="connsiteY371" fmla="*/ 127730 h 475260"/>
                <a:gd name="connsiteX372" fmla="*/ 133205 w 302992"/>
                <a:gd name="connsiteY372" fmla="*/ 134088 h 475260"/>
                <a:gd name="connsiteX373" fmla="*/ 133508 w 302992"/>
                <a:gd name="connsiteY373" fmla="*/ 138999 h 475260"/>
                <a:gd name="connsiteX374" fmla="*/ 134955 w 302992"/>
                <a:gd name="connsiteY374" fmla="*/ 144213 h 475260"/>
                <a:gd name="connsiteX375" fmla="*/ 139296 w 302992"/>
                <a:gd name="connsiteY375" fmla="*/ 149999 h 475260"/>
                <a:gd name="connsiteX376" fmla="*/ 142763 w 302992"/>
                <a:gd name="connsiteY376" fmla="*/ 157232 h 475260"/>
                <a:gd name="connsiteX377" fmla="*/ 142763 w 302992"/>
                <a:gd name="connsiteY377" fmla="*/ 166516 h 475260"/>
                <a:gd name="connsiteX378" fmla="*/ 138690 w 302992"/>
                <a:gd name="connsiteY378" fmla="*/ 171158 h 475260"/>
                <a:gd name="connsiteX379" fmla="*/ 127113 w 302992"/>
                <a:gd name="connsiteY379" fmla="*/ 177516 h 475260"/>
                <a:gd name="connsiteX380" fmla="*/ 122099 w 302992"/>
                <a:gd name="connsiteY380" fmla="*/ 177550 h 475260"/>
                <a:gd name="connsiteX381" fmla="*/ 117757 w 302992"/>
                <a:gd name="connsiteY381" fmla="*/ 178122 h 475260"/>
                <a:gd name="connsiteX382" fmla="*/ 115805 w 302992"/>
                <a:gd name="connsiteY382" fmla="*/ 180880 h 475260"/>
                <a:gd name="connsiteX383" fmla="*/ 117892 w 302992"/>
                <a:gd name="connsiteY383" fmla="*/ 183403 h 475260"/>
                <a:gd name="connsiteX384" fmla="*/ 123176 w 302992"/>
                <a:gd name="connsiteY384" fmla="*/ 184143 h 475260"/>
                <a:gd name="connsiteX385" fmla="*/ 120921 w 302992"/>
                <a:gd name="connsiteY385" fmla="*/ 187911 h 475260"/>
                <a:gd name="connsiteX386" fmla="*/ 116344 w 302992"/>
                <a:gd name="connsiteY386" fmla="*/ 188550 h 475260"/>
                <a:gd name="connsiteX387" fmla="*/ 108872 w 302992"/>
                <a:gd name="connsiteY387" fmla="*/ 186532 h 475260"/>
                <a:gd name="connsiteX388" fmla="*/ 104733 w 302992"/>
                <a:gd name="connsiteY388" fmla="*/ 186532 h 475260"/>
                <a:gd name="connsiteX389" fmla="*/ 102983 w 302992"/>
                <a:gd name="connsiteY389" fmla="*/ 186532 h 475260"/>
                <a:gd name="connsiteX390" fmla="*/ 93190 w 302992"/>
                <a:gd name="connsiteY390" fmla="*/ 186532 h 475260"/>
                <a:gd name="connsiteX391" fmla="*/ 88175 w 302992"/>
                <a:gd name="connsiteY391" fmla="*/ 187844 h 475260"/>
                <a:gd name="connsiteX392" fmla="*/ 81007 w 302992"/>
                <a:gd name="connsiteY392" fmla="*/ 192621 h 475260"/>
                <a:gd name="connsiteX393" fmla="*/ 71651 w 302992"/>
                <a:gd name="connsiteY393" fmla="*/ 195446 h 475260"/>
                <a:gd name="connsiteX394" fmla="*/ 67309 w 302992"/>
                <a:gd name="connsiteY394" fmla="*/ 198070 h 475260"/>
                <a:gd name="connsiteX395" fmla="*/ 57078 w 302992"/>
                <a:gd name="connsiteY395" fmla="*/ 200660 h 475260"/>
                <a:gd name="connsiteX396" fmla="*/ 52064 w 302992"/>
                <a:gd name="connsiteY396" fmla="*/ 202847 h 475260"/>
                <a:gd name="connsiteX397" fmla="*/ 40991 w 302992"/>
                <a:gd name="connsiteY397" fmla="*/ 203049 h 475260"/>
                <a:gd name="connsiteX398" fmla="*/ 30996 w 302992"/>
                <a:gd name="connsiteY398" fmla="*/ 200660 h 475260"/>
                <a:gd name="connsiteX399" fmla="*/ 28371 w 302992"/>
                <a:gd name="connsiteY399" fmla="*/ 203486 h 475260"/>
                <a:gd name="connsiteX400" fmla="*/ 19250 w 302992"/>
                <a:gd name="connsiteY400" fmla="*/ 205875 h 475260"/>
                <a:gd name="connsiteX401" fmla="*/ 10769 w 302992"/>
                <a:gd name="connsiteY401" fmla="*/ 209138 h 475260"/>
                <a:gd name="connsiteX402" fmla="*/ 7942 w 302992"/>
                <a:gd name="connsiteY402" fmla="*/ 209138 h 475260"/>
                <a:gd name="connsiteX403" fmla="*/ 4442 w 302992"/>
                <a:gd name="connsiteY403" fmla="*/ 211896 h 475260"/>
                <a:gd name="connsiteX404" fmla="*/ 707 w 302992"/>
                <a:gd name="connsiteY404" fmla="*/ 213343 h 475260"/>
                <a:gd name="connsiteX405" fmla="*/ 0 w 302992"/>
                <a:gd name="connsiteY405" fmla="*/ 214890 h 475260"/>
                <a:gd name="connsiteX406" fmla="*/ 3264 w 302992"/>
                <a:gd name="connsiteY406" fmla="*/ 216538 h 475260"/>
                <a:gd name="connsiteX407" fmla="*/ 7303 w 302992"/>
                <a:gd name="connsiteY407" fmla="*/ 216538 h 475260"/>
                <a:gd name="connsiteX408" fmla="*/ 13495 w 302992"/>
                <a:gd name="connsiteY408" fmla="*/ 217850 h 475260"/>
                <a:gd name="connsiteX409" fmla="*/ 19250 w 302992"/>
                <a:gd name="connsiteY409" fmla="*/ 217850 h 475260"/>
                <a:gd name="connsiteX410" fmla="*/ 26419 w 302992"/>
                <a:gd name="connsiteY410" fmla="*/ 217850 h 475260"/>
                <a:gd name="connsiteX411" fmla="*/ 31635 w 302992"/>
                <a:gd name="connsiteY411" fmla="*/ 217850 h 475260"/>
                <a:gd name="connsiteX412" fmla="*/ 38602 w 302992"/>
                <a:gd name="connsiteY412" fmla="*/ 217850 h 475260"/>
                <a:gd name="connsiteX413" fmla="*/ 42068 w 302992"/>
                <a:gd name="connsiteY413" fmla="*/ 217850 h 475260"/>
                <a:gd name="connsiteX414" fmla="*/ 44256 w 302992"/>
                <a:gd name="connsiteY414" fmla="*/ 217850 h 475260"/>
                <a:gd name="connsiteX415" fmla="*/ 45770 w 302992"/>
                <a:gd name="connsiteY415" fmla="*/ 218725 h 475260"/>
                <a:gd name="connsiteX416" fmla="*/ 46410 w 302992"/>
                <a:gd name="connsiteY416" fmla="*/ 220474 h 475260"/>
                <a:gd name="connsiteX417" fmla="*/ 46410 w 302992"/>
                <a:gd name="connsiteY417" fmla="*/ 223300 h 475260"/>
                <a:gd name="connsiteX418" fmla="*/ 45905 w 302992"/>
                <a:gd name="connsiteY418" fmla="*/ 225251 h 475260"/>
                <a:gd name="connsiteX419" fmla="*/ 44861 w 302992"/>
                <a:gd name="connsiteY419" fmla="*/ 226563 h 475260"/>
                <a:gd name="connsiteX420" fmla="*/ 42035 w 302992"/>
                <a:gd name="connsiteY420" fmla="*/ 227875 h 475260"/>
                <a:gd name="connsiteX421" fmla="*/ 40284 w 302992"/>
                <a:gd name="connsiteY421" fmla="*/ 228850 h 475260"/>
                <a:gd name="connsiteX422" fmla="*/ 38534 w 302992"/>
                <a:gd name="connsiteY422" fmla="*/ 230028 h 475260"/>
                <a:gd name="connsiteX423" fmla="*/ 35068 w 302992"/>
                <a:gd name="connsiteY423" fmla="*/ 230028 h 475260"/>
                <a:gd name="connsiteX424" fmla="*/ 31366 w 302992"/>
                <a:gd name="connsiteY424" fmla="*/ 230028 h 475260"/>
                <a:gd name="connsiteX425" fmla="*/ 29852 w 302992"/>
                <a:gd name="connsiteY425" fmla="*/ 231104 h 475260"/>
                <a:gd name="connsiteX426" fmla="*/ 27260 w 302992"/>
                <a:gd name="connsiteY426" fmla="*/ 232618 h 475260"/>
                <a:gd name="connsiteX427" fmla="*/ 27260 w 302992"/>
                <a:gd name="connsiteY427" fmla="*/ 234132 h 475260"/>
                <a:gd name="connsiteX428" fmla="*/ 27799 w 302992"/>
                <a:gd name="connsiteY428" fmla="*/ 235982 h 475260"/>
                <a:gd name="connsiteX429" fmla="*/ 29751 w 302992"/>
                <a:gd name="connsiteY429" fmla="*/ 238707 h 475260"/>
                <a:gd name="connsiteX430" fmla="*/ 33924 w 302992"/>
                <a:gd name="connsiteY430" fmla="*/ 239682 h 475260"/>
                <a:gd name="connsiteX431" fmla="*/ 35606 w 302992"/>
                <a:gd name="connsiteY431" fmla="*/ 239716 h 475260"/>
                <a:gd name="connsiteX432" fmla="*/ 37188 w 302992"/>
                <a:gd name="connsiteY432" fmla="*/ 239716 h 475260"/>
                <a:gd name="connsiteX433" fmla="*/ 40318 w 302992"/>
                <a:gd name="connsiteY433" fmla="*/ 240422 h 475260"/>
                <a:gd name="connsiteX434" fmla="*/ 43650 w 302992"/>
                <a:gd name="connsiteY434" fmla="*/ 240422 h 475260"/>
                <a:gd name="connsiteX435" fmla="*/ 46612 w 302992"/>
                <a:gd name="connsiteY435" fmla="*/ 240490 h 475260"/>
                <a:gd name="connsiteX436" fmla="*/ 48126 w 302992"/>
                <a:gd name="connsiteY436" fmla="*/ 241297 h 475260"/>
                <a:gd name="connsiteX437" fmla="*/ 48126 w 302992"/>
                <a:gd name="connsiteY437" fmla="*/ 244123 h 475260"/>
                <a:gd name="connsiteX438" fmla="*/ 48833 w 302992"/>
                <a:gd name="connsiteY438" fmla="*/ 248025 h 475260"/>
                <a:gd name="connsiteX439" fmla="*/ 49169 w 302992"/>
                <a:gd name="connsiteY439" fmla="*/ 250918 h 475260"/>
                <a:gd name="connsiteX440" fmla="*/ 51559 w 302992"/>
                <a:gd name="connsiteY440" fmla="*/ 253609 h 475260"/>
                <a:gd name="connsiteX441" fmla="*/ 54016 w 302992"/>
                <a:gd name="connsiteY441" fmla="*/ 255594 h 475260"/>
                <a:gd name="connsiteX442" fmla="*/ 54453 w 302992"/>
                <a:gd name="connsiteY442" fmla="*/ 257242 h 475260"/>
                <a:gd name="connsiteX443" fmla="*/ 54016 w 302992"/>
                <a:gd name="connsiteY443" fmla="*/ 258554 h 475260"/>
                <a:gd name="connsiteX444" fmla="*/ 55968 w 302992"/>
                <a:gd name="connsiteY444" fmla="*/ 260640 h 475260"/>
                <a:gd name="connsiteX445" fmla="*/ 57717 w 302992"/>
                <a:gd name="connsiteY445" fmla="*/ 261514 h 475260"/>
                <a:gd name="connsiteX446" fmla="*/ 63136 w 302992"/>
                <a:gd name="connsiteY446" fmla="*/ 261750 h 475260"/>
                <a:gd name="connsiteX447" fmla="*/ 65761 w 302992"/>
                <a:gd name="connsiteY447" fmla="*/ 262725 h 475260"/>
                <a:gd name="connsiteX448" fmla="*/ 67713 w 302992"/>
                <a:gd name="connsiteY448" fmla="*/ 264677 h 475260"/>
                <a:gd name="connsiteX449" fmla="*/ 70001 w 302992"/>
                <a:gd name="connsiteY449" fmla="*/ 267401 h 475260"/>
                <a:gd name="connsiteX450" fmla="*/ 71314 w 302992"/>
                <a:gd name="connsiteY450" fmla="*/ 269689 h 475260"/>
                <a:gd name="connsiteX451" fmla="*/ 73064 w 302992"/>
                <a:gd name="connsiteY451" fmla="*/ 272952 h 475260"/>
                <a:gd name="connsiteX452" fmla="*/ 74242 w 302992"/>
                <a:gd name="connsiteY452" fmla="*/ 276753 h 475260"/>
                <a:gd name="connsiteX453" fmla="*/ 75352 w 302992"/>
                <a:gd name="connsiteY453" fmla="*/ 278402 h 47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</a:cxnLst>
              <a:rect l="l" t="t" r="r" b="b"/>
              <a:pathLst>
                <a:path w="302992" h="475260">
                  <a:moveTo>
                    <a:pt x="75352" y="278402"/>
                  </a:moveTo>
                  <a:lnTo>
                    <a:pt x="78180" y="278940"/>
                  </a:lnTo>
                  <a:cubicBezTo>
                    <a:pt x="78180" y="278940"/>
                    <a:pt x="81107" y="279814"/>
                    <a:pt x="81545" y="279814"/>
                  </a:cubicBezTo>
                  <a:cubicBezTo>
                    <a:pt x="81983" y="279814"/>
                    <a:pt x="83160" y="280252"/>
                    <a:pt x="83160" y="280252"/>
                  </a:cubicBezTo>
                  <a:lnTo>
                    <a:pt x="85785" y="282876"/>
                  </a:lnTo>
                  <a:lnTo>
                    <a:pt x="87636" y="286475"/>
                  </a:lnTo>
                  <a:cubicBezTo>
                    <a:pt x="87636" y="286475"/>
                    <a:pt x="89588" y="289402"/>
                    <a:pt x="89925" y="289738"/>
                  </a:cubicBezTo>
                  <a:cubicBezTo>
                    <a:pt x="90262" y="290075"/>
                    <a:pt x="90026" y="291925"/>
                    <a:pt x="90026" y="292328"/>
                  </a:cubicBezTo>
                  <a:cubicBezTo>
                    <a:pt x="90026" y="292766"/>
                    <a:pt x="89925" y="294717"/>
                    <a:pt x="89824" y="295154"/>
                  </a:cubicBezTo>
                  <a:cubicBezTo>
                    <a:pt x="89723" y="295591"/>
                    <a:pt x="89185" y="297105"/>
                    <a:pt x="89185" y="297105"/>
                  </a:cubicBezTo>
                  <a:cubicBezTo>
                    <a:pt x="89185" y="297105"/>
                    <a:pt x="88108" y="298417"/>
                    <a:pt x="87435" y="298955"/>
                  </a:cubicBezTo>
                  <a:cubicBezTo>
                    <a:pt x="86795" y="299494"/>
                    <a:pt x="85920" y="299931"/>
                    <a:pt x="85920" y="299931"/>
                  </a:cubicBezTo>
                  <a:lnTo>
                    <a:pt x="85045" y="300267"/>
                  </a:lnTo>
                  <a:cubicBezTo>
                    <a:pt x="85045" y="300267"/>
                    <a:pt x="83295" y="301041"/>
                    <a:pt x="82218" y="301579"/>
                  </a:cubicBezTo>
                  <a:cubicBezTo>
                    <a:pt x="81141" y="302118"/>
                    <a:pt x="80906" y="303968"/>
                    <a:pt x="80906" y="303968"/>
                  </a:cubicBezTo>
                  <a:lnTo>
                    <a:pt x="79593" y="305482"/>
                  </a:lnTo>
                  <a:lnTo>
                    <a:pt x="78180" y="310157"/>
                  </a:lnTo>
                  <a:lnTo>
                    <a:pt x="78718" y="313420"/>
                  </a:lnTo>
                  <a:lnTo>
                    <a:pt x="78180" y="316684"/>
                  </a:lnTo>
                  <a:lnTo>
                    <a:pt x="78718" y="319947"/>
                  </a:lnTo>
                  <a:lnTo>
                    <a:pt x="80569" y="322571"/>
                  </a:lnTo>
                  <a:lnTo>
                    <a:pt x="83833" y="323647"/>
                  </a:lnTo>
                  <a:lnTo>
                    <a:pt x="87535" y="324084"/>
                  </a:lnTo>
                  <a:lnTo>
                    <a:pt x="90161" y="324320"/>
                  </a:lnTo>
                  <a:lnTo>
                    <a:pt x="93088" y="326607"/>
                  </a:lnTo>
                  <a:lnTo>
                    <a:pt x="93694" y="330812"/>
                  </a:lnTo>
                  <a:lnTo>
                    <a:pt x="96454" y="337338"/>
                  </a:lnTo>
                  <a:lnTo>
                    <a:pt x="99348" y="345143"/>
                  </a:lnTo>
                  <a:lnTo>
                    <a:pt x="100089" y="354427"/>
                  </a:lnTo>
                  <a:lnTo>
                    <a:pt x="101233" y="359641"/>
                  </a:lnTo>
                  <a:lnTo>
                    <a:pt x="100089" y="365495"/>
                  </a:lnTo>
                  <a:lnTo>
                    <a:pt x="100493" y="369935"/>
                  </a:lnTo>
                  <a:lnTo>
                    <a:pt x="100593" y="371953"/>
                  </a:lnTo>
                  <a:lnTo>
                    <a:pt x="99079" y="374207"/>
                  </a:lnTo>
                  <a:cubicBezTo>
                    <a:pt x="99079" y="374207"/>
                    <a:pt x="96521" y="378412"/>
                    <a:pt x="95949" y="378446"/>
                  </a:cubicBezTo>
                  <a:cubicBezTo>
                    <a:pt x="95411" y="378480"/>
                    <a:pt x="94367" y="379119"/>
                    <a:pt x="93661" y="379455"/>
                  </a:cubicBezTo>
                  <a:cubicBezTo>
                    <a:pt x="92954" y="379791"/>
                    <a:pt x="92113" y="380229"/>
                    <a:pt x="91776" y="380229"/>
                  </a:cubicBezTo>
                  <a:cubicBezTo>
                    <a:pt x="91439" y="380229"/>
                    <a:pt x="89925" y="381272"/>
                    <a:pt x="89858" y="381406"/>
                  </a:cubicBezTo>
                  <a:cubicBezTo>
                    <a:pt x="89790" y="381541"/>
                    <a:pt x="89622" y="382853"/>
                    <a:pt x="89622" y="383021"/>
                  </a:cubicBezTo>
                  <a:cubicBezTo>
                    <a:pt x="89622" y="383155"/>
                    <a:pt x="89387" y="384669"/>
                    <a:pt x="89387" y="384669"/>
                  </a:cubicBezTo>
                  <a:lnTo>
                    <a:pt x="88007" y="386351"/>
                  </a:lnTo>
                  <a:lnTo>
                    <a:pt x="86324" y="387327"/>
                  </a:lnTo>
                  <a:lnTo>
                    <a:pt x="83901" y="389513"/>
                  </a:lnTo>
                  <a:cubicBezTo>
                    <a:pt x="83901" y="389513"/>
                    <a:pt x="83867" y="391734"/>
                    <a:pt x="83833" y="392003"/>
                  </a:cubicBezTo>
                  <a:cubicBezTo>
                    <a:pt x="83800" y="392305"/>
                    <a:pt x="83699" y="394055"/>
                    <a:pt x="83463" y="394257"/>
                  </a:cubicBezTo>
                  <a:cubicBezTo>
                    <a:pt x="83261" y="394425"/>
                    <a:pt x="83463" y="396510"/>
                    <a:pt x="83463" y="396510"/>
                  </a:cubicBezTo>
                  <a:cubicBezTo>
                    <a:pt x="83463" y="396510"/>
                    <a:pt x="83699" y="397654"/>
                    <a:pt x="83766" y="397822"/>
                  </a:cubicBezTo>
                  <a:cubicBezTo>
                    <a:pt x="83833" y="397957"/>
                    <a:pt x="85011" y="399235"/>
                    <a:pt x="85550" y="399639"/>
                  </a:cubicBezTo>
                  <a:cubicBezTo>
                    <a:pt x="86088" y="400042"/>
                    <a:pt x="87872" y="401422"/>
                    <a:pt x="88074" y="401624"/>
                  </a:cubicBezTo>
                  <a:cubicBezTo>
                    <a:pt x="88276" y="401859"/>
                    <a:pt x="88713" y="403036"/>
                    <a:pt x="88612" y="403406"/>
                  </a:cubicBezTo>
                  <a:cubicBezTo>
                    <a:pt x="88512" y="403776"/>
                    <a:pt x="88040" y="404382"/>
                    <a:pt x="87805" y="404954"/>
                  </a:cubicBezTo>
                  <a:cubicBezTo>
                    <a:pt x="87603" y="405526"/>
                    <a:pt x="89117" y="406266"/>
                    <a:pt x="89252" y="406299"/>
                  </a:cubicBezTo>
                  <a:cubicBezTo>
                    <a:pt x="89387" y="406333"/>
                    <a:pt x="90699" y="406905"/>
                    <a:pt x="91204" y="407073"/>
                  </a:cubicBezTo>
                  <a:cubicBezTo>
                    <a:pt x="91709" y="407208"/>
                    <a:pt x="93055" y="407746"/>
                    <a:pt x="93257" y="407746"/>
                  </a:cubicBezTo>
                  <a:cubicBezTo>
                    <a:pt x="93425" y="407746"/>
                    <a:pt x="94771" y="409024"/>
                    <a:pt x="94771" y="409024"/>
                  </a:cubicBezTo>
                  <a:lnTo>
                    <a:pt x="96084" y="411211"/>
                  </a:lnTo>
                  <a:lnTo>
                    <a:pt x="96622" y="413297"/>
                  </a:lnTo>
                  <a:lnTo>
                    <a:pt x="99247" y="414171"/>
                  </a:lnTo>
                  <a:lnTo>
                    <a:pt x="104161" y="415618"/>
                  </a:lnTo>
                  <a:lnTo>
                    <a:pt x="106180" y="415315"/>
                  </a:lnTo>
                  <a:lnTo>
                    <a:pt x="108199" y="414440"/>
                  </a:lnTo>
                  <a:lnTo>
                    <a:pt x="111666" y="414440"/>
                  </a:lnTo>
                  <a:cubicBezTo>
                    <a:pt x="111666" y="414440"/>
                    <a:pt x="116007" y="415012"/>
                    <a:pt x="118632" y="415584"/>
                  </a:cubicBezTo>
                  <a:cubicBezTo>
                    <a:pt x="121224" y="416156"/>
                    <a:pt x="120955" y="416459"/>
                    <a:pt x="120955" y="416459"/>
                  </a:cubicBezTo>
                  <a:lnTo>
                    <a:pt x="120652" y="417905"/>
                  </a:lnTo>
                  <a:lnTo>
                    <a:pt x="120080" y="421101"/>
                  </a:lnTo>
                  <a:lnTo>
                    <a:pt x="118632" y="422245"/>
                  </a:lnTo>
                  <a:cubicBezTo>
                    <a:pt x="118632" y="422245"/>
                    <a:pt x="120382" y="425138"/>
                    <a:pt x="120652" y="426315"/>
                  </a:cubicBezTo>
                  <a:cubicBezTo>
                    <a:pt x="120955" y="427459"/>
                    <a:pt x="122099" y="432337"/>
                    <a:pt x="122099" y="432337"/>
                  </a:cubicBezTo>
                  <a:cubicBezTo>
                    <a:pt x="122099" y="432337"/>
                    <a:pt x="130210" y="436474"/>
                    <a:pt x="131084" y="436743"/>
                  </a:cubicBezTo>
                  <a:cubicBezTo>
                    <a:pt x="131959" y="437046"/>
                    <a:pt x="134551" y="437887"/>
                    <a:pt x="134551" y="437887"/>
                  </a:cubicBezTo>
                  <a:lnTo>
                    <a:pt x="141214" y="440780"/>
                  </a:lnTo>
                  <a:lnTo>
                    <a:pt x="146936" y="444615"/>
                  </a:lnTo>
                  <a:lnTo>
                    <a:pt x="149628" y="447441"/>
                  </a:lnTo>
                  <a:lnTo>
                    <a:pt x="149763" y="449627"/>
                  </a:lnTo>
                  <a:lnTo>
                    <a:pt x="149056" y="451814"/>
                  </a:lnTo>
                  <a:lnTo>
                    <a:pt x="149056" y="454135"/>
                  </a:lnTo>
                  <a:cubicBezTo>
                    <a:pt x="149056" y="454135"/>
                    <a:pt x="149998" y="455010"/>
                    <a:pt x="150301" y="457028"/>
                  </a:cubicBezTo>
                  <a:cubicBezTo>
                    <a:pt x="150604" y="459047"/>
                    <a:pt x="151681" y="459047"/>
                    <a:pt x="151681" y="459047"/>
                  </a:cubicBezTo>
                  <a:lnTo>
                    <a:pt x="154003" y="458172"/>
                  </a:lnTo>
                  <a:lnTo>
                    <a:pt x="155148" y="457028"/>
                  </a:lnTo>
                  <a:lnTo>
                    <a:pt x="155888" y="455447"/>
                  </a:lnTo>
                  <a:lnTo>
                    <a:pt x="157773" y="454572"/>
                  </a:lnTo>
                  <a:lnTo>
                    <a:pt x="161239" y="455279"/>
                  </a:lnTo>
                  <a:lnTo>
                    <a:pt x="161239" y="455144"/>
                  </a:lnTo>
                  <a:lnTo>
                    <a:pt x="162754" y="455716"/>
                  </a:lnTo>
                  <a:lnTo>
                    <a:pt x="165883" y="456591"/>
                  </a:lnTo>
                  <a:lnTo>
                    <a:pt x="167465" y="458609"/>
                  </a:lnTo>
                  <a:lnTo>
                    <a:pt x="168609" y="461367"/>
                  </a:lnTo>
                  <a:cubicBezTo>
                    <a:pt x="168609" y="461367"/>
                    <a:pt x="169181" y="462814"/>
                    <a:pt x="169619" y="464698"/>
                  </a:cubicBezTo>
                  <a:cubicBezTo>
                    <a:pt x="170056" y="466582"/>
                    <a:pt x="170629" y="465707"/>
                    <a:pt x="171369" y="466716"/>
                  </a:cubicBezTo>
                  <a:cubicBezTo>
                    <a:pt x="172076" y="467725"/>
                    <a:pt x="171369" y="468735"/>
                    <a:pt x="171369" y="468735"/>
                  </a:cubicBezTo>
                  <a:lnTo>
                    <a:pt x="172816" y="471493"/>
                  </a:lnTo>
                  <a:lnTo>
                    <a:pt x="173961" y="472368"/>
                  </a:lnTo>
                  <a:cubicBezTo>
                    <a:pt x="173961" y="472368"/>
                    <a:pt x="175542" y="474117"/>
                    <a:pt x="176148" y="474386"/>
                  </a:cubicBezTo>
                  <a:cubicBezTo>
                    <a:pt x="176720" y="474689"/>
                    <a:pt x="177730" y="475261"/>
                    <a:pt x="177730" y="475261"/>
                  </a:cubicBezTo>
                  <a:lnTo>
                    <a:pt x="179480" y="475261"/>
                  </a:lnTo>
                  <a:cubicBezTo>
                    <a:pt x="179480" y="475261"/>
                    <a:pt x="180220" y="474554"/>
                    <a:pt x="180624" y="474117"/>
                  </a:cubicBezTo>
                  <a:cubicBezTo>
                    <a:pt x="181062" y="473680"/>
                    <a:pt x="181634" y="472368"/>
                    <a:pt x="181634" y="472368"/>
                  </a:cubicBezTo>
                  <a:lnTo>
                    <a:pt x="182643" y="469307"/>
                  </a:lnTo>
                  <a:lnTo>
                    <a:pt x="183216" y="467557"/>
                  </a:lnTo>
                  <a:lnTo>
                    <a:pt x="184360" y="463790"/>
                  </a:lnTo>
                  <a:lnTo>
                    <a:pt x="184932" y="460325"/>
                  </a:lnTo>
                  <a:lnTo>
                    <a:pt x="185672" y="457566"/>
                  </a:lnTo>
                  <a:lnTo>
                    <a:pt x="185369" y="454808"/>
                  </a:lnTo>
                  <a:cubicBezTo>
                    <a:pt x="185369" y="454808"/>
                    <a:pt x="185067" y="452218"/>
                    <a:pt x="184663" y="452049"/>
                  </a:cubicBezTo>
                  <a:cubicBezTo>
                    <a:pt x="184225" y="451915"/>
                    <a:pt x="182643" y="445826"/>
                    <a:pt x="182643" y="445826"/>
                  </a:cubicBezTo>
                  <a:lnTo>
                    <a:pt x="182071" y="440612"/>
                  </a:lnTo>
                  <a:lnTo>
                    <a:pt x="184023" y="436104"/>
                  </a:lnTo>
                  <a:lnTo>
                    <a:pt x="182509" y="433817"/>
                  </a:lnTo>
                  <a:lnTo>
                    <a:pt x="181297" y="429679"/>
                  </a:lnTo>
                  <a:lnTo>
                    <a:pt x="180321" y="427392"/>
                  </a:lnTo>
                  <a:lnTo>
                    <a:pt x="180321" y="426315"/>
                  </a:lnTo>
                  <a:cubicBezTo>
                    <a:pt x="180321" y="426315"/>
                    <a:pt x="180153" y="424465"/>
                    <a:pt x="179951" y="424028"/>
                  </a:cubicBezTo>
                  <a:cubicBezTo>
                    <a:pt x="179749" y="423590"/>
                    <a:pt x="178605" y="422177"/>
                    <a:pt x="178605" y="422177"/>
                  </a:cubicBezTo>
                  <a:lnTo>
                    <a:pt x="178605" y="419789"/>
                  </a:lnTo>
                  <a:lnTo>
                    <a:pt x="179379" y="417737"/>
                  </a:lnTo>
                  <a:lnTo>
                    <a:pt x="182643" y="416862"/>
                  </a:lnTo>
                  <a:lnTo>
                    <a:pt x="184595" y="416089"/>
                  </a:lnTo>
                  <a:lnTo>
                    <a:pt x="187220" y="413801"/>
                  </a:lnTo>
                  <a:lnTo>
                    <a:pt x="188970" y="413700"/>
                  </a:lnTo>
                  <a:lnTo>
                    <a:pt x="191898" y="416728"/>
                  </a:lnTo>
                  <a:lnTo>
                    <a:pt x="194288" y="417602"/>
                  </a:lnTo>
                  <a:lnTo>
                    <a:pt x="197350" y="419352"/>
                  </a:lnTo>
                  <a:lnTo>
                    <a:pt x="200951" y="422076"/>
                  </a:lnTo>
                  <a:lnTo>
                    <a:pt x="203879" y="424801"/>
                  </a:lnTo>
                  <a:lnTo>
                    <a:pt x="205831" y="424801"/>
                  </a:lnTo>
                  <a:lnTo>
                    <a:pt x="207783" y="423119"/>
                  </a:lnTo>
                  <a:lnTo>
                    <a:pt x="209870" y="421202"/>
                  </a:lnTo>
                  <a:lnTo>
                    <a:pt x="213572" y="421976"/>
                  </a:lnTo>
                  <a:cubicBezTo>
                    <a:pt x="213572" y="421976"/>
                    <a:pt x="214548" y="419486"/>
                    <a:pt x="215860" y="418511"/>
                  </a:cubicBezTo>
                  <a:cubicBezTo>
                    <a:pt x="217173" y="417535"/>
                    <a:pt x="215860" y="418511"/>
                    <a:pt x="216399" y="417972"/>
                  </a:cubicBezTo>
                  <a:cubicBezTo>
                    <a:pt x="216937" y="417434"/>
                    <a:pt x="217375" y="416223"/>
                    <a:pt x="217712" y="416122"/>
                  </a:cubicBezTo>
                  <a:cubicBezTo>
                    <a:pt x="218048" y="416021"/>
                    <a:pt x="218485" y="416122"/>
                    <a:pt x="219562" y="416122"/>
                  </a:cubicBezTo>
                  <a:cubicBezTo>
                    <a:pt x="220639" y="416122"/>
                    <a:pt x="221952" y="416122"/>
                    <a:pt x="223466" y="416122"/>
                  </a:cubicBezTo>
                  <a:cubicBezTo>
                    <a:pt x="224981" y="416122"/>
                    <a:pt x="225216" y="415954"/>
                    <a:pt x="226192" y="415416"/>
                  </a:cubicBezTo>
                  <a:cubicBezTo>
                    <a:pt x="227168" y="414878"/>
                    <a:pt x="227404" y="415248"/>
                    <a:pt x="227404" y="415248"/>
                  </a:cubicBezTo>
                  <a:lnTo>
                    <a:pt x="227404" y="413398"/>
                  </a:lnTo>
                  <a:lnTo>
                    <a:pt x="226933" y="410572"/>
                  </a:lnTo>
                  <a:lnTo>
                    <a:pt x="227000" y="409697"/>
                  </a:lnTo>
                  <a:lnTo>
                    <a:pt x="223836" y="406333"/>
                  </a:lnTo>
                  <a:lnTo>
                    <a:pt x="220471" y="401354"/>
                  </a:lnTo>
                  <a:lnTo>
                    <a:pt x="220471" y="399605"/>
                  </a:lnTo>
                  <a:lnTo>
                    <a:pt x="224274" y="397755"/>
                  </a:lnTo>
                  <a:lnTo>
                    <a:pt x="226563" y="396342"/>
                  </a:lnTo>
                  <a:lnTo>
                    <a:pt x="228414" y="392440"/>
                  </a:lnTo>
                  <a:cubicBezTo>
                    <a:pt x="228414" y="392440"/>
                    <a:pt x="229188" y="388302"/>
                    <a:pt x="229188" y="387865"/>
                  </a:cubicBezTo>
                  <a:cubicBezTo>
                    <a:pt x="229188" y="387428"/>
                    <a:pt x="229726" y="385241"/>
                    <a:pt x="230365" y="383828"/>
                  </a:cubicBezTo>
                  <a:cubicBezTo>
                    <a:pt x="231005" y="382415"/>
                    <a:pt x="232452" y="380128"/>
                    <a:pt x="232452" y="380128"/>
                  </a:cubicBezTo>
                  <a:lnTo>
                    <a:pt x="231577" y="377403"/>
                  </a:lnTo>
                  <a:lnTo>
                    <a:pt x="229726" y="375788"/>
                  </a:lnTo>
                  <a:lnTo>
                    <a:pt x="227539" y="373299"/>
                  </a:lnTo>
                  <a:lnTo>
                    <a:pt x="226226" y="371348"/>
                  </a:lnTo>
                  <a:lnTo>
                    <a:pt x="228414" y="368421"/>
                  </a:lnTo>
                  <a:lnTo>
                    <a:pt x="226226" y="366134"/>
                  </a:lnTo>
                  <a:lnTo>
                    <a:pt x="221346" y="363947"/>
                  </a:lnTo>
                  <a:cubicBezTo>
                    <a:pt x="221346" y="363947"/>
                    <a:pt x="219058" y="363947"/>
                    <a:pt x="218721" y="363947"/>
                  </a:cubicBezTo>
                  <a:cubicBezTo>
                    <a:pt x="218384" y="363947"/>
                    <a:pt x="215255" y="362904"/>
                    <a:pt x="214178" y="362904"/>
                  </a:cubicBezTo>
                  <a:cubicBezTo>
                    <a:pt x="213101" y="362904"/>
                    <a:pt x="209836" y="361222"/>
                    <a:pt x="209836" y="361222"/>
                  </a:cubicBezTo>
                  <a:lnTo>
                    <a:pt x="207110" y="359271"/>
                  </a:lnTo>
                  <a:lnTo>
                    <a:pt x="205158" y="356883"/>
                  </a:lnTo>
                  <a:lnTo>
                    <a:pt x="201793" y="355806"/>
                  </a:lnTo>
                  <a:lnTo>
                    <a:pt x="198528" y="357455"/>
                  </a:lnTo>
                  <a:cubicBezTo>
                    <a:pt x="198528" y="357455"/>
                    <a:pt x="193413" y="357657"/>
                    <a:pt x="189408" y="357455"/>
                  </a:cubicBezTo>
                  <a:cubicBezTo>
                    <a:pt x="185369" y="357219"/>
                    <a:pt x="186783" y="356244"/>
                    <a:pt x="186480" y="355941"/>
                  </a:cubicBezTo>
                  <a:cubicBezTo>
                    <a:pt x="186143" y="355605"/>
                    <a:pt x="184865" y="352476"/>
                    <a:pt x="184865" y="352476"/>
                  </a:cubicBezTo>
                  <a:cubicBezTo>
                    <a:pt x="184865" y="352476"/>
                    <a:pt x="188028" y="349987"/>
                    <a:pt x="189206" y="349449"/>
                  </a:cubicBezTo>
                  <a:cubicBezTo>
                    <a:pt x="190417" y="348910"/>
                    <a:pt x="190519" y="348036"/>
                    <a:pt x="190821" y="347935"/>
                  </a:cubicBezTo>
                  <a:cubicBezTo>
                    <a:pt x="191158" y="347834"/>
                    <a:pt x="191696" y="344335"/>
                    <a:pt x="191696" y="343595"/>
                  </a:cubicBezTo>
                  <a:cubicBezTo>
                    <a:pt x="191696" y="342821"/>
                    <a:pt x="191158" y="339895"/>
                    <a:pt x="191158" y="339895"/>
                  </a:cubicBezTo>
                  <a:lnTo>
                    <a:pt x="189408" y="337406"/>
                  </a:lnTo>
                  <a:lnTo>
                    <a:pt x="187355" y="334243"/>
                  </a:lnTo>
                  <a:lnTo>
                    <a:pt x="184427" y="332057"/>
                  </a:lnTo>
                  <a:cubicBezTo>
                    <a:pt x="184427" y="332057"/>
                    <a:pt x="182374" y="330207"/>
                    <a:pt x="181701" y="330207"/>
                  </a:cubicBezTo>
                  <a:cubicBezTo>
                    <a:pt x="181028" y="330207"/>
                    <a:pt x="179312" y="327616"/>
                    <a:pt x="178975" y="326944"/>
                  </a:cubicBezTo>
                  <a:cubicBezTo>
                    <a:pt x="178638" y="326304"/>
                    <a:pt x="178975" y="323680"/>
                    <a:pt x="178975" y="323680"/>
                  </a:cubicBezTo>
                  <a:cubicBezTo>
                    <a:pt x="178975" y="323680"/>
                    <a:pt x="179951" y="322907"/>
                    <a:pt x="181028" y="322604"/>
                  </a:cubicBezTo>
                  <a:cubicBezTo>
                    <a:pt x="182105" y="322268"/>
                    <a:pt x="183754" y="322940"/>
                    <a:pt x="184494" y="322604"/>
                  </a:cubicBezTo>
                  <a:cubicBezTo>
                    <a:pt x="185268" y="322268"/>
                    <a:pt x="185033" y="320317"/>
                    <a:pt x="185369" y="320216"/>
                  </a:cubicBezTo>
                  <a:cubicBezTo>
                    <a:pt x="185706" y="320115"/>
                    <a:pt x="187456" y="318904"/>
                    <a:pt x="187456" y="318904"/>
                  </a:cubicBezTo>
                  <a:cubicBezTo>
                    <a:pt x="187456" y="318904"/>
                    <a:pt x="188432" y="316515"/>
                    <a:pt x="189206" y="316414"/>
                  </a:cubicBezTo>
                  <a:cubicBezTo>
                    <a:pt x="189980" y="316313"/>
                    <a:pt x="189206" y="314463"/>
                    <a:pt x="189206" y="314463"/>
                  </a:cubicBezTo>
                  <a:cubicBezTo>
                    <a:pt x="189206" y="314463"/>
                    <a:pt x="189206" y="312310"/>
                    <a:pt x="189206" y="311873"/>
                  </a:cubicBezTo>
                  <a:cubicBezTo>
                    <a:pt x="189206" y="311436"/>
                    <a:pt x="190619" y="308845"/>
                    <a:pt x="190619" y="308845"/>
                  </a:cubicBezTo>
                  <a:cubicBezTo>
                    <a:pt x="190619" y="308845"/>
                    <a:pt x="192370" y="306356"/>
                    <a:pt x="192571" y="306020"/>
                  </a:cubicBezTo>
                  <a:cubicBezTo>
                    <a:pt x="192773" y="305683"/>
                    <a:pt x="194322" y="303867"/>
                    <a:pt x="194322" y="303867"/>
                  </a:cubicBezTo>
                  <a:cubicBezTo>
                    <a:pt x="194322" y="303867"/>
                    <a:pt x="196071" y="304069"/>
                    <a:pt x="197586" y="303833"/>
                  </a:cubicBezTo>
                  <a:cubicBezTo>
                    <a:pt x="199100" y="303631"/>
                    <a:pt x="200211" y="303934"/>
                    <a:pt x="200649" y="303833"/>
                  </a:cubicBezTo>
                  <a:cubicBezTo>
                    <a:pt x="201086" y="303732"/>
                    <a:pt x="203913" y="303631"/>
                    <a:pt x="204115" y="303295"/>
                  </a:cubicBezTo>
                  <a:cubicBezTo>
                    <a:pt x="204317" y="302959"/>
                    <a:pt x="203577" y="300907"/>
                    <a:pt x="203577" y="300907"/>
                  </a:cubicBezTo>
                  <a:lnTo>
                    <a:pt x="202802" y="299595"/>
                  </a:lnTo>
                  <a:lnTo>
                    <a:pt x="203240" y="295793"/>
                  </a:lnTo>
                  <a:lnTo>
                    <a:pt x="205629" y="295154"/>
                  </a:lnTo>
                  <a:lnTo>
                    <a:pt x="205529" y="292429"/>
                  </a:lnTo>
                  <a:lnTo>
                    <a:pt x="204317" y="290680"/>
                  </a:lnTo>
                  <a:cubicBezTo>
                    <a:pt x="204317" y="290680"/>
                    <a:pt x="202264" y="289368"/>
                    <a:pt x="201052" y="289065"/>
                  </a:cubicBezTo>
                  <a:cubicBezTo>
                    <a:pt x="199841" y="288729"/>
                    <a:pt x="197687" y="287653"/>
                    <a:pt x="197687" y="287653"/>
                  </a:cubicBezTo>
                  <a:lnTo>
                    <a:pt x="195398" y="282876"/>
                  </a:lnTo>
                  <a:cubicBezTo>
                    <a:pt x="195398" y="282876"/>
                    <a:pt x="196475" y="280487"/>
                    <a:pt x="196711" y="280151"/>
                  </a:cubicBezTo>
                  <a:cubicBezTo>
                    <a:pt x="196913" y="279814"/>
                    <a:pt x="200312" y="278502"/>
                    <a:pt x="200312" y="278502"/>
                  </a:cubicBezTo>
                  <a:lnTo>
                    <a:pt x="203677" y="277964"/>
                  </a:lnTo>
                  <a:lnTo>
                    <a:pt x="204216" y="275374"/>
                  </a:lnTo>
                  <a:lnTo>
                    <a:pt x="204855" y="272750"/>
                  </a:lnTo>
                  <a:lnTo>
                    <a:pt x="204855" y="267536"/>
                  </a:lnTo>
                  <a:lnTo>
                    <a:pt x="204855" y="263028"/>
                  </a:lnTo>
                  <a:lnTo>
                    <a:pt x="206033" y="259833"/>
                  </a:lnTo>
                  <a:lnTo>
                    <a:pt x="208187" y="259664"/>
                  </a:lnTo>
                  <a:lnTo>
                    <a:pt x="210509" y="260169"/>
                  </a:lnTo>
                  <a:cubicBezTo>
                    <a:pt x="210509" y="260169"/>
                    <a:pt x="213437" y="261043"/>
                    <a:pt x="214413" y="260943"/>
                  </a:cubicBezTo>
                  <a:cubicBezTo>
                    <a:pt x="215389" y="260842"/>
                    <a:pt x="216264" y="259530"/>
                    <a:pt x="216332" y="259294"/>
                  </a:cubicBezTo>
                  <a:cubicBezTo>
                    <a:pt x="216399" y="259059"/>
                    <a:pt x="217139" y="257511"/>
                    <a:pt x="217139" y="257511"/>
                  </a:cubicBezTo>
                  <a:lnTo>
                    <a:pt x="221043" y="255762"/>
                  </a:lnTo>
                  <a:cubicBezTo>
                    <a:pt x="221043" y="255762"/>
                    <a:pt x="223668" y="256401"/>
                    <a:pt x="224308" y="256267"/>
                  </a:cubicBezTo>
                  <a:cubicBezTo>
                    <a:pt x="224981" y="256099"/>
                    <a:pt x="227808" y="260573"/>
                    <a:pt x="227808" y="260573"/>
                  </a:cubicBezTo>
                  <a:lnTo>
                    <a:pt x="228245" y="260236"/>
                  </a:lnTo>
                  <a:lnTo>
                    <a:pt x="231442" y="257579"/>
                  </a:lnTo>
                  <a:cubicBezTo>
                    <a:pt x="231442" y="257579"/>
                    <a:pt x="233294" y="258016"/>
                    <a:pt x="233933" y="258050"/>
                  </a:cubicBezTo>
                  <a:cubicBezTo>
                    <a:pt x="234572" y="258117"/>
                    <a:pt x="237265" y="261481"/>
                    <a:pt x="237265" y="261481"/>
                  </a:cubicBezTo>
                  <a:cubicBezTo>
                    <a:pt x="237265" y="261481"/>
                    <a:pt x="239553" y="260707"/>
                    <a:pt x="239688" y="260606"/>
                  </a:cubicBezTo>
                  <a:cubicBezTo>
                    <a:pt x="239856" y="260505"/>
                    <a:pt x="241875" y="258756"/>
                    <a:pt x="241875" y="258756"/>
                  </a:cubicBezTo>
                  <a:lnTo>
                    <a:pt x="244736" y="256570"/>
                  </a:lnTo>
                  <a:lnTo>
                    <a:pt x="248606" y="256199"/>
                  </a:lnTo>
                  <a:lnTo>
                    <a:pt x="254530" y="258386"/>
                  </a:lnTo>
                  <a:lnTo>
                    <a:pt x="258063" y="260505"/>
                  </a:lnTo>
                  <a:lnTo>
                    <a:pt x="260049" y="262457"/>
                  </a:lnTo>
                  <a:lnTo>
                    <a:pt x="265501" y="265383"/>
                  </a:lnTo>
                  <a:lnTo>
                    <a:pt x="265669" y="265383"/>
                  </a:lnTo>
                  <a:lnTo>
                    <a:pt x="265366" y="266729"/>
                  </a:lnTo>
                  <a:lnTo>
                    <a:pt x="266275" y="262658"/>
                  </a:lnTo>
                  <a:lnTo>
                    <a:pt x="268227" y="260270"/>
                  </a:lnTo>
                  <a:cubicBezTo>
                    <a:pt x="268227" y="260270"/>
                    <a:pt x="269809" y="259025"/>
                    <a:pt x="269977" y="258823"/>
                  </a:cubicBezTo>
                  <a:cubicBezTo>
                    <a:pt x="270112" y="258622"/>
                    <a:pt x="270179" y="257579"/>
                    <a:pt x="270179" y="257579"/>
                  </a:cubicBezTo>
                  <a:lnTo>
                    <a:pt x="269876" y="256334"/>
                  </a:lnTo>
                  <a:lnTo>
                    <a:pt x="268799" y="255392"/>
                  </a:lnTo>
                  <a:cubicBezTo>
                    <a:pt x="268799" y="255392"/>
                    <a:pt x="266544" y="253374"/>
                    <a:pt x="266275" y="253206"/>
                  </a:cubicBezTo>
                  <a:cubicBezTo>
                    <a:pt x="265972" y="253071"/>
                    <a:pt x="264693" y="252264"/>
                    <a:pt x="264087" y="251961"/>
                  </a:cubicBezTo>
                  <a:cubicBezTo>
                    <a:pt x="263515" y="251658"/>
                    <a:pt x="262337" y="251019"/>
                    <a:pt x="262337" y="251019"/>
                  </a:cubicBezTo>
                  <a:lnTo>
                    <a:pt x="261092" y="248630"/>
                  </a:lnTo>
                  <a:lnTo>
                    <a:pt x="261227" y="246747"/>
                  </a:lnTo>
                  <a:lnTo>
                    <a:pt x="262304" y="244863"/>
                  </a:lnTo>
                  <a:lnTo>
                    <a:pt x="263246" y="242475"/>
                  </a:lnTo>
                  <a:lnTo>
                    <a:pt x="263044" y="240591"/>
                  </a:lnTo>
                  <a:lnTo>
                    <a:pt x="259847" y="240591"/>
                  </a:lnTo>
                  <a:lnTo>
                    <a:pt x="258972" y="237395"/>
                  </a:lnTo>
                  <a:lnTo>
                    <a:pt x="261664" y="236016"/>
                  </a:lnTo>
                  <a:lnTo>
                    <a:pt x="263112" y="233324"/>
                  </a:lnTo>
                  <a:lnTo>
                    <a:pt x="262809" y="232080"/>
                  </a:lnTo>
                  <a:lnTo>
                    <a:pt x="260856" y="230701"/>
                  </a:lnTo>
                  <a:lnTo>
                    <a:pt x="261732" y="227505"/>
                  </a:lnTo>
                  <a:lnTo>
                    <a:pt x="264929" y="223434"/>
                  </a:lnTo>
                  <a:lnTo>
                    <a:pt x="269136" y="219095"/>
                  </a:lnTo>
                  <a:lnTo>
                    <a:pt x="270145" y="215462"/>
                  </a:lnTo>
                  <a:cubicBezTo>
                    <a:pt x="270145" y="215462"/>
                    <a:pt x="268698" y="213780"/>
                    <a:pt x="267823" y="212603"/>
                  </a:cubicBezTo>
                  <a:cubicBezTo>
                    <a:pt x="266948" y="211391"/>
                    <a:pt x="267823" y="210012"/>
                    <a:pt x="267823" y="209239"/>
                  </a:cubicBezTo>
                  <a:cubicBezTo>
                    <a:pt x="267823" y="208465"/>
                    <a:pt x="271862" y="204563"/>
                    <a:pt x="271862" y="204563"/>
                  </a:cubicBezTo>
                  <a:lnTo>
                    <a:pt x="274352" y="199247"/>
                  </a:lnTo>
                  <a:lnTo>
                    <a:pt x="276203" y="194471"/>
                  </a:lnTo>
                  <a:lnTo>
                    <a:pt x="280982" y="194033"/>
                  </a:lnTo>
                  <a:lnTo>
                    <a:pt x="282631" y="191847"/>
                  </a:lnTo>
                  <a:cubicBezTo>
                    <a:pt x="282631" y="191847"/>
                    <a:pt x="286872" y="189795"/>
                    <a:pt x="287646" y="189257"/>
                  </a:cubicBezTo>
                  <a:cubicBezTo>
                    <a:pt x="288420" y="188718"/>
                    <a:pt x="290237" y="187204"/>
                    <a:pt x="290574" y="186868"/>
                  </a:cubicBezTo>
                  <a:cubicBezTo>
                    <a:pt x="290910" y="186532"/>
                    <a:pt x="294040" y="186431"/>
                    <a:pt x="294612" y="186094"/>
                  </a:cubicBezTo>
                  <a:cubicBezTo>
                    <a:pt x="295151" y="185758"/>
                    <a:pt x="296901" y="184681"/>
                    <a:pt x="296901" y="184681"/>
                  </a:cubicBezTo>
                  <a:cubicBezTo>
                    <a:pt x="296901" y="184681"/>
                    <a:pt x="297439" y="182831"/>
                    <a:pt x="297877" y="182394"/>
                  </a:cubicBezTo>
                  <a:cubicBezTo>
                    <a:pt x="298314" y="181957"/>
                    <a:pt x="297877" y="180308"/>
                    <a:pt x="297877" y="180006"/>
                  </a:cubicBezTo>
                  <a:cubicBezTo>
                    <a:pt x="297877" y="179669"/>
                    <a:pt x="298853" y="176103"/>
                    <a:pt x="298853" y="176103"/>
                  </a:cubicBezTo>
                  <a:lnTo>
                    <a:pt x="302992" y="175027"/>
                  </a:lnTo>
                  <a:lnTo>
                    <a:pt x="296867" y="174489"/>
                  </a:lnTo>
                  <a:cubicBezTo>
                    <a:pt x="296867" y="174489"/>
                    <a:pt x="293401" y="174859"/>
                    <a:pt x="292458" y="174859"/>
                  </a:cubicBezTo>
                  <a:cubicBezTo>
                    <a:pt x="291516" y="174859"/>
                    <a:pt x="288554" y="173110"/>
                    <a:pt x="288117" y="172605"/>
                  </a:cubicBezTo>
                  <a:cubicBezTo>
                    <a:pt x="287679" y="172100"/>
                    <a:pt x="286165" y="169342"/>
                    <a:pt x="286165" y="169342"/>
                  </a:cubicBezTo>
                  <a:lnTo>
                    <a:pt x="285155" y="165137"/>
                  </a:lnTo>
                  <a:lnTo>
                    <a:pt x="281016" y="160293"/>
                  </a:lnTo>
                  <a:lnTo>
                    <a:pt x="277886" y="153834"/>
                  </a:lnTo>
                  <a:lnTo>
                    <a:pt x="275261" y="151008"/>
                  </a:lnTo>
                  <a:cubicBezTo>
                    <a:pt x="275261" y="151008"/>
                    <a:pt x="270684" y="145794"/>
                    <a:pt x="270549" y="145357"/>
                  </a:cubicBezTo>
                  <a:cubicBezTo>
                    <a:pt x="270414" y="144920"/>
                    <a:pt x="268664" y="144112"/>
                    <a:pt x="268664" y="144112"/>
                  </a:cubicBezTo>
                  <a:lnTo>
                    <a:pt x="262640" y="142228"/>
                  </a:lnTo>
                  <a:lnTo>
                    <a:pt x="259578" y="141421"/>
                  </a:lnTo>
                  <a:cubicBezTo>
                    <a:pt x="259578" y="141421"/>
                    <a:pt x="256986" y="141421"/>
                    <a:pt x="256549" y="141421"/>
                  </a:cubicBezTo>
                  <a:cubicBezTo>
                    <a:pt x="256111" y="141421"/>
                    <a:pt x="253453" y="143641"/>
                    <a:pt x="253217" y="143708"/>
                  </a:cubicBezTo>
                  <a:cubicBezTo>
                    <a:pt x="253015" y="143776"/>
                    <a:pt x="247563" y="145996"/>
                    <a:pt x="247563" y="145996"/>
                  </a:cubicBezTo>
                  <a:cubicBezTo>
                    <a:pt x="247563" y="145996"/>
                    <a:pt x="244366" y="146635"/>
                    <a:pt x="244164" y="146702"/>
                  </a:cubicBezTo>
                  <a:cubicBezTo>
                    <a:pt x="243962" y="146770"/>
                    <a:pt x="239015" y="146568"/>
                    <a:pt x="238140" y="146702"/>
                  </a:cubicBezTo>
                  <a:cubicBezTo>
                    <a:pt x="237265" y="146837"/>
                    <a:pt x="234068" y="145256"/>
                    <a:pt x="234068" y="145256"/>
                  </a:cubicBezTo>
                  <a:lnTo>
                    <a:pt x="225149" y="139100"/>
                  </a:lnTo>
                  <a:lnTo>
                    <a:pt x="219798" y="136409"/>
                  </a:lnTo>
                  <a:lnTo>
                    <a:pt x="215221" y="133381"/>
                  </a:lnTo>
                  <a:lnTo>
                    <a:pt x="212832" y="131867"/>
                  </a:lnTo>
                  <a:lnTo>
                    <a:pt x="208692" y="129042"/>
                  </a:lnTo>
                  <a:lnTo>
                    <a:pt x="203475" y="124029"/>
                  </a:lnTo>
                  <a:lnTo>
                    <a:pt x="202399" y="122515"/>
                  </a:lnTo>
                  <a:lnTo>
                    <a:pt x="202634" y="119051"/>
                  </a:lnTo>
                  <a:lnTo>
                    <a:pt x="203947" y="114476"/>
                  </a:lnTo>
                  <a:lnTo>
                    <a:pt x="202870" y="111852"/>
                  </a:lnTo>
                  <a:cubicBezTo>
                    <a:pt x="202870" y="111852"/>
                    <a:pt x="201355" y="107512"/>
                    <a:pt x="202230" y="108151"/>
                  </a:cubicBezTo>
                  <a:cubicBezTo>
                    <a:pt x="203105" y="108757"/>
                    <a:pt x="203105" y="105797"/>
                    <a:pt x="203980" y="104922"/>
                  </a:cubicBezTo>
                  <a:cubicBezTo>
                    <a:pt x="204855" y="104047"/>
                    <a:pt x="205293" y="104047"/>
                    <a:pt x="205495" y="103408"/>
                  </a:cubicBezTo>
                  <a:cubicBezTo>
                    <a:pt x="205697" y="102769"/>
                    <a:pt x="206572" y="100582"/>
                    <a:pt x="206572" y="100582"/>
                  </a:cubicBezTo>
                  <a:lnTo>
                    <a:pt x="206572" y="99069"/>
                  </a:lnTo>
                  <a:lnTo>
                    <a:pt x="203846" y="95368"/>
                  </a:lnTo>
                  <a:lnTo>
                    <a:pt x="203072" y="93619"/>
                  </a:lnTo>
                  <a:lnTo>
                    <a:pt x="203072" y="89919"/>
                  </a:lnTo>
                  <a:lnTo>
                    <a:pt x="205798" y="86858"/>
                  </a:lnTo>
                  <a:lnTo>
                    <a:pt x="206336" y="84906"/>
                  </a:lnTo>
                  <a:lnTo>
                    <a:pt x="206774" y="81879"/>
                  </a:lnTo>
                  <a:lnTo>
                    <a:pt x="207851" y="79289"/>
                  </a:lnTo>
                  <a:lnTo>
                    <a:pt x="208490" y="76463"/>
                  </a:lnTo>
                  <a:lnTo>
                    <a:pt x="211519" y="72763"/>
                  </a:lnTo>
                  <a:lnTo>
                    <a:pt x="213269" y="68860"/>
                  </a:lnTo>
                  <a:lnTo>
                    <a:pt x="215894" y="63209"/>
                  </a:lnTo>
                  <a:lnTo>
                    <a:pt x="220303" y="61762"/>
                  </a:lnTo>
                  <a:cubicBezTo>
                    <a:pt x="220303" y="61762"/>
                    <a:pt x="222625" y="57120"/>
                    <a:pt x="222760" y="56683"/>
                  </a:cubicBezTo>
                  <a:cubicBezTo>
                    <a:pt x="222894" y="56245"/>
                    <a:pt x="226529" y="55236"/>
                    <a:pt x="226529" y="55236"/>
                  </a:cubicBezTo>
                  <a:lnTo>
                    <a:pt x="231880" y="53050"/>
                  </a:lnTo>
                  <a:cubicBezTo>
                    <a:pt x="231880" y="53050"/>
                    <a:pt x="234337" y="53184"/>
                    <a:pt x="234909" y="53487"/>
                  </a:cubicBezTo>
                  <a:cubicBezTo>
                    <a:pt x="235481" y="53790"/>
                    <a:pt x="238678" y="53790"/>
                    <a:pt x="238678" y="53790"/>
                  </a:cubicBezTo>
                  <a:cubicBezTo>
                    <a:pt x="238678" y="53790"/>
                    <a:pt x="239856" y="54093"/>
                    <a:pt x="240428" y="54227"/>
                  </a:cubicBezTo>
                  <a:cubicBezTo>
                    <a:pt x="241000" y="54362"/>
                    <a:pt x="241606" y="54664"/>
                    <a:pt x="242751" y="54664"/>
                  </a:cubicBezTo>
                  <a:cubicBezTo>
                    <a:pt x="243895" y="54664"/>
                    <a:pt x="244063" y="53655"/>
                    <a:pt x="244063" y="53655"/>
                  </a:cubicBezTo>
                  <a:cubicBezTo>
                    <a:pt x="244063" y="53655"/>
                    <a:pt x="244500" y="50897"/>
                    <a:pt x="244635" y="49316"/>
                  </a:cubicBezTo>
                  <a:cubicBezTo>
                    <a:pt x="244770" y="47735"/>
                    <a:pt x="244635" y="46288"/>
                    <a:pt x="244635" y="46288"/>
                  </a:cubicBezTo>
                  <a:lnTo>
                    <a:pt x="243625" y="42958"/>
                  </a:lnTo>
                  <a:lnTo>
                    <a:pt x="242481" y="39325"/>
                  </a:lnTo>
                  <a:lnTo>
                    <a:pt x="239722" y="36566"/>
                  </a:lnTo>
                  <a:cubicBezTo>
                    <a:pt x="239722" y="36566"/>
                    <a:pt x="237265" y="36129"/>
                    <a:pt x="236390" y="36566"/>
                  </a:cubicBezTo>
                  <a:cubicBezTo>
                    <a:pt x="235515" y="37004"/>
                    <a:pt x="234774" y="36701"/>
                    <a:pt x="234774" y="36701"/>
                  </a:cubicBezTo>
                  <a:lnTo>
                    <a:pt x="232587" y="38013"/>
                  </a:lnTo>
                  <a:lnTo>
                    <a:pt x="232587" y="30612"/>
                  </a:lnTo>
                  <a:cubicBezTo>
                    <a:pt x="232587" y="30612"/>
                    <a:pt x="231947" y="27585"/>
                    <a:pt x="231510" y="26979"/>
                  </a:cubicBezTo>
                  <a:cubicBezTo>
                    <a:pt x="231072" y="26407"/>
                    <a:pt x="231745" y="22337"/>
                    <a:pt x="231745" y="22337"/>
                  </a:cubicBezTo>
                  <a:lnTo>
                    <a:pt x="230635" y="17694"/>
                  </a:lnTo>
                  <a:lnTo>
                    <a:pt x="228851" y="14936"/>
                  </a:lnTo>
                  <a:lnTo>
                    <a:pt x="230467" y="11034"/>
                  </a:lnTo>
                  <a:cubicBezTo>
                    <a:pt x="230467" y="11034"/>
                    <a:pt x="230870" y="8141"/>
                    <a:pt x="230433" y="7569"/>
                  </a:cubicBezTo>
                  <a:cubicBezTo>
                    <a:pt x="229995" y="6997"/>
                    <a:pt x="230567" y="4373"/>
                    <a:pt x="230433" y="3936"/>
                  </a:cubicBezTo>
                  <a:cubicBezTo>
                    <a:pt x="230298" y="3498"/>
                    <a:pt x="229726" y="740"/>
                    <a:pt x="229726" y="740"/>
                  </a:cubicBezTo>
                  <a:lnTo>
                    <a:pt x="225654" y="0"/>
                  </a:lnTo>
                  <a:cubicBezTo>
                    <a:pt x="225654" y="0"/>
                    <a:pt x="223466" y="2456"/>
                    <a:pt x="222187" y="3465"/>
                  </a:cubicBezTo>
                  <a:cubicBezTo>
                    <a:pt x="220875" y="4474"/>
                    <a:pt x="216096" y="4037"/>
                    <a:pt x="216096" y="4037"/>
                  </a:cubicBezTo>
                  <a:lnTo>
                    <a:pt x="211014" y="4037"/>
                  </a:lnTo>
                  <a:cubicBezTo>
                    <a:pt x="211014" y="4037"/>
                    <a:pt x="209129" y="4609"/>
                    <a:pt x="208692" y="4911"/>
                  </a:cubicBezTo>
                  <a:cubicBezTo>
                    <a:pt x="208255" y="5214"/>
                    <a:pt x="206942" y="5921"/>
                    <a:pt x="205495" y="6930"/>
                  </a:cubicBezTo>
                  <a:cubicBezTo>
                    <a:pt x="204048" y="7939"/>
                    <a:pt x="203038" y="8376"/>
                    <a:pt x="201860" y="8242"/>
                  </a:cubicBezTo>
                  <a:cubicBezTo>
                    <a:pt x="200716" y="8107"/>
                    <a:pt x="199100" y="9554"/>
                    <a:pt x="196946" y="9554"/>
                  </a:cubicBezTo>
                  <a:cubicBezTo>
                    <a:pt x="194793" y="9554"/>
                    <a:pt x="194490" y="9688"/>
                    <a:pt x="193615" y="9554"/>
                  </a:cubicBezTo>
                  <a:cubicBezTo>
                    <a:pt x="192740" y="9419"/>
                    <a:pt x="191158" y="8242"/>
                    <a:pt x="190552" y="8242"/>
                  </a:cubicBezTo>
                  <a:cubicBezTo>
                    <a:pt x="189980" y="8242"/>
                    <a:pt x="187793" y="11707"/>
                    <a:pt x="187793" y="11707"/>
                  </a:cubicBezTo>
                  <a:lnTo>
                    <a:pt x="184461" y="16618"/>
                  </a:lnTo>
                  <a:cubicBezTo>
                    <a:pt x="184461" y="16618"/>
                    <a:pt x="183754" y="19208"/>
                    <a:pt x="183754" y="19814"/>
                  </a:cubicBezTo>
                  <a:cubicBezTo>
                    <a:pt x="183754" y="20386"/>
                    <a:pt x="183014" y="25768"/>
                    <a:pt x="183014" y="25768"/>
                  </a:cubicBezTo>
                  <a:lnTo>
                    <a:pt x="180691" y="27786"/>
                  </a:lnTo>
                  <a:lnTo>
                    <a:pt x="176787" y="30108"/>
                  </a:lnTo>
                  <a:cubicBezTo>
                    <a:pt x="176787" y="30108"/>
                    <a:pt x="173321" y="32294"/>
                    <a:pt x="172715" y="32731"/>
                  </a:cubicBezTo>
                  <a:cubicBezTo>
                    <a:pt x="172143" y="33169"/>
                    <a:pt x="169956" y="35052"/>
                    <a:pt x="169249" y="35490"/>
                  </a:cubicBezTo>
                  <a:cubicBezTo>
                    <a:pt x="168509" y="35927"/>
                    <a:pt x="167364" y="37374"/>
                    <a:pt x="167364" y="37945"/>
                  </a:cubicBezTo>
                  <a:cubicBezTo>
                    <a:pt x="167364" y="38517"/>
                    <a:pt x="165177" y="42285"/>
                    <a:pt x="165042" y="42722"/>
                  </a:cubicBezTo>
                  <a:cubicBezTo>
                    <a:pt x="164907" y="43160"/>
                    <a:pt x="162720" y="45918"/>
                    <a:pt x="162720" y="45918"/>
                  </a:cubicBezTo>
                  <a:cubicBezTo>
                    <a:pt x="162720" y="45918"/>
                    <a:pt x="159388" y="49383"/>
                    <a:pt x="158244" y="50695"/>
                  </a:cubicBezTo>
                  <a:cubicBezTo>
                    <a:pt x="157100" y="52007"/>
                    <a:pt x="153162" y="55472"/>
                    <a:pt x="153027" y="56044"/>
                  </a:cubicBezTo>
                  <a:cubicBezTo>
                    <a:pt x="152893" y="56616"/>
                    <a:pt x="149830" y="64453"/>
                    <a:pt x="149830" y="65025"/>
                  </a:cubicBezTo>
                  <a:cubicBezTo>
                    <a:pt x="149830" y="65597"/>
                    <a:pt x="147205" y="74445"/>
                    <a:pt x="147070" y="74882"/>
                  </a:cubicBezTo>
                  <a:cubicBezTo>
                    <a:pt x="146936" y="75319"/>
                    <a:pt x="143604" y="79659"/>
                    <a:pt x="143167" y="80096"/>
                  </a:cubicBezTo>
                  <a:cubicBezTo>
                    <a:pt x="142729" y="80533"/>
                    <a:pt x="142157" y="93552"/>
                    <a:pt x="142157" y="93552"/>
                  </a:cubicBezTo>
                  <a:cubicBezTo>
                    <a:pt x="142157" y="93552"/>
                    <a:pt x="142157" y="97891"/>
                    <a:pt x="142157" y="99338"/>
                  </a:cubicBezTo>
                  <a:cubicBezTo>
                    <a:pt x="142157" y="100784"/>
                    <a:pt x="144849" y="102668"/>
                    <a:pt x="145287" y="102971"/>
                  </a:cubicBezTo>
                  <a:cubicBezTo>
                    <a:pt x="145724" y="103274"/>
                    <a:pt x="145792" y="105864"/>
                    <a:pt x="145926" y="107176"/>
                  </a:cubicBezTo>
                  <a:cubicBezTo>
                    <a:pt x="146061" y="108488"/>
                    <a:pt x="144479" y="110943"/>
                    <a:pt x="144479" y="110943"/>
                  </a:cubicBezTo>
                  <a:lnTo>
                    <a:pt x="143739" y="116730"/>
                  </a:lnTo>
                  <a:lnTo>
                    <a:pt x="144479" y="120766"/>
                  </a:lnTo>
                  <a:cubicBezTo>
                    <a:pt x="144479" y="120766"/>
                    <a:pt x="140138" y="124231"/>
                    <a:pt x="139565" y="125106"/>
                  </a:cubicBezTo>
                  <a:cubicBezTo>
                    <a:pt x="138993" y="125980"/>
                    <a:pt x="136099" y="127730"/>
                    <a:pt x="136099" y="127730"/>
                  </a:cubicBezTo>
                  <a:cubicBezTo>
                    <a:pt x="136099" y="127730"/>
                    <a:pt x="133205" y="133247"/>
                    <a:pt x="133205" y="134088"/>
                  </a:cubicBezTo>
                  <a:cubicBezTo>
                    <a:pt x="133205" y="134962"/>
                    <a:pt x="133508" y="138999"/>
                    <a:pt x="133508" y="138999"/>
                  </a:cubicBezTo>
                  <a:lnTo>
                    <a:pt x="134955" y="144213"/>
                  </a:lnTo>
                  <a:lnTo>
                    <a:pt x="139296" y="149999"/>
                  </a:lnTo>
                  <a:cubicBezTo>
                    <a:pt x="139296" y="149999"/>
                    <a:pt x="141921" y="156088"/>
                    <a:pt x="142763" y="157232"/>
                  </a:cubicBezTo>
                  <a:cubicBezTo>
                    <a:pt x="143638" y="158375"/>
                    <a:pt x="143065" y="165339"/>
                    <a:pt x="142763" y="166516"/>
                  </a:cubicBezTo>
                  <a:cubicBezTo>
                    <a:pt x="142460" y="167660"/>
                    <a:pt x="138690" y="171158"/>
                    <a:pt x="138690" y="171158"/>
                  </a:cubicBezTo>
                  <a:lnTo>
                    <a:pt x="127113" y="177516"/>
                  </a:lnTo>
                  <a:cubicBezTo>
                    <a:pt x="127113" y="177516"/>
                    <a:pt x="122334" y="177685"/>
                    <a:pt x="122099" y="177550"/>
                  </a:cubicBezTo>
                  <a:cubicBezTo>
                    <a:pt x="121897" y="177415"/>
                    <a:pt x="119339" y="177853"/>
                    <a:pt x="117757" y="178122"/>
                  </a:cubicBezTo>
                  <a:cubicBezTo>
                    <a:pt x="116175" y="178425"/>
                    <a:pt x="115873" y="180578"/>
                    <a:pt x="115805" y="180880"/>
                  </a:cubicBezTo>
                  <a:cubicBezTo>
                    <a:pt x="115738" y="181183"/>
                    <a:pt x="117690" y="183202"/>
                    <a:pt x="117892" y="183403"/>
                  </a:cubicBezTo>
                  <a:cubicBezTo>
                    <a:pt x="118094" y="183605"/>
                    <a:pt x="122671" y="184043"/>
                    <a:pt x="123176" y="184143"/>
                  </a:cubicBezTo>
                  <a:cubicBezTo>
                    <a:pt x="123681" y="184211"/>
                    <a:pt x="121358" y="187844"/>
                    <a:pt x="120921" y="187911"/>
                  </a:cubicBezTo>
                  <a:cubicBezTo>
                    <a:pt x="120483" y="187978"/>
                    <a:pt x="116344" y="188550"/>
                    <a:pt x="116344" y="188550"/>
                  </a:cubicBezTo>
                  <a:cubicBezTo>
                    <a:pt x="116344" y="188550"/>
                    <a:pt x="115200" y="186734"/>
                    <a:pt x="108872" y="186532"/>
                  </a:cubicBezTo>
                  <a:cubicBezTo>
                    <a:pt x="102579" y="186296"/>
                    <a:pt x="104733" y="186532"/>
                    <a:pt x="104733" y="186532"/>
                  </a:cubicBezTo>
                  <a:lnTo>
                    <a:pt x="102983" y="186532"/>
                  </a:lnTo>
                  <a:lnTo>
                    <a:pt x="93190" y="186532"/>
                  </a:lnTo>
                  <a:lnTo>
                    <a:pt x="88175" y="187844"/>
                  </a:lnTo>
                  <a:lnTo>
                    <a:pt x="81007" y="192621"/>
                  </a:lnTo>
                  <a:cubicBezTo>
                    <a:pt x="81007" y="192621"/>
                    <a:pt x="72526" y="195446"/>
                    <a:pt x="71651" y="195446"/>
                  </a:cubicBezTo>
                  <a:cubicBezTo>
                    <a:pt x="70775" y="195446"/>
                    <a:pt x="67309" y="198070"/>
                    <a:pt x="67309" y="198070"/>
                  </a:cubicBezTo>
                  <a:lnTo>
                    <a:pt x="57078" y="200660"/>
                  </a:lnTo>
                  <a:cubicBezTo>
                    <a:pt x="57078" y="200660"/>
                    <a:pt x="54049" y="202410"/>
                    <a:pt x="52064" y="202847"/>
                  </a:cubicBezTo>
                  <a:cubicBezTo>
                    <a:pt x="50112" y="203284"/>
                    <a:pt x="41833" y="203049"/>
                    <a:pt x="40991" y="203049"/>
                  </a:cubicBezTo>
                  <a:cubicBezTo>
                    <a:pt x="40116" y="203049"/>
                    <a:pt x="30996" y="200660"/>
                    <a:pt x="30996" y="200660"/>
                  </a:cubicBezTo>
                  <a:lnTo>
                    <a:pt x="28371" y="203486"/>
                  </a:lnTo>
                  <a:lnTo>
                    <a:pt x="19250" y="205875"/>
                  </a:lnTo>
                  <a:lnTo>
                    <a:pt x="10769" y="209138"/>
                  </a:lnTo>
                  <a:cubicBezTo>
                    <a:pt x="10769" y="209138"/>
                    <a:pt x="8817" y="209138"/>
                    <a:pt x="7942" y="209138"/>
                  </a:cubicBezTo>
                  <a:cubicBezTo>
                    <a:pt x="7067" y="209138"/>
                    <a:pt x="4442" y="211896"/>
                    <a:pt x="4442" y="211896"/>
                  </a:cubicBezTo>
                  <a:lnTo>
                    <a:pt x="707" y="213343"/>
                  </a:lnTo>
                  <a:lnTo>
                    <a:pt x="0" y="214890"/>
                  </a:lnTo>
                  <a:cubicBezTo>
                    <a:pt x="808" y="215327"/>
                    <a:pt x="2457" y="216202"/>
                    <a:pt x="3264" y="216538"/>
                  </a:cubicBezTo>
                  <a:cubicBezTo>
                    <a:pt x="4341" y="216976"/>
                    <a:pt x="6428" y="216673"/>
                    <a:pt x="7303" y="216538"/>
                  </a:cubicBezTo>
                  <a:cubicBezTo>
                    <a:pt x="8178" y="216437"/>
                    <a:pt x="12082" y="217312"/>
                    <a:pt x="13495" y="217850"/>
                  </a:cubicBezTo>
                  <a:cubicBezTo>
                    <a:pt x="14909" y="218388"/>
                    <a:pt x="18813" y="217749"/>
                    <a:pt x="19250" y="217850"/>
                  </a:cubicBezTo>
                  <a:cubicBezTo>
                    <a:pt x="19688" y="217951"/>
                    <a:pt x="26419" y="217850"/>
                    <a:pt x="26419" y="217850"/>
                  </a:cubicBezTo>
                  <a:lnTo>
                    <a:pt x="31635" y="217850"/>
                  </a:lnTo>
                  <a:lnTo>
                    <a:pt x="38602" y="217850"/>
                  </a:lnTo>
                  <a:lnTo>
                    <a:pt x="42068" y="217850"/>
                  </a:lnTo>
                  <a:cubicBezTo>
                    <a:pt x="42068" y="217850"/>
                    <a:pt x="43280" y="217850"/>
                    <a:pt x="44256" y="217850"/>
                  </a:cubicBezTo>
                  <a:cubicBezTo>
                    <a:pt x="45232" y="217850"/>
                    <a:pt x="45770" y="218725"/>
                    <a:pt x="45770" y="218725"/>
                  </a:cubicBezTo>
                  <a:lnTo>
                    <a:pt x="46410" y="220474"/>
                  </a:lnTo>
                  <a:cubicBezTo>
                    <a:pt x="46410" y="220474"/>
                    <a:pt x="46410" y="222863"/>
                    <a:pt x="46410" y="223300"/>
                  </a:cubicBezTo>
                  <a:cubicBezTo>
                    <a:pt x="46410" y="223737"/>
                    <a:pt x="45905" y="224948"/>
                    <a:pt x="45905" y="225251"/>
                  </a:cubicBezTo>
                  <a:cubicBezTo>
                    <a:pt x="45905" y="225587"/>
                    <a:pt x="44861" y="226563"/>
                    <a:pt x="44861" y="226563"/>
                  </a:cubicBezTo>
                  <a:lnTo>
                    <a:pt x="42035" y="227875"/>
                  </a:lnTo>
                  <a:lnTo>
                    <a:pt x="40284" y="228850"/>
                  </a:lnTo>
                  <a:lnTo>
                    <a:pt x="38534" y="230028"/>
                  </a:lnTo>
                  <a:lnTo>
                    <a:pt x="35068" y="230028"/>
                  </a:lnTo>
                  <a:lnTo>
                    <a:pt x="31366" y="230028"/>
                  </a:lnTo>
                  <a:lnTo>
                    <a:pt x="29852" y="231104"/>
                  </a:lnTo>
                  <a:lnTo>
                    <a:pt x="27260" y="232618"/>
                  </a:lnTo>
                  <a:lnTo>
                    <a:pt x="27260" y="234132"/>
                  </a:lnTo>
                  <a:lnTo>
                    <a:pt x="27799" y="235982"/>
                  </a:lnTo>
                  <a:lnTo>
                    <a:pt x="29751" y="238707"/>
                  </a:lnTo>
                  <a:lnTo>
                    <a:pt x="33924" y="239682"/>
                  </a:lnTo>
                  <a:cubicBezTo>
                    <a:pt x="33924" y="239682"/>
                    <a:pt x="35304" y="239783"/>
                    <a:pt x="35606" y="239716"/>
                  </a:cubicBezTo>
                  <a:cubicBezTo>
                    <a:pt x="35876" y="239649"/>
                    <a:pt x="37188" y="239716"/>
                    <a:pt x="37188" y="239716"/>
                  </a:cubicBezTo>
                  <a:lnTo>
                    <a:pt x="40318" y="240422"/>
                  </a:lnTo>
                  <a:lnTo>
                    <a:pt x="43650" y="240422"/>
                  </a:lnTo>
                  <a:lnTo>
                    <a:pt x="46612" y="240490"/>
                  </a:lnTo>
                  <a:lnTo>
                    <a:pt x="48126" y="241297"/>
                  </a:lnTo>
                  <a:lnTo>
                    <a:pt x="48126" y="244123"/>
                  </a:lnTo>
                  <a:lnTo>
                    <a:pt x="48833" y="248025"/>
                  </a:lnTo>
                  <a:cubicBezTo>
                    <a:pt x="48833" y="248025"/>
                    <a:pt x="49068" y="250649"/>
                    <a:pt x="49169" y="250918"/>
                  </a:cubicBezTo>
                  <a:cubicBezTo>
                    <a:pt x="49237" y="251221"/>
                    <a:pt x="50751" y="252869"/>
                    <a:pt x="51559" y="253609"/>
                  </a:cubicBezTo>
                  <a:cubicBezTo>
                    <a:pt x="52367" y="254349"/>
                    <a:pt x="54016" y="255594"/>
                    <a:pt x="54016" y="255594"/>
                  </a:cubicBezTo>
                  <a:cubicBezTo>
                    <a:pt x="54016" y="255594"/>
                    <a:pt x="54453" y="256940"/>
                    <a:pt x="54453" y="257242"/>
                  </a:cubicBezTo>
                  <a:cubicBezTo>
                    <a:pt x="54453" y="257545"/>
                    <a:pt x="54016" y="258554"/>
                    <a:pt x="54016" y="258554"/>
                  </a:cubicBezTo>
                  <a:lnTo>
                    <a:pt x="55968" y="260640"/>
                  </a:lnTo>
                  <a:lnTo>
                    <a:pt x="57717" y="261514"/>
                  </a:lnTo>
                  <a:lnTo>
                    <a:pt x="63136" y="261750"/>
                  </a:lnTo>
                  <a:lnTo>
                    <a:pt x="65761" y="262725"/>
                  </a:lnTo>
                  <a:lnTo>
                    <a:pt x="67713" y="264677"/>
                  </a:lnTo>
                  <a:lnTo>
                    <a:pt x="70001" y="267401"/>
                  </a:lnTo>
                  <a:lnTo>
                    <a:pt x="71314" y="269689"/>
                  </a:lnTo>
                  <a:lnTo>
                    <a:pt x="73064" y="272952"/>
                  </a:lnTo>
                  <a:lnTo>
                    <a:pt x="74242" y="276753"/>
                  </a:lnTo>
                  <a:lnTo>
                    <a:pt x="75352" y="278402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41" name="Freeform 907">
              <a:extLst>
                <a:ext uri="{FF2B5EF4-FFF2-40B4-BE49-F238E27FC236}">
                  <a16:creationId xmlns:a16="http://schemas.microsoft.com/office/drawing/2014/main" id="{2D5836F5-9F5F-65EC-324F-BE77DB87201F}"/>
                </a:ext>
              </a:extLst>
            </p:cNvPr>
            <p:cNvSpPr/>
            <p:nvPr/>
          </p:nvSpPr>
          <p:spPr>
            <a:xfrm>
              <a:off x="6965407" y="2330299"/>
              <a:ext cx="721805" cy="631318"/>
            </a:xfrm>
            <a:custGeom>
              <a:avLst/>
              <a:gdLst>
                <a:gd name="connsiteX0" fmla="*/ 1385526 w 1385794"/>
                <a:gd name="connsiteY0" fmla="*/ 829621 h 1212067"/>
                <a:gd name="connsiteX1" fmla="*/ 1384752 w 1385794"/>
                <a:gd name="connsiteY1" fmla="*/ 827569 h 1212067"/>
                <a:gd name="connsiteX2" fmla="*/ 1382362 w 1385794"/>
                <a:gd name="connsiteY2" fmla="*/ 824306 h 1212067"/>
                <a:gd name="connsiteX3" fmla="*/ 1382463 w 1385794"/>
                <a:gd name="connsiteY3" fmla="*/ 820841 h 1212067"/>
                <a:gd name="connsiteX4" fmla="*/ 1382261 w 1385794"/>
                <a:gd name="connsiteY4" fmla="*/ 817241 h 1212067"/>
                <a:gd name="connsiteX5" fmla="*/ 1380915 w 1385794"/>
                <a:gd name="connsiteY5" fmla="*/ 810749 h 1212067"/>
                <a:gd name="connsiteX6" fmla="*/ 1379400 w 1385794"/>
                <a:gd name="connsiteY6" fmla="*/ 809100 h 1212067"/>
                <a:gd name="connsiteX7" fmla="*/ 1377819 w 1385794"/>
                <a:gd name="connsiteY7" fmla="*/ 806914 h 1212067"/>
                <a:gd name="connsiteX8" fmla="*/ 1378189 w 1385794"/>
                <a:gd name="connsiteY8" fmla="*/ 804727 h 1212067"/>
                <a:gd name="connsiteX9" fmla="*/ 1378828 w 1385794"/>
                <a:gd name="connsiteY9" fmla="*/ 803281 h 1212067"/>
                <a:gd name="connsiteX10" fmla="*/ 1380208 w 1385794"/>
                <a:gd name="connsiteY10" fmla="*/ 801633 h 1212067"/>
                <a:gd name="connsiteX11" fmla="*/ 1382093 w 1385794"/>
                <a:gd name="connsiteY11" fmla="*/ 800993 h 1212067"/>
                <a:gd name="connsiteX12" fmla="*/ 1383405 w 1385794"/>
                <a:gd name="connsiteY12" fmla="*/ 799177 h 1212067"/>
                <a:gd name="connsiteX13" fmla="*/ 1383978 w 1385794"/>
                <a:gd name="connsiteY13" fmla="*/ 797730 h 1212067"/>
                <a:gd name="connsiteX14" fmla="*/ 1384112 w 1385794"/>
                <a:gd name="connsiteY14" fmla="*/ 795846 h 1212067"/>
                <a:gd name="connsiteX15" fmla="*/ 1384112 w 1385794"/>
                <a:gd name="connsiteY15" fmla="*/ 793593 h 1212067"/>
                <a:gd name="connsiteX16" fmla="*/ 1383641 w 1385794"/>
                <a:gd name="connsiteY16" fmla="*/ 790128 h 1212067"/>
                <a:gd name="connsiteX17" fmla="*/ 1383102 w 1385794"/>
                <a:gd name="connsiteY17" fmla="*/ 789051 h 1212067"/>
                <a:gd name="connsiteX18" fmla="*/ 1379838 w 1385794"/>
                <a:gd name="connsiteY18" fmla="*/ 785923 h 1212067"/>
                <a:gd name="connsiteX19" fmla="*/ 1377381 w 1385794"/>
                <a:gd name="connsiteY19" fmla="*/ 783972 h 1212067"/>
                <a:gd name="connsiteX20" fmla="*/ 1374184 w 1385794"/>
                <a:gd name="connsiteY20" fmla="*/ 783030 h 1212067"/>
                <a:gd name="connsiteX21" fmla="*/ 1368665 w 1385794"/>
                <a:gd name="connsiteY21" fmla="*/ 782323 h 1212067"/>
                <a:gd name="connsiteX22" fmla="*/ 1366578 w 1385794"/>
                <a:gd name="connsiteY22" fmla="*/ 782895 h 1212067"/>
                <a:gd name="connsiteX23" fmla="*/ 1363381 w 1385794"/>
                <a:gd name="connsiteY23" fmla="*/ 783333 h 1212067"/>
                <a:gd name="connsiteX24" fmla="*/ 1360621 w 1385794"/>
                <a:gd name="connsiteY24" fmla="*/ 782256 h 1212067"/>
                <a:gd name="connsiteX25" fmla="*/ 1358770 w 1385794"/>
                <a:gd name="connsiteY25" fmla="*/ 778858 h 1212067"/>
                <a:gd name="connsiteX26" fmla="*/ 1354025 w 1385794"/>
                <a:gd name="connsiteY26" fmla="*/ 775864 h 1212067"/>
                <a:gd name="connsiteX27" fmla="*/ 1351837 w 1385794"/>
                <a:gd name="connsiteY27" fmla="*/ 773947 h 1212067"/>
                <a:gd name="connsiteX28" fmla="*/ 1349616 w 1385794"/>
                <a:gd name="connsiteY28" fmla="*/ 771761 h 1212067"/>
                <a:gd name="connsiteX29" fmla="*/ 1347429 w 1385794"/>
                <a:gd name="connsiteY29" fmla="*/ 769406 h 1212067"/>
                <a:gd name="connsiteX30" fmla="*/ 1346082 w 1385794"/>
                <a:gd name="connsiteY30" fmla="*/ 767791 h 1212067"/>
                <a:gd name="connsiteX31" fmla="*/ 1343895 w 1385794"/>
                <a:gd name="connsiteY31" fmla="*/ 765840 h 1212067"/>
                <a:gd name="connsiteX32" fmla="*/ 1341337 w 1385794"/>
                <a:gd name="connsiteY32" fmla="*/ 764932 h 1212067"/>
                <a:gd name="connsiteX33" fmla="*/ 1339015 w 1385794"/>
                <a:gd name="connsiteY33" fmla="*/ 764999 h 1212067"/>
                <a:gd name="connsiteX34" fmla="*/ 1337601 w 1385794"/>
                <a:gd name="connsiteY34" fmla="*/ 766681 h 1212067"/>
                <a:gd name="connsiteX35" fmla="*/ 1336626 w 1385794"/>
                <a:gd name="connsiteY35" fmla="*/ 767657 h 1212067"/>
                <a:gd name="connsiteX36" fmla="*/ 1335649 w 1385794"/>
                <a:gd name="connsiteY36" fmla="*/ 770112 h 1212067"/>
                <a:gd name="connsiteX37" fmla="*/ 1333731 w 1385794"/>
                <a:gd name="connsiteY37" fmla="*/ 770482 h 1212067"/>
                <a:gd name="connsiteX38" fmla="*/ 1331443 w 1385794"/>
                <a:gd name="connsiteY38" fmla="*/ 767152 h 1212067"/>
                <a:gd name="connsiteX39" fmla="*/ 1329120 w 1385794"/>
                <a:gd name="connsiteY39" fmla="*/ 764831 h 1212067"/>
                <a:gd name="connsiteX40" fmla="*/ 1324476 w 1385794"/>
                <a:gd name="connsiteY40" fmla="*/ 760491 h 1212067"/>
                <a:gd name="connsiteX41" fmla="*/ 1321851 w 1385794"/>
                <a:gd name="connsiteY41" fmla="*/ 757464 h 1212067"/>
                <a:gd name="connsiteX42" fmla="*/ 1320976 w 1385794"/>
                <a:gd name="connsiteY42" fmla="*/ 758473 h 1212067"/>
                <a:gd name="connsiteX43" fmla="*/ 1318788 w 1385794"/>
                <a:gd name="connsiteY43" fmla="*/ 759785 h 1212067"/>
                <a:gd name="connsiteX44" fmla="*/ 1315591 w 1385794"/>
                <a:gd name="connsiteY44" fmla="*/ 755580 h 1212067"/>
                <a:gd name="connsiteX45" fmla="*/ 1316534 w 1385794"/>
                <a:gd name="connsiteY45" fmla="*/ 751880 h 1212067"/>
                <a:gd name="connsiteX46" fmla="*/ 1314716 w 1385794"/>
                <a:gd name="connsiteY46" fmla="*/ 747742 h 1212067"/>
                <a:gd name="connsiteX47" fmla="*/ 1313404 w 1385794"/>
                <a:gd name="connsiteY47" fmla="*/ 745152 h 1212067"/>
                <a:gd name="connsiteX48" fmla="*/ 1311082 w 1385794"/>
                <a:gd name="connsiteY48" fmla="*/ 741889 h 1212067"/>
                <a:gd name="connsiteX49" fmla="*/ 1308625 w 1385794"/>
                <a:gd name="connsiteY49" fmla="*/ 739803 h 1212067"/>
                <a:gd name="connsiteX50" fmla="*/ 1304485 w 1385794"/>
                <a:gd name="connsiteY50" fmla="*/ 737919 h 1212067"/>
                <a:gd name="connsiteX51" fmla="*/ 1299908 w 1385794"/>
                <a:gd name="connsiteY51" fmla="*/ 736674 h 1212067"/>
                <a:gd name="connsiteX52" fmla="*/ 1298831 w 1385794"/>
                <a:gd name="connsiteY52" fmla="*/ 737482 h 1212067"/>
                <a:gd name="connsiteX53" fmla="*/ 1297384 w 1385794"/>
                <a:gd name="connsiteY53" fmla="*/ 738054 h 1212067"/>
                <a:gd name="connsiteX54" fmla="*/ 1295432 w 1385794"/>
                <a:gd name="connsiteY54" fmla="*/ 737852 h 1212067"/>
                <a:gd name="connsiteX55" fmla="*/ 1294288 w 1385794"/>
                <a:gd name="connsiteY55" fmla="*/ 736405 h 1212067"/>
                <a:gd name="connsiteX56" fmla="*/ 1289879 w 1385794"/>
                <a:gd name="connsiteY56" fmla="*/ 733378 h 1212067"/>
                <a:gd name="connsiteX57" fmla="*/ 1289240 w 1385794"/>
                <a:gd name="connsiteY57" fmla="*/ 733950 h 1212067"/>
                <a:gd name="connsiteX58" fmla="*/ 1287793 w 1385794"/>
                <a:gd name="connsiteY58" fmla="*/ 735833 h 1212067"/>
                <a:gd name="connsiteX59" fmla="*/ 1286648 w 1385794"/>
                <a:gd name="connsiteY59" fmla="*/ 738222 h 1212067"/>
                <a:gd name="connsiteX60" fmla="*/ 1281869 w 1385794"/>
                <a:gd name="connsiteY60" fmla="*/ 739803 h 1212067"/>
                <a:gd name="connsiteX61" fmla="*/ 1278100 w 1385794"/>
                <a:gd name="connsiteY61" fmla="*/ 738794 h 1212067"/>
                <a:gd name="connsiteX62" fmla="*/ 1277797 w 1385794"/>
                <a:gd name="connsiteY62" fmla="*/ 734723 h 1212067"/>
                <a:gd name="connsiteX63" fmla="*/ 1277360 w 1385794"/>
                <a:gd name="connsiteY63" fmla="*/ 731830 h 1212067"/>
                <a:gd name="connsiteX64" fmla="*/ 1274970 w 1385794"/>
                <a:gd name="connsiteY64" fmla="*/ 730888 h 1212067"/>
                <a:gd name="connsiteX65" fmla="*/ 1274499 w 1385794"/>
                <a:gd name="connsiteY65" fmla="*/ 730754 h 1212067"/>
                <a:gd name="connsiteX66" fmla="*/ 1273590 w 1385794"/>
                <a:gd name="connsiteY66" fmla="*/ 727188 h 1212067"/>
                <a:gd name="connsiteX67" fmla="*/ 1270057 w 1385794"/>
                <a:gd name="connsiteY67" fmla="*/ 727188 h 1212067"/>
                <a:gd name="connsiteX68" fmla="*/ 1268811 w 1385794"/>
                <a:gd name="connsiteY68" fmla="*/ 727895 h 1212067"/>
                <a:gd name="connsiteX69" fmla="*/ 1264672 w 1385794"/>
                <a:gd name="connsiteY69" fmla="*/ 728803 h 1212067"/>
                <a:gd name="connsiteX70" fmla="*/ 1260465 w 1385794"/>
                <a:gd name="connsiteY70" fmla="*/ 728130 h 1212067"/>
                <a:gd name="connsiteX71" fmla="*/ 1258143 w 1385794"/>
                <a:gd name="connsiteY71" fmla="*/ 726751 h 1212067"/>
                <a:gd name="connsiteX72" fmla="*/ 1257201 w 1385794"/>
                <a:gd name="connsiteY72" fmla="*/ 725237 h 1212067"/>
                <a:gd name="connsiteX73" fmla="*/ 1256830 w 1385794"/>
                <a:gd name="connsiteY73" fmla="*/ 722277 h 1212067"/>
                <a:gd name="connsiteX74" fmla="*/ 1257638 w 1385794"/>
                <a:gd name="connsiteY74" fmla="*/ 720393 h 1212067"/>
                <a:gd name="connsiteX75" fmla="*/ 1258076 w 1385794"/>
                <a:gd name="connsiteY75" fmla="*/ 717769 h 1212067"/>
                <a:gd name="connsiteX76" fmla="*/ 1258782 w 1385794"/>
                <a:gd name="connsiteY76" fmla="*/ 714136 h 1212067"/>
                <a:gd name="connsiteX77" fmla="*/ 1258782 w 1385794"/>
                <a:gd name="connsiteY77" fmla="*/ 711747 h 1212067"/>
                <a:gd name="connsiteX78" fmla="*/ 1258446 w 1385794"/>
                <a:gd name="connsiteY78" fmla="*/ 708047 h 1212067"/>
                <a:gd name="connsiteX79" fmla="*/ 1258749 w 1385794"/>
                <a:gd name="connsiteY79" fmla="*/ 706701 h 1212067"/>
                <a:gd name="connsiteX80" fmla="*/ 1258581 w 1385794"/>
                <a:gd name="connsiteY80" fmla="*/ 706701 h 1212067"/>
                <a:gd name="connsiteX81" fmla="*/ 1253129 w 1385794"/>
                <a:gd name="connsiteY81" fmla="*/ 703775 h 1212067"/>
                <a:gd name="connsiteX82" fmla="*/ 1251143 w 1385794"/>
                <a:gd name="connsiteY82" fmla="*/ 701824 h 1212067"/>
                <a:gd name="connsiteX83" fmla="*/ 1247609 w 1385794"/>
                <a:gd name="connsiteY83" fmla="*/ 699705 h 1212067"/>
                <a:gd name="connsiteX84" fmla="*/ 1241686 w 1385794"/>
                <a:gd name="connsiteY84" fmla="*/ 697518 h 1212067"/>
                <a:gd name="connsiteX85" fmla="*/ 1237816 w 1385794"/>
                <a:gd name="connsiteY85" fmla="*/ 697888 h 1212067"/>
                <a:gd name="connsiteX86" fmla="*/ 1234955 w 1385794"/>
                <a:gd name="connsiteY86" fmla="*/ 700075 h 1212067"/>
                <a:gd name="connsiteX87" fmla="*/ 1232767 w 1385794"/>
                <a:gd name="connsiteY87" fmla="*/ 701925 h 1212067"/>
                <a:gd name="connsiteX88" fmla="*/ 1230344 w 1385794"/>
                <a:gd name="connsiteY88" fmla="*/ 702799 h 1212067"/>
                <a:gd name="connsiteX89" fmla="*/ 1227013 w 1385794"/>
                <a:gd name="connsiteY89" fmla="*/ 699368 h 1212067"/>
                <a:gd name="connsiteX90" fmla="*/ 1224522 w 1385794"/>
                <a:gd name="connsiteY90" fmla="*/ 698897 h 1212067"/>
                <a:gd name="connsiteX91" fmla="*/ 1221325 w 1385794"/>
                <a:gd name="connsiteY91" fmla="*/ 701555 h 1212067"/>
                <a:gd name="connsiteX92" fmla="*/ 1220887 w 1385794"/>
                <a:gd name="connsiteY92" fmla="*/ 701891 h 1212067"/>
                <a:gd name="connsiteX93" fmla="*/ 1217387 w 1385794"/>
                <a:gd name="connsiteY93" fmla="*/ 697585 h 1212067"/>
                <a:gd name="connsiteX94" fmla="*/ 1214123 w 1385794"/>
                <a:gd name="connsiteY94" fmla="*/ 697114 h 1212067"/>
                <a:gd name="connsiteX95" fmla="*/ 1210219 w 1385794"/>
                <a:gd name="connsiteY95" fmla="*/ 698864 h 1212067"/>
                <a:gd name="connsiteX96" fmla="*/ 1209411 w 1385794"/>
                <a:gd name="connsiteY96" fmla="*/ 700646 h 1212067"/>
                <a:gd name="connsiteX97" fmla="*/ 1207493 w 1385794"/>
                <a:gd name="connsiteY97" fmla="*/ 702261 h 1212067"/>
                <a:gd name="connsiteX98" fmla="*/ 1203589 w 1385794"/>
                <a:gd name="connsiteY98" fmla="*/ 701487 h 1212067"/>
                <a:gd name="connsiteX99" fmla="*/ 1201267 w 1385794"/>
                <a:gd name="connsiteY99" fmla="*/ 701016 h 1212067"/>
                <a:gd name="connsiteX100" fmla="*/ 1199113 w 1385794"/>
                <a:gd name="connsiteY100" fmla="*/ 701185 h 1212067"/>
                <a:gd name="connsiteX101" fmla="*/ 1197935 w 1385794"/>
                <a:gd name="connsiteY101" fmla="*/ 704380 h 1212067"/>
                <a:gd name="connsiteX102" fmla="*/ 1197935 w 1385794"/>
                <a:gd name="connsiteY102" fmla="*/ 708888 h 1212067"/>
                <a:gd name="connsiteX103" fmla="*/ 1197935 w 1385794"/>
                <a:gd name="connsiteY103" fmla="*/ 714102 h 1212067"/>
                <a:gd name="connsiteX104" fmla="*/ 1197295 w 1385794"/>
                <a:gd name="connsiteY104" fmla="*/ 716692 h 1212067"/>
                <a:gd name="connsiteX105" fmla="*/ 1196757 w 1385794"/>
                <a:gd name="connsiteY105" fmla="*/ 719283 h 1212067"/>
                <a:gd name="connsiteX106" fmla="*/ 1193392 w 1385794"/>
                <a:gd name="connsiteY106" fmla="*/ 719821 h 1212067"/>
                <a:gd name="connsiteX107" fmla="*/ 1189791 w 1385794"/>
                <a:gd name="connsiteY107" fmla="*/ 721469 h 1212067"/>
                <a:gd name="connsiteX108" fmla="*/ 1188478 w 1385794"/>
                <a:gd name="connsiteY108" fmla="*/ 724194 h 1212067"/>
                <a:gd name="connsiteX109" fmla="*/ 1190766 w 1385794"/>
                <a:gd name="connsiteY109" fmla="*/ 728971 h 1212067"/>
                <a:gd name="connsiteX110" fmla="*/ 1194132 w 1385794"/>
                <a:gd name="connsiteY110" fmla="*/ 730384 h 1212067"/>
                <a:gd name="connsiteX111" fmla="*/ 1197397 w 1385794"/>
                <a:gd name="connsiteY111" fmla="*/ 731998 h 1212067"/>
                <a:gd name="connsiteX112" fmla="*/ 1198608 w 1385794"/>
                <a:gd name="connsiteY112" fmla="*/ 733748 h 1212067"/>
                <a:gd name="connsiteX113" fmla="*/ 1198709 w 1385794"/>
                <a:gd name="connsiteY113" fmla="*/ 736473 h 1212067"/>
                <a:gd name="connsiteX114" fmla="*/ 1196320 w 1385794"/>
                <a:gd name="connsiteY114" fmla="*/ 737112 h 1212067"/>
                <a:gd name="connsiteX115" fmla="*/ 1195882 w 1385794"/>
                <a:gd name="connsiteY115" fmla="*/ 740913 h 1212067"/>
                <a:gd name="connsiteX116" fmla="*/ 1196656 w 1385794"/>
                <a:gd name="connsiteY116" fmla="*/ 742225 h 1212067"/>
                <a:gd name="connsiteX117" fmla="*/ 1197195 w 1385794"/>
                <a:gd name="connsiteY117" fmla="*/ 744613 h 1212067"/>
                <a:gd name="connsiteX118" fmla="*/ 1193728 w 1385794"/>
                <a:gd name="connsiteY118" fmla="*/ 745152 h 1212067"/>
                <a:gd name="connsiteX119" fmla="*/ 1190666 w 1385794"/>
                <a:gd name="connsiteY119" fmla="*/ 745152 h 1212067"/>
                <a:gd name="connsiteX120" fmla="*/ 1187401 w 1385794"/>
                <a:gd name="connsiteY120" fmla="*/ 745185 h 1212067"/>
                <a:gd name="connsiteX121" fmla="*/ 1185651 w 1385794"/>
                <a:gd name="connsiteY121" fmla="*/ 747338 h 1212067"/>
                <a:gd name="connsiteX122" fmla="*/ 1183699 w 1385794"/>
                <a:gd name="connsiteY122" fmla="*/ 750164 h 1212067"/>
                <a:gd name="connsiteX123" fmla="*/ 1182285 w 1385794"/>
                <a:gd name="connsiteY123" fmla="*/ 753191 h 1212067"/>
                <a:gd name="connsiteX124" fmla="*/ 1182285 w 1385794"/>
                <a:gd name="connsiteY124" fmla="*/ 755815 h 1212067"/>
                <a:gd name="connsiteX125" fmla="*/ 1182285 w 1385794"/>
                <a:gd name="connsiteY125" fmla="*/ 757767 h 1212067"/>
                <a:gd name="connsiteX126" fmla="*/ 1180536 w 1385794"/>
                <a:gd name="connsiteY126" fmla="*/ 760256 h 1212067"/>
                <a:gd name="connsiteX127" fmla="*/ 1178449 w 1385794"/>
                <a:gd name="connsiteY127" fmla="*/ 761568 h 1212067"/>
                <a:gd name="connsiteX128" fmla="*/ 1177574 w 1385794"/>
                <a:gd name="connsiteY128" fmla="*/ 763956 h 1212067"/>
                <a:gd name="connsiteX129" fmla="*/ 1174107 w 1385794"/>
                <a:gd name="connsiteY129" fmla="*/ 763956 h 1212067"/>
                <a:gd name="connsiteX130" fmla="*/ 1172055 w 1385794"/>
                <a:gd name="connsiteY130" fmla="*/ 765033 h 1212067"/>
                <a:gd name="connsiteX131" fmla="*/ 1172055 w 1385794"/>
                <a:gd name="connsiteY131" fmla="*/ 768296 h 1212067"/>
                <a:gd name="connsiteX132" fmla="*/ 1174781 w 1385794"/>
                <a:gd name="connsiteY132" fmla="*/ 771559 h 1212067"/>
                <a:gd name="connsiteX133" fmla="*/ 1177507 w 1385794"/>
                <a:gd name="connsiteY133" fmla="*/ 773409 h 1212067"/>
                <a:gd name="connsiteX134" fmla="*/ 1180434 w 1385794"/>
                <a:gd name="connsiteY134" fmla="*/ 775596 h 1212067"/>
                <a:gd name="connsiteX135" fmla="*/ 1182487 w 1385794"/>
                <a:gd name="connsiteY135" fmla="*/ 778758 h 1212067"/>
                <a:gd name="connsiteX136" fmla="*/ 1184237 w 1385794"/>
                <a:gd name="connsiteY136" fmla="*/ 781247 h 1212067"/>
                <a:gd name="connsiteX137" fmla="*/ 1184776 w 1385794"/>
                <a:gd name="connsiteY137" fmla="*/ 784947 h 1212067"/>
                <a:gd name="connsiteX138" fmla="*/ 1183901 w 1385794"/>
                <a:gd name="connsiteY138" fmla="*/ 789287 h 1212067"/>
                <a:gd name="connsiteX139" fmla="*/ 1182285 w 1385794"/>
                <a:gd name="connsiteY139" fmla="*/ 790800 h 1212067"/>
                <a:gd name="connsiteX140" fmla="*/ 1177944 w 1385794"/>
                <a:gd name="connsiteY140" fmla="*/ 793828 h 1212067"/>
                <a:gd name="connsiteX141" fmla="*/ 1179559 w 1385794"/>
                <a:gd name="connsiteY141" fmla="*/ 797293 h 1212067"/>
                <a:gd name="connsiteX142" fmla="*/ 1182487 w 1385794"/>
                <a:gd name="connsiteY142" fmla="*/ 798807 h 1212067"/>
                <a:gd name="connsiteX143" fmla="*/ 1191608 w 1385794"/>
                <a:gd name="connsiteY143" fmla="*/ 798807 h 1212067"/>
                <a:gd name="connsiteX144" fmla="*/ 1194872 w 1385794"/>
                <a:gd name="connsiteY144" fmla="*/ 797158 h 1212067"/>
                <a:gd name="connsiteX145" fmla="*/ 1198238 w 1385794"/>
                <a:gd name="connsiteY145" fmla="*/ 798235 h 1212067"/>
                <a:gd name="connsiteX146" fmla="*/ 1200190 w 1385794"/>
                <a:gd name="connsiteY146" fmla="*/ 800623 h 1212067"/>
                <a:gd name="connsiteX147" fmla="*/ 1202916 w 1385794"/>
                <a:gd name="connsiteY147" fmla="*/ 802574 h 1212067"/>
                <a:gd name="connsiteX148" fmla="*/ 1207257 w 1385794"/>
                <a:gd name="connsiteY148" fmla="*/ 804256 h 1212067"/>
                <a:gd name="connsiteX149" fmla="*/ 1211801 w 1385794"/>
                <a:gd name="connsiteY149" fmla="*/ 805299 h 1212067"/>
                <a:gd name="connsiteX150" fmla="*/ 1214426 w 1385794"/>
                <a:gd name="connsiteY150" fmla="*/ 805299 h 1212067"/>
                <a:gd name="connsiteX151" fmla="*/ 1219305 w 1385794"/>
                <a:gd name="connsiteY151" fmla="*/ 807486 h 1212067"/>
                <a:gd name="connsiteX152" fmla="*/ 1221493 w 1385794"/>
                <a:gd name="connsiteY152" fmla="*/ 809773 h 1212067"/>
                <a:gd name="connsiteX153" fmla="*/ 1219305 w 1385794"/>
                <a:gd name="connsiteY153" fmla="*/ 812700 h 1212067"/>
                <a:gd name="connsiteX154" fmla="*/ 1220618 w 1385794"/>
                <a:gd name="connsiteY154" fmla="*/ 814651 h 1212067"/>
                <a:gd name="connsiteX155" fmla="*/ 1222806 w 1385794"/>
                <a:gd name="connsiteY155" fmla="*/ 817140 h 1212067"/>
                <a:gd name="connsiteX156" fmla="*/ 1224657 w 1385794"/>
                <a:gd name="connsiteY156" fmla="*/ 818755 h 1212067"/>
                <a:gd name="connsiteX157" fmla="*/ 1225532 w 1385794"/>
                <a:gd name="connsiteY157" fmla="*/ 821480 h 1212067"/>
                <a:gd name="connsiteX158" fmla="*/ 1223445 w 1385794"/>
                <a:gd name="connsiteY158" fmla="*/ 825180 h 1212067"/>
                <a:gd name="connsiteX159" fmla="*/ 1222267 w 1385794"/>
                <a:gd name="connsiteY159" fmla="*/ 829183 h 1212067"/>
                <a:gd name="connsiteX160" fmla="*/ 1221493 w 1385794"/>
                <a:gd name="connsiteY160" fmla="*/ 833758 h 1212067"/>
                <a:gd name="connsiteX161" fmla="*/ 1219642 w 1385794"/>
                <a:gd name="connsiteY161" fmla="*/ 837661 h 1212067"/>
                <a:gd name="connsiteX162" fmla="*/ 1217354 w 1385794"/>
                <a:gd name="connsiteY162" fmla="*/ 839073 h 1212067"/>
                <a:gd name="connsiteX163" fmla="*/ 1213551 w 1385794"/>
                <a:gd name="connsiteY163" fmla="*/ 840890 h 1212067"/>
                <a:gd name="connsiteX164" fmla="*/ 1213551 w 1385794"/>
                <a:gd name="connsiteY164" fmla="*/ 842639 h 1212067"/>
                <a:gd name="connsiteX165" fmla="*/ 1216916 w 1385794"/>
                <a:gd name="connsiteY165" fmla="*/ 847652 h 1212067"/>
                <a:gd name="connsiteX166" fmla="*/ 1220080 w 1385794"/>
                <a:gd name="connsiteY166" fmla="*/ 851016 h 1212067"/>
                <a:gd name="connsiteX167" fmla="*/ 1220012 w 1385794"/>
                <a:gd name="connsiteY167" fmla="*/ 851890 h 1212067"/>
                <a:gd name="connsiteX168" fmla="*/ 1220517 w 1385794"/>
                <a:gd name="connsiteY168" fmla="*/ 854716 h 1212067"/>
                <a:gd name="connsiteX169" fmla="*/ 1220517 w 1385794"/>
                <a:gd name="connsiteY169" fmla="*/ 856566 h 1212067"/>
                <a:gd name="connsiteX170" fmla="*/ 1219305 w 1385794"/>
                <a:gd name="connsiteY170" fmla="*/ 856734 h 1212067"/>
                <a:gd name="connsiteX171" fmla="*/ 1216579 w 1385794"/>
                <a:gd name="connsiteY171" fmla="*/ 857441 h 1212067"/>
                <a:gd name="connsiteX172" fmla="*/ 1212676 w 1385794"/>
                <a:gd name="connsiteY172" fmla="*/ 857441 h 1212067"/>
                <a:gd name="connsiteX173" fmla="*/ 1210825 w 1385794"/>
                <a:gd name="connsiteY173" fmla="*/ 857441 h 1212067"/>
                <a:gd name="connsiteX174" fmla="*/ 1209512 w 1385794"/>
                <a:gd name="connsiteY174" fmla="*/ 859291 h 1212067"/>
                <a:gd name="connsiteX175" fmla="*/ 1208974 w 1385794"/>
                <a:gd name="connsiteY175" fmla="*/ 859829 h 1212067"/>
                <a:gd name="connsiteX176" fmla="*/ 1206685 w 1385794"/>
                <a:gd name="connsiteY176" fmla="*/ 863294 h 1212067"/>
                <a:gd name="connsiteX177" fmla="*/ 1202983 w 1385794"/>
                <a:gd name="connsiteY177" fmla="*/ 862520 h 1212067"/>
                <a:gd name="connsiteX178" fmla="*/ 1200930 w 1385794"/>
                <a:gd name="connsiteY178" fmla="*/ 864438 h 1212067"/>
                <a:gd name="connsiteX179" fmla="*/ 1198978 w 1385794"/>
                <a:gd name="connsiteY179" fmla="*/ 866120 h 1212067"/>
                <a:gd name="connsiteX180" fmla="*/ 1197026 w 1385794"/>
                <a:gd name="connsiteY180" fmla="*/ 866120 h 1212067"/>
                <a:gd name="connsiteX181" fmla="*/ 1194098 w 1385794"/>
                <a:gd name="connsiteY181" fmla="*/ 863395 h 1212067"/>
                <a:gd name="connsiteX182" fmla="*/ 1190497 w 1385794"/>
                <a:gd name="connsiteY182" fmla="*/ 860670 h 1212067"/>
                <a:gd name="connsiteX183" fmla="*/ 1187435 w 1385794"/>
                <a:gd name="connsiteY183" fmla="*/ 858921 h 1212067"/>
                <a:gd name="connsiteX184" fmla="*/ 1185045 w 1385794"/>
                <a:gd name="connsiteY184" fmla="*/ 858046 h 1212067"/>
                <a:gd name="connsiteX185" fmla="*/ 1182117 w 1385794"/>
                <a:gd name="connsiteY185" fmla="*/ 855019 h 1212067"/>
                <a:gd name="connsiteX186" fmla="*/ 1180367 w 1385794"/>
                <a:gd name="connsiteY186" fmla="*/ 855120 h 1212067"/>
                <a:gd name="connsiteX187" fmla="*/ 1177910 w 1385794"/>
                <a:gd name="connsiteY187" fmla="*/ 857542 h 1212067"/>
                <a:gd name="connsiteX188" fmla="*/ 1175958 w 1385794"/>
                <a:gd name="connsiteY188" fmla="*/ 858315 h 1212067"/>
                <a:gd name="connsiteX189" fmla="*/ 1172694 w 1385794"/>
                <a:gd name="connsiteY189" fmla="*/ 859190 h 1212067"/>
                <a:gd name="connsiteX190" fmla="*/ 1171920 w 1385794"/>
                <a:gd name="connsiteY190" fmla="*/ 861242 h 1212067"/>
                <a:gd name="connsiteX191" fmla="*/ 1171920 w 1385794"/>
                <a:gd name="connsiteY191" fmla="*/ 863630 h 1212067"/>
                <a:gd name="connsiteX192" fmla="*/ 1173266 w 1385794"/>
                <a:gd name="connsiteY192" fmla="*/ 865481 h 1212067"/>
                <a:gd name="connsiteX193" fmla="*/ 1173636 w 1385794"/>
                <a:gd name="connsiteY193" fmla="*/ 867768 h 1212067"/>
                <a:gd name="connsiteX194" fmla="*/ 1173636 w 1385794"/>
                <a:gd name="connsiteY194" fmla="*/ 868844 h 1212067"/>
                <a:gd name="connsiteX195" fmla="*/ 1174612 w 1385794"/>
                <a:gd name="connsiteY195" fmla="*/ 871132 h 1212067"/>
                <a:gd name="connsiteX196" fmla="*/ 1175824 w 1385794"/>
                <a:gd name="connsiteY196" fmla="*/ 875270 h 1212067"/>
                <a:gd name="connsiteX197" fmla="*/ 1177338 w 1385794"/>
                <a:gd name="connsiteY197" fmla="*/ 877557 h 1212067"/>
                <a:gd name="connsiteX198" fmla="*/ 1175386 w 1385794"/>
                <a:gd name="connsiteY198" fmla="*/ 882065 h 1212067"/>
                <a:gd name="connsiteX199" fmla="*/ 1175958 w 1385794"/>
                <a:gd name="connsiteY199" fmla="*/ 887279 h 1212067"/>
                <a:gd name="connsiteX200" fmla="*/ 1177978 w 1385794"/>
                <a:gd name="connsiteY200" fmla="*/ 893502 h 1212067"/>
                <a:gd name="connsiteX201" fmla="*/ 1178685 w 1385794"/>
                <a:gd name="connsiteY201" fmla="*/ 896261 h 1212067"/>
                <a:gd name="connsiteX202" fmla="*/ 1178987 w 1385794"/>
                <a:gd name="connsiteY202" fmla="*/ 899019 h 1212067"/>
                <a:gd name="connsiteX203" fmla="*/ 1178281 w 1385794"/>
                <a:gd name="connsiteY203" fmla="*/ 901778 h 1212067"/>
                <a:gd name="connsiteX204" fmla="*/ 1177708 w 1385794"/>
                <a:gd name="connsiteY204" fmla="*/ 905243 h 1212067"/>
                <a:gd name="connsiteX205" fmla="*/ 1176564 w 1385794"/>
                <a:gd name="connsiteY205" fmla="*/ 909010 h 1212067"/>
                <a:gd name="connsiteX206" fmla="*/ 1175992 w 1385794"/>
                <a:gd name="connsiteY206" fmla="*/ 910760 h 1212067"/>
                <a:gd name="connsiteX207" fmla="*/ 1174982 w 1385794"/>
                <a:gd name="connsiteY207" fmla="*/ 913821 h 1212067"/>
                <a:gd name="connsiteX208" fmla="*/ 1173973 w 1385794"/>
                <a:gd name="connsiteY208" fmla="*/ 915570 h 1212067"/>
                <a:gd name="connsiteX209" fmla="*/ 1172829 w 1385794"/>
                <a:gd name="connsiteY209" fmla="*/ 916714 h 1212067"/>
                <a:gd name="connsiteX210" fmla="*/ 1171079 w 1385794"/>
                <a:gd name="connsiteY210" fmla="*/ 916714 h 1212067"/>
                <a:gd name="connsiteX211" fmla="*/ 1169497 w 1385794"/>
                <a:gd name="connsiteY211" fmla="*/ 915839 h 1212067"/>
                <a:gd name="connsiteX212" fmla="*/ 1167309 w 1385794"/>
                <a:gd name="connsiteY212" fmla="*/ 913821 h 1212067"/>
                <a:gd name="connsiteX213" fmla="*/ 1166165 w 1385794"/>
                <a:gd name="connsiteY213" fmla="*/ 912946 h 1212067"/>
                <a:gd name="connsiteX214" fmla="*/ 1164718 w 1385794"/>
                <a:gd name="connsiteY214" fmla="*/ 910188 h 1212067"/>
                <a:gd name="connsiteX215" fmla="*/ 1164718 w 1385794"/>
                <a:gd name="connsiteY215" fmla="*/ 908169 h 1212067"/>
                <a:gd name="connsiteX216" fmla="*/ 1162968 w 1385794"/>
                <a:gd name="connsiteY216" fmla="*/ 906151 h 1212067"/>
                <a:gd name="connsiteX217" fmla="*/ 1161958 w 1385794"/>
                <a:gd name="connsiteY217" fmla="*/ 902821 h 1212067"/>
                <a:gd name="connsiteX218" fmla="*/ 1160814 w 1385794"/>
                <a:gd name="connsiteY218" fmla="*/ 900062 h 1212067"/>
                <a:gd name="connsiteX219" fmla="*/ 1159232 w 1385794"/>
                <a:gd name="connsiteY219" fmla="*/ 898044 h 1212067"/>
                <a:gd name="connsiteX220" fmla="*/ 1156102 w 1385794"/>
                <a:gd name="connsiteY220" fmla="*/ 897169 h 1212067"/>
                <a:gd name="connsiteX221" fmla="*/ 1154588 w 1385794"/>
                <a:gd name="connsiteY221" fmla="*/ 896597 h 1212067"/>
                <a:gd name="connsiteX222" fmla="*/ 1154588 w 1385794"/>
                <a:gd name="connsiteY222" fmla="*/ 896732 h 1212067"/>
                <a:gd name="connsiteX223" fmla="*/ 1151121 w 1385794"/>
                <a:gd name="connsiteY223" fmla="*/ 896025 h 1212067"/>
                <a:gd name="connsiteX224" fmla="*/ 1149237 w 1385794"/>
                <a:gd name="connsiteY224" fmla="*/ 896900 h 1212067"/>
                <a:gd name="connsiteX225" fmla="*/ 1148496 w 1385794"/>
                <a:gd name="connsiteY225" fmla="*/ 898481 h 1212067"/>
                <a:gd name="connsiteX226" fmla="*/ 1147352 w 1385794"/>
                <a:gd name="connsiteY226" fmla="*/ 899625 h 1212067"/>
                <a:gd name="connsiteX227" fmla="*/ 1145030 w 1385794"/>
                <a:gd name="connsiteY227" fmla="*/ 900499 h 1212067"/>
                <a:gd name="connsiteX228" fmla="*/ 1143650 w 1385794"/>
                <a:gd name="connsiteY228" fmla="*/ 898481 h 1212067"/>
                <a:gd name="connsiteX229" fmla="*/ 1142405 w 1385794"/>
                <a:gd name="connsiteY229" fmla="*/ 895588 h 1212067"/>
                <a:gd name="connsiteX230" fmla="*/ 1142405 w 1385794"/>
                <a:gd name="connsiteY230" fmla="*/ 893267 h 1212067"/>
                <a:gd name="connsiteX231" fmla="*/ 1143112 w 1385794"/>
                <a:gd name="connsiteY231" fmla="*/ 891080 h 1212067"/>
                <a:gd name="connsiteX232" fmla="*/ 1142977 w 1385794"/>
                <a:gd name="connsiteY232" fmla="*/ 888894 h 1212067"/>
                <a:gd name="connsiteX233" fmla="*/ 1140285 w 1385794"/>
                <a:gd name="connsiteY233" fmla="*/ 886068 h 1212067"/>
                <a:gd name="connsiteX234" fmla="*/ 1134563 w 1385794"/>
                <a:gd name="connsiteY234" fmla="*/ 882233 h 1212067"/>
                <a:gd name="connsiteX235" fmla="*/ 1127900 w 1385794"/>
                <a:gd name="connsiteY235" fmla="*/ 879340 h 1212067"/>
                <a:gd name="connsiteX236" fmla="*/ 1124433 w 1385794"/>
                <a:gd name="connsiteY236" fmla="*/ 878196 h 1212067"/>
                <a:gd name="connsiteX237" fmla="*/ 1115448 w 1385794"/>
                <a:gd name="connsiteY237" fmla="*/ 873790 h 1212067"/>
                <a:gd name="connsiteX238" fmla="*/ 1114000 w 1385794"/>
                <a:gd name="connsiteY238" fmla="*/ 867768 h 1212067"/>
                <a:gd name="connsiteX239" fmla="*/ 1111981 w 1385794"/>
                <a:gd name="connsiteY239" fmla="*/ 863698 h 1212067"/>
                <a:gd name="connsiteX240" fmla="*/ 1113428 w 1385794"/>
                <a:gd name="connsiteY240" fmla="*/ 862554 h 1212067"/>
                <a:gd name="connsiteX241" fmla="*/ 1114000 w 1385794"/>
                <a:gd name="connsiteY241" fmla="*/ 859358 h 1212067"/>
                <a:gd name="connsiteX242" fmla="*/ 1114303 w 1385794"/>
                <a:gd name="connsiteY242" fmla="*/ 857912 h 1212067"/>
                <a:gd name="connsiteX243" fmla="*/ 1111981 w 1385794"/>
                <a:gd name="connsiteY243" fmla="*/ 857037 h 1212067"/>
                <a:gd name="connsiteX244" fmla="*/ 1105015 w 1385794"/>
                <a:gd name="connsiteY244" fmla="*/ 855893 h 1212067"/>
                <a:gd name="connsiteX245" fmla="*/ 1101548 w 1385794"/>
                <a:gd name="connsiteY245" fmla="*/ 855893 h 1212067"/>
                <a:gd name="connsiteX246" fmla="*/ 1099529 w 1385794"/>
                <a:gd name="connsiteY246" fmla="*/ 856768 h 1212067"/>
                <a:gd name="connsiteX247" fmla="*/ 1097510 w 1385794"/>
                <a:gd name="connsiteY247" fmla="*/ 857071 h 1212067"/>
                <a:gd name="connsiteX248" fmla="*/ 1092596 w 1385794"/>
                <a:gd name="connsiteY248" fmla="*/ 855624 h 1212067"/>
                <a:gd name="connsiteX249" fmla="*/ 1089971 w 1385794"/>
                <a:gd name="connsiteY249" fmla="*/ 854749 h 1212067"/>
                <a:gd name="connsiteX250" fmla="*/ 1089433 w 1385794"/>
                <a:gd name="connsiteY250" fmla="*/ 852664 h 1212067"/>
                <a:gd name="connsiteX251" fmla="*/ 1088120 w 1385794"/>
                <a:gd name="connsiteY251" fmla="*/ 850477 h 1212067"/>
                <a:gd name="connsiteX252" fmla="*/ 1086606 w 1385794"/>
                <a:gd name="connsiteY252" fmla="*/ 849199 h 1212067"/>
                <a:gd name="connsiteX253" fmla="*/ 1084586 w 1385794"/>
                <a:gd name="connsiteY253" fmla="*/ 848493 h 1212067"/>
                <a:gd name="connsiteX254" fmla="*/ 1082634 w 1385794"/>
                <a:gd name="connsiteY254" fmla="*/ 847719 h 1212067"/>
                <a:gd name="connsiteX255" fmla="*/ 1081187 w 1385794"/>
                <a:gd name="connsiteY255" fmla="*/ 846373 h 1212067"/>
                <a:gd name="connsiteX256" fmla="*/ 1081995 w 1385794"/>
                <a:gd name="connsiteY256" fmla="*/ 844826 h 1212067"/>
                <a:gd name="connsiteX257" fmla="*/ 1081456 w 1385794"/>
                <a:gd name="connsiteY257" fmla="*/ 843043 h 1212067"/>
                <a:gd name="connsiteX258" fmla="*/ 1078932 w 1385794"/>
                <a:gd name="connsiteY258" fmla="*/ 841058 h 1212067"/>
                <a:gd name="connsiteX259" fmla="*/ 1077149 w 1385794"/>
                <a:gd name="connsiteY259" fmla="*/ 839242 h 1212067"/>
                <a:gd name="connsiteX260" fmla="*/ 1076846 w 1385794"/>
                <a:gd name="connsiteY260" fmla="*/ 837930 h 1212067"/>
                <a:gd name="connsiteX261" fmla="*/ 1076846 w 1385794"/>
                <a:gd name="connsiteY261" fmla="*/ 835676 h 1212067"/>
                <a:gd name="connsiteX262" fmla="*/ 1077216 w 1385794"/>
                <a:gd name="connsiteY262" fmla="*/ 833422 h 1212067"/>
                <a:gd name="connsiteX263" fmla="*/ 1077283 w 1385794"/>
                <a:gd name="connsiteY263" fmla="*/ 830933 h 1212067"/>
                <a:gd name="connsiteX264" fmla="*/ 1079706 w 1385794"/>
                <a:gd name="connsiteY264" fmla="*/ 828746 h 1212067"/>
                <a:gd name="connsiteX265" fmla="*/ 1081423 w 1385794"/>
                <a:gd name="connsiteY265" fmla="*/ 827771 h 1212067"/>
                <a:gd name="connsiteX266" fmla="*/ 1082803 w 1385794"/>
                <a:gd name="connsiteY266" fmla="*/ 826122 h 1212067"/>
                <a:gd name="connsiteX267" fmla="*/ 1083004 w 1385794"/>
                <a:gd name="connsiteY267" fmla="*/ 824440 h 1212067"/>
                <a:gd name="connsiteX268" fmla="*/ 1083274 w 1385794"/>
                <a:gd name="connsiteY268" fmla="*/ 822859 h 1212067"/>
                <a:gd name="connsiteX269" fmla="*/ 1085192 w 1385794"/>
                <a:gd name="connsiteY269" fmla="*/ 821648 h 1212067"/>
                <a:gd name="connsiteX270" fmla="*/ 1087077 w 1385794"/>
                <a:gd name="connsiteY270" fmla="*/ 820874 h 1212067"/>
                <a:gd name="connsiteX271" fmla="*/ 1089365 w 1385794"/>
                <a:gd name="connsiteY271" fmla="*/ 819865 h 1212067"/>
                <a:gd name="connsiteX272" fmla="*/ 1092495 w 1385794"/>
                <a:gd name="connsiteY272" fmla="*/ 815627 h 1212067"/>
                <a:gd name="connsiteX273" fmla="*/ 1094010 w 1385794"/>
                <a:gd name="connsiteY273" fmla="*/ 813373 h 1212067"/>
                <a:gd name="connsiteX274" fmla="*/ 1093909 w 1385794"/>
                <a:gd name="connsiteY274" fmla="*/ 811354 h 1212067"/>
                <a:gd name="connsiteX275" fmla="*/ 1093505 w 1385794"/>
                <a:gd name="connsiteY275" fmla="*/ 806914 h 1212067"/>
                <a:gd name="connsiteX276" fmla="*/ 1094649 w 1385794"/>
                <a:gd name="connsiteY276" fmla="*/ 801061 h 1212067"/>
                <a:gd name="connsiteX277" fmla="*/ 1093505 w 1385794"/>
                <a:gd name="connsiteY277" fmla="*/ 795846 h 1212067"/>
                <a:gd name="connsiteX278" fmla="*/ 1092764 w 1385794"/>
                <a:gd name="connsiteY278" fmla="*/ 786562 h 1212067"/>
                <a:gd name="connsiteX279" fmla="*/ 1089870 w 1385794"/>
                <a:gd name="connsiteY279" fmla="*/ 778758 h 1212067"/>
                <a:gd name="connsiteX280" fmla="*/ 1087110 w 1385794"/>
                <a:gd name="connsiteY280" fmla="*/ 772232 h 1212067"/>
                <a:gd name="connsiteX281" fmla="*/ 1086505 w 1385794"/>
                <a:gd name="connsiteY281" fmla="*/ 768027 h 1212067"/>
                <a:gd name="connsiteX282" fmla="*/ 1083577 w 1385794"/>
                <a:gd name="connsiteY282" fmla="*/ 765739 h 1212067"/>
                <a:gd name="connsiteX283" fmla="*/ 1080985 w 1385794"/>
                <a:gd name="connsiteY283" fmla="*/ 765537 h 1212067"/>
                <a:gd name="connsiteX284" fmla="*/ 1077283 w 1385794"/>
                <a:gd name="connsiteY284" fmla="*/ 765100 h 1212067"/>
                <a:gd name="connsiteX285" fmla="*/ 1074019 w 1385794"/>
                <a:gd name="connsiteY285" fmla="*/ 764023 h 1212067"/>
                <a:gd name="connsiteX286" fmla="*/ 1072168 w 1385794"/>
                <a:gd name="connsiteY286" fmla="*/ 761433 h 1212067"/>
                <a:gd name="connsiteX287" fmla="*/ 1071629 w 1385794"/>
                <a:gd name="connsiteY287" fmla="*/ 758170 h 1212067"/>
                <a:gd name="connsiteX288" fmla="*/ 1072168 w 1385794"/>
                <a:gd name="connsiteY288" fmla="*/ 754907 h 1212067"/>
                <a:gd name="connsiteX289" fmla="*/ 1071629 w 1385794"/>
                <a:gd name="connsiteY289" fmla="*/ 751644 h 1212067"/>
                <a:gd name="connsiteX290" fmla="*/ 1073043 w 1385794"/>
                <a:gd name="connsiteY290" fmla="*/ 746968 h 1212067"/>
                <a:gd name="connsiteX291" fmla="*/ 1074355 w 1385794"/>
                <a:gd name="connsiteY291" fmla="*/ 745454 h 1212067"/>
                <a:gd name="connsiteX292" fmla="*/ 1075668 w 1385794"/>
                <a:gd name="connsiteY292" fmla="*/ 743066 h 1212067"/>
                <a:gd name="connsiteX293" fmla="*/ 1078495 w 1385794"/>
                <a:gd name="connsiteY293" fmla="*/ 741754 h 1212067"/>
                <a:gd name="connsiteX294" fmla="*/ 1079370 w 1385794"/>
                <a:gd name="connsiteY294" fmla="*/ 741418 h 1212067"/>
                <a:gd name="connsiteX295" fmla="*/ 1080884 w 1385794"/>
                <a:gd name="connsiteY295" fmla="*/ 740442 h 1212067"/>
                <a:gd name="connsiteX296" fmla="*/ 1082634 w 1385794"/>
                <a:gd name="connsiteY296" fmla="*/ 738592 h 1212067"/>
                <a:gd name="connsiteX297" fmla="*/ 1083274 w 1385794"/>
                <a:gd name="connsiteY297" fmla="*/ 736641 h 1212067"/>
                <a:gd name="connsiteX298" fmla="*/ 1083476 w 1385794"/>
                <a:gd name="connsiteY298" fmla="*/ 733815 h 1212067"/>
                <a:gd name="connsiteX299" fmla="*/ 1083375 w 1385794"/>
                <a:gd name="connsiteY299" fmla="*/ 731225 h 1212067"/>
                <a:gd name="connsiteX300" fmla="*/ 1081086 w 1385794"/>
                <a:gd name="connsiteY300" fmla="*/ 727962 h 1212067"/>
                <a:gd name="connsiteX301" fmla="*/ 1079235 w 1385794"/>
                <a:gd name="connsiteY301" fmla="*/ 724362 h 1212067"/>
                <a:gd name="connsiteX302" fmla="*/ 1076610 w 1385794"/>
                <a:gd name="connsiteY302" fmla="*/ 721738 h 1212067"/>
                <a:gd name="connsiteX303" fmla="*/ 1074995 w 1385794"/>
                <a:gd name="connsiteY303" fmla="*/ 721301 h 1212067"/>
                <a:gd name="connsiteX304" fmla="*/ 1071629 w 1385794"/>
                <a:gd name="connsiteY304" fmla="*/ 720426 h 1212067"/>
                <a:gd name="connsiteX305" fmla="*/ 1068802 w 1385794"/>
                <a:gd name="connsiteY305" fmla="*/ 719888 h 1212067"/>
                <a:gd name="connsiteX306" fmla="*/ 1067725 w 1385794"/>
                <a:gd name="connsiteY306" fmla="*/ 718273 h 1212067"/>
                <a:gd name="connsiteX307" fmla="*/ 1066548 w 1385794"/>
                <a:gd name="connsiteY307" fmla="*/ 714472 h 1212067"/>
                <a:gd name="connsiteX308" fmla="*/ 1064797 w 1385794"/>
                <a:gd name="connsiteY308" fmla="*/ 711209 h 1212067"/>
                <a:gd name="connsiteX309" fmla="*/ 1063485 w 1385794"/>
                <a:gd name="connsiteY309" fmla="*/ 708922 h 1212067"/>
                <a:gd name="connsiteX310" fmla="*/ 1061196 w 1385794"/>
                <a:gd name="connsiteY310" fmla="*/ 706197 h 1212067"/>
                <a:gd name="connsiteX311" fmla="*/ 1059244 w 1385794"/>
                <a:gd name="connsiteY311" fmla="*/ 704246 h 1212067"/>
                <a:gd name="connsiteX312" fmla="*/ 1056653 w 1385794"/>
                <a:gd name="connsiteY312" fmla="*/ 703270 h 1212067"/>
                <a:gd name="connsiteX313" fmla="*/ 1051235 w 1385794"/>
                <a:gd name="connsiteY313" fmla="*/ 703068 h 1212067"/>
                <a:gd name="connsiteX314" fmla="*/ 1049485 w 1385794"/>
                <a:gd name="connsiteY314" fmla="*/ 702194 h 1212067"/>
                <a:gd name="connsiteX315" fmla="*/ 1047533 w 1385794"/>
                <a:gd name="connsiteY315" fmla="*/ 700108 h 1212067"/>
                <a:gd name="connsiteX316" fmla="*/ 1047970 w 1385794"/>
                <a:gd name="connsiteY316" fmla="*/ 698796 h 1212067"/>
                <a:gd name="connsiteX317" fmla="*/ 1047533 w 1385794"/>
                <a:gd name="connsiteY317" fmla="*/ 697148 h 1212067"/>
                <a:gd name="connsiteX318" fmla="*/ 1045076 w 1385794"/>
                <a:gd name="connsiteY318" fmla="*/ 695163 h 1212067"/>
                <a:gd name="connsiteX319" fmla="*/ 1042686 w 1385794"/>
                <a:gd name="connsiteY319" fmla="*/ 692472 h 1212067"/>
                <a:gd name="connsiteX320" fmla="*/ 1042350 w 1385794"/>
                <a:gd name="connsiteY320" fmla="*/ 689579 h 1212067"/>
                <a:gd name="connsiteX321" fmla="*/ 1041643 w 1385794"/>
                <a:gd name="connsiteY321" fmla="*/ 685677 h 1212067"/>
                <a:gd name="connsiteX322" fmla="*/ 1041643 w 1385794"/>
                <a:gd name="connsiteY322" fmla="*/ 682851 h 1212067"/>
                <a:gd name="connsiteX323" fmla="*/ 1040129 w 1385794"/>
                <a:gd name="connsiteY323" fmla="*/ 682044 h 1212067"/>
                <a:gd name="connsiteX324" fmla="*/ 1037167 w 1385794"/>
                <a:gd name="connsiteY324" fmla="*/ 681976 h 1212067"/>
                <a:gd name="connsiteX325" fmla="*/ 1033835 w 1385794"/>
                <a:gd name="connsiteY325" fmla="*/ 681976 h 1212067"/>
                <a:gd name="connsiteX326" fmla="*/ 1030705 w 1385794"/>
                <a:gd name="connsiteY326" fmla="*/ 681236 h 1212067"/>
                <a:gd name="connsiteX327" fmla="*/ 1029124 w 1385794"/>
                <a:gd name="connsiteY327" fmla="*/ 681236 h 1212067"/>
                <a:gd name="connsiteX328" fmla="*/ 1027441 w 1385794"/>
                <a:gd name="connsiteY328" fmla="*/ 681203 h 1212067"/>
                <a:gd name="connsiteX329" fmla="*/ 1023268 w 1385794"/>
                <a:gd name="connsiteY329" fmla="*/ 680227 h 1212067"/>
                <a:gd name="connsiteX330" fmla="*/ 1021316 w 1385794"/>
                <a:gd name="connsiteY330" fmla="*/ 677502 h 1212067"/>
                <a:gd name="connsiteX331" fmla="*/ 1020777 w 1385794"/>
                <a:gd name="connsiteY331" fmla="*/ 675652 h 1212067"/>
                <a:gd name="connsiteX332" fmla="*/ 1020777 w 1385794"/>
                <a:gd name="connsiteY332" fmla="*/ 674138 h 1212067"/>
                <a:gd name="connsiteX333" fmla="*/ 1023369 w 1385794"/>
                <a:gd name="connsiteY333" fmla="*/ 672625 h 1212067"/>
                <a:gd name="connsiteX334" fmla="*/ 1024883 w 1385794"/>
                <a:gd name="connsiteY334" fmla="*/ 671548 h 1212067"/>
                <a:gd name="connsiteX335" fmla="*/ 1028585 w 1385794"/>
                <a:gd name="connsiteY335" fmla="*/ 671548 h 1212067"/>
                <a:gd name="connsiteX336" fmla="*/ 1032052 w 1385794"/>
                <a:gd name="connsiteY336" fmla="*/ 671548 h 1212067"/>
                <a:gd name="connsiteX337" fmla="*/ 1033801 w 1385794"/>
                <a:gd name="connsiteY337" fmla="*/ 670371 h 1212067"/>
                <a:gd name="connsiteX338" fmla="*/ 1035552 w 1385794"/>
                <a:gd name="connsiteY338" fmla="*/ 669395 h 1212067"/>
                <a:gd name="connsiteX339" fmla="*/ 1038379 w 1385794"/>
                <a:gd name="connsiteY339" fmla="*/ 668083 h 1212067"/>
                <a:gd name="connsiteX340" fmla="*/ 1039422 w 1385794"/>
                <a:gd name="connsiteY340" fmla="*/ 666771 h 1212067"/>
                <a:gd name="connsiteX341" fmla="*/ 1039893 w 1385794"/>
                <a:gd name="connsiteY341" fmla="*/ 664820 h 1212067"/>
                <a:gd name="connsiteX342" fmla="*/ 1039893 w 1385794"/>
                <a:gd name="connsiteY342" fmla="*/ 661994 h 1212067"/>
                <a:gd name="connsiteX343" fmla="*/ 1039253 w 1385794"/>
                <a:gd name="connsiteY343" fmla="*/ 660245 h 1212067"/>
                <a:gd name="connsiteX344" fmla="*/ 1037739 w 1385794"/>
                <a:gd name="connsiteY344" fmla="*/ 659371 h 1212067"/>
                <a:gd name="connsiteX345" fmla="*/ 1035552 w 1385794"/>
                <a:gd name="connsiteY345" fmla="*/ 659371 h 1212067"/>
                <a:gd name="connsiteX346" fmla="*/ 1032052 w 1385794"/>
                <a:gd name="connsiteY346" fmla="*/ 659371 h 1212067"/>
                <a:gd name="connsiteX347" fmla="*/ 1025085 w 1385794"/>
                <a:gd name="connsiteY347" fmla="*/ 659371 h 1212067"/>
                <a:gd name="connsiteX348" fmla="*/ 1019869 w 1385794"/>
                <a:gd name="connsiteY348" fmla="*/ 659371 h 1212067"/>
                <a:gd name="connsiteX349" fmla="*/ 1012700 w 1385794"/>
                <a:gd name="connsiteY349" fmla="*/ 659371 h 1212067"/>
                <a:gd name="connsiteX350" fmla="*/ 1006945 w 1385794"/>
                <a:gd name="connsiteY350" fmla="*/ 659371 h 1212067"/>
                <a:gd name="connsiteX351" fmla="*/ 1000753 w 1385794"/>
                <a:gd name="connsiteY351" fmla="*/ 658059 h 1212067"/>
                <a:gd name="connsiteX352" fmla="*/ 996714 w 1385794"/>
                <a:gd name="connsiteY352" fmla="*/ 658059 h 1212067"/>
                <a:gd name="connsiteX353" fmla="*/ 993012 w 1385794"/>
                <a:gd name="connsiteY353" fmla="*/ 656175 h 1212067"/>
                <a:gd name="connsiteX354" fmla="*/ 990825 w 1385794"/>
                <a:gd name="connsiteY354" fmla="*/ 652441 h 1212067"/>
                <a:gd name="connsiteX355" fmla="*/ 986752 w 1385794"/>
                <a:gd name="connsiteY355" fmla="*/ 652441 h 1212067"/>
                <a:gd name="connsiteX356" fmla="*/ 984026 w 1385794"/>
                <a:gd name="connsiteY356" fmla="*/ 656578 h 1212067"/>
                <a:gd name="connsiteX357" fmla="*/ 981738 w 1385794"/>
                <a:gd name="connsiteY357" fmla="*/ 655266 h 1212067"/>
                <a:gd name="connsiteX358" fmla="*/ 977767 w 1385794"/>
                <a:gd name="connsiteY358" fmla="*/ 653450 h 1212067"/>
                <a:gd name="connsiteX359" fmla="*/ 972617 w 1385794"/>
                <a:gd name="connsiteY359" fmla="*/ 650422 h 1212067"/>
                <a:gd name="connsiteX360" fmla="*/ 965887 w 1385794"/>
                <a:gd name="connsiteY360" fmla="*/ 643694 h 1212067"/>
                <a:gd name="connsiteX361" fmla="*/ 956901 w 1385794"/>
                <a:gd name="connsiteY361" fmla="*/ 634915 h 1212067"/>
                <a:gd name="connsiteX362" fmla="*/ 948117 w 1385794"/>
                <a:gd name="connsiteY362" fmla="*/ 624789 h 1212067"/>
                <a:gd name="connsiteX363" fmla="*/ 947040 w 1385794"/>
                <a:gd name="connsiteY363" fmla="*/ 620450 h 1212067"/>
                <a:gd name="connsiteX364" fmla="*/ 942396 w 1385794"/>
                <a:gd name="connsiteY364" fmla="*/ 616110 h 1212067"/>
                <a:gd name="connsiteX365" fmla="*/ 938323 w 1385794"/>
                <a:gd name="connsiteY365" fmla="*/ 614361 h 1212067"/>
                <a:gd name="connsiteX366" fmla="*/ 930213 w 1385794"/>
                <a:gd name="connsiteY366" fmla="*/ 611602 h 1212067"/>
                <a:gd name="connsiteX367" fmla="*/ 925299 w 1385794"/>
                <a:gd name="connsiteY367" fmla="*/ 608978 h 1212067"/>
                <a:gd name="connsiteX368" fmla="*/ 920655 w 1385794"/>
                <a:gd name="connsiteY368" fmla="*/ 608978 h 1212067"/>
                <a:gd name="connsiteX369" fmla="*/ 916010 w 1385794"/>
                <a:gd name="connsiteY369" fmla="*/ 606960 h 1212067"/>
                <a:gd name="connsiteX370" fmla="*/ 916010 w 1385794"/>
                <a:gd name="connsiteY370" fmla="*/ 604639 h 1212067"/>
                <a:gd name="connsiteX371" fmla="*/ 916010 w 1385794"/>
                <a:gd name="connsiteY371" fmla="*/ 600871 h 1212067"/>
                <a:gd name="connsiteX372" fmla="*/ 915876 w 1385794"/>
                <a:gd name="connsiteY372" fmla="*/ 597675 h 1212067"/>
                <a:gd name="connsiteX373" fmla="*/ 914698 w 1385794"/>
                <a:gd name="connsiteY373" fmla="*/ 594210 h 1212067"/>
                <a:gd name="connsiteX374" fmla="*/ 912948 w 1385794"/>
                <a:gd name="connsiteY374" fmla="*/ 590746 h 1212067"/>
                <a:gd name="connsiteX375" fmla="*/ 912376 w 1385794"/>
                <a:gd name="connsiteY375" fmla="*/ 587550 h 1212067"/>
                <a:gd name="connsiteX376" fmla="*/ 912376 w 1385794"/>
                <a:gd name="connsiteY376" fmla="*/ 583917 h 1212067"/>
                <a:gd name="connsiteX377" fmla="*/ 912376 w 1385794"/>
                <a:gd name="connsiteY377" fmla="*/ 579443 h 1212067"/>
                <a:gd name="connsiteX378" fmla="*/ 912308 w 1385794"/>
                <a:gd name="connsiteY378" fmla="*/ 578804 h 1212067"/>
                <a:gd name="connsiteX379" fmla="*/ 914126 w 1385794"/>
                <a:gd name="connsiteY379" fmla="*/ 575978 h 1212067"/>
                <a:gd name="connsiteX380" fmla="*/ 918905 w 1385794"/>
                <a:gd name="connsiteY380" fmla="*/ 575978 h 1212067"/>
                <a:gd name="connsiteX381" fmla="*/ 921059 w 1385794"/>
                <a:gd name="connsiteY381" fmla="*/ 575978 h 1212067"/>
                <a:gd name="connsiteX382" fmla="*/ 924121 w 1385794"/>
                <a:gd name="connsiteY382" fmla="*/ 575978 h 1212067"/>
                <a:gd name="connsiteX383" fmla="*/ 926746 w 1385794"/>
                <a:gd name="connsiteY383" fmla="*/ 577424 h 1212067"/>
                <a:gd name="connsiteX384" fmla="*/ 929641 w 1385794"/>
                <a:gd name="connsiteY384" fmla="*/ 575978 h 1212067"/>
                <a:gd name="connsiteX385" fmla="*/ 930213 w 1385794"/>
                <a:gd name="connsiteY385" fmla="*/ 573354 h 1212067"/>
                <a:gd name="connsiteX386" fmla="*/ 930213 w 1385794"/>
                <a:gd name="connsiteY386" fmla="*/ 569889 h 1212067"/>
                <a:gd name="connsiteX387" fmla="*/ 929641 w 1385794"/>
                <a:gd name="connsiteY387" fmla="*/ 562051 h 1212067"/>
                <a:gd name="connsiteX388" fmla="*/ 929775 w 1385794"/>
                <a:gd name="connsiteY388" fmla="*/ 559730 h 1212067"/>
                <a:gd name="connsiteX389" fmla="*/ 928631 w 1385794"/>
                <a:gd name="connsiteY389" fmla="*/ 558283 h 1212067"/>
                <a:gd name="connsiteX390" fmla="*/ 928496 w 1385794"/>
                <a:gd name="connsiteY390" fmla="*/ 557106 h 1212067"/>
                <a:gd name="connsiteX391" fmla="*/ 929237 w 1385794"/>
                <a:gd name="connsiteY391" fmla="*/ 555660 h 1212067"/>
                <a:gd name="connsiteX392" fmla="*/ 930246 w 1385794"/>
                <a:gd name="connsiteY392" fmla="*/ 553776 h 1212067"/>
                <a:gd name="connsiteX393" fmla="*/ 930246 w 1385794"/>
                <a:gd name="connsiteY393" fmla="*/ 552464 h 1212067"/>
                <a:gd name="connsiteX394" fmla="*/ 929506 w 1385794"/>
                <a:gd name="connsiteY394" fmla="*/ 549840 h 1212067"/>
                <a:gd name="connsiteX395" fmla="*/ 926881 w 1385794"/>
                <a:gd name="connsiteY395" fmla="*/ 546577 h 1212067"/>
                <a:gd name="connsiteX396" fmla="*/ 923549 w 1385794"/>
                <a:gd name="connsiteY396" fmla="*/ 544626 h 1212067"/>
                <a:gd name="connsiteX397" fmla="*/ 920655 w 1385794"/>
                <a:gd name="connsiteY397" fmla="*/ 544626 h 1212067"/>
                <a:gd name="connsiteX398" fmla="*/ 919713 w 1385794"/>
                <a:gd name="connsiteY398" fmla="*/ 542843 h 1212067"/>
                <a:gd name="connsiteX399" fmla="*/ 919780 w 1385794"/>
                <a:gd name="connsiteY399" fmla="*/ 542136 h 1212067"/>
                <a:gd name="connsiteX400" fmla="*/ 920890 w 1385794"/>
                <a:gd name="connsiteY400" fmla="*/ 541127 h 1212067"/>
                <a:gd name="connsiteX401" fmla="*/ 922775 w 1385794"/>
                <a:gd name="connsiteY401" fmla="*/ 540219 h 1212067"/>
                <a:gd name="connsiteX402" fmla="*/ 926645 w 1385794"/>
                <a:gd name="connsiteY402" fmla="*/ 538268 h 1212067"/>
                <a:gd name="connsiteX403" fmla="*/ 938559 w 1385794"/>
                <a:gd name="connsiteY403" fmla="*/ 533222 h 1212067"/>
                <a:gd name="connsiteX404" fmla="*/ 947679 w 1385794"/>
                <a:gd name="connsiteY404" fmla="*/ 528109 h 1212067"/>
                <a:gd name="connsiteX405" fmla="*/ 957473 w 1385794"/>
                <a:gd name="connsiteY405" fmla="*/ 523332 h 1212067"/>
                <a:gd name="connsiteX406" fmla="*/ 962353 w 1385794"/>
                <a:gd name="connsiteY406" fmla="*/ 519430 h 1212067"/>
                <a:gd name="connsiteX407" fmla="*/ 967367 w 1385794"/>
                <a:gd name="connsiteY407" fmla="*/ 513038 h 1212067"/>
                <a:gd name="connsiteX408" fmla="*/ 969319 w 1385794"/>
                <a:gd name="connsiteY408" fmla="*/ 506411 h 1212067"/>
                <a:gd name="connsiteX409" fmla="*/ 973021 w 1385794"/>
                <a:gd name="connsiteY409" fmla="*/ 500423 h 1212067"/>
                <a:gd name="connsiteX410" fmla="*/ 974771 w 1385794"/>
                <a:gd name="connsiteY410" fmla="*/ 496958 h 1212067"/>
                <a:gd name="connsiteX411" fmla="*/ 979449 w 1385794"/>
                <a:gd name="connsiteY411" fmla="*/ 495781 h 1212067"/>
                <a:gd name="connsiteX412" fmla="*/ 980762 w 1385794"/>
                <a:gd name="connsiteY412" fmla="*/ 493393 h 1212067"/>
                <a:gd name="connsiteX413" fmla="*/ 984666 w 1385794"/>
                <a:gd name="connsiteY413" fmla="*/ 489490 h 1212067"/>
                <a:gd name="connsiteX414" fmla="*/ 985204 w 1385794"/>
                <a:gd name="connsiteY414" fmla="*/ 487539 h 1212067"/>
                <a:gd name="connsiteX415" fmla="*/ 988772 w 1385794"/>
                <a:gd name="connsiteY415" fmla="*/ 484276 h 1212067"/>
                <a:gd name="connsiteX416" fmla="*/ 992238 w 1385794"/>
                <a:gd name="connsiteY416" fmla="*/ 482224 h 1212067"/>
                <a:gd name="connsiteX417" fmla="*/ 994089 w 1385794"/>
                <a:gd name="connsiteY417" fmla="*/ 479399 h 1212067"/>
                <a:gd name="connsiteX418" fmla="*/ 993988 w 1385794"/>
                <a:gd name="connsiteY418" fmla="*/ 474285 h 1212067"/>
                <a:gd name="connsiteX419" fmla="*/ 992911 w 1385794"/>
                <a:gd name="connsiteY419" fmla="*/ 469509 h 1212067"/>
                <a:gd name="connsiteX420" fmla="*/ 992373 w 1385794"/>
                <a:gd name="connsiteY420" fmla="*/ 463756 h 1212067"/>
                <a:gd name="connsiteX421" fmla="*/ 990084 w 1385794"/>
                <a:gd name="connsiteY421" fmla="*/ 460594 h 1212067"/>
                <a:gd name="connsiteX422" fmla="*/ 987358 w 1385794"/>
                <a:gd name="connsiteY422" fmla="*/ 456456 h 1212067"/>
                <a:gd name="connsiteX423" fmla="*/ 986483 w 1385794"/>
                <a:gd name="connsiteY423" fmla="*/ 453530 h 1212067"/>
                <a:gd name="connsiteX424" fmla="*/ 985945 w 1385794"/>
                <a:gd name="connsiteY424" fmla="*/ 451478 h 1212067"/>
                <a:gd name="connsiteX425" fmla="*/ 983555 w 1385794"/>
                <a:gd name="connsiteY425" fmla="*/ 447575 h 1212067"/>
                <a:gd name="connsiteX426" fmla="*/ 982142 w 1385794"/>
                <a:gd name="connsiteY426" fmla="*/ 445523 h 1212067"/>
                <a:gd name="connsiteX427" fmla="*/ 983993 w 1385794"/>
                <a:gd name="connsiteY427" fmla="*/ 442159 h 1212067"/>
                <a:gd name="connsiteX428" fmla="*/ 985945 w 1385794"/>
                <a:gd name="connsiteY428" fmla="*/ 439771 h 1212067"/>
                <a:gd name="connsiteX429" fmla="*/ 986921 w 1385794"/>
                <a:gd name="connsiteY429" fmla="*/ 438694 h 1212067"/>
                <a:gd name="connsiteX430" fmla="*/ 987022 w 1385794"/>
                <a:gd name="connsiteY430" fmla="*/ 435970 h 1212067"/>
                <a:gd name="connsiteX431" fmla="*/ 984195 w 1385794"/>
                <a:gd name="connsiteY431" fmla="*/ 433144 h 1212067"/>
                <a:gd name="connsiteX432" fmla="*/ 980594 w 1385794"/>
                <a:gd name="connsiteY432" fmla="*/ 429444 h 1212067"/>
                <a:gd name="connsiteX433" fmla="*/ 976555 w 1385794"/>
                <a:gd name="connsiteY433" fmla="*/ 427493 h 1212067"/>
                <a:gd name="connsiteX434" fmla="*/ 972416 w 1385794"/>
                <a:gd name="connsiteY434" fmla="*/ 426517 h 1212067"/>
                <a:gd name="connsiteX435" fmla="*/ 967536 w 1385794"/>
                <a:gd name="connsiteY435" fmla="*/ 426517 h 1212067"/>
                <a:gd name="connsiteX436" fmla="*/ 963194 w 1385794"/>
                <a:gd name="connsiteY436" fmla="*/ 425979 h 1212067"/>
                <a:gd name="connsiteX437" fmla="*/ 956228 w 1385794"/>
                <a:gd name="connsiteY437" fmla="*/ 425979 h 1212067"/>
                <a:gd name="connsiteX438" fmla="*/ 951752 w 1385794"/>
                <a:gd name="connsiteY438" fmla="*/ 427392 h 1212067"/>
                <a:gd name="connsiteX439" fmla="*/ 948184 w 1385794"/>
                <a:gd name="connsiteY439" fmla="*/ 428704 h 1212067"/>
                <a:gd name="connsiteX440" fmla="*/ 945357 w 1385794"/>
                <a:gd name="connsiteY440" fmla="*/ 429242 h 1212067"/>
                <a:gd name="connsiteX441" fmla="*/ 942766 w 1385794"/>
                <a:gd name="connsiteY441" fmla="*/ 430756 h 1212067"/>
                <a:gd name="connsiteX442" fmla="*/ 940814 w 1385794"/>
                <a:gd name="connsiteY442" fmla="*/ 431630 h 1212067"/>
                <a:gd name="connsiteX443" fmla="*/ 936237 w 1385794"/>
                <a:gd name="connsiteY443" fmla="*/ 432505 h 1212067"/>
                <a:gd name="connsiteX444" fmla="*/ 932097 w 1385794"/>
                <a:gd name="connsiteY444" fmla="*/ 434456 h 1212067"/>
                <a:gd name="connsiteX445" fmla="*/ 928496 w 1385794"/>
                <a:gd name="connsiteY445" fmla="*/ 436071 h 1212067"/>
                <a:gd name="connsiteX446" fmla="*/ 926544 w 1385794"/>
                <a:gd name="connsiteY446" fmla="*/ 436306 h 1212067"/>
                <a:gd name="connsiteX447" fmla="*/ 924491 w 1385794"/>
                <a:gd name="connsiteY447" fmla="*/ 438055 h 1212067"/>
                <a:gd name="connsiteX448" fmla="*/ 922439 w 1385794"/>
                <a:gd name="connsiteY448" fmla="*/ 441419 h 1212067"/>
                <a:gd name="connsiteX449" fmla="*/ 919511 w 1385794"/>
                <a:gd name="connsiteY449" fmla="*/ 443909 h 1212067"/>
                <a:gd name="connsiteX450" fmla="*/ 915708 w 1385794"/>
                <a:gd name="connsiteY450" fmla="*/ 446398 h 1212067"/>
                <a:gd name="connsiteX451" fmla="*/ 910054 w 1385794"/>
                <a:gd name="connsiteY451" fmla="*/ 450199 h 1212067"/>
                <a:gd name="connsiteX452" fmla="*/ 904501 w 1385794"/>
                <a:gd name="connsiteY452" fmla="*/ 454640 h 1212067"/>
                <a:gd name="connsiteX453" fmla="*/ 903323 w 1385794"/>
                <a:gd name="connsiteY453" fmla="*/ 455952 h 1212067"/>
                <a:gd name="connsiteX454" fmla="*/ 900832 w 1385794"/>
                <a:gd name="connsiteY454" fmla="*/ 457028 h 1212067"/>
                <a:gd name="connsiteX455" fmla="*/ 898544 w 1385794"/>
                <a:gd name="connsiteY455" fmla="*/ 457802 h 1212067"/>
                <a:gd name="connsiteX456" fmla="*/ 892789 w 1385794"/>
                <a:gd name="connsiteY456" fmla="*/ 457802 h 1212067"/>
                <a:gd name="connsiteX457" fmla="*/ 888649 w 1385794"/>
                <a:gd name="connsiteY457" fmla="*/ 458138 h 1212067"/>
                <a:gd name="connsiteX458" fmla="*/ 882019 w 1385794"/>
                <a:gd name="connsiteY458" fmla="*/ 458340 h 1212067"/>
                <a:gd name="connsiteX459" fmla="*/ 875490 w 1385794"/>
                <a:gd name="connsiteY459" fmla="*/ 457802 h 1212067"/>
                <a:gd name="connsiteX460" fmla="*/ 873336 w 1385794"/>
                <a:gd name="connsiteY460" fmla="*/ 454640 h 1212067"/>
                <a:gd name="connsiteX461" fmla="*/ 871149 w 1385794"/>
                <a:gd name="connsiteY461" fmla="*/ 452453 h 1212067"/>
                <a:gd name="connsiteX462" fmla="*/ 866370 w 1385794"/>
                <a:gd name="connsiteY462" fmla="*/ 451579 h 1212067"/>
                <a:gd name="connsiteX463" fmla="*/ 860178 w 1385794"/>
                <a:gd name="connsiteY463" fmla="*/ 451780 h 1212067"/>
                <a:gd name="connsiteX464" fmla="*/ 857788 w 1385794"/>
                <a:gd name="connsiteY464" fmla="*/ 451679 h 1212067"/>
                <a:gd name="connsiteX465" fmla="*/ 853884 w 1385794"/>
                <a:gd name="connsiteY465" fmla="*/ 449190 h 1212067"/>
                <a:gd name="connsiteX466" fmla="*/ 851394 w 1385794"/>
                <a:gd name="connsiteY466" fmla="*/ 444851 h 1212067"/>
                <a:gd name="connsiteX467" fmla="*/ 850317 w 1385794"/>
                <a:gd name="connsiteY467" fmla="*/ 443000 h 1212067"/>
                <a:gd name="connsiteX468" fmla="*/ 847591 w 1385794"/>
                <a:gd name="connsiteY468" fmla="*/ 438863 h 1212067"/>
                <a:gd name="connsiteX469" fmla="*/ 844124 w 1385794"/>
                <a:gd name="connsiteY469" fmla="*/ 438425 h 1212067"/>
                <a:gd name="connsiteX470" fmla="*/ 840658 w 1385794"/>
                <a:gd name="connsiteY470" fmla="*/ 440376 h 1212067"/>
                <a:gd name="connsiteX471" fmla="*/ 838706 w 1385794"/>
                <a:gd name="connsiteY471" fmla="*/ 441991 h 1212067"/>
                <a:gd name="connsiteX472" fmla="*/ 837393 w 1385794"/>
                <a:gd name="connsiteY472" fmla="*/ 443841 h 1212067"/>
                <a:gd name="connsiteX473" fmla="*/ 833691 w 1385794"/>
                <a:gd name="connsiteY473" fmla="*/ 443841 h 1212067"/>
                <a:gd name="connsiteX474" fmla="*/ 829350 w 1385794"/>
                <a:gd name="connsiteY474" fmla="*/ 444043 h 1212067"/>
                <a:gd name="connsiteX475" fmla="*/ 825984 w 1385794"/>
                <a:gd name="connsiteY475" fmla="*/ 445120 h 1212067"/>
                <a:gd name="connsiteX476" fmla="*/ 823797 w 1385794"/>
                <a:gd name="connsiteY476" fmla="*/ 446734 h 1212067"/>
                <a:gd name="connsiteX477" fmla="*/ 818143 w 1385794"/>
                <a:gd name="connsiteY477" fmla="*/ 448786 h 1212067"/>
                <a:gd name="connsiteX478" fmla="*/ 813566 w 1385794"/>
                <a:gd name="connsiteY478" fmla="*/ 450199 h 1212067"/>
                <a:gd name="connsiteX479" fmla="*/ 810739 w 1385794"/>
                <a:gd name="connsiteY479" fmla="*/ 452117 h 1212067"/>
                <a:gd name="connsiteX480" fmla="*/ 807811 w 1385794"/>
                <a:gd name="connsiteY480" fmla="*/ 452487 h 1212067"/>
                <a:gd name="connsiteX481" fmla="*/ 804143 w 1385794"/>
                <a:gd name="connsiteY481" fmla="*/ 452487 h 1212067"/>
                <a:gd name="connsiteX482" fmla="*/ 799801 w 1385794"/>
                <a:gd name="connsiteY482" fmla="*/ 450738 h 1212067"/>
                <a:gd name="connsiteX483" fmla="*/ 795897 w 1385794"/>
                <a:gd name="connsiteY483" fmla="*/ 449964 h 1212067"/>
                <a:gd name="connsiteX484" fmla="*/ 792195 w 1385794"/>
                <a:gd name="connsiteY484" fmla="*/ 448652 h 1212067"/>
                <a:gd name="connsiteX485" fmla="*/ 787315 w 1385794"/>
                <a:gd name="connsiteY485" fmla="*/ 446701 h 1212067"/>
                <a:gd name="connsiteX486" fmla="*/ 785464 w 1385794"/>
                <a:gd name="connsiteY486" fmla="*/ 446465 h 1212067"/>
                <a:gd name="connsiteX487" fmla="*/ 781661 w 1385794"/>
                <a:gd name="connsiteY487" fmla="*/ 447004 h 1212067"/>
                <a:gd name="connsiteX488" fmla="*/ 780786 w 1385794"/>
                <a:gd name="connsiteY488" fmla="*/ 449190 h 1212067"/>
                <a:gd name="connsiteX489" fmla="*/ 781561 w 1385794"/>
                <a:gd name="connsiteY489" fmla="*/ 452016 h 1212067"/>
                <a:gd name="connsiteX490" fmla="*/ 784926 w 1385794"/>
                <a:gd name="connsiteY490" fmla="*/ 453765 h 1212067"/>
                <a:gd name="connsiteX491" fmla="*/ 790041 w 1385794"/>
                <a:gd name="connsiteY491" fmla="*/ 456389 h 1212067"/>
                <a:gd name="connsiteX492" fmla="*/ 794719 w 1385794"/>
                <a:gd name="connsiteY492" fmla="*/ 458777 h 1212067"/>
                <a:gd name="connsiteX493" fmla="*/ 795796 w 1385794"/>
                <a:gd name="connsiteY493" fmla="*/ 462478 h 1212067"/>
                <a:gd name="connsiteX494" fmla="*/ 797008 w 1385794"/>
                <a:gd name="connsiteY494" fmla="*/ 465943 h 1212067"/>
                <a:gd name="connsiteX495" fmla="*/ 798859 w 1385794"/>
                <a:gd name="connsiteY495" fmla="*/ 469744 h 1212067"/>
                <a:gd name="connsiteX496" fmla="*/ 802561 w 1385794"/>
                <a:gd name="connsiteY496" fmla="*/ 473209 h 1212067"/>
                <a:gd name="connsiteX497" fmla="*/ 804075 w 1385794"/>
                <a:gd name="connsiteY497" fmla="*/ 474723 h 1212067"/>
                <a:gd name="connsiteX498" fmla="*/ 807542 w 1385794"/>
                <a:gd name="connsiteY498" fmla="*/ 477346 h 1212067"/>
                <a:gd name="connsiteX499" fmla="*/ 808518 w 1385794"/>
                <a:gd name="connsiteY499" fmla="*/ 479634 h 1212067"/>
                <a:gd name="connsiteX500" fmla="*/ 805792 w 1385794"/>
                <a:gd name="connsiteY500" fmla="*/ 482258 h 1212067"/>
                <a:gd name="connsiteX501" fmla="*/ 800239 w 1385794"/>
                <a:gd name="connsiteY501" fmla="*/ 485857 h 1212067"/>
                <a:gd name="connsiteX502" fmla="*/ 796974 w 1385794"/>
                <a:gd name="connsiteY502" fmla="*/ 487808 h 1212067"/>
                <a:gd name="connsiteX503" fmla="*/ 792936 w 1385794"/>
                <a:gd name="connsiteY503" fmla="*/ 492148 h 1212067"/>
                <a:gd name="connsiteX504" fmla="*/ 791522 w 1385794"/>
                <a:gd name="connsiteY504" fmla="*/ 493897 h 1212067"/>
                <a:gd name="connsiteX505" fmla="*/ 788056 w 1385794"/>
                <a:gd name="connsiteY505" fmla="*/ 497160 h 1212067"/>
                <a:gd name="connsiteX506" fmla="*/ 785868 w 1385794"/>
                <a:gd name="connsiteY506" fmla="*/ 500524 h 1212067"/>
                <a:gd name="connsiteX507" fmla="*/ 785431 w 1385794"/>
                <a:gd name="connsiteY507" fmla="*/ 503249 h 1212067"/>
                <a:gd name="connsiteX508" fmla="*/ 784657 w 1385794"/>
                <a:gd name="connsiteY508" fmla="*/ 506512 h 1212067"/>
                <a:gd name="connsiteX509" fmla="*/ 782469 w 1385794"/>
                <a:gd name="connsiteY509" fmla="*/ 507151 h 1212067"/>
                <a:gd name="connsiteX510" fmla="*/ 779104 w 1385794"/>
                <a:gd name="connsiteY510" fmla="*/ 506714 h 1212067"/>
                <a:gd name="connsiteX511" fmla="*/ 777051 w 1385794"/>
                <a:gd name="connsiteY511" fmla="*/ 504325 h 1212067"/>
                <a:gd name="connsiteX512" fmla="*/ 775200 w 1385794"/>
                <a:gd name="connsiteY512" fmla="*/ 499751 h 1212067"/>
                <a:gd name="connsiteX513" fmla="*/ 771397 w 1385794"/>
                <a:gd name="connsiteY513" fmla="*/ 498001 h 1212067"/>
                <a:gd name="connsiteX514" fmla="*/ 768132 w 1385794"/>
                <a:gd name="connsiteY514" fmla="*/ 498977 h 1212067"/>
                <a:gd name="connsiteX515" fmla="*/ 764767 w 1385794"/>
                <a:gd name="connsiteY515" fmla="*/ 501802 h 1212067"/>
                <a:gd name="connsiteX516" fmla="*/ 763791 w 1385794"/>
                <a:gd name="connsiteY516" fmla="*/ 502442 h 1212067"/>
                <a:gd name="connsiteX517" fmla="*/ 759988 w 1385794"/>
                <a:gd name="connsiteY517" fmla="*/ 499280 h 1212067"/>
                <a:gd name="connsiteX518" fmla="*/ 757699 w 1385794"/>
                <a:gd name="connsiteY518" fmla="*/ 494503 h 1212067"/>
                <a:gd name="connsiteX519" fmla="*/ 756723 w 1385794"/>
                <a:gd name="connsiteY519" fmla="*/ 493090 h 1212067"/>
                <a:gd name="connsiteX520" fmla="*/ 754872 w 1385794"/>
                <a:gd name="connsiteY520" fmla="*/ 491038 h 1212067"/>
                <a:gd name="connsiteX521" fmla="*/ 752685 w 1385794"/>
                <a:gd name="connsiteY521" fmla="*/ 489524 h 1212067"/>
                <a:gd name="connsiteX522" fmla="*/ 750396 w 1385794"/>
                <a:gd name="connsiteY522" fmla="*/ 489423 h 1212067"/>
                <a:gd name="connsiteX523" fmla="*/ 748209 w 1385794"/>
                <a:gd name="connsiteY523" fmla="*/ 489423 h 1212067"/>
                <a:gd name="connsiteX524" fmla="*/ 744608 w 1385794"/>
                <a:gd name="connsiteY524" fmla="*/ 489524 h 1212067"/>
                <a:gd name="connsiteX525" fmla="*/ 742757 w 1385794"/>
                <a:gd name="connsiteY525" fmla="*/ 488986 h 1212067"/>
                <a:gd name="connsiteX526" fmla="*/ 740367 w 1385794"/>
                <a:gd name="connsiteY526" fmla="*/ 487371 h 1212067"/>
                <a:gd name="connsiteX527" fmla="*/ 739290 w 1385794"/>
                <a:gd name="connsiteY527" fmla="*/ 484343 h 1212067"/>
                <a:gd name="connsiteX528" fmla="*/ 739290 w 1385794"/>
                <a:gd name="connsiteY528" fmla="*/ 481181 h 1212067"/>
                <a:gd name="connsiteX529" fmla="*/ 739223 w 1385794"/>
                <a:gd name="connsiteY529" fmla="*/ 478692 h 1212067"/>
                <a:gd name="connsiteX530" fmla="*/ 739122 w 1385794"/>
                <a:gd name="connsiteY530" fmla="*/ 477178 h 1212067"/>
                <a:gd name="connsiteX531" fmla="*/ 737103 w 1385794"/>
                <a:gd name="connsiteY531" fmla="*/ 475429 h 1212067"/>
                <a:gd name="connsiteX532" fmla="*/ 734478 w 1385794"/>
                <a:gd name="connsiteY532" fmla="*/ 474353 h 1212067"/>
                <a:gd name="connsiteX533" fmla="*/ 732963 w 1385794"/>
                <a:gd name="connsiteY533" fmla="*/ 473141 h 1212067"/>
                <a:gd name="connsiteX534" fmla="*/ 731213 w 1385794"/>
                <a:gd name="connsiteY534" fmla="*/ 470854 h 1212067"/>
                <a:gd name="connsiteX535" fmla="*/ 728925 w 1385794"/>
                <a:gd name="connsiteY535" fmla="*/ 467591 h 1212067"/>
                <a:gd name="connsiteX536" fmla="*/ 728925 w 1385794"/>
                <a:gd name="connsiteY536" fmla="*/ 466279 h 1212067"/>
                <a:gd name="connsiteX537" fmla="*/ 730540 w 1385794"/>
                <a:gd name="connsiteY537" fmla="*/ 463992 h 1212067"/>
                <a:gd name="connsiteX538" fmla="*/ 733030 w 1385794"/>
                <a:gd name="connsiteY538" fmla="*/ 462579 h 1212067"/>
                <a:gd name="connsiteX539" fmla="*/ 735521 w 1385794"/>
                <a:gd name="connsiteY539" fmla="*/ 461805 h 1212067"/>
                <a:gd name="connsiteX540" fmla="*/ 737910 w 1385794"/>
                <a:gd name="connsiteY540" fmla="*/ 458004 h 1212067"/>
                <a:gd name="connsiteX541" fmla="*/ 735858 w 1385794"/>
                <a:gd name="connsiteY541" fmla="*/ 455817 h 1212067"/>
                <a:gd name="connsiteX542" fmla="*/ 731718 w 1385794"/>
                <a:gd name="connsiteY542" fmla="*/ 454841 h 1212067"/>
                <a:gd name="connsiteX543" fmla="*/ 727578 w 1385794"/>
                <a:gd name="connsiteY543" fmla="*/ 455279 h 1212067"/>
                <a:gd name="connsiteX544" fmla="*/ 725290 w 1385794"/>
                <a:gd name="connsiteY544" fmla="*/ 456456 h 1212067"/>
                <a:gd name="connsiteX545" fmla="*/ 722026 w 1385794"/>
                <a:gd name="connsiteY545" fmla="*/ 459181 h 1212067"/>
                <a:gd name="connsiteX546" fmla="*/ 719535 w 1385794"/>
                <a:gd name="connsiteY546" fmla="*/ 460493 h 1212067"/>
                <a:gd name="connsiteX547" fmla="*/ 717785 w 1385794"/>
                <a:gd name="connsiteY547" fmla="*/ 462007 h 1212067"/>
                <a:gd name="connsiteX548" fmla="*/ 714857 w 1385794"/>
                <a:gd name="connsiteY548" fmla="*/ 462343 h 1212067"/>
                <a:gd name="connsiteX549" fmla="*/ 711391 w 1385794"/>
                <a:gd name="connsiteY549" fmla="*/ 461704 h 1212067"/>
                <a:gd name="connsiteX550" fmla="*/ 708665 w 1385794"/>
                <a:gd name="connsiteY550" fmla="*/ 459854 h 1212067"/>
                <a:gd name="connsiteX551" fmla="*/ 706713 w 1385794"/>
                <a:gd name="connsiteY551" fmla="*/ 457129 h 1212067"/>
                <a:gd name="connsiteX552" fmla="*/ 706174 w 1385794"/>
                <a:gd name="connsiteY552" fmla="*/ 454841 h 1212067"/>
                <a:gd name="connsiteX553" fmla="*/ 704121 w 1385794"/>
                <a:gd name="connsiteY553" fmla="*/ 453866 h 1212067"/>
                <a:gd name="connsiteX554" fmla="*/ 700655 w 1385794"/>
                <a:gd name="connsiteY554" fmla="*/ 453866 h 1212067"/>
                <a:gd name="connsiteX555" fmla="*/ 698467 w 1385794"/>
                <a:gd name="connsiteY555" fmla="*/ 452453 h 1212067"/>
                <a:gd name="connsiteX556" fmla="*/ 699679 w 1385794"/>
                <a:gd name="connsiteY556" fmla="*/ 449527 h 1212067"/>
                <a:gd name="connsiteX557" fmla="*/ 702405 w 1385794"/>
                <a:gd name="connsiteY557" fmla="*/ 447037 h 1212067"/>
                <a:gd name="connsiteX558" fmla="*/ 702405 w 1385794"/>
                <a:gd name="connsiteY558" fmla="*/ 443673 h 1212067"/>
                <a:gd name="connsiteX559" fmla="*/ 700890 w 1385794"/>
                <a:gd name="connsiteY559" fmla="*/ 442361 h 1212067"/>
                <a:gd name="connsiteX560" fmla="*/ 698467 w 1385794"/>
                <a:gd name="connsiteY560" fmla="*/ 439973 h 1212067"/>
                <a:gd name="connsiteX561" fmla="*/ 699713 w 1385794"/>
                <a:gd name="connsiteY561" fmla="*/ 437921 h 1212067"/>
                <a:gd name="connsiteX562" fmla="*/ 701227 w 1385794"/>
                <a:gd name="connsiteY562" fmla="*/ 436272 h 1212067"/>
                <a:gd name="connsiteX563" fmla="*/ 702741 w 1385794"/>
                <a:gd name="connsiteY563" fmla="*/ 434759 h 1212067"/>
                <a:gd name="connsiteX564" fmla="*/ 701530 w 1385794"/>
                <a:gd name="connsiteY564" fmla="*/ 431933 h 1212067"/>
                <a:gd name="connsiteX565" fmla="*/ 700991 w 1385794"/>
                <a:gd name="connsiteY565" fmla="*/ 430520 h 1212067"/>
                <a:gd name="connsiteX566" fmla="*/ 702506 w 1385794"/>
                <a:gd name="connsiteY566" fmla="*/ 428670 h 1212067"/>
                <a:gd name="connsiteX567" fmla="*/ 703381 w 1385794"/>
                <a:gd name="connsiteY567" fmla="*/ 427694 h 1212067"/>
                <a:gd name="connsiteX568" fmla="*/ 703583 w 1385794"/>
                <a:gd name="connsiteY568" fmla="*/ 424667 h 1212067"/>
                <a:gd name="connsiteX569" fmla="*/ 702506 w 1385794"/>
                <a:gd name="connsiteY569" fmla="*/ 422177 h 1212067"/>
                <a:gd name="connsiteX570" fmla="*/ 704693 w 1385794"/>
                <a:gd name="connsiteY570" fmla="*/ 419789 h 1212067"/>
                <a:gd name="connsiteX571" fmla="*/ 706208 w 1385794"/>
                <a:gd name="connsiteY571" fmla="*/ 418040 h 1212067"/>
                <a:gd name="connsiteX572" fmla="*/ 706208 w 1385794"/>
                <a:gd name="connsiteY572" fmla="*/ 414878 h 1212067"/>
                <a:gd name="connsiteX573" fmla="*/ 703818 w 1385794"/>
                <a:gd name="connsiteY573" fmla="*/ 411716 h 1212067"/>
                <a:gd name="connsiteX574" fmla="*/ 701328 w 1385794"/>
                <a:gd name="connsiteY574" fmla="*/ 410740 h 1212067"/>
                <a:gd name="connsiteX575" fmla="*/ 697962 w 1385794"/>
                <a:gd name="connsiteY575" fmla="*/ 410740 h 1212067"/>
                <a:gd name="connsiteX576" fmla="*/ 696212 w 1385794"/>
                <a:gd name="connsiteY576" fmla="*/ 410740 h 1212067"/>
                <a:gd name="connsiteX577" fmla="*/ 694462 w 1385794"/>
                <a:gd name="connsiteY577" fmla="*/ 410740 h 1212067"/>
                <a:gd name="connsiteX578" fmla="*/ 690996 w 1385794"/>
                <a:gd name="connsiteY578" fmla="*/ 410740 h 1212067"/>
                <a:gd name="connsiteX579" fmla="*/ 690222 w 1385794"/>
                <a:gd name="connsiteY579" fmla="*/ 412590 h 1212067"/>
                <a:gd name="connsiteX580" fmla="*/ 688707 w 1385794"/>
                <a:gd name="connsiteY580" fmla="*/ 413465 h 1212067"/>
                <a:gd name="connsiteX581" fmla="*/ 687193 w 1385794"/>
                <a:gd name="connsiteY581" fmla="*/ 412489 h 1212067"/>
                <a:gd name="connsiteX582" fmla="*/ 684366 w 1385794"/>
                <a:gd name="connsiteY582" fmla="*/ 411514 h 1212067"/>
                <a:gd name="connsiteX583" fmla="*/ 682515 w 1385794"/>
                <a:gd name="connsiteY583" fmla="*/ 411312 h 1212067"/>
                <a:gd name="connsiteX584" fmla="*/ 680226 w 1385794"/>
                <a:gd name="connsiteY584" fmla="*/ 411648 h 1212067"/>
                <a:gd name="connsiteX585" fmla="*/ 678375 w 1385794"/>
                <a:gd name="connsiteY585" fmla="*/ 412422 h 1212067"/>
                <a:gd name="connsiteX586" fmla="*/ 674135 w 1385794"/>
                <a:gd name="connsiteY586" fmla="*/ 410807 h 1212067"/>
                <a:gd name="connsiteX587" fmla="*/ 673597 w 1385794"/>
                <a:gd name="connsiteY587" fmla="*/ 409394 h 1212067"/>
                <a:gd name="connsiteX588" fmla="*/ 676087 w 1385794"/>
                <a:gd name="connsiteY588" fmla="*/ 403104 h 1212067"/>
                <a:gd name="connsiteX589" fmla="*/ 673597 w 1385794"/>
                <a:gd name="connsiteY589" fmla="*/ 398226 h 1212067"/>
                <a:gd name="connsiteX590" fmla="*/ 670568 w 1385794"/>
                <a:gd name="connsiteY590" fmla="*/ 396914 h 1212067"/>
                <a:gd name="connsiteX591" fmla="*/ 668380 w 1385794"/>
                <a:gd name="connsiteY591" fmla="*/ 396914 h 1212067"/>
                <a:gd name="connsiteX592" fmla="*/ 664914 w 1385794"/>
                <a:gd name="connsiteY592" fmla="*/ 396914 h 1212067"/>
                <a:gd name="connsiteX593" fmla="*/ 662962 w 1385794"/>
                <a:gd name="connsiteY593" fmla="*/ 395064 h 1212067"/>
                <a:gd name="connsiteX594" fmla="*/ 662962 w 1385794"/>
                <a:gd name="connsiteY594" fmla="*/ 393113 h 1212067"/>
                <a:gd name="connsiteX595" fmla="*/ 659058 w 1385794"/>
                <a:gd name="connsiteY595" fmla="*/ 392339 h 1212067"/>
                <a:gd name="connsiteX596" fmla="*/ 658519 w 1385794"/>
                <a:gd name="connsiteY596" fmla="*/ 389312 h 1212067"/>
                <a:gd name="connsiteX597" fmla="*/ 658957 w 1385794"/>
                <a:gd name="connsiteY597" fmla="*/ 386048 h 1212067"/>
                <a:gd name="connsiteX598" fmla="*/ 659159 w 1385794"/>
                <a:gd name="connsiteY598" fmla="*/ 382785 h 1212067"/>
                <a:gd name="connsiteX599" fmla="*/ 659058 w 1385794"/>
                <a:gd name="connsiteY599" fmla="*/ 379321 h 1212067"/>
                <a:gd name="connsiteX600" fmla="*/ 657442 w 1385794"/>
                <a:gd name="connsiteY600" fmla="*/ 377370 h 1212067"/>
                <a:gd name="connsiteX601" fmla="*/ 656231 w 1385794"/>
                <a:gd name="connsiteY601" fmla="*/ 375183 h 1212067"/>
                <a:gd name="connsiteX602" fmla="*/ 657745 w 1385794"/>
                <a:gd name="connsiteY602" fmla="*/ 372122 h 1212067"/>
                <a:gd name="connsiteX603" fmla="*/ 655457 w 1385794"/>
                <a:gd name="connsiteY603" fmla="*/ 368960 h 1212067"/>
                <a:gd name="connsiteX604" fmla="*/ 652293 w 1385794"/>
                <a:gd name="connsiteY604" fmla="*/ 368051 h 1212067"/>
                <a:gd name="connsiteX605" fmla="*/ 648591 w 1385794"/>
                <a:gd name="connsiteY605" fmla="*/ 367345 h 1212067"/>
                <a:gd name="connsiteX606" fmla="*/ 642298 w 1385794"/>
                <a:gd name="connsiteY606" fmla="*/ 367345 h 1212067"/>
                <a:gd name="connsiteX607" fmla="*/ 636879 w 1385794"/>
                <a:gd name="connsiteY607" fmla="*/ 365495 h 1212067"/>
                <a:gd name="connsiteX608" fmla="*/ 633076 w 1385794"/>
                <a:gd name="connsiteY608" fmla="*/ 362871 h 1212067"/>
                <a:gd name="connsiteX609" fmla="*/ 629172 w 1385794"/>
                <a:gd name="connsiteY609" fmla="*/ 360381 h 1212067"/>
                <a:gd name="connsiteX610" fmla="*/ 625269 w 1385794"/>
                <a:gd name="connsiteY610" fmla="*/ 357758 h 1212067"/>
                <a:gd name="connsiteX611" fmla="*/ 620052 w 1385794"/>
                <a:gd name="connsiteY611" fmla="*/ 358397 h 1212067"/>
                <a:gd name="connsiteX612" fmla="*/ 617999 w 1385794"/>
                <a:gd name="connsiteY612" fmla="*/ 352846 h 1212067"/>
                <a:gd name="connsiteX613" fmla="*/ 612345 w 1385794"/>
                <a:gd name="connsiteY613" fmla="*/ 349045 h 1212067"/>
                <a:gd name="connsiteX614" fmla="*/ 608980 w 1385794"/>
                <a:gd name="connsiteY614" fmla="*/ 348507 h 1212067"/>
                <a:gd name="connsiteX615" fmla="*/ 601811 w 1385794"/>
                <a:gd name="connsiteY615" fmla="*/ 346993 h 1212067"/>
                <a:gd name="connsiteX616" fmla="*/ 597032 w 1385794"/>
                <a:gd name="connsiteY616" fmla="*/ 346993 h 1212067"/>
                <a:gd name="connsiteX617" fmla="*/ 594407 w 1385794"/>
                <a:gd name="connsiteY617" fmla="*/ 346959 h 1212067"/>
                <a:gd name="connsiteX618" fmla="*/ 590268 w 1385794"/>
                <a:gd name="connsiteY618" fmla="*/ 348204 h 1212067"/>
                <a:gd name="connsiteX619" fmla="*/ 587542 w 1385794"/>
                <a:gd name="connsiteY619" fmla="*/ 348978 h 1212067"/>
                <a:gd name="connsiteX620" fmla="*/ 582763 w 1385794"/>
                <a:gd name="connsiteY620" fmla="*/ 345513 h 1212067"/>
                <a:gd name="connsiteX621" fmla="*/ 587239 w 1385794"/>
                <a:gd name="connsiteY621" fmla="*/ 345513 h 1212067"/>
                <a:gd name="connsiteX622" fmla="*/ 589830 w 1385794"/>
                <a:gd name="connsiteY622" fmla="*/ 345378 h 1212067"/>
                <a:gd name="connsiteX623" fmla="*/ 592220 w 1385794"/>
                <a:gd name="connsiteY623" fmla="*/ 343898 h 1212067"/>
                <a:gd name="connsiteX624" fmla="*/ 592758 w 1385794"/>
                <a:gd name="connsiteY624" fmla="*/ 342822 h 1212067"/>
                <a:gd name="connsiteX625" fmla="*/ 593633 w 1385794"/>
                <a:gd name="connsiteY625" fmla="*/ 340231 h 1212067"/>
                <a:gd name="connsiteX626" fmla="*/ 594508 w 1385794"/>
                <a:gd name="connsiteY626" fmla="*/ 338482 h 1212067"/>
                <a:gd name="connsiteX627" fmla="*/ 596258 w 1385794"/>
                <a:gd name="connsiteY627" fmla="*/ 335892 h 1212067"/>
                <a:gd name="connsiteX628" fmla="*/ 598446 w 1385794"/>
                <a:gd name="connsiteY628" fmla="*/ 334681 h 1212067"/>
                <a:gd name="connsiteX629" fmla="*/ 599859 w 1385794"/>
                <a:gd name="connsiteY629" fmla="*/ 333604 h 1212067"/>
                <a:gd name="connsiteX630" fmla="*/ 601710 w 1385794"/>
                <a:gd name="connsiteY630" fmla="*/ 332831 h 1212067"/>
                <a:gd name="connsiteX631" fmla="*/ 604201 w 1385794"/>
                <a:gd name="connsiteY631" fmla="*/ 330678 h 1212067"/>
                <a:gd name="connsiteX632" fmla="*/ 605715 w 1385794"/>
                <a:gd name="connsiteY632" fmla="*/ 329265 h 1212067"/>
                <a:gd name="connsiteX633" fmla="*/ 606893 w 1385794"/>
                <a:gd name="connsiteY633" fmla="*/ 328289 h 1212067"/>
                <a:gd name="connsiteX634" fmla="*/ 609081 w 1385794"/>
                <a:gd name="connsiteY634" fmla="*/ 327415 h 1212067"/>
                <a:gd name="connsiteX635" fmla="*/ 611033 w 1385794"/>
                <a:gd name="connsiteY635" fmla="*/ 327415 h 1212067"/>
                <a:gd name="connsiteX636" fmla="*/ 615172 w 1385794"/>
                <a:gd name="connsiteY636" fmla="*/ 327415 h 1212067"/>
                <a:gd name="connsiteX637" fmla="*/ 616249 w 1385794"/>
                <a:gd name="connsiteY637" fmla="*/ 327415 h 1212067"/>
                <a:gd name="connsiteX638" fmla="*/ 618740 w 1385794"/>
                <a:gd name="connsiteY638" fmla="*/ 325564 h 1212067"/>
                <a:gd name="connsiteX639" fmla="*/ 620490 w 1385794"/>
                <a:gd name="connsiteY639" fmla="*/ 323815 h 1212067"/>
                <a:gd name="connsiteX640" fmla="*/ 622004 w 1385794"/>
                <a:gd name="connsiteY640" fmla="*/ 321629 h 1212067"/>
                <a:gd name="connsiteX641" fmla="*/ 623317 w 1385794"/>
                <a:gd name="connsiteY641" fmla="*/ 319947 h 1212067"/>
                <a:gd name="connsiteX642" fmla="*/ 624730 w 1385794"/>
                <a:gd name="connsiteY642" fmla="*/ 318702 h 1212067"/>
                <a:gd name="connsiteX643" fmla="*/ 624932 w 1385794"/>
                <a:gd name="connsiteY643" fmla="*/ 318702 h 1212067"/>
                <a:gd name="connsiteX644" fmla="*/ 628398 w 1385794"/>
                <a:gd name="connsiteY644" fmla="*/ 318702 h 1212067"/>
                <a:gd name="connsiteX645" fmla="*/ 630889 w 1385794"/>
                <a:gd name="connsiteY645" fmla="*/ 318567 h 1212067"/>
                <a:gd name="connsiteX646" fmla="*/ 633514 w 1385794"/>
                <a:gd name="connsiteY646" fmla="*/ 316650 h 1212067"/>
                <a:gd name="connsiteX647" fmla="*/ 635567 w 1385794"/>
                <a:gd name="connsiteY647" fmla="*/ 315136 h 1212067"/>
                <a:gd name="connsiteX648" fmla="*/ 636341 w 1385794"/>
                <a:gd name="connsiteY648" fmla="*/ 313084 h 1212067"/>
                <a:gd name="connsiteX649" fmla="*/ 635129 w 1385794"/>
                <a:gd name="connsiteY649" fmla="*/ 309047 h 1212067"/>
                <a:gd name="connsiteX650" fmla="*/ 634153 w 1385794"/>
                <a:gd name="connsiteY650" fmla="*/ 306861 h 1212067"/>
                <a:gd name="connsiteX651" fmla="*/ 635230 w 1385794"/>
                <a:gd name="connsiteY651" fmla="*/ 304371 h 1212067"/>
                <a:gd name="connsiteX652" fmla="*/ 637283 w 1385794"/>
                <a:gd name="connsiteY652" fmla="*/ 301748 h 1212067"/>
                <a:gd name="connsiteX653" fmla="*/ 638899 w 1385794"/>
                <a:gd name="connsiteY653" fmla="*/ 299359 h 1212067"/>
                <a:gd name="connsiteX654" fmla="*/ 642500 w 1385794"/>
                <a:gd name="connsiteY654" fmla="*/ 294347 h 1212067"/>
                <a:gd name="connsiteX655" fmla="*/ 644553 w 1385794"/>
                <a:gd name="connsiteY655" fmla="*/ 292934 h 1212067"/>
                <a:gd name="connsiteX656" fmla="*/ 645630 w 1385794"/>
                <a:gd name="connsiteY656" fmla="*/ 292396 h 1212067"/>
                <a:gd name="connsiteX657" fmla="*/ 646841 w 1385794"/>
                <a:gd name="connsiteY657" fmla="*/ 290983 h 1212067"/>
                <a:gd name="connsiteX658" fmla="*/ 646639 w 1385794"/>
                <a:gd name="connsiteY658" fmla="*/ 288494 h 1212067"/>
                <a:gd name="connsiteX659" fmla="*/ 648053 w 1385794"/>
                <a:gd name="connsiteY659" fmla="*/ 286879 h 1212067"/>
                <a:gd name="connsiteX660" fmla="*/ 649904 w 1385794"/>
                <a:gd name="connsiteY660" fmla="*/ 285264 h 1212067"/>
                <a:gd name="connsiteX661" fmla="*/ 651418 w 1385794"/>
                <a:gd name="connsiteY661" fmla="*/ 284053 h 1212067"/>
                <a:gd name="connsiteX662" fmla="*/ 653168 w 1385794"/>
                <a:gd name="connsiteY662" fmla="*/ 282876 h 1212067"/>
                <a:gd name="connsiteX663" fmla="*/ 655457 w 1385794"/>
                <a:gd name="connsiteY663" fmla="*/ 280689 h 1212067"/>
                <a:gd name="connsiteX664" fmla="*/ 656534 w 1385794"/>
                <a:gd name="connsiteY664" fmla="*/ 279377 h 1212067"/>
                <a:gd name="connsiteX665" fmla="*/ 659024 w 1385794"/>
                <a:gd name="connsiteY665" fmla="*/ 276989 h 1212067"/>
                <a:gd name="connsiteX666" fmla="*/ 660236 w 1385794"/>
                <a:gd name="connsiteY666" fmla="*/ 275374 h 1212067"/>
                <a:gd name="connsiteX667" fmla="*/ 661380 w 1385794"/>
                <a:gd name="connsiteY667" fmla="*/ 273860 h 1212067"/>
                <a:gd name="connsiteX668" fmla="*/ 662322 w 1385794"/>
                <a:gd name="connsiteY668" fmla="*/ 271236 h 1212067"/>
                <a:gd name="connsiteX669" fmla="*/ 662322 w 1385794"/>
                <a:gd name="connsiteY669" fmla="*/ 267435 h 1212067"/>
                <a:gd name="connsiteX670" fmla="*/ 661346 w 1385794"/>
                <a:gd name="connsiteY670" fmla="*/ 265585 h 1212067"/>
                <a:gd name="connsiteX671" fmla="*/ 662322 w 1385794"/>
                <a:gd name="connsiteY671" fmla="*/ 264508 h 1212067"/>
                <a:gd name="connsiteX672" fmla="*/ 663635 w 1385794"/>
                <a:gd name="connsiteY672" fmla="*/ 262995 h 1212067"/>
                <a:gd name="connsiteX673" fmla="*/ 664072 w 1385794"/>
                <a:gd name="connsiteY673" fmla="*/ 262019 h 1212067"/>
                <a:gd name="connsiteX674" fmla="*/ 662760 w 1385794"/>
                <a:gd name="connsiteY674" fmla="*/ 257680 h 1212067"/>
                <a:gd name="connsiteX675" fmla="*/ 661885 w 1385794"/>
                <a:gd name="connsiteY675" fmla="*/ 256368 h 1212067"/>
                <a:gd name="connsiteX676" fmla="*/ 660471 w 1385794"/>
                <a:gd name="connsiteY676" fmla="*/ 254854 h 1212067"/>
                <a:gd name="connsiteX677" fmla="*/ 658923 w 1385794"/>
                <a:gd name="connsiteY677" fmla="*/ 252028 h 1212067"/>
                <a:gd name="connsiteX678" fmla="*/ 658788 w 1385794"/>
                <a:gd name="connsiteY678" fmla="*/ 248900 h 1212067"/>
                <a:gd name="connsiteX679" fmla="*/ 658216 w 1385794"/>
                <a:gd name="connsiteY679" fmla="*/ 246141 h 1212067"/>
                <a:gd name="connsiteX680" fmla="*/ 657341 w 1385794"/>
                <a:gd name="connsiteY680" fmla="*/ 244627 h 1212067"/>
                <a:gd name="connsiteX681" fmla="*/ 654817 w 1385794"/>
                <a:gd name="connsiteY681" fmla="*/ 242306 h 1212067"/>
                <a:gd name="connsiteX682" fmla="*/ 651923 w 1385794"/>
                <a:gd name="connsiteY682" fmla="*/ 240288 h 1212067"/>
                <a:gd name="connsiteX683" fmla="*/ 648658 w 1385794"/>
                <a:gd name="connsiteY683" fmla="*/ 238606 h 1212067"/>
                <a:gd name="connsiteX684" fmla="*/ 647144 w 1385794"/>
                <a:gd name="connsiteY684" fmla="*/ 236789 h 1212067"/>
                <a:gd name="connsiteX685" fmla="*/ 646942 w 1385794"/>
                <a:gd name="connsiteY685" fmla="*/ 235545 h 1212067"/>
                <a:gd name="connsiteX686" fmla="*/ 644990 w 1385794"/>
                <a:gd name="connsiteY686" fmla="*/ 235545 h 1212067"/>
                <a:gd name="connsiteX687" fmla="*/ 642803 w 1385794"/>
                <a:gd name="connsiteY687" fmla="*/ 235545 h 1212067"/>
                <a:gd name="connsiteX688" fmla="*/ 640110 w 1385794"/>
                <a:gd name="connsiteY688" fmla="*/ 235545 h 1212067"/>
                <a:gd name="connsiteX689" fmla="*/ 637418 w 1385794"/>
                <a:gd name="connsiteY689" fmla="*/ 235208 h 1212067"/>
                <a:gd name="connsiteX690" fmla="*/ 632774 w 1385794"/>
                <a:gd name="connsiteY690" fmla="*/ 233896 h 1212067"/>
                <a:gd name="connsiteX691" fmla="*/ 630014 w 1385794"/>
                <a:gd name="connsiteY691" fmla="*/ 232887 h 1212067"/>
                <a:gd name="connsiteX692" fmla="*/ 628701 w 1385794"/>
                <a:gd name="connsiteY692" fmla="*/ 232887 h 1212067"/>
                <a:gd name="connsiteX693" fmla="*/ 623283 w 1385794"/>
                <a:gd name="connsiteY693" fmla="*/ 231003 h 1212067"/>
                <a:gd name="connsiteX694" fmla="*/ 621331 w 1385794"/>
                <a:gd name="connsiteY694" fmla="*/ 230364 h 1212067"/>
                <a:gd name="connsiteX695" fmla="*/ 616990 w 1385794"/>
                <a:gd name="connsiteY695" fmla="*/ 228918 h 1212067"/>
                <a:gd name="connsiteX696" fmla="*/ 615610 w 1385794"/>
                <a:gd name="connsiteY696" fmla="*/ 227101 h 1212067"/>
                <a:gd name="connsiteX697" fmla="*/ 613860 w 1385794"/>
                <a:gd name="connsiteY697" fmla="*/ 227976 h 1212067"/>
                <a:gd name="connsiteX698" fmla="*/ 612278 w 1385794"/>
                <a:gd name="connsiteY698" fmla="*/ 229994 h 1212067"/>
                <a:gd name="connsiteX699" fmla="*/ 612143 w 1385794"/>
                <a:gd name="connsiteY699" fmla="*/ 231743 h 1212067"/>
                <a:gd name="connsiteX700" fmla="*/ 611134 w 1385794"/>
                <a:gd name="connsiteY700" fmla="*/ 232988 h 1212067"/>
                <a:gd name="connsiteX701" fmla="*/ 610561 w 1385794"/>
                <a:gd name="connsiteY701" fmla="*/ 234300 h 1212067"/>
                <a:gd name="connsiteX702" fmla="*/ 610057 w 1385794"/>
                <a:gd name="connsiteY702" fmla="*/ 235612 h 1212067"/>
                <a:gd name="connsiteX703" fmla="*/ 608744 w 1385794"/>
                <a:gd name="connsiteY703" fmla="*/ 236487 h 1212067"/>
                <a:gd name="connsiteX704" fmla="*/ 606859 w 1385794"/>
                <a:gd name="connsiteY704" fmla="*/ 237294 h 1212067"/>
                <a:gd name="connsiteX705" fmla="*/ 602720 w 1385794"/>
                <a:gd name="connsiteY705" fmla="*/ 236924 h 1212067"/>
                <a:gd name="connsiteX706" fmla="*/ 599388 w 1385794"/>
                <a:gd name="connsiteY706" fmla="*/ 236991 h 1212067"/>
                <a:gd name="connsiteX707" fmla="*/ 596629 w 1385794"/>
                <a:gd name="connsiteY707" fmla="*/ 237059 h 1212067"/>
                <a:gd name="connsiteX708" fmla="*/ 593667 w 1385794"/>
                <a:gd name="connsiteY708" fmla="*/ 237059 h 1212067"/>
                <a:gd name="connsiteX709" fmla="*/ 590907 w 1385794"/>
                <a:gd name="connsiteY709" fmla="*/ 235679 h 1212067"/>
                <a:gd name="connsiteX710" fmla="*/ 589460 w 1385794"/>
                <a:gd name="connsiteY710" fmla="*/ 235545 h 1212067"/>
                <a:gd name="connsiteX711" fmla="*/ 585556 w 1385794"/>
                <a:gd name="connsiteY711" fmla="*/ 233291 h 1212067"/>
                <a:gd name="connsiteX712" fmla="*/ 580474 w 1385794"/>
                <a:gd name="connsiteY712" fmla="*/ 234300 h 1212067"/>
                <a:gd name="connsiteX713" fmla="*/ 576570 w 1385794"/>
                <a:gd name="connsiteY713" fmla="*/ 235881 h 1212067"/>
                <a:gd name="connsiteX714" fmla="*/ 570916 w 1385794"/>
                <a:gd name="connsiteY714" fmla="*/ 234872 h 1212067"/>
                <a:gd name="connsiteX715" fmla="*/ 563512 w 1385794"/>
                <a:gd name="connsiteY715" fmla="*/ 235747 h 1212067"/>
                <a:gd name="connsiteX716" fmla="*/ 560618 w 1385794"/>
                <a:gd name="connsiteY716" fmla="*/ 237933 h 1212067"/>
                <a:gd name="connsiteX717" fmla="*/ 558027 w 1385794"/>
                <a:gd name="connsiteY717" fmla="*/ 240557 h 1212067"/>
                <a:gd name="connsiteX718" fmla="*/ 555267 w 1385794"/>
                <a:gd name="connsiteY718" fmla="*/ 240422 h 1212067"/>
                <a:gd name="connsiteX719" fmla="*/ 553080 w 1385794"/>
                <a:gd name="connsiteY719" fmla="*/ 240725 h 1212067"/>
                <a:gd name="connsiteX720" fmla="*/ 550757 w 1385794"/>
                <a:gd name="connsiteY720" fmla="*/ 243618 h 1212067"/>
                <a:gd name="connsiteX721" fmla="*/ 548300 w 1385794"/>
                <a:gd name="connsiteY721" fmla="*/ 245065 h 1212067"/>
                <a:gd name="connsiteX722" fmla="*/ 544228 w 1385794"/>
                <a:gd name="connsiteY722" fmla="*/ 245637 h 1212067"/>
                <a:gd name="connsiteX723" fmla="*/ 538002 w 1385794"/>
                <a:gd name="connsiteY723" fmla="*/ 248967 h 1212067"/>
                <a:gd name="connsiteX724" fmla="*/ 532348 w 1385794"/>
                <a:gd name="connsiteY724" fmla="*/ 254047 h 1212067"/>
                <a:gd name="connsiteX725" fmla="*/ 528141 w 1385794"/>
                <a:gd name="connsiteY725" fmla="*/ 257949 h 1212067"/>
                <a:gd name="connsiteX726" fmla="*/ 524237 w 1385794"/>
                <a:gd name="connsiteY726" fmla="*/ 259530 h 1212067"/>
                <a:gd name="connsiteX727" fmla="*/ 522487 w 1385794"/>
                <a:gd name="connsiteY727" fmla="*/ 263735 h 1212067"/>
                <a:gd name="connsiteX728" fmla="*/ 520603 w 1385794"/>
                <a:gd name="connsiteY728" fmla="*/ 265888 h 1212067"/>
                <a:gd name="connsiteX729" fmla="*/ 514646 w 1385794"/>
                <a:gd name="connsiteY729" fmla="*/ 265753 h 1212067"/>
                <a:gd name="connsiteX730" fmla="*/ 508184 w 1385794"/>
                <a:gd name="connsiteY730" fmla="*/ 265047 h 1212067"/>
                <a:gd name="connsiteX731" fmla="*/ 504045 w 1385794"/>
                <a:gd name="connsiteY731" fmla="*/ 263163 h 1212067"/>
                <a:gd name="connsiteX732" fmla="*/ 504045 w 1385794"/>
                <a:gd name="connsiteY732" fmla="*/ 260539 h 1212067"/>
                <a:gd name="connsiteX733" fmla="*/ 500141 w 1385794"/>
                <a:gd name="connsiteY733" fmla="*/ 260102 h 1212067"/>
                <a:gd name="connsiteX734" fmla="*/ 499434 w 1385794"/>
                <a:gd name="connsiteY734" fmla="*/ 262423 h 1212067"/>
                <a:gd name="connsiteX735" fmla="*/ 498559 w 1385794"/>
                <a:gd name="connsiteY735" fmla="*/ 262995 h 1212067"/>
                <a:gd name="connsiteX736" fmla="*/ 495867 w 1385794"/>
                <a:gd name="connsiteY736" fmla="*/ 263197 h 1212067"/>
                <a:gd name="connsiteX737" fmla="*/ 492165 w 1385794"/>
                <a:gd name="connsiteY737" fmla="*/ 262894 h 1212067"/>
                <a:gd name="connsiteX738" fmla="*/ 489775 w 1385794"/>
                <a:gd name="connsiteY738" fmla="*/ 261817 h 1212067"/>
                <a:gd name="connsiteX739" fmla="*/ 490650 w 1385794"/>
                <a:gd name="connsiteY739" fmla="*/ 259631 h 1212067"/>
                <a:gd name="connsiteX740" fmla="*/ 491727 w 1385794"/>
                <a:gd name="connsiteY740" fmla="*/ 257242 h 1212067"/>
                <a:gd name="connsiteX741" fmla="*/ 492366 w 1385794"/>
                <a:gd name="connsiteY741" fmla="*/ 255358 h 1212067"/>
                <a:gd name="connsiteX742" fmla="*/ 493006 w 1385794"/>
                <a:gd name="connsiteY742" fmla="*/ 253172 h 1212067"/>
                <a:gd name="connsiteX743" fmla="*/ 493645 w 1385794"/>
                <a:gd name="connsiteY743" fmla="*/ 250144 h 1212067"/>
                <a:gd name="connsiteX744" fmla="*/ 494958 w 1385794"/>
                <a:gd name="connsiteY744" fmla="*/ 246444 h 1212067"/>
                <a:gd name="connsiteX745" fmla="*/ 495833 w 1385794"/>
                <a:gd name="connsiteY745" fmla="*/ 245368 h 1212067"/>
                <a:gd name="connsiteX746" fmla="*/ 498155 w 1385794"/>
                <a:gd name="connsiteY746" fmla="*/ 243551 h 1212067"/>
                <a:gd name="connsiteX747" fmla="*/ 499299 w 1385794"/>
                <a:gd name="connsiteY747" fmla="*/ 242979 h 1212067"/>
                <a:gd name="connsiteX748" fmla="*/ 499670 w 1385794"/>
                <a:gd name="connsiteY748" fmla="*/ 240221 h 1212067"/>
                <a:gd name="connsiteX749" fmla="*/ 499030 w 1385794"/>
                <a:gd name="connsiteY749" fmla="*/ 238135 h 1212067"/>
                <a:gd name="connsiteX750" fmla="*/ 499333 w 1385794"/>
                <a:gd name="connsiteY750" fmla="*/ 235747 h 1212067"/>
                <a:gd name="connsiteX751" fmla="*/ 501016 w 1385794"/>
                <a:gd name="connsiteY751" fmla="*/ 233930 h 1212067"/>
                <a:gd name="connsiteX752" fmla="*/ 502261 w 1385794"/>
                <a:gd name="connsiteY752" fmla="*/ 232685 h 1212067"/>
                <a:gd name="connsiteX753" fmla="*/ 503001 w 1385794"/>
                <a:gd name="connsiteY753" fmla="*/ 229994 h 1212067"/>
                <a:gd name="connsiteX754" fmla="*/ 503069 w 1385794"/>
                <a:gd name="connsiteY754" fmla="*/ 226227 h 1212067"/>
                <a:gd name="connsiteX755" fmla="*/ 503001 w 1385794"/>
                <a:gd name="connsiteY755" fmla="*/ 222963 h 1212067"/>
                <a:gd name="connsiteX756" fmla="*/ 502867 w 1385794"/>
                <a:gd name="connsiteY756" fmla="*/ 221282 h 1212067"/>
                <a:gd name="connsiteX757" fmla="*/ 502497 w 1385794"/>
                <a:gd name="connsiteY757" fmla="*/ 219028 h 1212067"/>
                <a:gd name="connsiteX758" fmla="*/ 497785 w 1385794"/>
                <a:gd name="connsiteY758" fmla="*/ 218153 h 1212067"/>
                <a:gd name="connsiteX759" fmla="*/ 497146 w 1385794"/>
                <a:gd name="connsiteY759" fmla="*/ 215832 h 1212067"/>
                <a:gd name="connsiteX760" fmla="*/ 494319 w 1385794"/>
                <a:gd name="connsiteY760" fmla="*/ 212804 h 1212067"/>
                <a:gd name="connsiteX761" fmla="*/ 491626 w 1385794"/>
                <a:gd name="connsiteY761" fmla="*/ 212804 h 1212067"/>
                <a:gd name="connsiteX762" fmla="*/ 489304 w 1385794"/>
                <a:gd name="connsiteY762" fmla="*/ 213174 h 1212067"/>
                <a:gd name="connsiteX763" fmla="*/ 487487 w 1385794"/>
                <a:gd name="connsiteY763" fmla="*/ 210853 h 1212067"/>
                <a:gd name="connsiteX764" fmla="*/ 482842 w 1385794"/>
                <a:gd name="connsiteY764" fmla="*/ 207590 h 1212067"/>
                <a:gd name="connsiteX765" fmla="*/ 478568 w 1385794"/>
                <a:gd name="connsiteY765" fmla="*/ 203755 h 1212067"/>
                <a:gd name="connsiteX766" fmla="*/ 475539 w 1385794"/>
                <a:gd name="connsiteY766" fmla="*/ 200223 h 1212067"/>
                <a:gd name="connsiteX767" fmla="*/ 475236 w 1385794"/>
                <a:gd name="connsiteY767" fmla="*/ 196758 h 1212067"/>
                <a:gd name="connsiteX768" fmla="*/ 473049 w 1385794"/>
                <a:gd name="connsiteY768" fmla="*/ 195177 h 1212067"/>
                <a:gd name="connsiteX769" fmla="*/ 469347 w 1385794"/>
                <a:gd name="connsiteY769" fmla="*/ 192486 h 1212067"/>
                <a:gd name="connsiteX770" fmla="*/ 467327 w 1385794"/>
                <a:gd name="connsiteY770" fmla="*/ 191107 h 1212067"/>
                <a:gd name="connsiteX771" fmla="*/ 464736 w 1385794"/>
                <a:gd name="connsiteY771" fmla="*/ 187474 h 1212067"/>
                <a:gd name="connsiteX772" fmla="*/ 462481 w 1385794"/>
                <a:gd name="connsiteY772" fmla="*/ 183908 h 1212067"/>
                <a:gd name="connsiteX773" fmla="*/ 460597 w 1385794"/>
                <a:gd name="connsiteY773" fmla="*/ 178997 h 1212067"/>
                <a:gd name="connsiteX774" fmla="*/ 457837 w 1385794"/>
                <a:gd name="connsiteY774" fmla="*/ 174792 h 1212067"/>
                <a:gd name="connsiteX775" fmla="*/ 454202 w 1385794"/>
                <a:gd name="connsiteY775" fmla="*/ 167694 h 1212067"/>
                <a:gd name="connsiteX776" fmla="*/ 454202 w 1385794"/>
                <a:gd name="connsiteY776" fmla="*/ 164935 h 1212067"/>
                <a:gd name="connsiteX777" fmla="*/ 450803 w 1385794"/>
                <a:gd name="connsiteY777" fmla="*/ 160663 h 1212067"/>
                <a:gd name="connsiteX778" fmla="*/ 448717 w 1385794"/>
                <a:gd name="connsiteY778" fmla="*/ 155213 h 1212067"/>
                <a:gd name="connsiteX779" fmla="*/ 445250 w 1385794"/>
                <a:gd name="connsiteY779" fmla="*/ 151311 h 1212067"/>
                <a:gd name="connsiteX780" fmla="*/ 443500 w 1385794"/>
                <a:gd name="connsiteY780" fmla="*/ 148351 h 1212067"/>
                <a:gd name="connsiteX781" fmla="*/ 443500 w 1385794"/>
                <a:gd name="connsiteY781" fmla="*/ 146467 h 1212067"/>
                <a:gd name="connsiteX782" fmla="*/ 444308 w 1385794"/>
                <a:gd name="connsiteY782" fmla="*/ 144583 h 1212067"/>
                <a:gd name="connsiteX783" fmla="*/ 445890 w 1385794"/>
                <a:gd name="connsiteY783" fmla="*/ 143574 h 1212067"/>
                <a:gd name="connsiteX784" fmla="*/ 450669 w 1385794"/>
                <a:gd name="connsiteY784" fmla="*/ 141186 h 1212067"/>
                <a:gd name="connsiteX785" fmla="*/ 454371 w 1385794"/>
                <a:gd name="connsiteY785" fmla="*/ 139537 h 1212067"/>
                <a:gd name="connsiteX786" fmla="*/ 458409 w 1385794"/>
                <a:gd name="connsiteY786" fmla="*/ 137283 h 1212067"/>
                <a:gd name="connsiteX787" fmla="*/ 465005 w 1385794"/>
                <a:gd name="connsiteY787" fmla="*/ 132944 h 1212067"/>
                <a:gd name="connsiteX788" fmla="*/ 467395 w 1385794"/>
                <a:gd name="connsiteY788" fmla="*/ 130421 h 1212067"/>
                <a:gd name="connsiteX789" fmla="*/ 466890 w 1385794"/>
                <a:gd name="connsiteY789" fmla="*/ 128167 h 1212067"/>
                <a:gd name="connsiteX790" fmla="*/ 466318 w 1385794"/>
                <a:gd name="connsiteY790" fmla="*/ 126283 h 1212067"/>
                <a:gd name="connsiteX791" fmla="*/ 464736 w 1385794"/>
                <a:gd name="connsiteY791" fmla="*/ 124265 h 1212067"/>
                <a:gd name="connsiteX792" fmla="*/ 462212 w 1385794"/>
                <a:gd name="connsiteY792" fmla="*/ 122516 h 1212067"/>
                <a:gd name="connsiteX793" fmla="*/ 462515 w 1385794"/>
                <a:gd name="connsiteY793" fmla="*/ 119555 h 1212067"/>
                <a:gd name="connsiteX794" fmla="*/ 462818 w 1385794"/>
                <a:gd name="connsiteY794" fmla="*/ 117234 h 1212067"/>
                <a:gd name="connsiteX795" fmla="*/ 459991 w 1385794"/>
                <a:gd name="connsiteY795" fmla="*/ 112222 h 1212067"/>
                <a:gd name="connsiteX796" fmla="*/ 457366 w 1385794"/>
                <a:gd name="connsiteY796" fmla="*/ 108892 h 1212067"/>
                <a:gd name="connsiteX797" fmla="*/ 457500 w 1385794"/>
                <a:gd name="connsiteY797" fmla="*/ 105494 h 1212067"/>
                <a:gd name="connsiteX798" fmla="*/ 458308 w 1385794"/>
                <a:gd name="connsiteY798" fmla="*/ 102164 h 1212067"/>
                <a:gd name="connsiteX799" fmla="*/ 455986 w 1385794"/>
                <a:gd name="connsiteY799" fmla="*/ 97185 h 1212067"/>
                <a:gd name="connsiteX800" fmla="*/ 453899 w 1385794"/>
                <a:gd name="connsiteY800" fmla="*/ 92173 h 1212067"/>
                <a:gd name="connsiteX801" fmla="*/ 453260 w 1385794"/>
                <a:gd name="connsiteY801" fmla="*/ 88842 h 1212067"/>
                <a:gd name="connsiteX802" fmla="*/ 451443 w 1385794"/>
                <a:gd name="connsiteY802" fmla="*/ 81543 h 1212067"/>
                <a:gd name="connsiteX803" fmla="*/ 448481 w 1385794"/>
                <a:gd name="connsiteY803" fmla="*/ 75521 h 1212067"/>
                <a:gd name="connsiteX804" fmla="*/ 447337 w 1385794"/>
                <a:gd name="connsiteY804" fmla="*/ 66977 h 1212067"/>
                <a:gd name="connsiteX805" fmla="*/ 437779 w 1385794"/>
                <a:gd name="connsiteY805" fmla="*/ 45245 h 1212067"/>
                <a:gd name="connsiteX806" fmla="*/ 432865 w 1385794"/>
                <a:gd name="connsiteY806" fmla="*/ 24389 h 1212067"/>
                <a:gd name="connsiteX807" fmla="*/ 428524 w 1385794"/>
                <a:gd name="connsiteY807" fmla="*/ 3229 h 1212067"/>
                <a:gd name="connsiteX808" fmla="*/ 409677 w 1385794"/>
                <a:gd name="connsiteY808" fmla="*/ 639 h 1212067"/>
                <a:gd name="connsiteX809" fmla="*/ 398942 w 1385794"/>
                <a:gd name="connsiteY809" fmla="*/ 639 h 1212067"/>
                <a:gd name="connsiteX810" fmla="*/ 385042 w 1385794"/>
                <a:gd name="connsiteY810" fmla="*/ 639 h 1212067"/>
                <a:gd name="connsiteX811" fmla="*/ 376359 w 1385794"/>
                <a:gd name="connsiteY811" fmla="*/ 639 h 1212067"/>
                <a:gd name="connsiteX812" fmla="*/ 364176 w 1385794"/>
                <a:gd name="connsiteY812" fmla="*/ 639 h 1212067"/>
                <a:gd name="connsiteX813" fmla="*/ 357210 w 1385794"/>
                <a:gd name="connsiteY813" fmla="*/ 639 h 1212067"/>
                <a:gd name="connsiteX814" fmla="*/ 348964 w 1385794"/>
                <a:gd name="connsiteY814" fmla="*/ 0 h 1212067"/>
                <a:gd name="connsiteX815" fmla="*/ 341695 w 1385794"/>
                <a:gd name="connsiteY815" fmla="*/ 639 h 1212067"/>
                <a:gd name="connsiteX816" fmla="*/ 335503 w 1385794"/>
                <a:gd name="connsiteY816" fmla="*/ 4878 h 1212067"/>
                <a:gd name="connsiteX817" fmla="*/ 329748 w 1385794"/>
                <a:gd name="connsiteY817" fmla="*/ 8343 h 1212067"/>
                <a:gd name="connsiteX818" fmla="*/ 327123 w 1385794"/>
                <a:gd name="connsiteY818" fmla="*/ 11606 h 1212067"/>
                <a:gd name="connsiteX819" fmla="*/ 326483 w 1385794"/>
                <a:gd name="connsiteY819" fmla="*/ 16820 h 1212067"/>
                <a:gd name="connsiteX820" fmla="*/ 326483 w 1385794"/>
                <a:gd name="connsiteY820" fmla="*/ 20958 h 1212067"/>
                <a:gd name="connsiteX821" fmla="*/ 325406 w 1385794"/>
                <a:gd name="connsiteY821" fmla="*/ 27484 h 1212067"/>
                <a:gd name="connsiteX822" fmla="*/ 326820 w 1385794"/>
                <a:gd name="connsiteY822" fmla="*/ 38114 h 1212067"/>
                <a:gd name="connsiteX823" fmla="*/ 325945 w 1385794"/>
                <a:gd name="connsiteY823" fmla="*/ 49181 h 1212067"/>
                <a:gd name="connsiteX824" fmla="*/ 322916 w 1385794"/>
                <a:gd name="connsiteY824" fmla="*/ 57120 h 1212067"/>
                <a:gd name="connsiteX825" fmla="*/ 320728 w 1385794"/>
                <a:gd name="connsiteY825" fmla="*/ 68625 h 1212067"/>
                <a:gd name="connsiteX826" fmla="*/ 325305 w 1385794"/>
                <a:gd name="connsiteY826" fmla="*/ 73839 h 1212067"/>
                <a:gd name="connsiteX827" fmla="*/ 325507 w 1385794"/>
                <a:gd name="connsiteY827" fmla="*/ 76463 h 1212067"/>
                <a:gd name="connsiteX828" fmla="*/ 322916 w 1385794"/>
                <a:gd name="connsiteY828" fmla="*/ 79490 h 1212067"/>
                <a:gd name="connsiteX829" fmla="*/ 317026 w 1385794"/>
                <a:gd name="connsiteY829" fmla="*/ 82518 h 1212067"/>
                <a:gd name="connsiteX830" fmla="*/ 313560 w 1385794"/>
                <a:gd name="connsiteY830" fmla="*/ 85007 h 1212067"/>
                <a:gd name="connsiteX831" fmla="*/ 309420 w 1385794"/>
                <a:gd name="connsiteY831" fmla="*/ 90659 h 1212067"/>
                <a:gd name="connsiteX832" fmla="*/ 300502 w 1385794"/>
                <a:gd name="connsiteY832" fmla="*/ 91197 h 1212067"/>
                <a:gd name="connsiteX833" fmla="*/ 289732 w 1385794"/>
                <a:gd name="connsiteY833" fmla="*/ 87934 h 1212067"/>
                <a:gd name="connsiteX834" fmla="*/ 284852 w 1385794"/>
                <a:gd name="connsiteY834" fmla="*/ 86757 h 1212067"/>
                <a:gd name="connsiteX835" fmla="*/ 279838 w 1385794"/>
                <a:gd name="connsiteY835" fmla="*/ 84806 h 1212067"/>
                <a:gd name="connsiteX836" fmla="*/ 275496 w 1385794"/>
                <a:gd name="connsiteY836" fmla="*/ 84032 h 1212067"/>
                <a:gd name="connsiteX837" fmla="*/ 272030 w 1385794"/>
                <a:gd name="connsiteY837" fmla="*/ 84032 h 1212067"/>
                <a:gd name="connsiteX838" fmla="*/ 267588 w 1385794"/>
                <a:gd name="connsiteY838" fmla="*/ 86656 h 1212067"/>
                <a:gd name="connsiteX839" fmla="*/ 264424 w 1385794"/>
                <a:gd name="connsiteY839" fmla="*/ 87429 h 1212067"/>
                <a:gd name="connsiteX840" fmla="*/ 261160 w 1385794"/>
                <a:gd name="connsiteY840" fmla="*/ 88741 h 1212067"/>
                <a:gd name="connsiteX841" fmla="*/ 258232 w 1385794"/>
                <a:gd name="connsiteY841" fmla="*/ 89179 h 1212067"/>
                <a:gd name="connsiteX842" fmla="*/ 252039 w 1385794"/>
                <a:gd name="connsiteY842" fmla="*/ 86790 h 1212067"/>
                <a:gd name="connsiteX843" fmla="*/ 249010 w 1385794"/>
                <a:gd name="connsiteY843" fmla="*/ 87228 h 1212067"/>
                <a:gd name="connsiteX844" fmla="*/ 230433 w 1385794"/>
                <a:gd name="connsiteY844" fmla="*/ 92105 h 1212067"/>
                <a:gd name="connsiteX845" fmla="*/ 215322 w 1385794"/>
                <a:gd name="connsiteY845" fmla="*/ 94157 h 1212067"/>
                <a:gd name="connsiteX846" fmla="*/ 211183 w 1385794"/>
                <a:gd name="connsiteY846" fmla="*/ 97219 h 1212067"/>
                <a:gd name="connsiteX847" fmla="*/ 206067 w 1385794"/>
                <a:gd name="connsiteY847" fmla="*/ 99271 h 1212067"/>
                <a:gd name="connsiteX848" fmla="*/ 199875 w 1385794"/>
                <a:gd name="connsiteY848" fmla="*/ 102197 h 1212067"/>
                <a:gd name="connsiteX849" fmla="*/ 194557 w 1385794"/>
                <a:gd name="connsiteY849" fmla="*/ 105460 h 1212067"/>
                <a:gd name="connsiteX850" fmla="*/ 190552 w 1385794"/>
                <a:gd name="connsiteY850" fmla="*/ 108824 h 1212067"/>
                <a:gd name="connsiteX851" fmla="*/ 186850 w 1385794"/>
                <a:gd name="connsiteY851" fmla="*/ 111314 h 1212067"/>
                <a:gd name="connsiteX852" fmla="*/ 178706 w 1385794"/>
                <a:gd name="connsiteY852" fmla="*/ 118479 h 1212067"/>
                <a:gd name="connsiteX853" fmla="*/ 164672 w 1385794"/>
                <a:gd name="connsiteY853" fmla="*/ 128470 h 1212067"/>
                <a:gd name="connsiteX854" fmla="*/ 159018 w 1385794"/>
                <a:gd name="connsiteY854" fmla="*/ 133146 h 1212067"/>
                <a:gd name="connsiteX855" fmla="*/ 150638 w 1385794"/>
                <a:gd name="connsiteY855" fmla="*/ 139335 h 1212067"/>
                <a:gd name="connsiteX856" fmla="*/ 141080 w 1385794"/>
                <a:gd name="connsiteY856" fmla="*/ 144987 h 1212067"/>
                <a:gd name="connsiteX857" fmla="*/ 131085 w 1385794"/>
                <a:gd name="connsiteY857" fmla="*/ 151614 h 1212067"/>
                <a:gd name="connsiteX858" fmla="*/ 123580 w 1385794"/>
                <a:gd name="connsiteY858" fmla="*/ 160091 h 1212067"/>
                <a:gd name="connsiteX859" fmla="*/ 118700 w 1385794"/>
                <a:gd name="connsiteY859" fmla="*/ 168131 h 1212067"/>
                <a:gd name="connsiteX860" fmla="*/ 114022 w 1385794"/>
                <a:gd name="connsiteY860" fmla="*/ 171394 h 1212067"/>
                <a:gd name="connsiteX861" fmla="*/ 108368 w 1385794"/>
                <a:gd name="connsiteY861" fmla="*/ 177247 h 1212067"/>
                <a:gd name="connsiteX862" fmla="*/ 106079 w 1385794"/>
                <a:gd name="connsiteY862" fmla="*/ 181688 h 1212067"/>
                <a:gd name="connsiteX863" fmla="*/ 105002 w 1385794"/>
                <a:gd name="connsiteY863" fmla="*/ 184850 h 1212067"/>
                <a:gd name="connsiteX864" fmla="*/ 103252 w 1385794"/>
                <a:gd name="connsiteY864" fmla="*/ 187137 h 1212067"/>
                <a:gd name="connsiteX865" fmla="*/ 101199 w 1385794"/>
                <a:gd name="connsiteY865" fmla="*/ 190165 h 1212067"/>
                <a:gd name="connsiteX866" fmla="*/ 100324 w 1385794"/>
                <a:gd name="connsiteY866" fmla="*/ 191914 h 1212067"/>
                <a:gd name="connsiteX867" fmla="*/ 99247 w 1385794"/>
                <a:gd name="connsiteY867" fmla="*/ 193125 h 1212067"/>
                <a:gd name="connsiteX868" fmla="*/ 97497 w 1385794"/>
                <a:gd name="connsiteY868" fmla="*/ 193899 h 1212067"/>
                <a:gd name="connsiteX869" fmla="*/ 95747 w 1385794"/>
                <a:gd name="connsiteY869" fmla="*/ 194538 h 1212067"/>
                <a:gd name="connsiteX870" fmla="*/ 94435 w 1385794"/>
                <a:gd name="connsiteY870" fmla="*/ 195749 h 1212067"/>
                <a:gd name="connsiteX871" fmla="*/ 93560 w 1385794"/>
                <a:gd name="connsiteY871" fmla="*/ 196186 h 1212067"/>
                <a:gd name="connsiteX872" fmla="*/ 92786 w 1385794"/>
                <a:gd name="connsiteY872" fmla="*/ 196725 h 1212067"/>
                <a:gd name="connsiteX873" fmla="*/ 91608 w 1385794"/>
                <a:gd name="connsiteY873" fmla="*/ 197936 h 1212067"/>
                <a:gd name="connsiteX874" fmla="*/ 89656 w 1385794"/>
                <a:gd name="connsiteY874" fmla="*/ 199550 h 1212067"/>
                <a:gd name="connsiteX875" fmla="*/ 87704 w 1385794"/>
                <a:gd name="connsiteY875" fmla="*/ 200425 h 1212067"/>
                <a:gd name="connsiteX876" fmla="*/ 86627 w 1385794"/>
                <a:gd name="connsiteY876" fmla="*/ 200862 h 1212067"/>
                <a:gd name="connsiteX877" fmla="*/ 85113 w 1385794"/>
                <a:gd name="connsiteY877" fmla="*/ 201401 h 1212067"/>
                <a:gd name="connsiteX878" fmla="*/ 83699 w 1385794"/>
                <a:gd name="connsiteY878" fmla="*/ 202477 h 1212067"/>
                <a:gd name="connsiteX879" fmla="*/ 82387 w 1385794"/>
                <a:gd name="connsiteY879" fmla="*/ 203553 h 1212067"/>
                <a:gd name="connsiteX880" fmla="*/ 80435 w 1385794"/>
                <a:gd name="connsiteY880" fmla="*/ 204765 h 1212067"/>
                <a:gd name="connsiteX881" fmla="*/ 78684 w 1385794"/>
                <a:gd name="connsiteY881" fmla="*/ 205404 h 1212067"/>
                <a:gd name="connsiteX882" fmla="*/ 76732 w 1385794"/>
                <a:gd name="connsiteY882" fmla="*/ 206278 h 1212067"/>
                <a:gd name="connsiteX883" fmla="*/ 74444 w 1385794"/>
                <a:gd name="connsiteY883" fmla="*/ 206917 h 1212067"/>
                <a:gd name="connsiteX884" fmla="*/ 72694 w 1385794"/>
                <a:gd name="connsiteY884" fmla="*/ 207456 h 1212067"/>
                <a:gd name="connsiteX885" fmla="*/ 71617 w 1385794"/>
                <a:gd name="connsiteY885" fmla="*/ 208095 h 1212067"/>
                <a:gd name="connsiteX886" fmla="*/ 68992 w 1385794"/>
                <a:gd name="connsiteY886" fmla="*/ 209070 h 1212067"/>
                <a:gd name="connsiteX887" fmla="*/ 66064 w 1385794"/>
                <a:gd name="connsiteY887" fmla="*/ 209844 h 1212067"/>
                <a:gd name="connsiteX888" fmla="*/ 62463 w 1385794"/>
                <a:gd name="connsiteY888" fmla="*/ 210046 h 1212067"/>
                <a:gd name="connsiteX889" fmla="*/ 59636 w 1385794"/>
                <a:gd name="connsiteY889" fmla="*/ 210147 h 1212067"/>
                <a:gd name="connsiteX890" fmla="*/ 55631 w 1385794"/>
                <a:gd name="connsiteY890" fmla="*/ 209810 h 1212067"/>
                <a:gd name="connsiteX891" fmla="*/ 52602 w 1385794"/>
                <a:gd name="connsiteY891" fmla="*/ 208936 h 1212067"/>
                <a:gd name="connsiteX892" fmla="*/ 49001 w 1385794"/>
                <a:gd name="connsiteY892" fmla="*/ 207624 h 1212067"/>
                <a:gd name="connsiteX893" fmla="*/ 42371 w 1385794"/>
                <a:gd name="connsiteY893" fmla="*/ 204462 h 1212067"/>
                <a:gd name="connsiteX894" fmla="*/ 37054 w 1385794"/>
                <a:gd name="connsiteY894" fmla="*/ 204361 h 1212067"/>
                <a:gd name="connsiteX895" fmla="*/ 32174 w 1385794"/>
                <a:gd name="connsiteY895" fmla="*/ 203049 h 1212067"/>
                <a:gd name="connsiteX896" fmla="*/ 29448 w 1385794"/>
                <a:gd name="connsiteY896" fmla="*/ 201838 h 1212067"/>
                <a:gd name="connsiteX897" fmla="*/ 26621 w 1385794"/>
                <a:gd name="connsiteY897" fmla="*/ 201300 h 1212067"/>
                <a:gd name="connsiteX898" fmla="*/ 24400 w 1385794"/>
                <a:gd name="connsiteY898" fmla="*/ 201199 h 1212067"/>
                <a:gd name="connsiteX899" fmla="*/ 22515 w 1385794"/>
                <a:gd name="connsiteY899" fmla="*/ 201300 h 1212067"/>
                <a:gd name="connsiteX900" fmla="*/ 22515 w 1385794"/>
                <a:gd name="connsiteY900" fmla="*/ 203049 h 1212067"/>
                <a:gd name="connsiteX901" fmla="*/ 22515 w 1385794"/>
                <a:gd name="connsiteY901" fmla="*/ 206514 h 1212067"/>
                <a:gd name="connsiteX902" fmla="*/ 22515 w 1385794"/>
                <a:gd name="connsiteY902" fmla="*/ 208129 h 1212067"/>
                <a:gd name="connsiteX903" fmla="*/ 22852 w 1385794"/>
                <a:gd name="connsiteY903" fmla="*/ 210315 h 1212067"/>
                <a:gd name="connsiteX904" fmla="*/ 22347 w 1385794"/>
                <a:gd name="connsiteY904" fmla="*/ 212804 h 1212067"/>
                <a:gd name="connsiteX905" fmla="*/ 21875 w 1385794"/>
                <a:gd name="connsiteY905" fmla="*/ 235612 h 1212067"/>
                <a:gd name="connsiteX906" fmla="*/ 22952 w 1385794"/>
                <a:gd name="connsiteY906" fmla="*/ 239851 h 1212067"/>
                <a:gd name="connsiteX907" fmla="*/ 23188 w 1385794"/>
                <a:gd name="connsiteY907" fmla="*/ 242239 h 1212067"/>
                <a:gd name="connsiteX908" fmla="*/ 21875 w 1385794"/>
                <a:gd name="connsiteY908" fmla="*/ 245704 h 1212067"/>
                <a:gd name="connsiteX909" fmla="*/ 19385 w 1385794"/>
                <a:gd name="connsiteY909" fmla="*/ 248731 h 1212067"/>
                <a:gd name="connsiteX910" fmla="*/ 17332 w 1385794"/>
                <a:gd name="connsiteY910" fmla="*/ 250784 h 1212067"/>
                <a:gd name="connsiteX911" fmla="*/ 13731 w 1385794"/>
                <a:gd name="connsiteY911" fmla="*/ 255661 h 1212067"/>
                <a:gd name="connsiteX912" fmla="*/ 10265 w 1385794"/>
                <a:gd name="connsiteY912" fmla="*/ 257713 h 1212067"/>
                <a:gd name="connsiteX913" fmla="*/ 8414 w 1385794"/>
                <a:gd name="connsiteY913" fmla="*/ 260875 h 1212067"/>
                <a:gd name="connsiteX914" fmla="*/ 5923 w 1385794"/>
                <a:gd name="connsiteY914" fmla="*/ 264576 h 1212067"/>
                <a:gd name="connsiteX915" fmla="*/ 4308 w 1385794"/>
                <a:gd name="connsiteY915" fmla="*/ 267267 h 1212067"/>
                <a:gd name="connsiteX916" fmla="*/ 4308 w 1385794"/>
                <a:gd name="connsiteY916" fmla="*/ 269117 h 1212067"/>
                <a:gd name="connsiteX917" fmla="*/ 4644 w 1385794"/>
                <a:gd name="connsiteY917" fmla="*/ 271068 h 1212067"/>
                <a:gd name="connsiteX918" fmla="*/ 5183 w 1385794"/>
                <a:gd name="connsiteY918" fmla="*/ 273154 h 1212067"/>
                <a:gd name="connsiteX919" fmla="*/ 5183 w 1385794"/>
                <a:gd name="connsiteY919" fmla="*/ 275980 h 1212067"/>
                <a:gd name="connsiteX920" fmla="*/ 4308 w 1385794"/>
                <a:gd name="connsiteY920" fmla="*/ 279243 h 1212067"/>
                <a:gd name="connsiteX921" fmla="*/ 3467 w 1385794"/>
                <a:gd name="connsiteY921" fmla="*/ 288056 h 1212067"/>
                <a:gd name="connsiteX922" fmla="*/ 3467 w 1385794"/>
                <a:gd name="connsiteY922" fmla="*/ 295121 h 1212067"/>
                <a:gd name="connsiteX923" fmla="*/ 0 w 1385794"/>
                <a:gd name="connsiteY923" fmla="*/ 298720 h 1212067"/>
                <a:gd name="connsiteX924" fmla="*/ 0 w 1385794"/>
                <a:gd name="connsiteY924" fmla="*/ 302084 h 1212067"/>
                <a:gd name="connsiteX925" fmla="*/ 1178 w 1385794"/>
                <a:gd name="connsiteY925" fmla="*/ 305549 h 1212067"/>
                <a:gd name="connsiteX926" fmla="*/ 1817 w 1385794"/>
                <a:gd name="connsiteY926" fmla="*/ 309687 h 1212067"/>
                <a:gd name="connsiteX927" fmla="*/ 2154 w 1385794"/>
                <a:gd name="connsiteY927" fmla="*/ 312849 h 1212067"/>
                <a:gd name="connsiteX928" fmla="*/ 2928 w 1385794"/>
                <a:gd name="connsiteY928" fmla="*/ 313387 h 1212067"/>
                <a:gd name="connsiteX929" fmla="*/ 6933 w 1385794"/>
                <a:gd name="connsiteY929" fmla="*/ 315977 h 1212067"/>
                <a:gd name="connsiteX930" fmla="*/ 7909 w 1385794"/>
                <a:gd name="connsiteY930" fmla="*/ 316953 h 1212067"/>
                <a:gd name="connsiteX931" fmla="*/ 9760 w 1385794"/>
                <a:gd name="connsiteY931" fmla="*/ 318164 h 1212067"/>
                <a:gd name="connsiteX932" fmla="*/ 10029 w 1385794"/>
                <a:gd name="connsiteY932" fmla="*/ 319913 h 1212067"/>
                <a:gd name="connsiteX933" fmla="*/ 10399 w 1385794"/>
                <a:gd name="connsiteY933" fmla="*/ 322940 h 1212067"/>
                <a:gd name="connsiteX934" fmla="*/ 10399 w 1385794"/>
                <a:gd name="connsiteY934" fmla="*/ 324690 h 1212067"/>
                <a:gd name="connsiteX935" fmla="*/ 10298 w 1385794"/>
                <a:gd name="connsiteY935" fmla="*/ 326540 h 1212067"/>
                <a:gd name="connsiteX936" fmla="*/ 10063 w 1385794"/>
                <a:gd name="connsiteY936" fmla="*/ 329029 h 1212067"/>
                <a:gd name="connsiteX937" fmla="*/ 9625 w 1385794"/>
                <a:gd name="connsiteY937" fmla="*/ 331754 h 1212067"/>
                <a:gd name="connsiteX938" fmla="*/ 8851 w 1385794"/>
                <a:gd name="connsiteY938" fmla="*/ 335892 h 1212067"/>
                <a:gd name="connsiteX939" fmla="*/ 8313 w 1385794"/>
                <a:gd name="connsiteY939" fmla="*/ 337507 h 1212067"/>
                <a:gd name="connsiteX940" fmla="*/ 7673 w 1385794"/>
                <a:gd name="connsiteY940" fmla="*/ 339357 h 1212067"/>
                <a:gd name="connsiteX941" fmla="*/ 6899 w 1385794"/>
                <a:gd name="connsiteY941" fmla="*/ 342519 h 1212067"/>
                <a:gd name="connsiteX942" fmla="*/ 6899 w 1385794"/>
                <a:gd name="connsiteY942" fmla="*/ 344907 h 1212067"/>
                <a:gd name="connsiteX943" fmla="*/ 7000 w 1385794"/>
                <a:gd name="connsiteY943" fmla="*/ 346993 h 1212067"/>
                <a:gd name="connsiteX944" fmla="*/ 7101 w 1385794"/>
                <a:gd name="connsiteY944" fmla="*/ 348608 h 1212067"/>
                <a:gd name="connsiteX945" fmla="*/ 8717 w 1385794"/>
                <a:gd name="connsiteY945" fmla="*/ 350794 h 1212067"/>
                <a:gd name="connsiteX946" fmla="*/ 11645 w 1385794"/>
                <a:gd name="connsiteY946" fmla="*/ 353384 h 1212067"/>
                <a:gd name="connsiteX947" fmla="*/ 13496 w 1385794"/>
                <a:gd name="connsiteY947" fmla="*/ 354999 h 1212067"/>
                <a:gd name="connsiteX948" fmla="*/ 15683 w 1385794"/>
                <a:gd name="connsiteY948" fmla="*/ 354225 h 1212067"/>
                <a:gd name="connsiteX949" fmla="*/ 18847 w 1385794"/>
                <a:gd name="connsiteY949" fmla="*/ 354024 h 1212067"/>
                <a:gd name="connsiteX950" fmla="*/ 27328 w 1385794"/>
                <a:gd name="connsiteY950" fmla="*/ 353485 h 1212067"/>
                <a:gd name="connsiteX951" fmla="*/ 34395 w 1385794"/>
                <a:gd name="connsiteY951" fmla="*/ 352947 h 1212067"/>
                <a:gd name="connsiteX952" fmla="*/ 36246 w 1385794"/>
                <a:gd name="connsiteY952" fmla="*/ 350761 h 1212067"/>
                <a:gd name="connsiteX953" fmla="*/ 38299 w 1385794"/>
                <a:gd name="connsiteY953" fmla="*/ 350962 h 1212067"/>
                <a:gd name="connsiteX954" fmla="*/ 40049 w 1385794"/>
                <a:gd name="connsiteY954" fmla="*/ 352274 h 1212067"/>
                <a:gd name="connsiteX955" fmla="*/ 44727 w 1385794"/>
                <a:gd name="connsiteY955" fmla="*/ 353149 h 1212067"/>
                <a:gd name="connsiteX956" fmla="*/ 47991 w 1385794"/>
                <a:gd name="connsiteY956" fmla="*/ 352947 h 1212067"/>
                <a:gd name="connsiteX957" fmla="*/ 50819 w 1385794"/>
                <a:gd name="connsiteY957" fmla="*/ 350559 h 1212067"/>
                <a:gd name="connsiteX958" fmla="*/ 52232 w 1385794"/>
                <a:gd name="connsiteY958" fmla="*/ 347733 h 1212067"/>
                <a:gd name="connsiteX959" fmla="*/ 52871 w 1385794"/>
                <a:gd name="connsiteY959" fmla="*/ 345345 h 1212067"/>
                <a:gd name="connsiteX960" fmla="*/ 53410 w 1385794"/>
                <a:gd name="connsiteY960" fmla="*/ 345008 h 1212067"/>
                <a:gd name="connsiteX961" fmla="*/ 56136 w 1385794"/>
                <a:gd name="connsiteY961" fmla="*/ 345345 h 1212067"/>
                <a:gd name="connsiteX962" fmla="*/ 59939 w 1385794"/>
                <a:gd name="connsiteY962" fmla="*/ 346959 h 1212067"/>
                <a:gd name="connsiteX963" fmla="*/ 63540 w 1385794"/>
                <a:gd name="connsiteY963" fmla="*/ 348574 h 1212067"/>
                <a:gd name="connsiteX964" fmla="*/ 68420 w 1385794"/>
                <a:gd name="connsiteY964" fmla="*/ 349886 h 1212067"/>
                <a:gd name="connsiteX965" fmla="*/ 75588 w 1385794"/>
                <a:gd name="connsiteY965" fmla="*/ 349886 h 1212067"/>
                <a:gd name="connsiteX966" fmla="*/ 81781 w 1385794"/>
                <a:gd name="connsiteY966" fmla="*/ 350861 h 1212067"/>
                <a:gd name="connsiteX967" fmla="*/ 88411 w 1385794"/>
                <a:gd name="connsiteY967" fmla="*/ 351635 h 1212067"/>
                <a:gd name="connsiteX968" fmla="*/ 92214 w 1385794"/>
                <a:gd name="connsiteY968" fmla="*/ 353048 h 1212067"/>
                <a:gd name="connsiteX969" fmla="*/ 95478 w 1385794"/>
                <a:gd name="connsiteY969" fmla="*/ 354562 h 1212067"/>
                <a:gd name="connsiteX970" fmla="*/ 99281 w 1385794"/>
                <a:gd name="connsiteY970" fmla="*/ 355100 h 1212067"/>
                <a:gd name="connsiteX971" fmla="*/ 102882 w 1385794"/>
                <a:gd name="connsiteY971" fmla="*/ 355335 h 1212067"/>
                <a:gd name="connsiteX972" fmla="*/ 106349 w 1385794"/>
                <a:gd name="connsiteY972" fmla="*/ 354125 h 1212067"/>
                <a:gd name="connsiteX973" fmla="*/ 110152 w 1385794"/>
                <a:gd name="connsiteY973" fmla="*/ 353485 h 1212067"/>
                <a:gd name="connsiteX974" fmla="*/ 113854 w 1385794"/>
                <a:gd name="connsiteY974" fmla="*/ 351972 h 1212067"/>
                <a:gd name="connsiteX975" fmla="*/ 117892 w 1385794"/>
                <a:gd name="connsiteY975" fmla="*/ 350660 h 1212067"/>
                <a:gd name="connsiteX976" fmla="*/ 119945 w 1385794"/>
                <a:gd name="connsiteY976" fmla="*/ 350323 h 1212067"/>
                <a:gd name="connsiteX977" fmla="*/ 121796 w 1385794"/>
                <a:gd name="connsiteY977" fmla="*/ 351736 h 1212067"/>
                <a:gd name="connsiteX978" fmla="*/ 124522 w 1385794"/>
                <a:gd name="connsiteY978" fmla="*/ 354125 h 1212067"/>
                <a:gd name="connsiteX979" fmla="*/ 128123 w 1385794"/>
                <a:gd name="connsiteY979" fmla="*/ 356176 h 1212067"/>
                <a:gd name="connsiteX980" fmla="*/ 137142 w 1385794"/>
                <a:gd name="connsiteY980" fmla="*/ 355100 h 1212067"/>
                <a:gd name="connsiteX981" fmla="*/ 143133 w 1385794"/>
                <a:gd name="connsiteY981" fmla="*/ 356076 h 1212067"/>
                <a:gd name="connsiteX982" fmla="*/ 146936 w 1385794"/>
                <a:gd name="connsiteY982" fmla="*/ 358464 h 1212067"/>
                <a:gd name="connsiteX983" fmla="*/ 153128 w 1385794"/>
                <a:gd name="connsiteY983" fmla="*/ 362904 h 1212067"/>
                <a:gd name="connsiteX984" fmla="*/ 159556 w 1385794"/>
                <a:gd name="connsiteY984" fmla="*/ 367244 h 1212067"/>
                <a:gd name="connsiteX985" fmla="*/ 165984 w 1385794"/>
                <a:gd name="connsiteY985" fmla="*/ 369094 h 1212067"/>
                <a:gd name="connsiteX986" fmla="*/ 173489 w 1385794"/>
                <a:gd name="connsiteY986" fmla="*/ 369296 h 1212067"/>
                <a:gd name="connsiteX987" fmla="*/ 178067 w 1385794"/>
                <a:gd name="connsiteY987" fmla="*/ 369195 h 1212067"/>
                <a:gd name="connsiteX988" fmla="*/ 184494 w 1385794"/>
                <a:gd name="connsiteY988" fmla="*/ 371247 h 1212067"/>
                <a:gd name="connsiteX989" fmla="*/ 190485 w 1385794"/>
                <a:gd name="connsiteY989" fmla="*/ 375385 h 1212067"/>
                <a:gd name="connsiteX990" fmla="*/ 195500 w 1385794"/>
                <a:gd name="connsiteY990" fmla="*/ 379085 h 1212067"/>
                <a:gd name="connsiteX991" fmla="*/ 203745 w 1385794"/>
                <a:gd name="connsiteY991" fmla="*/ 378009 h 1212067"/>
                <a:gd name="connsiteX992" fmla="*/ 209298 w 1385794"/>
                <a:gd name="connsiteY992" fmla="*/ 379623 h 1212067"/>
                <a:gd name="connsiteX993" fmla="*/ 212899 w 1385794"/>
                <a:gd name="connsiteY993" fmla="*/ 387327 h 1212067"/>
                <a:gd name="connsiteX994" fmla="*/ 217678 w 1385794"/>
                <a:gd name="connsiteY994" fmla="*/ 391128 h 1212067"/>
                <a:gd name="connsiteX995" fmla="*/ 225519 w 1385794"/>
                <a:gd name="connsiteY995" fmla="*/ 400816 h 1212067"/>
                <a:gd name="connsiteX996" fmla="*/ 235077 w 1385794"/>
                <a:gd name="connsiteY996" fmla="*/ 408419 h 1212067"/>
                <a:gd name="connsiteX997" fmla="*/ 237366 w 1385794"/>
                <a:gd name="connsiteY997" fmla="*/ 410706 h 1212067"/>
                <a:gd name="connsiteX998" fmla="*/ 242145 w 1385794"/>
                <a:gd name="connsiteY998" fmla="*/ 415046 h 1212067"/>
                <a:gd name="connsiteX999" fmla="*/ 243222 w 1385794"/>
                <a:gd name="connsiteY999" fmla="*/ 423187 h 1212067"/>
                <a:gd name="connsiteX1000" fmla="*/ 244871 w 1385794"/>
                <a:gd name="connsiteY1000" fmla="*/ 424499 h 1212067"/>
                <a:gd name="connsiteX1001" fmla="*/ 248674 w 1385794"/>
                <a:gd name="connsiteY1001" fmla="*/ 426349 h 1212067"/>
                <a:gd name="connsiteX1002" fmla="*/ 251164 w 1385794"/>
                <a:gd name="connsiteY1002" fmla="*/ 427863 h 1212067"/>
                <a:gd name="connsiteX1003" fmla="*/ 254092 w 1385794"/>
                <a:gd name="connsiteY1003" fmla="*/ 430587 h 1212067"/>
                <a:gd name="connsiteX1004" fmla="*/ 258972 w 1385794"/>
                <a:gd name="connsiteY1004" fmla="*/ 435802 h 1212067"/>
                <a:gd name="connsiteX1005" fmla="*/ 265501 w 1385794"/>
                <a:gd name="connsiteY1005" fmla="*/ 442092 h 1212067"/>
                <a:gd name="connsiteX1006" fmla="*/ 269943 w 1385794"/>
                <a:gd name="connsiteY1006" fmla="*/ 446331 h 1212067"/>
                <a:gd name="connsiteX1007" fmla="*/ 281891 w 1385794"/>
                <a:gd name="connsiteY1007" fmla="*/ 453933 h 1212067"/>
                <a:gd name="connsiteX1008" fmla="*/ 287982 w 1385794"/>
                <a:gd name="connsiteY1008" fmla="*/ 456759 h 1212067"/>
                <a:gd name="connsiteX1009" fmla="*/ 290574 w 1385794"/>
                <a:gd name="connsiteY1009" fmla="*/ 456759 h 1212067"/>
                <a:gd name="connsiteX1010" fmla="*/ 297103 w 1385794"/>
                <a:gd name="connsiteY1010" fmla="*/ 459248 h 1212067"/>
                <a:gd name="connsiteX1011" fmla="*/ 300906 w 1385794"/>
                <a:gd name="connsiteY1011" fmla="*/ 461099 h 1212067"/>
                <a:gd name="connsiteX1012" fmla="*/ 305785 w 1385794"/>
                <a:gd name="connsiteY1012" fmla="*/ 466649 h 1212067"/>
                <a:gd name="connsiteX1013" fmla="*/ 310026 w 1385794"/>
                <a:gd name="connsiteY1013" fmla="*/ 470652 h 1212067"/>
                <a:gd name="connsiteX1014" fmla="*/ 309925 w 1385794"/>
                <a:gd name="connsiteY1014" fmla="*/ 476505 h 1212067"/>
                <a:gd name="connsiteX1015" fmla="*/ 309723 w 1385794"/>
                <a:gd name="connsiteY1015" fmla="*/ 478894 h 1212067"/>
                <a:gd name="connsiteX1016" fmla="*/ 311473 w 1385794"/>
                <a:gd name="connsiteY1016" fmla="*/ 482493 h 1212067"/>
                <a:gd name="connsiteX1017" fmla="*/ 314839 w 1385794"/>
                <a:gd name="connsiteY1017" fmla="*/ 483368 h 1212067"/>
                <a:gd name="connsiteX1018" fmla="*/ 318642 w 1385794"/>
                <a:gd name="connsiteY1018" fmla="*/ 487068 h 1212067"/>
                <a:gd name="connsiteX1019" fmla="*/ 322546 w 1385794"/>
                <a:gd name="connsiteY1019" fmla="*/ 490432 h 1212067"/>
                <a:gd name="connsiteX1020" fmla="*/ 326685 w 1385794"/>
                <a:gd name="connsiteY1020" fmla="*/ 493796 h 1212067"/>
                <a:gd name="connsiteX1021" fmla="*/ 329075 w 1385794"/>
                <a:gd name="connsiteY1021" fmla="*/ 495007 h 1212067"/>
                <a:gd name="connsiteX1022" fmla="*/ 334392 w 1385794"/>
                <a:gd name="connsiteY1022" fmla="*/ 495546 h 1212067"/>
                <a:gd name="connsiteX1023" fmla="*/ 338094 w 1385794"/>
                <a:gd name="connsiteY1023" fmla="*/ 493931 h 1212067"/>
                <a:gd name="connsiteX1024" fmla="*/ 342570 w 1385794"/>
                <a:gd name="connsiteY1024" fmla="*/ 493931 h 1212067"/>
                <a:gd name="connsiteX1025" fmla="*/ 346911 w 1385794"/>
                <a:gd name="connsiteY1025" fmla="*/ 493056 h 1212067"/>
                <a:gd name="connsiteX1026" fmla="*/ 349301 w 1385794"/>
                <a:gd name="connsiteY1026" fmla="*/ 491542 h 1212067"/>
                <a:gd name="connsiteX1027" fmla="*/ 349839 w 1385794"/>
                <a:gd name="connsiteY1027" fmla="*/ 489053 h 1212067"/>
                <a:gd name="connsiteX1028" fmla="*/ 349940 w 1385794"/>
                <a:gd name="connsiteY1028" fmla="*/ 484713 h 1212067"/>
                <a:gd name="connsiteX1029" fmla="*/ 350479 w 1385794"/>
                <a:gd name="connsiteY1029" fmla="*/ 479499 h 1212067"/>
                <a:gd name="connsiteX1030" fmla="*/ 350714 w 1385794"/>
                <a:gd name="connsiteY1030" fmla="*/ 473074 h 1212067"/>
                <a:gd name="connsiteX1031" fmla="*/ 350378 w 1385794"/>
                <a:gd name="connsiteY1031" fmla="*/ 465808 h 1212067"/>
                <a:gd name="connsiteX1032" fmla="*/ 348527 w 1385794"/>
                <a:gd name="connsiteY1032" fmla="*/ 460695 h 1212067"/>
                <a:gd name="connsiteX1033" fmla="*/ 346911 w 1385794"/>
                <a:gd name="connsiteY1033" fmla="*/ 455817 h 1212067"/>
                <a:gd name="connsiteX1034" fmla="*/ 347988 w 1385794"/>
                <a:gd name="connsiteY1034" fmla="*/ 451040 h 1212067"/>
                <a:gd name="connsiteX1035" fmla="*/ 350479 w 1385794"/>
                <a:gd name="connsiteY1035" fmla="*/ 441688 h 1212067"/>
                <a:gd name="connsiteX1036" fmla="*/ 353407 w 1385794"/>
                <a:gd name="connsiteY1036" fmla="*/ 431462 h 1212067"/>
                <a:gd name="connsiteX1037" fmla="*/ 356234 w 1385794"/>
                <a:gd name="connsiteY1037" fmla="*/ 424734 h 1212067"/>
                <a:gd name="connsiteX1038" fmla="*/ 356133 w 1385794"/>
                <a:gd name="connsiteY1038" fmla="*/ 420395 h 1212067"/>
                <a:gd name="connsiteX1039" fmla="*/ 351253 w 1385794"/>
                <a:gd name="connsiteY1039" fmla="*/ 413566 h 1212067"/>
                <a:gd name="connsiteX1040" fmla="*/ 353541 w 1385794"/>
                <a:gd name="connsiteY1040" fmla="*/ 405963 h 1212067"/>
                <a:gd name="connsiteX1041" fmla="*/ 355157 w 1385794"/>
                <a:gd name="connsiteY1041" fmla="*/ 402599 h 1212067"/>
                <a:gd name="connsiteX1042" fmla="*/ 358758 w 1385794"/>
                <a:gd name="connsiteY1042" fmla="*/ 398798 h 1212067"/>
                <a:gd name="connsiteX1043" fmla="*/ 360272 w 1385794"/>
                <a:gd name="connsiteY1043" fmla="*/ 397721 h 1212067"/>
                <a:gd name="connsiteX1044" fmla="*/ 363739 w 1385794"/>
                <a:gd name="connsiteY1044" fmla="*/ 396948 h 1212067"/>
                <a:gd name="connsiteX1045" fmla="*/ 375484 w 1385794"/>
                <a:gd name="connsiteY1045" fmla="*/ 397385 h 1212067"/>
                <a:gd name="connsiteX1046" fmla="*/ 380600 w 1385794"/>
                <a:gd name="connsiteY1046" fmla="*/ 398125 h 1212067"/>
                <a:gd name="connsiteX1047" fmla="*/ 384840 w 1385794"/>
                <a:gd name="connsiteY1047" fmla="*/ 400615 h 1212067"/>
                <a:gd name="connsiteX1048" fmla="*/ 388206 w 1385794"/>
                <a:gd name="connsiteY1048" fmla="*/ 403339 h 1212067"/>
                <a:gd name="connsiteX1049" fmla="*/ 392345 w 1385794"/>
                <a:gd name="connsiteY1049" fmla="*/ 408452 h 1212067"/>
                <a:gd name="connsiteX1050" fmla="*/ 395273 w 1385794"/>
                <a:gd name="connsiteY1050" fmla="*/ 411480 h 1212067"/>
                <a:gd name="connsiteX1051" fmla="*/ 400052 w 1385794"/>
                <a:gd name="connsiteY1051" fmla="*/ 416795 h 1212067"/>
                <a:gd name="connsiteX1052" fmla="*/ 403216 w 1385794"/>
                <a:gd name="connsiteY1052" fmla="*/ 420260 h 1212067"/>
                <a:gd name="connsiteX1053" fmla="*/ 406581 w 1385794"/>
                <a:gd name="connsiteY1053" fmla="*/ 425138 h 1212067"/>
                <a:gd name="connsiteX1054" fmla="*/ 408869 w 1385794"/>
                <a:gd name="connsiteY1054" fmla="*/ 427963 h 1212067"/>
                <a:gd name="connsiteX1055" fmla="*/ 412908 w 1385794"/>
                <a:gd name="connsiteY1055" fmla="*/ 432976 h 1212067"/>
                <a:gd name="connsiteX1056" fmla="*/ 418562 w 1385794"/>
                <a:gd name="connsiteY1056" fmla="*/ 436239 h 1212067"/>
                <a:gd name="connsiteX1057" fmla="*/ 424553 w 1385794"/>
                <a:gd name="connsiteY1057" fmla="*/ 438190 h 1212067"/>
                <a:gd name="connsiteX1058" fmla="*/ 429332 w 1385794"/>
                <a:gd name="connsiteY1058" fmla="*/ 440679 h 1212067"/>
                <a:gd name="connsiteX1059" fmla="*/ 435423 w 1385794"/>
                <a:gd name="connsiteY1059" fmla="*/ 443606 h 1212067"/>
                <a:gd name="connsiteX1060" fmla="*/ 440639 w 1385794"/>
                <a:gd name="connsiteY1060" fmla="*/ 446095 h 1212067"/>
                <a:gd name="connsiteX1061" fmla="*/ 445082 w 1385794"/>
                <a:gd name="connsiteY1061" fmla="*/ 448484 h 1212067"/>
                <a:gd name="connsiteX1062" fmla="*/ 445317 w 1385794"/>
                <a:gd name="connsiteY1062" fmla="*/ 452285 h 1212067"/>
                <a:gd name="connsiteX1063" fmla="*/ 445317 w 1385794"/>
                <a:gd name="connsiteY1063" fmla="*/ 454976 h 1212067"/>
                <a:gd name="connsiteX1064" fmla="*/ 446091 w 1385794"/>
                <a:gd name="connsiteY1064" fmla="*/ 456288 h 1212067"/>
                <a:gd name="connsiteX1065" fmla="*/ 451106 w 1385794"/>
                <a:gd name="connsiteY1065" fmla="*/ 456624 h 1212067"/>
                <a:gd name="connsiteX1066" fmla="*/ 453395 w 1385794"/>
                <a:gd name="connsiteY1066" fmla="*/ 455985 h 1212067"/>
                <a:gd name="connsiteX1067" fmla="*/ 455683 w 1385794"/>
                <a:gd name="connsiteY1067" fmla="*/ 452285 h 1212067"/>
                <a:gd name="connsiteX1068" fmla="*/ 456558 w 1385794"/>
                <a:gd name="connsiteY1068" fmla="*/ 450233 h 1212067"/>
                <a:gd name="connsiteX1069" fmla="*/ 457972 w 1385794"/>
                <a:gd name="connsiteY1069" fmla="*/ 446768 h 1212067"/>
                <a:gd name="connsiteX1070" fmla="*/ 460698 w 1385794"/>
                <a:gd name="connsiteY1070" fmla="*/ 444716 h 1212067"/>
                <a:gd name="connsiteX1071" fmla="*/ 462010 w 1385794"/>
                <a:gd name="connsiteY1071" fmla="*/ 444279 h 1212067"/>
                <a:gd name="connsiteX1072" fmla="*/ 464299 w 1385794"/>
                <a:gd name="connsiteY1072" fmla="*/ 442428 h 1212067"/>
                <a:gd name="connsiteX1073" fmla="*/ 465813 w 1385794"/>
                <a:gd name="connsiteY1073" fmla="*/ 439704 h 1212067"/>
                <a:gd name="connsiteX1074" fmla="*/ 467227 w 1385794"/>
                <a:gd name="connsiteY1074" fmla="*/ 438291 h 1212067"/>
                <a:gd name="connsiteX1075" fmla="*/ 469515 w 1385794"/>
                <a:gd name="connsiteY1075" fmla="*/ 435263 h 1212067"/>
                <a:gd name="connsiteX1076" fmla="*/ 470929 w 1385794"/>
                <a:gd name="connsiteY1076" fmla="*/ 432976 h 1212067"/>
                <a:gd name="connsiteX1077" fmla="*/ 472881 w 1385794"/>
                <a:gd name="connsiteY1077" fmla="*/ 432774 h 1212067"/>
                <a:gd name="connsiteX1078" fmla="*/ 474294 w 1385794"/>
                <a:gd name="connsiteY1078" fmla="*/ 432572 h 1212067"/>
                <a:gd name="connsiteX1079" fmla="*/ 476885 w 1385794"/>
                <a:gd name="connsiteY1079" fmla="*/ 433548 h 1212067"/>
                <a:gd name="connsiteX1080" fmla="*/ 480587 w 1385794"/>
                <a:gd name="connsiteY1080" fmla="*/ 438425 h 1212067"/>
                <a:gd name="connsiteX1081" fmla="*/ 482775 w 1385794"/>
                <a:gd name="connsiteY1081" fmla="*/ 441688 h 1212067"/>
                <a:gd name="connsiteX1082" fmla="*/ 484088 w 1385794"/>
                <a:gd name="connsiteY1082" fmla="*/ 445052 h 1212067"/>
                <a:gd name="connsiteX1083" fmla="*/ 489943 w 1385794"/>
                <a:gd name="connsiteY1083" fmla="*/ 445692 h 1212067"/>
                <a:gd name="connsiteX1084" fmla="*/ 498290 w 1385794"/>
                <a:gd name="connsiteY1084" fmla="*/ 444447 h 1212067"/>
                <a:gd name="connsiteX1085" fmla="*/ 503372 w 1385794"/>
                <a:gd name="connsiteY1085" fmla="*/ 442866 h 1212067"/>
                <a:gd name="connsiteX1086" fmla="*/ 504247 w 1385794"/>
                <a:gd name="connsiteY1086" fmla="*/ 441722 h 1212067"/>
                <a:gd name="connsiteX1087" fmla="*/ 505997 w 1385794"/>
                <a:gd name="connsiteY1087" fmla="*/ 439132 h 1212067"/>
                <a:gd name="connsiteX1088" fmla="*/ 506569 w 1385794"/>
                <a:gd name="connsiteY1088" fmla="*/ 437685 h 1212067"/>
                <a:gd name="connsiteX1089" fmla="*/ 506872 w 1385794"/>
                <a:gd name="connsiteY1089" fmla="*/ 435230 h 1212067"/>
                <a:gd name="connsiteX1090" fmla="*/ 507881 w 1385794"/>
                <a:gd name="connsiteY1090" fmla="*/ 433346 h 1212067"/>
                <a:gd name="connsiteX1091" fmla="*/ 509059 w 1385794"/>
                <a:gd name="connsiteY1091" fmla="*/ 431327 h 1212067"/>
                <a:gd name="connsiteX1092" fmla="*/ 510944 w 1385794"/>
                <a:gd name="connsiteY1092" fmla="*/ 430520 h 1212067"/>
                <a:gd name="connsiteX1093" fmla="*/ 514579 w 1385794"/>
                <a:gd name="connsiteY1093" fmla="*/ 428132 h 1212067"/>
                <a:gd name="connsiteX1094" fmla="*/ 517607 w 1385794"/>
                <a:gd name="connsiteY1094" fmla="*/ 428132 h 1212067"/>
                <a:gd name="connsiteX1095" fmla="*/ 522084 w 1385794"/>
                <a:gd name="connsiteY1095" fmla="*/ 430453 h 1212067"/>
                <a:gd name="connsiteX1096" fmla="*/ 524540 w 1385794"/>
                <a:gd name="connsiteY1096" fmla="*/ 433211 h 1212067"/>
                <a:gd name="connsiteX1097" fmla="*/ 525853 w 1385794"/>
                <a:gd name="connsiteY1097" fmla="*/ 437416 h 1212067"/>
                <a:gd name="connsiteX1098" fmla="*/ 526862 w 1385794"/>
                <a:gd name="connsiteY1098" fmla="*/ 440612 h 1212067"/>
                <a:gd name="connsiteX1099" fmla="*/ 529454 w 1385794"/>
                <a:gd name="connsiteY1099" fmla="*/ 443505 h 1212067"/>
                <a:gd name="connsiteX1100" fmla="*/ 531473 w 1385794"/>
                <a:gd name="connsiteY1100" fmla="*/ 445523 h 1212067"/>
                <a:gd name="connsiteX1101" fmla="*/ 533223 w 1385794"/>
                <a:gd name="connsiteY1101" fmla="*/ 445523 h 1212067"/>
                <a:gd name="connsiteX1102" fmla="*/ 536993 w 1385794"/>
                <a:gd name="connsiteY1102" fmla="*/ 448114 h 1212067"/>
                <a:gd name="connsiteX1103" fmla="*/ 539315 w 1385794"/>
                <a:gd name="connsiteY1103" fmla="*/ 452184 h 1212067"/>
                <a:gd name="connsiteX1104" fmla="*/ 540897 w 1385794"/>
                <a:gd name="connsiteY1104" fmla="*/ 455952 h 1212067"/>
                <a:gd name="connsiteX1105" fmla="*/ 543791 w 1385794"/>
                <a:gd name="connsiteY1105" fmla="*/ 457533 h 1212067"/>
                <a:gd name="connsiteX1106" fmla="*/ 545675 w 1385794"/>
                <a:gd name="connsiteY1106" fmla="*/ 459417 h 1212067"/>
                <a:gd name="connsiteX1107" fmla="*/ 547257 w 1385794"/>
                <a:gd name="connsiteY1107" fmla="*/ 460998 h 1212067"/>
                <a:gd name="connsiteX1108" fmla="*/ 550286 w 1385794"/>
                <a:gd name="connsiteY1108" fmla="*/ 464025 h 1212067"/>
                <a:gd name="connsiteX1109" fmla="*/ 553483 w 1385794"/>
                <a:gd name="connsiteY1109" fmla="*/ 466615 h 1212067"/>
                <a:gd name="connsiteX1110" fmla="*/ 557253 w 1385794"/>
                <a:gd name="connsiteY1110" fmla="*/ 470518 h 1212067"/>
                <a:gd name="connsiteX1111" fmla="*/ 561762 w 1385794"/>
                <a:gd name="connsiteY1111" fmla="*/ 472973 h 1212067"/>
                <a:gd name="connsiteX1112" fmla="*/ 565397 w 1385794"/>
                <a:gd name="connsiteY1112" fmla="*/ 476304 h 1212067"/>
                <a:gd name="connsiteX1113" fmla="*/ 569032 w 1385794"/>
                <a:gd name="connsiteY1113" fmla="*/ 481081 h 1212067"/>
                <a:gd name="connsiteX1114" fmla="*/ 570782 w 1385794"/>
                <a:gd name="connsiteY1114" fmla="*/ 484848 h 1212067"/>
                <a:gd name="connsiteX1115" fmla="*/ 571960 w 1385794"/>
                <a:gd name="connsiteY1115" fmla="*/ 487607 h 1212067"/>
                <a:gd name="connsiteX1116" fmla="*/ 574416 w 1385794"/>
                <a:gd name="connsiteY1116" fmla="*/ 490062 h 1212067"/>
                <a:gd name="connsiteX1117" fmla="*/ 576166 w 1385794"/>
                <a:gd name="connsiteY1117" fmla="*/ 491509 h 1212067"/>
                <a:gd name="connsiteX1118" fmla="*/ 577311 w 1385794"/>
                <a:gd name="connsiteY1118" fmla="*/ 493830 h 1212067"/>
                <a:gd name="connsiteX1119" fmla="*/ 577748 w 1385794"/>
                <a:gd name="connsiteY1119" fmla="*/ 497160 h 1212067"/>
                <a:gd name="connsiteX1120" fmla="*/ 579061 w 1385794"/>
                <a:gd name="connsiteY1120" fmla="*/ 500188 h 1212067"/>
                <a:gd name="connsiteX1121" fmla="*/ 580643 w 1385794"/>
                <a:gd name="connsiteY1121" fmla="*/ 501634 h 1212067"/>
                <a:gd name="connsiteX1122" fmla="*/ 582662 w 1385794"/>
                <a:gd name="connsiteY1122" fmla="*/ 502643 h 1212067"/>
                <a:gd name="connsiteX1123" fmla="*/ 583974 w 1385794"/>
                <a:gd name="connsiteY1123" fmla="*/ 505099 h 1212067"/>
                <a:gd name="connsiteX1124" fmla="*/ 586229 w 1385794"/>
                <a:gd name="connsiteY1124" fmla="*/ 506613 h 1212067"/>
                <a:gd name="connsiteX1125" fmla="*/ 586734 w 1385794"/>
                <a:gd name="connsiteY1125" fmla="*/ 507757 h 1212067"/>
                <a:gd name="connsiteX1126" fmla="*/ 584917 w 1385794"/>
                <a:gd name="connsiteY1126" fmla="*/ 509506 h 1212067"/>
                <a:gd name="connsiteX1127" fmla="*/ 585051 w 1385794"/>
                <a:gd name="connsiteY1127" fmla="*/ 511087 h 1212067"/>
                <a:gd name="connsiteX1128" fmla="*/ 586498 w 1385794"/>
                <a:gd name="connsiteY1128" fmla="*/ 512399 h 1212067"/>
                <a:gd name="connsiteX1129" fmla="*/ 587508 w 1385794"/>
                <a:gd name="connsiteY1129" fmla="*/ 513341 h 1212067"/>
                <a:gd name="connsiteX1130" fmla="*/ 589258 w 1385794"/>
                <a:gd name="connsiteY1130" fmla="*/ 513543 h 1212067"/>
                <a:gd name="connsiteX1131" fmla="*/ 591513 w 1385794"/>
                <a:gd name="connsiteY1131" fmla="*/ 513173 h 1212067"/>
                <a:gd name="connsiteX1132" fmla="*/ 592960 w 1385794"/>
                <a:gd name="connsiteY1132" fmla="*/ 514182 h 1212067"/>
                <a:gd name="connsiteX1133" fmla="*/ 594609 w 1385794"/>
                <a:gd name="connsiteY1133" fmla="*/ 515830 h 1212067"/>
                <a:gd name="connsiteX1134" fmla="*/ 596797 w 1385794"/>
                <a:gd name="connsiteY1134" fmla="*/ 518454 h 1212067"/>
                <a:gd name="connsiteX1135" fmla="*/ 597874 w 1385794"/>
                <a:gd name="connsiteY1135" fmla="*/ 519329 h 1212067"/>
                <a:gd name="connsiteX1136" fmla="*/ 607364 w 1385794"/>
                <a:gd name="connsiteY1136" fmla="*/ 527436 h 1212067"/>
                <a:gd name="connsiteX1137" fmla="*/ 612076 w 1385794"/>
                <a:gd name="connsiteY1137" fmla="*/ 531204 h 1212067"/>
                <a:gd name="connsiteX1138" fmla="*/ 613961 w 1385794"/>
                <a:gd name="connsiteY1138" fmla="*/ 532078 h 1212067"/>
                <a:gd name="connsiteX1139" fmla="*/ 616653 w 1385794"/>
                <a:gd name="connsiteY1139" fmla="*/ 534534 h 1212067"/>
                <a:gd name="connsiteX1140" fmla="*/ 616956 w 1385794"/>
                <a:gd name="connsiteY1140" fmla="*/ 537360 h 1212067"/>
                <a:gd name="connsiteX1141" fmla="*/ 618639 w 1385794"/>
                <a:gd name="connsiteY1141" fmla="*/ 538604 h 1212067"/>
                <a:gd name="connsiteX1142" fmla="*/ 622273 w 1385794"/>
                <a:gd name="connsiteY1142" fmla="*/ 540421 h 1212067"/>
                <a:gd name="connsiteX1143" fmla="*/ 624293 w 1385794"/>
                <a:gd name="connsiteY1143" fmla="*/ 541363 h 1212067"/>
                <a:gd name="connsiteX1144" fmla="*/ 627692 w 1385794"/>
                <a:gd name="connsiteY1144" fmla="*/ 542372 h 1212067"/>
                <a:gd name="connsiteX1145" fmla="*/ 629812 w 1385794"/>
                <a:gd name="connsiteY1145" fmla="*/ 542237 h 1212067"/>
                <a:gd name="connsiteX1146" fmla="*/ 633548 w 1385794"/>
                <a:gd name="connsiteY1146" fmla="*/ 541161 h 1212067"/>
                <a:gd name="connsiteX1147" fmla="*/ 635298 w 1385794"/>
                <a:gd name="connsiteY1147" fmla="*/ 539142 h 1212067"/>
                <a:gd name="connsiteX1148" fmla="*/ 635600 w 1385794"/>
                <a:gd name="connsiteY1148" fmla="*/ 536249 h 1212067"/>
                <a:gd name="connsiteX1149" fmla="*/ 632134 w 1385794"/>
                <a:gd name="connsiteY1149" fmla="*/ 531607 h 1212067"/>
                <a:gd name="connsiteX1150" fmla="*/ 630990 w 1385794"/>
                <a:gd name="connsiteY1150" fmla="*/ 530867 h 1212067"/>
                <a:gd name="connsiteX1151" fmla="*/ 629846 w 1385794"/>
                <a:gd name="connsiteY1151" fmla="*/ 529421 h 1212067"/>
                <a:gd name="connsiteX1152" fmla="*/ 629240 w 1385794"/>
                <a:gd name="connsiteY1152" fmla="*/ 528916 h 1212067"/>
                <a:gd name="connsiteX1153" fmla="*/ 627995 w 1385794"/>
                <a:gd name="connsiteY1153" fmla="*/ 527167 h 1212067"/>
                <a:gd name="connsiteX1154" fmla="*/ 627120 w 1385794"/>
                <a:gd name="connsiteY1154" fmla="*/ 524846 h 1212067"/>
                <a:gd name="connsiteX1155" fmla="*/ 625841 w 1385794"/>
                <a:gd name="connsiteY1155" fmla="*/ 523029 h 1212067"/>
                <a:gd name="connsiteX1156" fmla="*/ 624562 w 1385794"/>
                <a:gd name="connsiteY1156" fmla="*/ 521078 h 1212067"/>
                <a:gd name="connsiteX1157" fmla="*/ 624562 w 1385794"/>
                <a:gd name="connsiteY1157" fmla="*/ 519261 h 1212067"/>
                <a:gd name="connsiteX1158" fmla="*/ 624629 w 1385794"/>
                <a:gd name="connsiteY1158" fmla="*/ 517310 h 1212067"/>
                <a:gd name="connsiteX1159" fmla="*/ 625201 w 1385794"/>
                <a:gd name="connsiteY1159" fmla="*/ 514922 h 1212067"/>
                <a:gd name="connsiteX1160" fmla="*/ 625639 w 1385794"/>
                <a:gd name="connsiteY1160" fmla="*/ 512534 h 1212067"/>
                <a:gd name="connsiteX1161" fmla="*/ 626514 w 1385794"/>
                <a:gd name="connsiteY1161" fmla="*/ 510582 h 1212067"/>
                <a:gd name="connsiteX1162" fmla="*/ 628264 w 1385794"/>
                <a:gd name="connsiteY1162" fmla="*/ 509270 h 1212067"/>
                <a:gd name="connsiteX1163" fmla="*/ 629879 w 1385794"/>
                <a:gd name="connsiteY1163" fmla="*/ 508463 h 1212067"/>
                <a:gd name="connsiteX1164" fmla="*/ 631091 w 1385794"/>
                <a:gd name="connsiteY1164" fmla="*/ 508598 h 1212067"/>
                <a:gd name="connsiteX1165" fmla="*/ 632841 w 1385794"/>
                <a:gd name="connsiteY1165" fmla="*/ 509977 h 1212067"/>
                <a:gd name="connsiteX1166" fmla="*/ 634355 w 1385794"/>
                <a:gd name="connsiteY1166" fmla="*/ 512164 h 1212067"/>
                <a:gd name="connsiteX1167" fmla="*/ 635567 w 1385794"/>
                <a:gd name="connsiteY1167" fmla="*/ 514855 h 1212067"/>
                <a:gd name="connsiteX1168" fmla="*/ 635870 w 1385794"/>
                <a:gd name="connsiteY1168" fmla="*/ 517613 h 1212067"/>
                <a:gd name="connsiteX1169" fmla="*/ 635802 w 1385794"/>
                <a:gd name="connsiteY1169" fmla="*/ 520506 h 1212067"/>
                <a:gd name="connsiteX1170" fmla="*/ 639067 w 1385794"/>
                <a:gd name="connsiteY1170" fmla="*/ 522020 h 1212067"/>
                <a:gd name="connsiteX1171" fmla="*/ 641153 w 1385794"/>
                <a:gd name="connsiteY1171" fmla="*/ 522760 h 1212067"/>
                <a:gd name="connsiteX1172" fmla="*/ 642096 w 1385794"/>
                <a:gd name="connsiteY1172" fmla="*/ 524509 h 1212067"/>
                <a:gd name="connsiteX1173" fmla="*/ 643240 w 1385794"/>
                <a:gd name="connsiteY1173" fmla="*/ 526763 h 1212067"/>
                <a:gd name="connsiteX1174" fmla="*/ 644822 w 1385794"/>
                <a:gd name="connsiteY1174" fmla="*/ 529286 h 1212067"/>
                <a:gd name="connsiteX1175" fmla="*/ 646269 w 1385794"/>
                <a:gd name="connsiteY1175" fmla="*/ 530665 h 1212067"/>
                <a:gd name="connsiteX1176" fmla="*/ 647649 w 1385794"/>
                <a:gd name="connsiteY1176" fmla="*/ 532044 h 1212067"/>
                <a:gd name="connsiteX1177" fmla="*/ 650543 w 1385794"/>
                <a:gd name="connsiteY1177" fmla="*/ 534433 h 1212067"/>
                <a:gd name="connsiteX1178" fmla="*/ 652226 w 1385794"/>
                <a:gd name="connsiteY1178" fmla="*/ 534904 h 1212067"/>
                <a:gd name="connsiteX1179" fmla="*/ 655793 w 1385794"/>
                <a:gd name="connsiteY1179" fmla="*/ 535812 h 1212067"/>
                <a:gd name="connsiteX1180" fmla="*/ 658418 w 1385794"/>
                <a:gd name="connsiteY1180" fmla="*/ 535812 h 1212067"/>
                <a:gd name="connsiteX1181" fmla="*/ 661784 w 1385794"/>
                <a:gd name="connsiteY1181" fmla="*/ 537561 h 1212067"/>
                <a:gd name="connsiteX1182" fmla="*/ 667640 w 1385794"/>
                <a:gd name="connsiteY1182" fmla="*/ 538436 h 1212067"/>
                <a:gd name="connsiteX1183" fmla="*/ 669390 w 1385794"/>
                <a:gd name="connsiteY1183" fmla="*/ 541161 h 1212067"/>
                <a:gd name="connsiteX1184" fmla="*/ 669726 w 1385794"/>
                <a:gd name="connsiteY1184" fmla="*/ 545299 h 1212067"/>
                <a:gd name="connsiteX1185" fmla="*/ 669726 w 1385794"/>
                <a:gd name="connsiteY1185" fmla="*/ 548898 h 1212067"/>
                <a:gd name="connsiteX1186" fmla="*/ 670702 w 1385794"/>
                <a:gd name="connsiteY1186" fmla="*/ 553776 h 1212067"/>
                <a:gd name="connsiteX1187" fmla="*/ 670265 w 1385794"/>
                <a:gd name="connsiteY1187" fmla="*/ 555828 h 1212067"/>
                <a:gd name="connsiteX1188" fmla="*/ 669726 w 1385794"/>
                <a:gd name="connsiteY1188" fmla="*/ 558553 h 1212067"/>
                <a:gd name="connsiteX1189" fmla="*/ 669188 w 1385794"/>
                <a:gd name="connsiteY1189" fmla="*/ 560403 h 1212067"/>
                <a:gd name="connsiteX1190" fmla="*/ 671241 w 1385794"/>
                <a:gd name="connsiteY1190" fmla="*/ 562455 h 1212067"/>
                <a:gd name="connsiteX1191" fmla="*/ 675582 w 1385794"/>
                <a:gd name="connsiteY1191" fmla="*/ 562118 h 1212067"/>
                <a:gd name="connsiteX1192" fmla="*/ 678746 w 1385794"/>
                <a:gd name="connsiteY1192" fmla="*/ 560369 h 1212067"/>
                <a:gd name="connsiteX1193" fmla="*/ 680058 w 1385794"/>
                <a:gd name="connsiteY1193" fmla="*/ 560033 h 1212067"/>
                <a:gd name="connsiteX1194" fmla="*/ 682448 w 1385794"/>
                <a:gd name="connsiteY1194" fmla="*/ 562522 h 1212067"/>
                <a:gd name="connsiteX1195" fmla="*/ 684400 w 1385794"/>
                <a:gd name="connsiteY1195" fmla="*/ 564137 h 1212067"/>
                <a:gd name="connsiteX1196" fmla="*/ 688977 w 1385794"/>
                <a:gd name="connsiteY1196" fmla="*/ 568375 h 1212067"/>
                <a:gd name="connsiteX1197" fmla="*/ 692982 w 1385794"/>
                <a:gd name="connsiteY1197" fmla="*/ 569586 h 1212067"/>
                <a:gd name="connsiteX1198" fmla="*/ 697659 w 1385794"/>
                <a:gd name="connsiteY1198" fmla="*/ 570898 h 1212067"/>
                <a:gd name="connsiteX1199" fmla="*/ 699713 w 1385794"/>
                <a:gd name="connsiteY1199" fmla="*/ 572311 h 1212067"/>
                <a:gd name="connsiteX1200" fmla="*/ 703179 w 1385794"/>
                <a:gd name="connsiteY1200" fmla="*/ 575238 h 1212067"/>
                <a:gd name="connsiteX1201" fmla="*/ 709910 w 1385794"/>
                <a:gd name="connsiteY1201" fmla="*/ 578703 h 1212067"/>
                <a:gd name="connsiteX1202" fmla="*/ 716001 w 1385794"/>
                <a:gd name="connsiteY1202" fmla="*/ 583917 h 1212067"/>
                <a:gd name="connsiteX1203" fmla="*/ 721453 w 1385794"/>
                <a:gd name="connsiteY1203" fmla="*/ 588155 h 1212067"/>
                <a:gd name="connsiteX1204" fmla="*/ 731449 w 1385794"/>
                <a:gd name="connsiteY1204" fmla="*/ 597070 h 1212067"/>
                <a:gd name="connsiteX1205" fmla="*/ 734040 w 1385794"/>
                <a:gd name="connsiteY1205" fmla="*/ 598483 h 1212067"/>
                <a:gd name="connsiteX1206" fmla="*/ 737641 w 1385794"/>
                <a:gd name="connsiteY1206" fmla="*/ 602183 h 1212067"/>
                <a:gd name="connsiteX1207" fmla="*/ 742959 w 1385794"/>
                <a:gd name="connsiteY1207" fmla="*/ 608474 h 1212067"/>
                <a:gd name="connsiteX1208" fmla="*/ 745247 w 1385794"/>
                <a:gd name="connsiteY1208" fmla="*/ 611299 h 1212067"/>
                <a:gd name="connsiteX1209" fmla="*/ 748848 w 1385794"/>
                <a:gd name="connsiteY1209" fmla="*/ 615336 h 1212067"/>
                <a:gd name="connsiteX1210" fmla="*/ 750901 w 1385794"/>
                <a:gd name="connsiteY1210" fmla="*/ 617086 h 1212067"/>
                <a:gd name="connsiteX1211" fmla="*/ 753089 w 1385794"/>
                <a:gd name="connsiteY1211" fmla="*/ 617960 h 1212067"/>
                <a:gd name="connsiteX1212" fmla="*/ 755142 w 1385794"/>
                <a:gd name="connsiteY1212" fmla="*/ 618498 h 1212067"/>
                <a:gd name="connsiteX1213" fmla="*/ 758171 w 1385794"/>
                <a:gd name="connsiteY1213" fmla="*/ 620550 h 1212067"/>
                <a:gd name="connsiteX1214" fmla="*/ 760897 w 1385794"/>
                <a:gd name="connsiteY1214" fmla="*/ 625125 h 1212067"/>
                <a:gd name="connsiteX1215" fmla="*/ 763623 w 1385794"/>
                <a:gd name="connsiteY1215" fmla="*/ 627716 h 1212067"/>
                <a:gd name="connsiteX1216" fmla="*/ 765372 w 1385794"/>
                <a:gd name="connsiteY1216" fmla="*/ 630440 h 1212067"/>
                <a:gd name="connsiteX1217" fmla="*/ 766786 w 1385794"/>
                <a:gd name="connsiteY1217" fmla="*/ 633266 h 1212067"/>
                <a:gd name="connsiteX1218" fmla="*/ 768401 w 1385794"/>
                <a:gd name="connsiteY1218" fmla="*/ 633367 h 1212067"/>
                <a:gd name="connsiteX1219" fmla="*/ 770690 w 1385794"/>
                <a:gd name="connsiteY1219" fmla="*/ 632930 h 1212067"/>
                <a:gd name="connsiteX1220" fmla="*/ 773079 w 1385794"/>
                <a:gd name="connsiteY1220" fmla="*/ 632291 h 1212067"/>
                <a:gd name="connsiteX1221" fmla="*/ 774930 w 1385794"/>
                <a:gd name="connsiteY1221" fmla="*/ 630541 h 1212067"/>
                <a:gd name="connsiteX1222" fmla="*/ 774830 w 1385794"/>
                <a:gd name="connsiteY1222" fmla="*/ 628927 h 1212067"/>
                <a:gd name="connsiteX1223" fmla="*/ 774291 w 1385794"/>
                <a:gd name="connsiteY1223" fmla="*/ 626437 h 1212067"/>
                <a:gd name="connsiteX1224" fmla="*/ 774055 w 1385794"/>
                <a:gd name="connsiteY1224" fmla="*/ 624587 h 1212067"/>
                <a:gd name="connsiteX1225" fmla="*/ 774156 w 1385794"/>
                <a:gd name="connsiteY1225" fmla="*/ 621761 h 1212067"/>
                <a:gd name="connsiteX1226" fmla="*/ 775233 w 1385794"/>
                <a:gd name="connsiteY1226" fmla="*/ 619575 h 1212067"/>
                <a:gd name="connsiteX1227" fmla="*/ 775873 w 1385794"/>
                <a:gd name="connsiteY1227" fmla="*/ 618700 h 1212067"/>
                <a:gd name="connsiteX1228" fmla="*/ 777522 w 1385794"/>
                <a:gd name="connsiteY1228" fmla="*/ 615975 h 1212067"/>
                <a:gd name="connsiteX1229" fmla="*/ 779272 w 1385794"/>
                <a:gd name="connsiteY1229" fmla="*/ 612611 h 1212067"/>
                <a:gd name="connsiteX1230" fmla="*/ 779810 w 1385794"/>
                <a:gd name="connsiteY1230" fmla="*/ 610425 h 1212067"/>
                <a:gd name="connsiteX1231" fmla="*/ 779911 w 1385794"/>
                <a:gd name="connsiteY1231" fmla="*/ 608373 h 1212067"/>
                <a:gd name="connsiteX1232" fmla="*/ 780988 w 1385794"/>
                <a:gd name="connsiteY1232" fmla="*/ 607162 h 1212067"/>
                <a:gd name="connsiteX1233" fmla="*/ 783277 w 1385794"/>
                <a:gd name="connsiteY1233" fmla="*/ 606388 h 1212067"/>
                <a:gd name="connsiteX1234" fmla="*/ 786003 w 1385794"/>
                <a:gd name="connsiteY1234" fmla="*/ 607599 h 1212067"/>
                <a:gd name="connsiteX1235" fmla="*/ 789469 w 1385794"/>
                <a:gd name="connsiteY1235" fmla="*/ 610324 h 1212067"/>
                <a:gd name="connsiteX1236" fmla="*/ 789705 w 1385794"/>
                <a:gd name="connsiteY1236" fmla="*/ 612712 h 1212067"/>
                <a:gd name="connsiteX1237" fmla="*/ 789705 w 1385794"/>
                <a:gd name="connsiteY1237" fmla="*/ 614899 h 1212067"/>
                <a:gd name="connsiteX1238" fmla="*/ 790041 w 1385794"/>
                <a:gd name="connsiteY1238" fmla="*/ 616951 h 1212067"/>
                <a:gd name="connsiteX1239" fmla="*/ 791657 w 1385794"/>
                <a:gd name="connsiteY1239" fmla="*/ 618700 h 1212067"/>
                <a:gd name="connsiteX1240" fmla="*/ 793609 w 1385794"/>
                <a:gd name="connsiteY1240" fmla="*/ 621190 h 1212067"/>
                <a:gd name="connsiteX1241" fmla="*/ 794147 w 1385794"/>
                <a:gd name="connsiteY1241" fmla="*/ 623141 h 1212067"/>
                <a:gd name="connsiteX1242" fmla="*/ 793811 w 1385794"/>
                <a:gd name="connsiteY1242" fmla="*/ 625092 h 1212067"/>
                <a:gd name="connsiteX1243" fmla="*/ 793373 w 1385794"/>
                <a:gd name="connsiteY1243" fmla="*/ 626841 h 1212067"/>
                <a:gd name="connsiteX1244" fmla="*/ 792599 w 1385794"/>
                <a:gd name="connsiteY1244" fmla="*/ 628893 h 1212067"/>
                <a:gd name="connsiteX1245" fmla="*/ 791926 w 1385794"/>
                <a:gd name="connsiteY1245" fmla="*/ 630541 h 1212067"/>
                <a:gd name="connsiteX1246" fmla="*/ 791287 w 1385794"/>
                <a:gd name="connsiteY1246" fmla="*/ 632291 h 1212067"/>
                <a:gd name="connsiteX1247" fmla="*/ 789772 w 1385794"/>
                <a:gd name="connsiteY1247" fmla="*/ 633804 h 1212067"/>
                <a:gd name="connsiteX1248" fmla="*/ 788460 w 1385794"/>
                <a:gd name="connsiteY1248" fmla="*/ 634578 h 1212067"/>
                <a:gd name="connsiteX1249" fmla="*/ 787685 w 1385794"/>
                <a:gd name="connsiteY1249" fmla="*/ 638043 h 1212067"/>
                <a:gd name="connsiteX1250" fmla="*/ 787248 w 1385794"/>
                <a:gd name="connsiteY1250" fmla="*/ 640330 h 1212067"/>
                <a:gd name="connsiteX1251" fmla="*/ 787147 w 1385794"/>
                <a:gd name="connsiteY1251" fmla="*/ 643055 h 1212067"/>
                <a:gd name="connsiteX1252" fmla="*/ 788460 w 1385794"/>
                <a:gd name="connsiteY1252" fmla="*/ 644367 h 1212067"/>
                <a:gd name="connsiteX1253" fmla="*/ 792263 w 1385794"/>
                <a:gd name="connsiteY1253" fmla="*/ 646991 h 1212067"/>
                <a:gd name="connsiteX1254" fmla="*/ 797816 w 1385794"/>
                <a:gd name="connsiteY1254" fmla="*/ 649918 h 1212067"/>
                <a:gd name="connsiteX1255" fmla="*/ 803133 w 1385794"/>
                <a:gd name="connsiteY1255" fmla="*/ 651667 h 1212067"/>
                <a:gd name="connsiteX1256" fmla="*/ 806162 w 1385794"/>
                <a:gd name="connsiteY1256" fmla="*/ 652979 h 1212067"/>
                <a:gd name="connsiteX1257" fmla="*/ 807239 w 1385794"/>
                <a:gd name="connsiteY1257" fmla="*/ 653315 h 1212067"/>
                <a:gd name="connsiteX1258" fmla="*/ 812556 w 1385794"/>
                <a:gd name="connsiteY1258" fmla="*/ 655704 h 1212067"/>
                <a:gd name="connsiteX1259" fmla="*/ 815282 w 1385794"/>
                <a:gd name="connsiteY1259" fmla="*/ 659169 h 1212067"/>
                <a:gd name="connsiteX1260" fmla="*/ 818648 w 1385794"/>
                <a:gd name="connsiteY1260" fmla="*/ 661658 h 1212067"/>
                <a:gd name="connsiteX1261" fmla="*/ 823427 w 1385794"/>
                <a:gd name="connsiteY1261" fmla="*/ 664686 h 1212067"/>
                <a:gd name="connsiteX1262" fmla="*/ 826254 w 1385794"/>
                <a:gd name="connsiteY1262" fmla="*/ 668689 h 1212067"/>
                <a:gd name="connsiteX1263" fmla="*/ 829081 w 1385794"/>
                <a:gd name="connsiteY1263" fmla="*/ 671178 h 1212067"/>
                <a:gd name="connsiteX1264" fmla="*/ 830494 w 1385794"/>
                <a:gd name="connsiteY1264" fmla="*/ 673129 h 1212067"/>
                <a:gd name="connsiteX1265" fmla="*/ 832783 w 1385794"/>
                <a:gd name="connsiteY1265" fmla="*/ 675719 h 1212067"/>
                <a:gd name="connsiteX1266" fmla="*/ 834095 w 1385794"/>
                <a:gd name="connsiteY1266" fmla="*/ 678343 h 1212067"/>
                <a:gd name="connsiteX1267" fmla="*/ 834196 w 1385794"/>
                <a:gd name="connsiteY1267" fmla="*/ 681943 h 1212067"/>
                <a:gd name="connsiteX1268" fmla="*/ 832446 w 1385794"/>
                <a:gd name="connsiteY1268" fmla="*/ 683457 h 1212067"/>
                <a:gd name="connsiteX1269" fmla="*/ 830057 w 1385794"/>
                <a:gd name="connsiteY1269" fmla="*/ 684331 h 1212067"/>
                <a:gd name="connsiteX1270" fmla="*/ 828542 w 1385794"/>
                <a:gd name="connsiteY1270" fmla="*/ 685206 h 1212067"/>
                <a:gd name="connsiteX1271" fmla="*/ 827768 w 1385794"/>
                <a:gd name="connsiteY1271" fmla="*/ 687695 h 1212067"/>
                <a:gd name="connsiteX1272" fmla="*/ 826355 w 1385794"/>
                <a:gd name="connsiteY1272" fmla="*/ 692136 h 1212067"/>
                <a:gd name="connsiteX1273" fmla="*/ 825244 w 1385794"/>
                <a:gd name="connsiteY1273" fmla="*/ 694827 h 1212067"/>
                <a:gd name="connsiteX1274" fmla="*/ 824268 w 1385794"/>
                <a:gd name="connsiteY1274" fmla="*/ 696879 h 1212067"/>
                <a:gd name="connsiteX1275" fmla="*/ 822518 w 1385794"/>
                <a:gd name="connsiteY1275" fmla="*/ 697854 h 1212067"/>
                <a:gd name="connsiteX1276" fmla="*/ 821004 w 1385794"/>
                <a:gd name="connsiteY1276" fmla="*/ 702328 h 1212067"/>
                <a:gd name="connsiteX1277" fmla="*/ 823629 w 1385794"/>
                <a:gd name="connsiteY1277" fmla="*/ 703640 h 1212067"/>
                <a:gd name="connsiteX1278" fmla="*/ 828845 w 1385794"/>
                <a:gd name="connsiteY1278" fmla="*/ 705154 h 1212067"/>
                <a:gd name="connsiteX1279" fmla="*/ 832985 w 1385794"/>
                <a:gd name="connsiteY1279" fmla="*/ 707643 h 1212067"/>
                <a:gd name="connsiteX1280" fmla="*/ 834634 w 1385794"/>
                <a:gd name="connsiteY1280" fmla="*/ 709157 h 1212067"/>
                <a:gd name="connsiteX1281" fmla="*/ 837898 w 1385794"/>
                <a:gd name="connsiteY1281" fmla="*/ 711781 h 1212067"/>
                <a:gd name="connsiteX1282" fmla="*/ 840624 w 1385794"/>
                <a:gd name="connsiteY1282" fmla="*/ 713093 h 1212067"/>
                <a:gd name="connsiteX1283" fmla="*/ 842139 w 1385794"/>
                <a:gd name="connsiteY1283" fmla="*/ 714943 h 1212067"/>
                <a:gd name="connsiteX1284" fmla="*/ 842576 w 1385794"/>
                <a:gd name="connsiteY1284" fmla="*/ 718105 h 1212067"/>
                <a:gd name="connsiteX1285" fmla="*/ 842812 w 1385794"/>
                <a:gd name="connsiteY1285" fmla="*/ 720056 h 1212067"/>
                <a:gd name="connsiteX1286" fmla="*/ 842273 w 1385794"/>
                <a:gd name="connsiteY1286" fmla="*/ 721907 h 1212067"/>
                <a:gd name="connsiteX1287" fmla="*/ 840860 w 1385794"/>
                <a:gd name="connsiteY1287" fmla="*/ 723959 h 1212067"/>
                <a:gd name="connsiteX1288" fmla="*/ 840321 w 1385794"/>
                <a:gd name="connsiteY1288" fmla="*/ 724295 h 1212067"/>
                <a:gd name="connsiteX1289" fmla="*/ 838470 w 1385794"/>
                <a:gd name="connsiteY1289" fmla="*/ 726347 h 1212067"/>
                <a:gd name="connsiteX1290" fmla="*/ 836417 w 1385794"/>
                <a:gd name="connsiteY1290" fmla="*/ 727424 h 1212067"/>
                <a:gd name="connsiteX1291" fmla="*/ 834465 w 1385794"/>
                <a:gd name="connsiteY1291" fmla="*/ 728500 h 1212067"/>
                <a:gd name="connsiteX1292" fmla="*/ 832715 w 1385794"/>
                <a:gd name="connsiteY1292" fmla="*/ 731326 h 1212067"/>
                <a:gd name="connsiteX1293" fmla="*/ 832513 w 1385794"/>
                <a:gd name="connsiteY1293" fmla="*/ 734151 h 1212067"/>
                <a:gd name="connsiteX1294" fmla="*/ 832951 w 1385794"/>
                <a:gd name="connsiteY1294" fmla="*/ 736002 h 1212067"/>
                <a:gd name="connsiteX1295" fmla="*/ 840119 w 1385794"/>
                <a:gd name="connsiteY1295" fmla="*/ 738928 h 1212067"/>
                <a:gd name="connsiteX1296" fmla="*/ 840994 w 1385794"/>
                <a:gd name="connsiteY1296" fmla="*/ 739567 h 1212067"/>
                <a:gd name="connsiteX1297" fmla="*/ 841768 w 1385794"/>
                <a:gd name="connsiteY1297" fmla="*/ 741754 h 1212067"/>
                <a:gd name="connsiteX1298" fmla="*/ 842745 w 1385794"/>
                <a:gd name="connsiteY1298" fmla="*/ 744916 h 1212067"/>
                <a:gd name="connsiteX1299" fmla="*/ 843821 w 1385794"/>
                <a:gd name="connsiteY1299" fmla="*/ 748616 h 1212067"/>
                <a:gd name="connsiteX1300" fmla="*/ 843956 w 1385794"/>
                <a:gd name="connsiteY1300" fmla="*/ 752956 h 1212067"/>
                <a:gd name="connsiteX1301" fmla="*/ 844057 w 1385794"/>
                <a:gd name="connsiteY1301" fmla="*/ 757094 h 1212067"/>
                <a:gd name="connsiteX1302" fmla="*/ 844932 w 1385794"/>
                <a:gd name="connsiteY1302" fmla="*/ 762409 h 1212067"/>
                <a:gd name="connsiteX1303" fmla="*/ 848971 w 1385794"/>
                <a:gd name="connsiteY1303" fmla="*/ 766008 h 1212067"/>
                <a:gd name="connsiteX1304" fmla="*/ 852672 w 1385794"/>
                <a:gd name="connsiteY1304" fmla="*/ 768296 h 1212067"/>
                <a:gd name="connsiteX1305" fmla="*/ 856375 w 1385794"/>
                <a:gd name="connsiteY1305" fmla="*/ 771996 h 1212067"/>
                <a:gd name="connsiteX1306" fmla="*/ 859976 w 1385794"/>
                <a:gd name="connsiteY1306" fmla="*/ 774586 h 1212067"/>
                <a:gd name="connsiteX1307" fmla="*/ 861625 w 1385794"/>
                <a:gd name="connsiteY1307" fmla="*/ 775562 h 1212067"/>
                <a:gd name="connsiteX1308" fmla="*/ 864115 w 1385794"/>
                <a:gd name="connsiteY1308" fmla="*/ 778589 h 1212067"/>
                <a:gd name="connsiteX1309" fmla="*/ 864553 w 1385794"/>
                <a:gd name="connsiteY1309" fmla="*/ 780978 h 1212067"/>
                <a:gd name="connsiteX1310" fmla="*/ 865327 w 1385794"/>
                <a:gd name="connsiteY1310" fmla="*/ 782391 h 1212067"/>
                <a:gd name="connsiteX1311" fmla="*/ 867952 w 1385794"/>
                <a:gd name="connsiteY1311" fmla="*/ 783366 h 1212067"/>
                <a:gd name="connsiteX1312" fmla="*/ 868726 w 1385794"/>
                <a:gd name="connsiteY1312" fmla="*/ 783804 h 1212067"/>
                <a:gd name="connsiteX1313" fmla="*/ 867413 w 1385794"/>
                <a:gd name="connsiteY1313" fmla="*/ 786831 h 1212067"/>
                <a:gd name="connsiteX1314" fmla="*/ 866538 w 1385794"/>
                <a:gd name="connsiteY1314" fmla="*/ 790397 h 1212067"/>
                <a:gd name="connsiteX1315" fmla="*/ 860783 w 1385794"/>
                <a:gd name="connsiteY1315" fmla="*/ 794736 h 1212067"/>
                <a:gd name="connsiteX1316" fmla="*/ 858495 w 1385794"/>
                <a:gd name="connsiteY1316" fmla="*/ 796149 h 1212067"/>
                <a:gd name="connsiteX1317" fmla="*/ 856442 w 1385794"/>
                <a:gd name="connsiteY1317" fmla="*/ 799951 h 1212067"/>
                <a:gd name="connsiteX1318" fmla="*/ 856105 w 1385794"/>
                <a:gd name="connsiteY1318" fmla="*/ 800724 h 1212067"/>
                <a:gd name="connsiteX1319" fmla="*/ 855903 w 1385794"/>
                <a:gd name="connsiteY1319" fmla="*/ 802675 h 1212067"/>
                <a:gd name="connsiteX1320" fmla="*/ 856980 w 1385794"/>
                <a:gd name="connsiteY1320" fmla="*/ 805165 h 1212067"/>
                <a:gd name="connsiteX1321" fmla="*/ 857620 w 1385794"/>
                <a:gd name="connsiteY1321" fmla="*/ 806477 h 1212067"/>
                <a:gd name="connsiteX1322" fmla="*/ 859235 w 1385794"/>
                <a:gd name="connsiteY1322" fmla="*/ 808966 h 1212067"/>
                <a:gd name="connsiteX1323" fmla="*/ 859235 w 1385794"/>
                <a:gd name="connsiteY1323" fmla="*/ 810715 h 1212067"/>
                <a:gd name="connsiteX1324" fmla="*/ 859336 w 1385794"/>
                <a:gd name="connsiteY1324" fmla="*/ 814517 h 1212067"/>
                <a:gd name="connsiteX1325" fmla="*/ 859336 w 1385794"/>
                <a:gd name="connsiteY1325" fmla="*/ 818217 h 1212067"/>
                <a:gd name="connsiteX1326" fmla="*/ 859235 w 1385794"/>
                <a:gd name="connsiteY1326" fmla="*/ 821917 h 1212067"/>
                <a:gd name="connsiteX1327" fmla="*/ 858798 w 1385794"/>
                <a:gd name="connsiteY1327" fmla="*/ 825718 h 1212067"/>
                <a:gd name="connsiteX1328" fmla="*/ 858697 w 1385794"/>
                <a:gd name="connsiteY1328" fmla="*/ 827131 h 1212067"/>
                <a:gd name="connsiteX1329" fmla="*/ 858461 w 1385794"/>
                <a:gd name="connsiteY1329" fmla="*/ 828342 h 1212067"/>
                <a:gd name="connsiteX1330" fmla="*/ 857283 w 1385794"/>
                <a:gd name="connsiteY1330" fmla="*/ 829318 h 1212067"/>
                <a:gd name="connsiteX1331" fmla="*/ 854221 w 1385794"/>
                <a:gd name="connsiteY1331" fmla="*/ 828881 h 1212067"/>
                <a:gd name="connsiteX1332" fmla="*/ 851629 w 1385794"/>
                <a:gd name="connsiteY1332" fmla="*/ 828107 h 1212067"/>
                <a:gd name="connsiteX1333" fmla="*/ 846076 w 1385794"/>
                <a:gd name="connsiteY1333" fmla="*/ 827468 h 1212067"/>
                <a:gd name="connsiteX1334" fmla="*/ 841836 w 1385794"/>
                <a:gd name="connsiteY1334" fmla="*/ 829520 h 1212067"/>
                <a:gd name="connsiteX1335" fmla="*/ 837932 w 1385794"/>
                <a:gd name="connsiteY1335" fmla="*/ 831370 h 1212067"/>
                <a:gd name="connsiteX1336" fmla="*/ 836619 w 1385794"/>
                <a:gd name="connsiteY1336" fmla="*/ 831706 h 1212067"/>
                <a:gd name="connsiteX1337" fmla="*/ 833691 w 1385794"/>
                <a:gd name="connsiteY1337" fmla="*/ 832682 h 1212067"/>
                <a:gd name="connsiteX1338" fmla="*/ 834566 w 1385794"/>
                <a:gd name="connsiteY1338" fmla="*/ 835609 h 1212067"/>
                <a:gd name="connsiteX1339" fmla="*/ 835105 w 1385794"/>
                <a:gd name="connsiteY1339" fmla="*/ 838098 h 1212067"/>
                <a:gd name="connsiteX1340" fmla="*/ 835441 w 1385794"/>
                <a:gd name="connsiteY1340" fmla="*/ 839948 h 1212067"/>
                <a:gd name="connsiteX1341" fmla="*/ 835643 w 1385794"/>
                <a:gd name="connsiteY1341" fmla="*/ 844187 h 1212067"/>
                <a:gd name="connsiteX1342" fmla="*/ 836417 w 1385794"/>
                <a:gd name="connsiteY1342" fmla="*/ 847988 h 1212067"/>
                <a:gd name="connsiteX1343" fmla="*/ 837292 w 1385794"/>
                <a:gd name="connsiteY1343" fmla="*/ 851049 h 1212067"/>
                <a:gd name="connsiteX1344" fmla="*/ 838066 w 1385794"/>
                <a:gd name="connsiteY1344" fmla="*/ 855490 h 1212067"/>
                <a:gd name="connsiteX1345" fmla="*/ 837965 w 1385794"/>
                <a:gd name="connsiteY1345" fmla="*/ 857777 h 1212067"/>
                <a:gd name="connsiteX1346" fmla="*/ 837763 w 1385794"/>
                <a:gd name="connsiteY1346" fmla="*/ 862117 h 1212067"/>
                <a:gd name="connsiteX1347" fmla="*/ 836451 w 1385794"/>
                <a:gd name="connsiteY1347" fmla="*/ 864942 h 1212067"/>
                <a:gd name="connsiteX1348" fmla="*/ 833860 w 1385794"/>
                <a:gd name="connsiteY1348" fmla="*/ 866591 h 1212067"/>
                <a:gd name="connsiteX1349" fmla="*/ 829081 w 1385794"/>
                <a:gd name="connsiteY1349" fmla="*/ 867028 h 1212067"/>
                <a:gd name="connsiteX1350" fmla="*/ 825816 w 1385794"/>
                <a:gd name="connsiteY1350" fmla="*/ 864539 h 1212067"/>
                <a:gd name="connsiteX1351" fmla="*/ 821138 w 1385794"/>
                <a:gd name="connsiteY1351" fmla="*/ 862352 h 1212067"/>
                <a:gd name="connsiteX1352" fmla="*/ 816460 w 1385794"/>
                <a:gd name="connsiteY1352" fmla="*/ 863765 h 1212067"/>
                <a:gd name="connsiteX1353" fmla="*/ 814845 w 1385794"/>
                <a:gd name="connsiteY1353" fmla="*/ 867903 h 1212067"/>
                <a:gd name="connsiteX1354" fmla="*/ 810941 w 1385794"/>
                <a:gd name="connsiteY1354" fmla="*/ 870829 h 1212067"/>
                <a:gd name="connsiteX1355" fmla="*/ 807676 w 1385794"/>
                <a:gd name="connsiteY1355" fmla="*/ 873655 h 1212067"/>
                <a:gd name="connsiteX1356" fmla="*/ 805388 w 1385794"/>
                <a:gd name="connsiteY1356" fmla="*/ 875068 h 1212067"/>
                <a:gd name="connsiteX1357" fmla="*/ 803200 w 1385794"/>
                <a:gd name="connsiteY1357" fmla="*/ 873117 h 1212067"/>
                <a:gd name="connsiteX1358" fmla="*/ 799296 w 1385794"/>
                <a:gd name="connsiteY1358" fmla="*/ 872780 h 1212067"/>
                <a:gd name="connsiteX1359" fmla="*/ 796469 w 1385794"/>
                <a:gd name="connsiteY1359" fmla="*/ 873991 h 1212067"/>
                <a:gd name="connsiteX1360" fmla="*/ 795392 w 1385794"/>
                <a:gd name="connsiteY1360" fmla="*/ 875505 h 1212067"/>
                <a:gd name="connsiteX1361" fmla="*/ 794248 w 1385794"/>
                <a:gd name="connsiteY1361" fmla="*/ 878095 h 1212067"/>
                <a:gd name="connsiteX1362" fmla="*/ 793306 w 1385794"/>
                <a:gd name="connsiteY1362" fmla="*/ 881695 h 1212067"/>
                <a:gd name="connsiteX1363" fmla="*/ 793306 w 1385794"/>
                <a:gd name="connsiteY1363" fmla="*/ 884319 h 1212067"/>
                <a:gd name="connsiteX1364" fmla="*/ 793844 w 1385794"/>
                <a:gd name="connsiteY1364" fmla="*/ 887044 h 1212067"/>
                <a:gd name="connsiteX1365" fmla="*/ 794484 w 1385794"/>
                <a:gd name="connsiteY1365" fmla="*/ 889533 h 1212067"/>
                <a:gd name="connsiteX1366" fmla="*/ 797210 w 1385794"/>
                <a:gd name="connsiteY1366" fmla="*/ 891719 h 1212067"/>
                <a:gd name="connsiteX1367" fmla="*/ 801551 w 1385794"/>
                <a:gd name="connsiteY1367" fmla="*/ 892931 h 1212067"/>
                <a:gd name="connsiteX1368" fmla="*/ 803941 w 1385794"/>
                <a:gd name="connsiteY1368" fmla="*/ 896093 h 1212067"/>
                <a:gd name="connsiteX1369" fmla="*/ 804479 w 1385794"/>
                <a:gd name="connsiteY1369" fmla="*/ 898145 h 1212067"/>
                <a:gd name="connsiteX1370" fmla="*/ 804580 w 1385794"/>
                <a:gd name="connsiteY1370" fmla="*/ 899457 h 1212067"/>
                <a:gd name="connsiteX1371" fmla="*/ 803402 w 1385794"/>
                <a:gd name="connsiteY1371" fmla="*/ 902921 h 1212067"/>
                <a:gd name="connsiteX1372" fmla="*/ 801349 w 1385794"/>
                <a:gd name="connsiteY1372" fmla="*/ 905747 h 1212067"/>
                <a:gd name="connsiteX1373" fmla="*/ 797647 w 1385794"/>
                <a:gd name="connsiteY1373" fmla="*/ 908472 h 1212067"/>
                <a:gd name="connsiteX1374" fmla="*/ 795359 w 1385794"/>
                <a:gd name="connsiteY1374" fmla="*/ 909885 h 1212067"/>
                <a:gd name="connsiteX1375" fmla="*/ 793272 w 1385794"/>
                <a:gd name="connsiteY1375" fmla="*/ 912475 h 1212067"/>
                <a:gd name="connsiteX1376" fmla="*/ 791758 w 1385794"/>
                <a:gd name="connsiteY1376" fmla="*/ 914863 h 1212067"/>
                <a:gd name="connsiteX1377" fmla="*/ 788493 w 1385794"/>
                <a:gd name="connsiteY1377" fmla="*/ 916478 h 1212067"/>
                <a:gd name="connsiteX1378" fmla="*/ 785666 w 1385794"/>
                <a:gd name="connsiteY1378" fmla="*/ 917790 h 1212067"/>
                <a:gd name="connsiteX1379" fmla="*/ 781964 w 1385794"/>
                <a:gd name="connsiteY1379" fmla="*/ 918665 h 1212067"/>
                <a:gd name="connsiteX1380" fmla="*/ 779676 w 1385794"/>
                <a:gd name="connsiteY1380" fmla="*/ 919539 h 1212067"/>
                <a:gd name="connsiteX1381" fmla="*/ 775873 w 1385794"/>
                <a:gd name="connsiteY1381" fmla="*/ 921726 h 1212067"/>
                <a:gd name="connsiteX1382" fmla="*/ 771969 w 1385794"/>
                <a:gd name="connsiteY1382" fmla="*/ 922601 h 1212067"/>
                <a:gd name="connsiteX1383" fmla="*/ 769142 w 1385794"/>
                <a:gd name="connsiteY1383" fmla="*/ 924114 h 1212067"/>
                <a:gd name="connsiteX1384" fmla="*/ 764363 w 1385794"/>
                <a:gd name="connsiteY1384" fmla="*/ 925965 h 1212067"/>
                <a:gd name="connsiteX1385" fmla="*/ 761772 w 1385794"/>
                <a:gd name="connsiteY1385" fmla="*/ 927579 h 1212067"/>
                <a:gd name="connsiteX1386" fmla="*/ 759820 w 1385794"/>
                <a:gd name="connsiteY1386" fmla="*/ 929531 h 1212067"/>
                <a:gd name="connsiteX1387" fmla="*/ 758069 w 1385794"/>
                <a:gd name="connsiteY1387" fmla="*/ 931717 h 1212067"/>
                <a:gd name="connsiteX1388" fmla="*/ 757632 w 1385794"/>
                <a:gd name="connsiteY1388" fmla="*/ 934980 h 1212067"/>
                <a:gd name="connsiteX1389" fmla="*/ 757868 w 1385794"/>
                <a:gd name="connsiteY1389" fmla="*/ 937469 h 1212067"/>
                <a:gd name="connsiteX1390" fmla="*/ 758507 w 1385794"/>
                <a:gd name="connsiteY1390" fmla="*/ 940632 h 1212067"/>
                <a:gd name="connsiteX1391" fmla="*/ 758507 w 1385794"/>
                <a:gd name="connsiteY1391" fmla="*/ 943424 h 1212067"/>
                <a:gd name="connsiteX1392" fmla="*/ 758305 w 1385794"/>
                <a:gd name="connsiteY1392" fmla="*/ 945173 h 1212067"/>
                <a:gd name="connsiteX1393" fmla="*/ 758406 w 1385794"/>
                <a:gd name="connsiteY1393" fmla="*/ 946922 h 1212067"/>
                <a:gd name="connsiteX1394" fmla="*/ 758137 w 1385794"/>
                <a:gd name="connsiteY1394" fmla="*/ 948840 h 1212067"/>
                <a:gd name="connsiteX1395" fmla="*/ 757497 w 1385794"/>
                <a:gd name="connsiteY1395" fmla="*/ 949210 h 1212067"/>
                <a:gd name="connsiteX1396" fmla="*/ 756252 w 1385794"/>
                <a:gd name="connsiteY1396" fmla="*/ 950017 h 1212067"/>
                <a:gd name="connsiteX1397" fmla="*/ 754502 w 1385794"/>
                <a:gd name="connsiteY1397" fmla="*/ 950017 h 1212067"/>
                <a:gd name="connsiteX1398" fmla="*/ 752550 w 1385794"/>
                <a:gd name="connsiteY1398" fmla="*/ 949512 h 1212067"/>
                <a:gd name="connsiteX1399" fmla="*/ 750766 w 1385794"/>
                <a:gd name="connsiteY1399" fmla="*/ 948099 h 1212067"/>
                <a:gd name="connsiteX1400" fmla="*/ 748882 w 1385794"/>
                <a:gd name="connsiteY1400" fmla="*/ 945980 h 1212067"/>
                <a:gd name="connsiteX1401" fmla="*/ 746425 w 1385794"/>
                <a:gd name="connsiteY1401" fmla="*/ 946417 h 1212067"/>
                <a:gd name="connsiteX1402" fmla="*/ 743867 w 1385794"/>
                <a:gd name="connsiteY1402" fmla="*/ 947662 h 1212067"/>
                <a:gd name="connsiteX1403" fmla="*/ 741478 w 1385794"/>
                <a:gd name="connsiteY1403" fmla="*/ 948739 h 1212067"/>
                <a:gd name="connsiteX1404" fmla="*/ 739189 w 1385794"/>
                <a:gd name="connsiteY1404" fmla="*/ 949546 h 1212067"/>
                <a:gd name="connsiteX1405" fmla="*/ 737136 w 1385794"/>
                <a:gd name="connsiteY1405" fmla="*/ 950723 h 1212067"/>
                <a:gd name="connsiteX1406" fmla="*/ 735521 w 1385794"/>
                <a:gd name="connsiteY1406" fmla="*/ 953011 h 1212067"/>
                <a:gd name="connsiteX1407" fmla="*/ 734444 w 1385794"/>
                <a:gd name="connsiteY1407" fmla="*/ 955904 h 1212067"/>
                <a:gd name="connsiteX1408" fmla="*/ 734107 w 1385794"/>
                <a:gd name="connsiteY1408" fmla="*/ 957922 h 1212067"/>
                <a:gd name="connsiteX1409" fmla="*/ 734208 w 1385794"/>
                <a:gd name="connsiteY1409" fmla="*/ 959604 h 1212067"/>
                <a:gd name="connsiteX1410" fmla="*/ 735958 w 1385794"/>
                <a:gd name="connsiteY1410" fmla="*/ 963742 h 1212067"/>
                <a:gd name="connsiteX1411" fmla="*/ 737742 w 1385794"/>
                <a:gd name="connsiteY1411" fmla="*/ 965626 h 1212067"/>
                <a:gd name="connsiteX1412" fmla="*/ 742050 w 1385794"/>
                <a:gd name="connsiteY1412" fmla="*/ 966433 h 1212067"/>
                <a:gd name="connsiteX1413" fmla="*/ 744540 w 1385794"/>
                <a:gd name="connsiteY1413" fmla="*/ 964112 h 1212067"/>
                <a:gd name="connsiteX1414" fmla="*/ 746492 w 1385794"/>
                <a:gd name="connsiteY1414" fmla="*/ 961656 h 1212067"/>
                <a:gd name="connsiteX1415" fmla="*/ 748545 w 1385794"/>
                <a:gd name="connsiteY1415" fmla="*/ 959873 h 1212067"/>
                <a:gd name="connsiteX1416" fmla="*/ 751978 w 1385794"/>
                <a:gd name="connsiteY1416" fmla="*/ 958797 h 1212067"/>
                <a:gd name="connsiteX1417" fmla="*/ 755411 w 1385794"/>
                <a:gd name="connsiteY1417" fmla="*/ 959840 h 1212067"/>
                <a:gd name="connsiteX1418" fmla="*/ 756656 w 1385794"/>
                <a:gd name="connsiteY1418" fmla="*/ 961690 h 1212067"/>
                <a:gd name="connsiteX1419" fmla="*/ 756925 w 1385794"/>
                <a:gd name="connsiteY1419" fmla="*/ 963607 h 1212067"/>
                <a:gd name="connsiteX1420" fmla="*/ 756017 w 1385794"/>
                <a:gd name="connsiteY1420" fmla="*/ 966635 h 1212067"/>
                <a:gd name="connsiteX1421" fmla="*/ 755074 w 1385794"/>
                <a:gd name="connsiteY1421" fmla="*/ 968855 h 1212067"/>
                <a:gd name="connsiteX1422" fmla="*/ 755074 w 1385794"/>
                <a:gd name="connsiteY1422" fmla="*/ 969494 h 1212067"/>
                <a:gd name="connsiteX1423" fmla="*/ 757295 w 1385794"/>
                <a:gd name="connsiteY1423" fmla="*/ 972253 h 1212067"/>
                <a:gd name="connsiteX1424" fmla="*/ 760122 w 1385794"/>
                <a:gd name="connsiteY1424" fmla="*/ 974036 h 1212067"/>
                <a:gd name="connsiteX1425" fmla="*/ 764026 w 1385794"/>
                <a:gd name="connsiteY1425" fmla="*/ 975650 h 1212067"/>
                <a:gd name="connsiteX1426" fmla="*/ 768469 w 1385794"/>
                <a:gd name="connsiteY1426" fmla="*/ 976727 h 1212067"/>
                <a:gd name="connsiteX1427" fmla="*/ 770690 w 1385794"/>
                <a:gd name="connsiteY1427" fmla="*/ 976525 h 1212067"/>
                <a:gd name="connsiteX1428" fmla="*/ 775099 w 1385794"/>
                <a:gd name="connsiteY1428" fmla="*/ 978577 h 1212067"/>
                <a:gd name="connsiteX1429" fmla="*/ 776950 w 1385794"/>
                <a:gd name="connsiteY1429" fmla="*/ 980595 h 1212067"/>
                <a:gd name="connsiteX1430" fmla="*/ 777017 w 1385794"/>
                <a:gd name="connsiteY1430" fmla="*/ 981907 h 1212067"/>
                <a:gd name="connsiteX1431" fmla="*/ 777825 w 1385794"/>
                <a:gd name="connsiteY1431" fmla="*/ 987021 h 1212067"/>
                <a:gd name="connsiteX1432" fmla="*/ 777724 w 1385794"/>
                <a:gd name="connsiteY1432" fmla="*/ 988433 h 1212067"/>
                <a:gd name="connsiteX1433" fmla="*/ 778060 w 1385794"/>
                <a:gd name="connsiteY1433" fmla="*/ 991595 h 1212067"/>
                <a:gd name="connsiteX1434" fmla="*/ 778397 w 1385794"/>
                <a:gd name="connsiteY1434" fmla="*/ 993547 h 1212067"/>
                <a:gd name="connsiteX1435" fmla="*/ 781224 w 1385794"/>
                <a:gd name="connsiteY1435" fmla="*/ 995229 h 1212067"/>
                <a:gd name="connsiteX1436" fmla="*/ 781830 w 1385794"/>
                <a:gd name="connsiteY1436" fmla="*/ 996810 h 1212067"/>
                <a:gd name="connsiteX1437" fmla="*/ 780786 w 1385794"/>
                <a:gd name="connsiteY1437" fmla="*/ 997853 h 1212067"/>
                <a:gd name="connsiteX1438" fmla="*/ 778296 w 1385794"/>
                <a:gd name="connsiteY1438" fmla="*/ 999030 h 1212067"/>
                <a:gd name="connsiteX1439" fmla="*/ 775267 w 1385794"/>
                <a:gd name="connsiteY1439" fmla="*/ 999736 h 1212067"/>
                <a:gd name="connsiteX1440" fmla="*/ 771901 w 1385794"/>
                <a:gd name="connsiteY1440" fmla="*/ 1000174 h 1212067"/>
                <a:gd name="connsiteX1441" fmla="*/ 771127 w 1385794"/>
                <a:gd name="connsiteY1441" fmla="*/ 1001856 h 1212067"/>
                <a:gd name="connsiteX1442" fmla="*/ 770757 w 1385794"/>
                <a:gd name="connsiteY1442" fmla="*/ 1002932 h 1212067"/>
                <a:gd name="connsiteX1443" fmla="*/ 767291 w 1385794"/>
                <a:gd name="connsiteY1443" fmla="*/ 1003740 h 1212067"/>
                <a:gd name="connsiteX1444" fmla="*/ 765608 w 1385794"/>
                <a:gd name="connsiteY1444" fmla="*/ 1004110 h 1212067"/>
                <a:gd name="connsiteX1445" fmla="*/ 762781 w 1385794"/>
                <a:gd name="connsiteY1445" fmla="*/ 1006834 h 1212067"/>
                <a:gd name="connsiteX1446" fmla="*/ 761435 w 1385794"/>
                <a:gd name="connsiteY1446" fmla="*/ 1008886 h 1212067"/>
                <a:gd name="connsiteX1447" fmla="*/ 761098 w 1385794"/>
                <a:gd name="connsiteY1447" fmla="*/ 1011207 h 1212067"/>
                <a:gd name="connsiteX1448" fmla="*/ 760661 w 1385794"/>
                <a:gd name="connsiteY1448" fmla="*/ 1013159 h 1212067"/>
                <a:gd name="connsiteX1449" fmla="*/ 759180 w 1385794"/>
                <a:gd name="connsiteY1449" fmla="*/ 1015446 h 1212067"/>
                <a:gd name="connsiteX1450" fmla="*/ 758238 w 1385794"/>
                <a:gd name="connsiteY1450" fmla="*/ 1016422 h 1212067"/>
                <a:gd name="connsiteX1451" fmla="*/ 758069 w 1385794"/>
                <a:gd name="connsiteY1451" fmla="*/ 1019887 h 1212067"/>
                <a:gd name="connsiteX1452" fmla="*/ 756757 w 1385794"/>
                <a:gd name="connsiteY1452" fmla="*/ 1021669 h 1212067"/>
                <a:gd name="connsiteX1453" fmla="*/ 753728 w 1385794"/>
                <a:gd name="connsiteY1453" fmla="*/ 1020526 h 1212067"/>
                <a:gd name="connsiteX1454" fmla="*/ 752214 w 1385794"/>
                <a:gd name="connsiteY1454" fmla="*/ 1017868 h 1212067"/>
                <a:gd name="connsiteX1455" fmla="*/ 750295 w 1385794"/>
                <a:gd name="connsiteY1455" fmla="*/ 1016354 h 1212067"/>
                <a:gd name="connsiteX1456" fmla="*/ 748411 w 1385794"/>
                <a:gd name="connsiteY1456" fmla="*/ 1017296 h 1212067"/>
                <a:gd name="connsiteX1457" fmla="*/ 747401 w 1385794"/>
                <a:gd name="connsiteY1457" fmla="*/ 1018373 h 1212067"/>
                <a:gd name="connsiteX1458" fmla="*/ 746661 w 1385794"/>
                <a:gd name="connsiteY1458" fmla="*/ 1019819 h 1212067"/>
                <a:gd name="connsiteX1459" fmla="*/ 746156 w 1385794"/>
                <a:gd name="connsiteY1459" fmla="*/ 1020963 h 1212067"/>
                <a:gd name="connsiteX1460" fmla="*/ 745786 w 1385794"/>
                <a:gd name="connsiteY1460" fmla="*/ 1022208 h 1212067"/>
                <a:gd name="connsiteX1461" fmla="*/ 745483 w 1385794"/>
                <a:gd name="connsiteY1461" fmla="*/ 1023721 h 1212067"/>
                <a:gd name="connsiteX1462" fmla="*/ 744540 w 1385794"/>
                <a:gd name="connsiteY1462" fmla="*/ 1024966 h 1212067"/>
                <a:gd name="connsiteX1463" fmla="*/ 742353 w 1385794"/>
                <a:gd name="connsiteY1463" fmla="*/ 1025773 h 1212067"/>
                <a:gd name="connsiteX1464" fmla="*/ 741410 w 1385794"/>
                <a:gd name="connsiteY1464" fmla="*/ 1026345 h 1212067"/>
                <a:gd name="connsiteX1465" fmla="*/ 739593 w 1385794"/>
                <a:gd name="connsiteY1465" fmla="*/ 1026715 h 1212067"/>
                <a:gd name="connsiteX1466" fmla="*/ 737910 w 1385794"/>
                <a:gd name="connsiteY1466" fmla="*/ 1026715 h 1212067"/>
                <a:gd name="connsiteX1467" fmla="*/ 735218 w 1385794"/>
                <a:gd name="connsiteY1467" fmla="*/ 1026278 h 1212067"/>
                <a:gd name="connsiteX1468" fmla="*/ 734141 w 1385794"/>
                <a:gd name="connsiteY1468" fmla="*/ 1024966 h 1212067"/>
                <a:gd name="connsiteX1469" fmla="*/ 731752 w 1385794"/>
                <a:gd name="connsiteY1469" fmla="*/ 1022510 h 1212067"/>
                <a:gd name="connsiteX1470" fmla="*/ 729732 w 1385794"/>
                <a:gd name="connsiteY1470" fmla="*/ 1021064 h 1212067"/>
                <a:gd name="connsiteX1471" fmla="*/ 726703 w 1385794"/>
                <a:gd name="connsiteY1471" fmla="*/ 1018743 h 1212067"/>
                <a:gd name="connsiteX1472" fmla="*/ 723136 w 1385794"/>
                <a:gd name="connsiteY1472" fmla="*/ 1016994 h 1212067"/>
                <a:gd name="connsiteX1473" fmla="*/ 721756 w 1385794"/>
                <a:gd name="connsiteY1473" fmla="*/ 1013529 h 1212067"/>
                <a:gd name="connsiteX1474" fmla="*/ 721049 w 1385794"/>
                <a:gd name="connsiteY1474" fmla="*/ 1012082 h 1212067"/>
                <a:gd name="connsiteX1475" fmla="*/ 717650 w 1385794"/>
                <a:gd name="connsiteY1475" fmla="*/ 1010501 h 1212067"/>
                <a:gd name="connsiteX1476" fmla="*/ 714689 w 1385794"/>
                <a:gd name="connsiteY1476" fmla="*/ 1009425 h 1212067"/>
                <a:gd name="connsiteX1477" fmla="*/ 712501 w 1385794"/>
                <a:gd name="connsiteY1477" fmla="*/ 1008684 h 1212067"/>
                <a:gd name="connsiteX1478" fmla="*/ 708294 w 1385794"/>
                <a:gd name="connsiteY1478" fmla="*/ 1006935 h 1212067"/>
                <a:gd name="connsiteX1479" fmla="*/ 705400 w 1385794"/>
                <a:gd name="connsiteY1479" fmla="*/ 1005859 h 1212067"/>
                <a:gd name="connsiteX1480" fmla="*/ 702943 w 1385794"/>
                <a:gd name="connsiteY1480" fmla="*/ 1004042 h 1212067"/>
                <a:gd name="connsiteX1481" fmla="*/ 698804 w 1385794"/>
                <a:gd name="connsiteY1481" fmla="*/ 1001587 h 1212067"/>
                <a:gd name="connsiteX1482" fmla="*/ 694530 w 1385794"/>
                <a:gd name="connsiteY1482" fmla="*/ 999400 h 1212067"/>
                <a:gd name="connsiteX1483" fmla="*/ 691198 w 1385794"/>
                <a:gd name="connsiteY1483" fmla="*/ 996574 h 1212067"/>
                <a:gd name="connsiteX1484" fmla="*/ 687563 w 1385794"/>
                <a:gd name="connsiteY1484" fmla="*/ 994186 h 1212067"/>
                <a:gd name="connsiteX1485" fmla="*/ 684433 w 1385794"/>
                <a:gd name="connsiteY1485" fmla="*/ 991797 h 1212067"/>
                <a:gd name="connsiteX1486" fmla="*/ 682111 w 1385794"/>
                <a:gd name="connsiteY1486" fmla="*/ 989913 h 1212067"/>
                <a:gd name="connsiteX1487" fmla="*/ 678712 w 1385794"/>
                <a:gd name="connsiteY1487" fmla="*/ 989476 h 1212067"/>
                <a:gd name="connsiteX1488" fmla="*/ 676524 w 1385794"/>
                <a:gd name="connsiteY1488" fmla="*/ 988602 h 1212067"/>
                <a:gd name="connsiteX1489" fmla="*/ 674337 w 1385794"/>
                <a:gd name="connsiteY1489" fmla="*/ 988232 h 1212067"/>
                <a:gd name="connsiteX1490" fmla="*/ 671577 w 1385794"/>
                <a:gd name="connsiteY1490" fmla="*/ 987794 h 1212067"/>
                <a:gd name="connsiteX1491" fmla="*/ 669322 w 1385794"/>
                <a:gd name="connsiteY1491" fmla="*/ 986920 h 1212067"/>
                <a:gd name="connsiteX1492" fmla="*/ 667741 w 1385794"/>
                <a:gd name="connsiteY1492" fmla="*/ 985473 h 1212067"/>
                <a:gd name="connsiteX1493" fmla="*/ 665351 w 1385794"/>
                <a:gd name="connsiteY1493" fmla="*/ 984464 h 1212067"/>
                <a:gd name="connsiteX1494" fmla="*/ 663096 w 1385794"/>
                <a:gd name="connsiteY1494" fmla="*/ 984161 h 1212067"/>
                <a:gd name="connsiteX1495" fmla="*/ 658755 w 1385794"/>
                <a:gd name="connsiteY1495" fmla="*/ 983892 h 1212067"/>
                <a:gd name="connsiteX1496" fmla="*/ 655793 w 1385794"/>
                <a:gd name="connsiteY1496" fmla="*/ 984397 h 1212067"/>
                <a:gd name="connsiteX1497" fmla="*/ 650644 w 1385794"/>
                <a:gd name="connsiteY1497" fmla="*/ 984599 h 1212067"/>
                <a:gd name="connsiteX1498" fmla="*/ 648961 w 1385794"/>
                <a:gd name="connsiteY1498" fmla="*/ 985238 h 1212067"/>
                <a:gd name="connsiteX1499" fmla="*/ 647649 w 1385794"/>
                <a:gd name="connsiteY1499" fmla="*/ 987256 h 1212067"/>
                <a:gd name="connsiteX1500" fmla="*/ 647514 w 1385794"/>
                <a:gd name="connsiteY1500" fmla="*/ 990654 h 1212067"/>
                <a:gd name="connsiteX1501" fmla="*/ 648221 w 1385794"/>
                <a:gd name="connsiteY1501" fmla="*/ 995060 h 1212067"/>
                <a:gd name="connsiteX1502" fmla="*/ 648423 w 1385794"/>
                <a:gd name="connsiteY1502" fmla="*/ 998391 h 1212067"/>
                <a:gd name="connsiteX1503" fmla="*/ 649433 w 1385794"/>
                <a:gd name="connsiteY1503" fmla="*/ 1004412 h 1212067"/>
                <a:gd name="connsiteX1504" fmla="*/ 649062 w 1385794"/>
                <a:gd name="connsiteY1504" fmla="*/ 1013764 h 1212067"/>
                <a:gd name="connsiteX1505" fmla="*/ 649567 w 1385794"/>
                <a:gd name="connsiteY1505" fmla="*/ 1016792 h 1212067"/>
                <a:gd name="connsiteX1506" fmla="*/ 653908 w 1385794"/>
                <a:gd name="connsiteY1506" fmla="*/ 1025908 h 1212067"/>
                <a:gd name="connsiteX1507" fmla="*/ 657308 w 1385794"/>
                <a:gd name="connsiteY1507" fmla="*/ 1032199 h 1212067"/>
                <a:gd name="connsiteX1508" fmla="*/ 666428 w 1385794"/>
                <a:gd name="connsiteY1508" fmla="*/ 1041752 h 1212067"/>
                <a:gd name="connsiteX1509" fmla="*/ 670837 w 1385794"/>
                <a:gd name="connsiteY1509" fmla="*/ 1046327 h 1212067"/>
                <a:gd name="connsiteX1510" fmla="*/ 676693 w 1385794"/>
                <a:gd name="connsiteY1510" fmla="*/ 1052046 h 1212067"/>
                <a:gd name="connsiteX1511" fmla="*/ 678140 w 1385794"/>
                <a:gd name="connsiteY1511" fmla="*/ 1053425 h 1212067"/>
                <a:gd name="connsiteX1512" fmla="*/ 678241 w 1385794"/>
                <a:gd name="connsiteY1512" fmla="*/ 1055914 h 1212067"/>
                <a:gd name="connsiteX1513" fmla="*/ 677601 w 1385794"/>
                <a:gd name="connsiteY1513" fmla="*/ 1058303 h 1212067"/>
                <a:gd name="connsiteX1514" fmla="*/ 676188 w 1385794"/>
                <a:gd name="connsiteY1514" fmla="*/ 1061028 h 1212067"/>
                <a:gd name="connsiteX1515" fmla="*/ 675212 w 1385794"/>
                <a:gd name="connsiteY1515" fmla="*/ 1062979 h 1212067"/>
                <a:gd name="connsiteX1516" fmla="*/ 674236 w 1385794"/>
                <a:gd name="connsiteY1516" fmla="*/ 1065468 h 1212067"/>
                <a:gd name="connsiteX1517" fmla="*/ 672789 w 1385794"/>
                <a:gd name="connsiteY1517" fmla="*/ 1066881 h 1212067"/>
                <a:gd name="connsiteX1518" fmla="*/ 673092 w 1385794"/>
                <a:gd name="connsiteY1518" fmla="*/ 1068563 h 1212067"/>
                <a:gd name="connsiteX1519" fmla="*/ 674472 w 1385794"/>
                <a:gd name="connsiteY1519" fmla="*/ 1070144 h 1212067"/>
                <a:gd name="connsiteX1520" fmla="*/ 676794 w 1385794"/>
                <a:gd name="connsiteY1520" fmla="*/ 1070144 h 1212067"/>
                <a:gd name="connsiteX1521" fmla="*/ 680933 w 1385794"/>
                <a:gd name="connsiteY1521" fmla="*/ 1070514 h 1212067"/>
                <a:gd name="connsiteX1522" fmla="*/ 685510 w 1385794"/>
                <a:gd name="connsiteY1522" fmla="*/ 1069202 h 1212067"/>
                <a:gd name="connsiteX1523" fmla="*/ 687698 w 1385794"/>
                <a:gd name="connsiteY1523" fmla="*/ 1067722 h 1212067"/>
                <a:gd name="connsiteX1524" fmla="*/ 689381 w 1385794"/>
                <a:gd name="connsiteY1524" fmla="*/ 1067554 h 1212067"/>
                <a:gd name="connsiteX1525" fmla="*/ 693217 w 1385794"/>
                <a:gd name="connsiteY1525" fmla="*/ 1067554 h 1212067"/>
                <a:gd name="connsiteX1526" fmla="*/ 693722 w 1385794"/>
                <a:gd name="connsiteY1526" fmla="*/ 1067756 h 1212067"/>
                <a:gd name="connsiteX1527" fmla="*/ 694799 w 1385794"/>
                <a:gd name="connsiteY1527" fmla="*/ 1068900 h 1212067"/>
                <a:gd name="connsiteX1528" fmla="*/ 696818 w 1385794"/>
                <a:gd name="connsiteY1528" fmla="*/ 1068832 h 1212067"/>
                <a:gd name="connsiteX1529" fmla="*/ 699578 w 1385794"/>
                <a:gd name="connsiteY1529" fmla="*/ 1068462 h 1212067"/>
                <a:gd name="connsiteX1530" fmla="*/ 703650 w 1385794"/>
                <a:gd name="connsiteY1530" fmla="*/ 1067520 h 1212067"/>
                <a:gd name="connsiteX1531" fmla="*/ 706107 w 1385794"/>
                <a:gd name="connsiteY1531" fmla="*/ 1066410 h 1212067"/>
                <a:gd name="connsiteX1532" fmla="*/ 706914 w 1385794"/>
                <a:gd name="connsiteY1532" fmla="*/ 1065805 h 1212067"/>
                <a:gd name="connsiteX1533" fmla="*/ 707116 w 1385794"/>
                <a:gd name="connsiteY1533" fmla="*/ 1065805 h 1212067"/>
                <a:gd name="connsiteX1534" fmla="*/ 709068 w 1385794"/>
                <a:gd name="connsiteY1534" fmla="*/ 1066309 h 1212067"/>
                <a:gd name="connsiteX1535" fmla="*/ 710886 w 1385794"/>
                <a:gd name="connsiteY1535" fmla="*/ 1066511 h 1212067"/>
                <a:gd name="connsiteX1536" fmla="*/ 714924 w 1385794"/>
                <a:gd name="connsiteY1536" fmla="*/ 1068597 h 1212067"/>
                <a:gd name="connsiteX1537" fmla="*/ 714924 w 1385794"/>
                <a:gd name="connsiteY1537" fmla="*/ 1073575 h 1212067"/>
                <a:gd name="connsiteX1538" fmla="*/ 714588 w 1385794"/>
                <a:gd name="connsiteY1538" fmla="*/ 1075190 h 1212067"/>
                <a:gd name="connsiteX1539" fmla="*/ 714487 w 1385794"/>
                <a:gd name="connsiteY1539" fmla="*/ 1077478 h 1212067"/>
                <a:gd name="connsiteX1540" fmla="*/ 713612 w 1385794"/>
                <a:gd name="connsiteY1540" fmla="*/ 1079429 h 1212067"/>
                <a:gd name="connsiteX1541" fmla="*/ 713073 w 1385794"/>
                <a:gd name="connsiteY1541" fmla="*/ 1081279 h 1212067"/>
                <a:gd name="connsiteX1542" fmla="*/ 712535 w 1385794"/>
                <a:gd name="connsiteY1542" fmla="*/ 1082053 h 1212067"/>
                <a:gd name="connsiteX1543" fmla="*/ 711660 w 1385794"/>
                <a:gd name="connsiteY1543" fmla="*/ 1083667 h 1212067"/>
                <a:gd name="connsiteX1544" fmla="*/ 710482 w 1385794"/>
                <a:gd name="connsiteY1544" fmla="*/ 1085316 h 1212067"/>
                <a:gd name="connsiteX1545" fmla="*/ 710381 w 1385794"/>
                <a:gd name="connsiteY1545" fmla="*/ 1086964 h 1212067"/>
                <a:gd name="connsiteX1546" fmla="*/ 711357 w 1385794"/>
                <a:gd name="connsiteY1546" fmla="*/ 1089991 h 1212067"/>
                <a:gd name="connsiteX1547" fmla="*/ 714520 w 1385794"/>
                <a:gd name="connsiteY1547" fmla="*/ 1091842 h 1212067"/>
                <a:gd name="connsiteX1548" fmla="*/ 715833 w 1385794"/>
                <a:gd name="connsiteY1548" fmla="*/ 1091842 h 1212067"/>
                <a:gd name="connsiteX1549" fmla="*/ 717718 w 1385794"/>
                <a:gd name="connsiteY1549" fmla="*/ 1092548 h 1212067"/>
                <a:gd name="connsiteX1550" fmla="*/ 719468 w 1385794"/>
                <a:gd name="connsiteY1550" fmla="*/ 1092111 h 1212067"/>
                <a:gd name="connsiteX1551" fmla="*/ 722059 w 1385794"/>
                <a:gd name="connsiteY1551" fmla="*/ 1090799 h 1212067"/>
                <a:gd name="connsiteX1552" fmla="*/ 722934 w 1385794"/>
                <a:gd name="connsiteY1552" fmla="*/ 1090496 h 1212067"/>
                <a:gd name="connsiteX1553" fmla="*/ 724078 w 1385794"/>
                <a:gd name="connsiteY1553" fmla="*/ 1089487 h 1212067"/>
                <a:gd name="connsiteX1554" fmla="*/ 727040 w 1385794"/>
                <a:gd name="connsiteY1554" fmla="*/ 1088982 h 1212067"/>
                <a:gd name="connsiteX1555" fmla="*/ 728756 w 1385794"/>
                <a:gd name="connsiteY1555" fmla="*/ 1088646 h 1212067"/>
                <a:gd name="connsiteX1556" fmla="*/ 729598 w 1385794"/>
                <a:gd name="connsiteY1556" fmla="*/ 1087839 h 1212067"/>
                <a:gd name="connsiteX1557" fmla="*/ 731449 w 1385794"/>
                <a:gd name="connsiteY1557" fmla="*/ 1085114 h 1212067"/>
                <a:gd name="connsiteX1558" fmla="*/ 733535 w 1385794"/>
                <a:gd name="connsiteY1558" fmla="*/ 1081548 h 1212067"/>
                <a:gd name="connsiteX1559" fmla="*/ 734175 w 1385794"/>
                <a:gd name="connsiteY1559" fmla="*/ 1079260 h 1212067"/>
                <a:gd name="connsiteX1560" fmla="*/ 736160 w 1385794"/>
                <a:gd name="connsiteY1560" fmla="*/ 1077377 h 1212067"/>
                <a:gd name="connsiteX1561" fmla="*/ 738920 w 1385794"/>
                <a:gd name="connsiteY1561" fmla="*/ 1074450 h 1212067"/>
                <a:gd name="connsiteX1562" fmla="*/ 740132 w 1385794"/>
                <a:gd name="connsiteY1562" fmla="*/ 1074450 h 1212067"/>
                <a:gd name="connsiteX1563" fmla="*/ 741377 w 1385794"/>
                <a:gd name="connsiteY1563" fmla="*/ 1077377 h 1212067"/>
                <a:gd name="connsiteX1564" fmla="*/ 742723 w 1385794"/>
                <a:gd name="connsiteY1564" fmla="*/ 1079227 h 1212067"/>
                <a:gd name="connsiteX1565" fmla="*/ 742723 w 1385794"/>
                <a:gd name="connsiteY1565" fmla="*/ 1082254 h 1212067"/>
                <a:gd name="connsiteX1566" fmla="*/ 742723 w 1385794"/>
                <a:gd name="connsiteY1566" fmla="*/ 1085719 h 1212067"/>
                <a:gd name="connsiteX1567" fmla="*/ 742723 w 1385794"/>
                <a:gd name="connsiteY1567" fmla="*/ 1089184 h 1212067"/>
                <a:gd name="connsiteX1568" fmla="*/ 742723 w 1385794"/>
                <a:gd name="connsiteY1568" fmla="*/ 1092649 h 1212067"/>
                <a:gd name="connsiteX1569" fmla="*/ 744843 w 1385794"/>
                <a:gd name="connsiteY1569" fmla="*/ 1095273 h 1212067"/>
                <a:gd name="connsiteX1570" fmla="*/ 746190 w 1385794"/>
                <a:gd name="connsiteY1570" fmla="*/ 1096450 h 1212067"/>
                <a:gd name="connsiteX1571" fmla="*/ 746190 w 1385794"/>
                <a:gd name="connsiteY1571" fmla="*/ 1097863 h 1212067"/>
                <a:gd name="connsiteX1572" fmla="*/ 746190 w 1385794"/>
                <a:gd name="connsiteY1572" fmla="*/ 1099613 h 1212067"/>
                <a:gd name="connsiteX1573" fmla="*/ 746190 w 1385794"/>
                <a:gd name="connsiteY1573" fmla="*/ 1103616 h 1212067"/>
                <a:gd name="connsiteX1574" fmla="*/ 744877 w 1385794"/>
                <a:gd name="connsiteY1574" fmla="*/ 1106206 h 1212067"/>
                <a:gd name="connsiteX1575" fmla="*/ 743901 w 1385794"/>
                <a:gd name="connsiteY1575" fmla="*/ 1110646 h 1212067"/>
                <a:gd name="connsiteX1576" fmla="*/ 742824 w 1385794"/>
                <a:gd name="connsiteY1576" fmla="*/ 1112496 h 1212067"/>
                <a:gd name="connsiteX1577" fmla="*/ 741747 w 1385794"/>
                <a:gd name="connsiteY1577" fmla="*/ 1113909 h 1212067"/>
                <a:gd name="connsiteX1578" fmla="*/ 739896 w 1385794"/>
                <a:gd name="connsiteY1578" fmla="*/ 1115524 h 1212067"/>
                <a:gd name="connsiteX1579" fmla="*/ 737406 w 1385794"/>
                <a:gd name="connsiteY1579" fmla="*/ 1116399 h 1212067"/>
                <a:gd name="connsiteX1580" fmla="*/ 732526 w 1385794"/>
                <a:gd name="connsiteY1580" fmla="*/ 1118888 h 1212067"/>
                <a:gd name="connsiteX1581" fmla="*/ 730641 w 1385794"/>
                <a:gd name="connsiteY1581" fmla="*/ 1120234 h 1212067"/>
                <a:gd name="connsiteX1582" fmla="*/ 733333 w 1385794"/>
                <a:gd name="connsiteY1582" fmla="*/ 1123026 h 1212067"/>
                <a:gd name="connsiteX1583" fmla="*/ 735790 w 1385794"/>
                <a:gd name="connsiteY1583" fmla="*/ 1128677 h 1212067"/>
                <a:gd name="connsiteX1584" fmla="*/ 736800 w 1385794"/>
                <a:gd name="connsiteY1584" fmla="*/ 1129686 h 1212067"/>
                <a:gd name="connsiteX1585" fmla="*/ 740132 w 1385794"/>
                <a:gd name="connsiteY1585" fmla="*/ 1132714 h 1212067"/>
                <a:gd name="connsiteX1586" fmla="*/ 746930 w 1385794"/>
                <a:gd name="connsiteY1586" fmla="*/ 1133286 h 1212067"/>
                <a:gd name="connsiteX1587" fmla="*/ 749387 w 1385794"/>
                <a:gd name="connsiteY1587" fmla="*/ 1131402 h 1212067"/>
                <a:gd name="connsiteX1588" fmla="*/ 750396 w 1385794"/>
                <a:gd name="connsiteY1588" fmla="*/ 1129081 h 1212067"/>
                <a:gd name="connsiteX1589" fmla="*/ 751137 w 1385794"/>
                <a:gd name="connsiteY1589" fmla="*/ 1127500 h 1212067"/>
                <a:gd name="connsiteX1590" fmla="*/ 752012 w 1385794"/>
                <a:gd name="connsiteY1590" fmla="*/ 1125616 h 1212067"/>
                <a:gd name="connsiteX1591" fmla="*/ 753021 w 1385794"/>
                <a:gd name="connsiteY1591" fmla="*/ 1123867 h 1212067"/>
                <a:gd name="connsiteX1592" fmla="*/ 754334 w 1385794"/>
                <a:gd name="connsiteY1592" fmla="*/ 1122723 h 1212067"/>
                <a:gd name="connsiteX1593" fmla="*/ 757531 w 1385794"/>
                <a:gd name="connsiteY1593" fmla="*/ 1123026 h 1212067"/>
                <a:gd name="connsiteX1594" fmla="*/ 758541 w 1385794"/>
                <a:gd name="connsiteY1594" fmla="*/ 1119123 h 1212067"/>
                <a:gd name="connsiteX1595" fmla="*/ 760291 w 1385794"/>
                <a:gd name="connsiteY1595" fmla="*/ 1116096 h 1212067"/>
                <a:gd name="connsiteX1596" fmla="*/ 762748 w 1385794"/>
                <a:gd name="connsiteY1596" fmla="*/ 1116096 h 1212067"/>
                <a:gd name="connsiteX1597" fmla="*/ 765204 w 1385794"/>
                <a:gd name="connsiteY1597" fmla="*/ 1121175 h 1212067"/>
                <a:gd name="connsiteX1598" fmla="*/ 766079 w 1385794"/>
                <a:gd name="connsiteY1598" fmla="*/ 1123059 h 1212067"/>
                <a:gd name="connsiteX1599" fmla="*/ 770421 w 1385794"/>
                <a:gd name="connsiteY1599" fmla="*/ 1123194 h 1212067"/>
                <a:gd name="connsiteX1600" fmla="*/ 770993 w 1385794"/>
                <a:gd name="connsiteY1600" fmla="*/ 1121613 h 1212067"/>
                <a:gd name="connsiteX1601" fmla="*/ 768805 w 1385794"/>
                <a:gd name="connsiteY1601" fmla="*/ 1120166 h 1212067"/>
                <a:gd name="connsiteX1602" fmla="*/ 767358 w 1385794"/>
                <a:gd name="connsiteY1602" fmla="*/ 1118013 h 1212067"/>
                <a:gd name="connsiteX1603" fmla="*/ 766214 w 1385794"/>
                <a:gd name="connsiteY1603" fmla="*/ 1116129 h 1212067"/>
                <a:gd name="connsiteX1604" fmla="*/ 766349 w 1385794"/>
                <a:gd name="connsiteY1604" fmla="*/ 1114683 h 1212067"/>
                <a:gd name="connsiteX1605" fmla="*/ 767661 w 1385794"/>
                <a:gd name="connsiteY1605" fmla="*/ 1113102 h 1212067"/>
                <a:gd name="connsiteX1606" fmla="*/ 769983 w 1385794"/>
                <a:gd name="connsiteY1606" fmla="*/ 1112530 h 1212067"/>
                <a:gd name="connsiteX1607" fmla="*/ 770858 w 1385794"/>
                <a:gd name="connsiteY1607" fmla="*/ 1114549 h 1212067"/>
                <a:gd name="connsiteX1608" fmla="*/ 771430 w 1385794"/>
                <a:gd name="connsiteY1608" fmla="*/ 1112530 h 1212067"/>
                <a:gd name="connsiteX1609" fmla="*/ 772171 w 1385794"/>
                <a:gd name="connsiteY1609" fmla="*/ 1109503 h 1212067"/>
                <a:gd name="connsiteX1610" fmla="*/ 773483 w 1385794"/>
                <a:gd name="connsiteY1610" fmla="*/ 1107619 h 1212067"/>
                <a:gd name="connsiteX1611" fmla="*/ 777118 w 1385794"/>
                <a:gd name="connsiteY1611" fmla="*/ 1106609 h 1212067"/>
                <a:gd name="connsiteX1612" fmla="*/ 780753 w 1385794"/>
                <a:gd name="connsiteY1612" fmla="*/ 1104860 h 1212067"/>
                <a:gd name="connsiteX1613" fmla="*/ 782772 w 1385794"/>
                <a:gd name="connsiteY1613" fmla="*/ 1104591 h 1212067"/>
                <a:gd name="connsiteX1614" fmla="*/ 786407 w 1385794"/>
                <a:gd name="connsiteY1614" fmla="*/ 1105903 h 1212067"/>
                <a:gd name="connsiteX1615" fmla="*/ 788157 w 1385794"/>
                <a:gd name="connsiteY1615" fmla="*/ 1106340 h 1212067"/>
                <a:gd name="connsiteX1616" fmla="*/ 793508 w 1385794"/>
                <a:gd name="connsiteY1616" fmla="*/ 1104591 h 1212067"/>
                <a:gd name="connsiteX1617" fmla="*/ 794955 w 1385794"/>
                <a:gd name="connsiteY1617" fmla="*/ 1102136 h 1212067"/>
                <a:gd name="connsiteX1618" fmla="*/ 795527 w 1385794"/>
                <a:gd name="connsiteY1618" fmla="*/ 1099108 h 1212067"/>
                <a:gd name="connsiteX1619" fmla="*/ 796402 w 1385794"/>
                <a:gd name="connsiteY1619" fmla="*/ 1094466 h 1212067"/>
                <a:gd name="connsiteX1620" fmla="*/ 796671 w 1385794"/>
                <a:gd name="connsiteY1620" fmla="*/ 1090429 h 1212067"/>
                <a:gd name="connsiteX1621" fmla="*/ 796671 w 1385794"/>
                <a:gd name="connsiteY1621" fmla="*/ 1089285 h 1212067"/>
                <a:gd name="connsiteX1622" fmla="*/ 794921 w 1385794"/>
                <a:gd name="connsiteY1622" fmla="*/ 1086964 h 1212067"/>
                <a:gd name="connsiteX1623" fmla="*/ 792027 w 1385794"/>
                <a:gd name="connsiteY1623" fmla="*/ 1084643 h 1212067"/>
                <a:gd name="connsiteX1624" fmla="*/ 789402 w 1385794"/>
                <a:gd name="connsiteY1624" fmla="*/ 1082624 h 1212067"/>
                <a:gd name="connsiteX1625" fmla="*/ 787383 w 1385794"/>
                <a:gd name="connsiteY1625" fmla="*/ 1081313 h 1212067"/>
                <a:gd name="connsiteX1626" fmla="*/ 786238 w 1385794"/>
                <a:gd name="connsiteY1626" fmla="*/ 1078857 h 1212067"/>
                <a:gd name="connsiteX1627" fmla="*/ 786238 w 1385794"/>
                <a:gd name="connsiteY1627" fmla="*/ 1075392 h 1212067"/>
                <a:gd name="connsiteX1628" fmla="*/ 785229 w 1385794"/>
                <a:gd name="connsiteY1628" fmla="*/ 1071321 h 1212067"/>
                <a:gd name="connsiteX1629" fmla="*/ 787113 w 1385794"/>
                <a:gd name="connsiteY1629" fmla="*/ 1066410 h 1212067"/>
                <a:gd name="connsiteX1630" fmla="*/ 788258 w 1385794"/>
                <a:gd name="connsiteY1630" fmla="*/ 1062071 h 1212067"/>
                <a:gd name="connsiteX1631" fmla="*/ 788258 w 1385794"/>
                <a:gd name="connsiteY1631" fmla="*/ 1056722 h 1212067"/>
                <a:gd name="connsiteX1632" fmla="*/ 786945 w 1385794"/>
                <a:gd name="connsiteY1632" fmla="*/ 1051642 h 1212067"/>
                <a:gd name="connsiteX1633" fmla="*/ 782738 w 1385794"/>
                <a:gd name="connsiteY1633" fmla="*/ 1048447 h 1212067"/>
                <a:gd name="connsiteX1634" fmla="*/ 778094 w 1385794"/>
                <a:gd name="connsiteY1634" fmla="*/ 1045688 h 1212067"/>
                <a:gd name="connsiteX1635" fmla="*/ 775132 w 1385794"/>
                <a:gd name="connsiteY1635" fmla="*/ 1042425 h 1212067"/>
                <a:gd name="connsiteX1636" fmla="*/ 773382 w 1385794"/>
                <a:gd name="connsiteY1636" fmla="*/ 1040037 h 1212067"/>
                <a:gd name="connsiteX1637" fmla="*/ 772878 w 1385794"/>
                <a:gd name="connsiteY1637" fmla="*/ 1039095 h 1212067"/>
                <a:gd name="connsiteX1638" fmla="*/ 773618 w 1385794"/>
                <a:gd name="connsiteY1638" fmla="*/ 1037715 h 1212067"/>
                <a:gd name="connsiteX1639" fmla="*/ 774695 w 1385794"/>
                <a:gd name="connsiteY1639" fmla="*/ 1037312 h 1212067"/>
                <a:gd name="connsiteX1640" fmla="*/ 777219 w 1385794"/>
                <a:gd name="connsiteY1640" fmla="*/ 1036269 h 1212067"/>
                <a:gd name="connsiteX1641" fmla="*/ 783613 w 1385794"/>
                <a:gd name="connsiteY1641" fmla="*/ 1036269 h 1212067"/>
                <a:gd name="connsiteX1642" fmla="*/ 786440 w 1385794"/>
                <a:gd name="connsiteY1642" fmla="*/ 1035630 h 1212067"/>
                <a:gd name="connsiteX1643" fmla="*/ 789335 w 1385794"/>
                <a:gd name="connsiteY1643" fmla="*/ 1034183 h 1212067"/>
                <a:gd name="connsiteX1644" fmla="*/ 791287 w 1385794"/>
                <a:gd name="connsiteY1644" fmla="*/ 1032939 h 1212067"/>
                <a:gd name="connsiteX1645" fmla="*/ 792868 w 1385794"/>
                <a:gd name="connsiteY1645" fmla="*/ 1031425 h 1212067"/>
                <a:gd name="connsiteX1646" fmla="*/ 794820 w 1385794"/>
                <a:gd name="connsiteY1646" fmla="*/ 1029407 h 1212067"/>
                <a:gd name="connsiteX1647" fmla="*/ 795628 w 1385794"/>
                <a:gd name="connsiteY1647" fmla="*/ 1028969 h 1212067"/>
                <a:gd name="connsiteX1648" fmla="*/ 798253 w 1385794"/>
                <a:gd name="connsiteY1648" fmla="*/ 1028835 h 1212067"/>
                <a:gd name="connsiteX1649" fmla="*/ 800340 w 1385794"/>
                <a:gd name="connsiteY1649" fmla="*/ 1029339 h 1212067"/>
                <a:gd name="connsiteX1650" fmla="*/ 802224 w 1385794"/>
                <a:gd name="connsiteY1650" fmla="*/ 1031290 h 1212067"/>
                <a:gd name="connsiteX1651" fmla="*/ 803974 w 1385794"/>
                <a:gd name="connsiteY1651" fmla="*/ 1030920 h 1212067"/>
                <a:gd name="connsiteX1652" fmla="*/ 805859 w 1385794"/>
                <a:gd name="connsiteY1652" fmla="*/ 1030046 h 1212067"/>
                <a:gd name="connsiteX1653" fmla="*/ 808114 w 1385794"/>
                <a:gd name="connsiteY1653" fmla="*/ 1029036 h 1212067"/>
                <a:gd name="connsiteX1654" fmla="*/ 811008 w 1385794"/>
                <a:gd name="connsiteY1654" fmla="*/ 1028465 h 1212067"/>
                <a:gd name="connsiteX1655" fmla="*/ 817032 w 1385794"/>
                <a:gd name="connsiteY1655" fmla="*/ 1030718 h 1212067"/>
                <a:gd name="connsiteX1656" fmla="*/ 819489 w 1385794"/>
                <a:gd name="connsiteY1656" fmla="*/ 1032670 h 1212067"/>
                <a:gd name="connsiteX1657" fmla="*/ 821071 w 1385794"/>
                <a:gd name="connsiteY1657" fmla="*/ 1032165 h 1212067"/>
                <a:gd name="connsiteX1658" fmla="*/ 821374 w 1385794"/>
                <a:gd name="connsiteY1658" fmla="*/ 1030416 h 1212067"/>
                <a:gd name="connsiteX1659" fmla="*/ 821071 w 1385794"/>
                <a:gd name="connsiteY1659" fmla="*/ 1027657 h 1212067"/>
                <a:gd name="connsiteX1660" fmla="*/ 819859 w 1385794"/>
                <a:gd name="connsiteY1660" fmla="*/ 1026076 h 1212067"/>
                <a:gd name="connsiteX1661" fmla="*/ 817604 w 1385794"/>
                <a:gd name="connsiteY1661" fmla="*/ 1024495 h 1212067"/>
                <a:gd name="connsiteX1662" fmla="*/ 815652 w 1385794"/>
                <a:gd name="connsiteY1662" fmla="*/ 1024058 h 1212067"/>
                <a:gd name="connsiteX1663" fmla="*/ 814643 w 1385794"/>
                <a:gd name="connsiteY1663" fmla="*/ 1023116 h 1212067"/>
                <a:gd name="connsiteX1664" fmla="*/ 815350 w 1385794"/>
                <a:gd name="connsiteY1664" fmla="*/ 1021737 h 1212067"/>
                <a:gd name="connsiteX1665" fmla="*/ 816494 w 1385794"/>
                <a:gd name="connsiteY1665" fmla="*/ 1020492 h 1212067"/>
                <a:gd name="connsiteX1666" fmla="*/ 817504 w 1385794"/>
                <a:gd name="connsiteY1666" fmla="*/ 1019550 h 1212067"/>
                <a:gd name="connsiteX1667" fmla="*/ 819018 w 1385794"/>
                <a:gd name="connsiteY1667" fmla="*/ 1017868 h 1212067"/>
                <a:gd name="connsiteX1668" fmla="*/ 820768 w 1385794"/>
                <a:gd name="connsiteY1668" fmla="*/ 1016623 h 1212067"/>
                <a:gd name="connsiteX1669" fmla="*/ 822282 w 1385794"/>
                <a:gd name="connsiteY1669" fmla="*/ 1015682 h 1212067"/>
                <a:gd name="connsiteX1670" fmla="*/ 824807 w 1385794"/>
                <a:gd name="connsiteY1670" fmla="*/ 1013428 h 1212067"/>
                <a:gd name="connsiteX1671" fmla="*/ 826759 w 1385794"/>
                <a:gd name="connsiteY1671" fmla="*/ 1011308 h 1212067"/>
                <a:gd name="connsiteX1672" fmla="*/ 828206 w 1385794"/>
                <a:gd name="connsiteY1672" fmla="*/ 1009996 h 1212067"/>
                <a:gd name="connsiteX1673" fmla="*/ 829283 w 1385794"/>
                <a:gd name="connsiteY1673" fmla="*/ 1009290 h 1212067"/>
                <a:gd name="connsiteX1674" fmla="*/ 831033 w 1385794"/>
                <a:gd name="connsiteY1674" fmla="*/ 1008920 h 1212067"/>
                <a:gd name="connsiteX1675" fmla="*/ 833220 w 1385794"/>
                <a:gd name="connsiteY1675" fmla="*/ 1008920 h 1212067"/>
                <a:gd name="connsiteX1676" fmla="*/ 835980 w 1385794"/>
                <a:gd name="connsiteY1676" fmla="*/ 1009122 h 1212067"/>
                <a:gd name="connsiteX1677" fmla="*/ 837292 w 1385794"/>
                <a:gd name="connsiteY1677" fmla="*/ 1010568 h 1212067"/>
                <a:gd name="connsiteX1678" fmla="*/ 838437 w 1385794"/>
                <a:gd name="connsiteY1678" fmla="*/ 1013091 h 1212067"/>
                <a:gd name="connsiteX1679" fmla="*/ 839514 w 1385794"/>
                <a:gd name="connsiteY1679" fmla="*/ 1013024 h 1212067"/>
                <a:gd name="connsiteX1680" fmla="*/ 840321 w 1385794"/>
                <a:gd name="connsiteY1680" fmla="*/ 1012082 h 1212067"/>
                <a:gd name="connsiteX1681" fmla="*/ 840759 w 1385794"/>
                <a:gd name="connsiteY1681" fmla="*/ 1011073 h 1212067"/>
                <a:gd name="connsiteX1682" fmla="*/ 841196 w 1385794"/>
                <a:gd name="connsiteY1682" fmla="*/ 1010131 h 1212067"/>
                <a:gd name="connsiteX1683" fmla="*/ 841398 w 1385794"/>
                <a:gd name="connsiteY1683" fmla="*/ 1009054 h 1212067"/>
                <a:gd name="connsiteX1684" fmla="*/ 841836 w 1385794"/>
                <a:gd name="connsiteY1684" fmla="*/ 1008045 h 1212067"/>
                <a:gd name="connsiteX1685" fmla="*/ 842273 w 1385794"/>
                <a:gd name="connsiteY1685" fmla="*/ 1007473 h 1212067"/>
                <a:gd name="connsiteX1686" fmla="*/ 844023 w 1385794"/>
                <a:gd name="connsiteY1686" fmla="*/ 1007036 h 1212067"/>
                <a:gd name="connsiteX1687" fmla="*/ 846648 w 1385794"/>
                <a:gd name="connsiteY1687" fmla="*/ 1007978 h 1212067"/>
                <a:gd name="connsiteX1688" fmla="*/ 848163 w 1385794"/>
                <a:gd name="connsiteY1688" fmla="*/ 1009425 h 1212067"/>
                <a:gd name="connsiteX1689" fmla="*/ 849004 w 1385794"/>
                <a:gd name="connsiteY1689" fmla="*/ 1011308 h 1212067"/>
                <a:gd name="connsiteX1690" fmla="*/ 848836 w 1385794"/>
                <a:gd name="connsiteY1690" fmla="*/ 1013192 h 1212067"/>
                <a:gd name="connsiteX1691" fmla="*/ 848836 w 1385794"/>
                <a:gd name="connsiteY1691" fmla="*/ 1014504 h 1212067"/>
                <a:gd name="connsiteX1692" fmla="*/ 849274 w 1385794"/>
                <a:gd name="connsiteY1692" fmla="*/ 1016994 h 1212067"/>
                <a:gd name="connsiteX1693" fmla="*/ 849274 w 1385794"/>
                <a:gd name="connsiteY1693" fmla="*/ 1018608 h 1212067"/>
                <a:gd name="connsiteX1694" fmla="*/ 850889 w 1385794"/>
                <a:gd name="connsiteY1694" fmla="*/ 1019483 h 1212067"/>
                <a:gd name="connsiteX1695" fmla="*/ 851764 w 1385794"/>
                <a:gd name="connsiteY1695" fmla="*/ 1019920 h 1212067"/>
                <a:gd name="connsiteX1696" fmla="*/ 854793 w 1385794"/>
                <a:gd name="connsiteY1696" fmla="*/ 1020458 h 1212067"/>
                <a:gd name="connsiteX1697" fmla="*/ 856644 w 1385794"/>
                <a:gd name="connsiteY1697" fmla="*/ 1019819 h 1212067"/>
                <a:gd name="connsiteX1698" fmla="*/ 857317 w 1385794"/>
                <a:gd name="connsiteY1698" fmla="*/ 1022409 h 1212067"/>
                <a:gd name="connsiteX1699" fmla="*/ 859067 w 1385794"/>
                <a:gd name="connsiteY1699" fmla="*/ 1023284 h 1212067"/>
                <a:gd name="connsiteX1700" fmla="*/ 860144 w 1385794"/>
                <a:gd name="connsiteY1700" fmla="*/ 1023385 h 1212067"/>
                <a:gd name="connsiteX1701" fmla="*/ 862331 w 1385794"/>
                <a:gd name="connsiteY1701" fmla="*/ 1023284 h 1212067"/>
                <a:gd name="connsiteX1702" fmla="*/ 863846 w 1385794"/>
                <a:gd name="connsiteY1702" fmla="*/ 1025336 h 1212067"/>
                <a:gd name="connsiteX1703" fmla="*/ 864620 w 1385794"/>
                <a:gd name="connsiteY1703" fmla="*/ 1027287 h 1212067"/>
                <a:gd name="connsiteX1704" fmla="*/ 865798 w 1385794"/>
                <a:gd name="connsiteY1704" fmla="*/ 1029676 h 1212067"/>
                <a:gd name="connsiteX1705" fmla="*/ 866000 w 1385794"/>
                <a:gd name="connsiteY1705" fmla="*/ 1033040 h 1212067"/>
                <a:gd name="connsiteX1706" fmla="*/ 864788 w 1385794"/>
                <a:gd name="connsiteY1706" fmla="*/ 1036639 h 1212067"/>
                <a:gd name="connsiteX1707" fmla="*/ 863711 w 1385794"/>
                <a:gd name="connsiteY1707" fmla="*/ 1039027 h 1212067"/>
                <a:gd name="connsiteX1708" fmla="*/ 860985 w 1385794"/>
                <a:gd name="connsiteY1708" fmla="*/ 1042627 h 1212067"/>
                <a:gd name="connsiteX1709" fmla="*/ 859908 w 1385794"/>
                <a:gd name="connsiteY1709" fmla="*/ 1045116 h 1212067"/>
                <a:gd name="connsiteX1710" fmla="*/ 860548 w 1385794"/>
                <a:gd name="connsiteY1710" fmla="*/ 1047505 h 1212067"/>
                <a:gd name="connsiteX1711" fmla="*/ 862634 w 1385794"/>
                <a:gd name="connsiteY1711" fmla="*/ 1049994 h 1212067"/>
                <a:gd name="connsiteX1712" fmla="*/ 864149 w 1385794"/>
                <a:gd name="connsiteY1712" fmla="*/ 1051407 h 1212067"/>
                <a:gd name="connsiteX1713" fmla="*/ 864384 w 1385794"/>
                <a:gd name="connsiteY1713" fmla="*/ 1053795 h 1212067"/>
                <a:gd name="connsiteX1714" fmla="*/ 864283 w 1385794"/>
                <a:gd name="connsiteY1714" fmla="*/ 1055982 h 1212067"/>
                <a:gd name="connsiteX1715" fmla="*/ 864216 w 1385794"/>
                <a:gd name="connsiteY1715" fmla="*/ 1057832 h 1212067"/>
                <a:gd name="connsiteX1716" fmla="*/ 864485 w 1385794"/>
                <a:gd name="connsiteY1716" fmla="*/ 1060557 h 1212067"/>
                <a:gd name="connsiteX1717" fmla="*/ 864485 w 1385794"/>
                <a:gd name="connsiteY1717" fmla="*/ 1061431 h 1212067"/>
                <a:gd name="connsiteX1718" fmla="*/ 864586 w 1385794"/>
                <a:gd name="connsiteY1718" fmla="*/ 1063719 h 1212067"/>
                <a:gd name="connsiteX1719" fmla="*/ 864149 w 1385794"/>
                <a:gd name="connsiteY1719" fmla="*/ 1064930 h 1212067"/>
                <a:gd name="connsiteX1720" fmla="*/ 864048 w 1385794"/>
                <a:gd name="connsiteY1720" fmla="*/ 1066444 h 1212067"/>
                <a:gd name="connsiteX1721" fmla="*/ 864384 w 1385794"/>
                <a:gd name="connsiteY1721" fmla="*/ 1067756 h 1212067"/>
                <a:gd name="connsiteX1722" fmla="*/ 868827 w 1385794"/>
                <a:gd name="connsiteY1722" fmla="*/ 1068395 h 1212067"/>
                <a:gd name="connsiteX1723" fmla="*/ 872091 w 1385794"/>
                <a:gd name="connsiteY1723" fmla="*/ 1070245 h 1212067"/>
                <a:gd name="connsiteX1724" fmla="*/ 877745 w 1385794"/>
                <a:gd name="connsiteY1724" fmla="*/ 1069606 h 1212067"/>
                <a:gd name="connsiteX1725" fmla="*/ 879394 w 1385794"/>
                <a:gd name="connsiteY1725" fmla="*/ 1069068 h 1212067"/>
                <a:gd name="connsiteX1726" fmla="*/ 881885 w 1385794"/>
                <a:gd name="connsiteY1726" fmla="*/ 1070682 h 1212067"/>
                <a:gd name="connsiteX1727" fmla="*/ 884173 w 1385794"/>
                <a:gd name="connsiteY1727" fmla="*/ 1071019 h 1212067"/>
                <a:gd name="connsiteX1728" fmla="*/ 886260 w 1385794"/>
                <a:gd name="connsiteY1728" fmla="*/ 1069707 h 1212067"/>
                <a:gd name="connsiteX1729" fmla="*/ 888548 w 1385794"/>
                <a:gd name="connsiteY1729" fmla="*/ 1068059 h 1212067"/>
                <a:gd name="connsiteX1730" fmla="*/ 890298 w 1385794"/>
                <a:gd name="connsiteY1730" fmla="*/ 1065771 h 1212067"/>
                <a:gd name="connsiteX1731" fmla="*/ 890938 w 1385794"/>
                <a:gd name="connsiteY1731" fmla="*/ 1064257 h 1212067"/>
                <a:gd name="connsiteX1732" fmla="*/ 892452 w 1385794"/>
                <a:gd name="connsiteY1732" fmla="*/ 1063046 h 1212067"/>
                <a:gd name="connsiteX1733" fmla="*/ 895178 w 1385794"/>
                <a:gd name="connsiteY1733" fmla="*/ 1063046 h 1212067"/>
                <a:gd name="connsiteX1734" fmla="*/ 896592 w 1385794"/>
                <a:gd name="connsiteY1734" fmla="*/ 1063685 h 1212067"/>
                <a:gd name="connsiteX1735" fmla="*/ 897366 w 1385794"/>
                <a:gd name="connsiteY1735" fmla="*/ 1065435 h 1212067"/>
                <a:gd name="connsiteX1736" fmla="*/ 897601 w 1385794"/>
                <a:gd name="connsiteY1736" fmla="*/ 1068462 h 1212067"/>
                <a:gd name="connsiteX1737" fmla="*/ 897164 w 1385794"/>
                <a:gd name="connsiteY1737" fmla="*/ 1070951 h 1212067"/>
                <a:gd name="connsiteX1738" fmla="*/ 896625 w 1385794"/>
                <a:gd name="connsiteY1738" fmla="*/ 1072028 h 1212067"/>
                <a:gd name="connsiteX1739" fmla="*/ 896861 w 1385794"/>
                <a:gd name="connsiteY1739" fmla="*/ 1073878 h 1212067"/>
                <a:gd name="connsiteX1740" fmla="*/ 898174 w 1385794"/>
                <a:gd name="connsiteY1740" fmla="*/ 1075392 h 1212067"/>
                <a:gd name="connsiteX1741" fmla="*/ 898914 w 1385794"/>
                <a:gd name="connsiteY1741" fmla="*/ 1077444 h 1212067"/>
                <a:gd name="connsiteX1742" fmla="*/ 898712 w 1385794"/>
                <a:gd name="connsiteY1742" fmla="*/ 1078621 h 1212067"/>
                <a:gd name="connsiteX1743" fmla="*/ 898712 w 1385794"/>
                <a:gd name="connsiteY1743" fmla="*/ 1079059 h 1212067"/>
                <a:gd name="connsiteX1744" fmla="*/ 900664 w 1385794"/>
                <a:gd name="connsiteY1744" fmla="*/ 1079933 h 1212067"/>
                <a:gd name="connsiteX1745" fmla="*/ 903727 w 1385794"/>
                <a:gd name="connsiteY1745" fmla="*/ 1078419 h 1212067"/>
                <a:gd name="connsiteX1746" fmla="*/ 904703 w 1385794"/>
                <a:gd name="connsiteY1746" fmla="*/ 1077007 h 1212067"/>
                <a:gd name="connsiteX1747" fmla="*/ 906217 w 1385794"/>
                <a:gd name="connsiteY1747" fmla="*/ 1077007 h 1212067"/>
                <a:gd name="connsiteX1748" fmla="*/ 908607 w 1385794"/>
                <a:gd name="connsiteY1748" fmla="*/ 1079059 h 1212067"/>
                <a:gd name="connsiteX1749" fmla="*/ 913924 w 1385794"/>
                <a:gd name="connsiteY1749" fmla="*/ 1080135 h 1212067"/>
                <a:gd name="connsiteX1750" fmla="*/ 917289 w 1385794"/>
                <a:gd name="connsiteY1750" fmla="*/ 1081649 h 1212067"/>
                <a:gd name="connsiteX1751" fmla="*/ 919881 w 1385794"/>
                <a:gd name="connsiteY1751" fmla="*/ 1082086 h 1212067"/>
                <a:gd name="connsiteX1752" fmla="*/ 921631 w 1385794"/>
                <a:gd name="connsiteY1752" fmla="*/ 1081985 h 1212067"/>
                <a:gd name="connsiteX1753" fmla="*/ 928261 w 1385794"/>
                <a:gd name="connsiteY1753" fmla="*/ 1081783 h 1212067"/>
                <a:gd name="connsiteX1754" fmla="*/ 931963 w 1385794"/>
                <a:gd name="connsiteY1754" fmla="*/ 1081447 h 1212067"/>
                <a:gd name="connsiteX1755" fmla="*/ 934453 w 1385794"/>
                <a:gd name="connsiteY1755" fmla="*/ 1081346 h 1212067"/>
                <a:gd name="connsiteX1756" fmla="*/ 936742 w 1385794"/>
                <a:gd name="connsiteY1756" fmla="*/ 1081346 h 1212067"/>
                <a:gd name="connsiteX1757" fmla="*/ 940208 w 1385794"/>
                <a:gd name="connsiteY1757" fmla="*/ 1081346 h 1212067"/>
                <a:gd name="connsiteX1758" fmla="*/ 942261 w 1385794"/>
                <a:gd name="connsiteY1758" fmla="*/ 1083196 h 1212067"/>
                <a:gd name="connsiteX1759" fmla="*/ 944550 w 1385794"/>
                <a:gd name="connsiteY1759" fmla="*/ 1083970 h 1212067"/>
                <a:gd name="connsiteX1760" fmla="*/ 946737 w 1385794"/>
                <a:gd name="connsiteY1760" fmla="*/ 1084744 h 1212067"/>
                <a:gd name="connsiteX1761" fmla="*/ 949127 w 1385794"/>
                <a:gd name="connsiteY1761" fmla="*/ 1086257 h 1212067"/>
                <a:gd name="connsiteX1762" fmla="*/ 950978 w 1385794"/>
                <a:gd name="connsiteY1762" fmla="*/ 1087771 h 1212067"/>
                <a:gd name="connsiteX1763" fmla="*/ 953266 w 1385794"/>
                <a:gd name="connsiteY1763" fmla="*/ 1090597 h 1212067"/>
                <a:gd name="connsiteX1764" fmla="*/ 953905 w 1385794"/>
                <a:gd name="connsiteY1764" fmla="*/ 1092212 h 1212067"/>
                <a:gd name="connsiteX1765" fmla="*/ 954545 w 1385794"/>
                <a:gd name="connsiteY1765" fmla="*/ 1095037 h 1212067"/>
                <a:gd name="connsiteX1766" fmla="*/ 956194 w 1385794"/>
                <a:gd name="connsiteY1766" fmla="*/ 1100252 h 1212067"/>
                <a:gd name="connsiteX1767" fmla="*/ 958045 w 1385794"/>
                <a:gd name="connsiteY1767" fmla="*/ 1105466 h 1212067"/>
                <a:gd name="connsiteX1768" fmla="*/ 960233 w 1385794"/>
                <a:gd name="connsiteY1768" fmla="*/ 1110243 h 1212067"/>
                <a:gd name="connsiteX1769" fmla="*/ 962084 w 1385794"/>
                <a:gd name="connsiteY1769" fmla="*/ 1115019 h 1212067"/>
                <a:gd name="connsiteX1770" fmla="*/ 963396 w 1385794"/>
                <a:gd name="connsiteY1770" fmla="*/ 1118821 h 1212067"/>
                <a:gd name="connsiteX1771" fmla="*/ 965045 w 1385794"/>
                <a:gd name="connsiteY1771" fmla="*/ 1120435 h 1212067"/>
                <a:gd name="connsiteX1772" fmla="*/ 968310 w 1385794"/>
                <a:gd name="connsiteY1772" fmla="*/ 1121747 h 1212067"/>
                <a:gd name="connsiteX1773" fmla="*/ 971238 w 1385794"/>
                <a:gd name="connsiteY1773" fmla="*/ 1123261 h 1212067"/>
                <a:gd name="connsiteX1774" fmla="*/ 976017 w 1385794"/>
                <a:gd name="connsiteY1774" fmla="*/ 1123799 h 1212067"/>
                <a:gd name="connsiteX1775" fmla="*/ 979483 w 1385794"/>
                <a:gd name="connsiteY1775" fmla="*/ 1123598 h 1212067"/>
                <a:gd name="connsiteX1776" fmla="*/ 981772 w 1385794"/>
                <a:gd name="connsiteY1776" fmla="*/ 1124472 h 1212067"/>
                <a:gd name="connsiteX1777" fmla="*/ 983185 w 1385794"/>
                <a:gd name="connsiteY1777" fmla="*/ 1128711 h 1212067"/>
                <a:gd name="connsiteX1778" fmla="*/ 980997 w 1385794"/>
                <a:gd name="connsiteY1778" fmla="*/ 1131335 h 1212067"/>
                <a:gd name="connsiteX1779" fmla="*/ 977632 w 1385794"/>
                <a:gd name="connsiteY1779" fmla="*/ 1133353 h 1212067"/>
                <a:gd name="connsiteX1780" fmla="*/ 973055 w 1385794"/>
                <a:gd name="connsiteY1780" fmla="*/ 1135338 h 1212067"/>
                <a:gd name="connsiteX1781" fmla="*/ 970766 w 1385794"/>
                <a:gd name="connsiteY1781" fmla="*/ 1140451 h 1212067"/>
                <a:gd name="connsiteX1782" fmla="*/ 972079 w 1385794"/>
                <a:gd name="connsiteY1782" fmla="*/ 1143916 h 1212067"/>
                <a:gd name="connsiteX1783" fmla="*/ 972315 w 1385794"/>
                <a:gd name="connsiteY1783" fmla="*/ 1149029 h 1212067"/>
                <a:gd name="connsiteX1784" fmla="*/ 972214 w 1385794"/>
                <a:gd name="connsiteY1784" fmla="*/ 1152830 h 1212067"/>
                <a:gd name="connsiteX1785" fmla="*/ 970026 w 1385794"/>
                <a:gd name="connsiteY1785" fmla="*/ 1154681 h 1212067"/>
                <a:gd name="connsiteX1786" fmla="*/ 971238 w 1385794"/>
                <a:gd name="connsiteY1786" fmla="*/ 1157069 h 1212067"/>
                <a:gd name="connsiteX1787" fmla="*/ 973526 w 1385794"/>
                <a:gd name="connsiteY1787" fmla="*/ 1157607 h 1212067"/>
                <a:gd name="connsiteX1788" fmla="*/ 975579 w 1385794"/>
                <a:gd name="connsiteY1788" fmla="*/ 1160097 h 1212067"/>
                <a:gd name="connsiteX1789" fmla="*/ 975142 w 1385794"/>
                <a:gd name="connsiteY1789" fmla="*/ 1164974 h 1212067"/>
                <a:gd name="connsiteX1790" fmla="*/ 973526 w 1385794"/>
                <a:gd name="connsiteY1790" fmla="*/ 1168002 h 1212067"/>
                <a:gd name="connsiteX1791" fmla="*/ 969925 w 1385794"/>
                <a:gd name="connsiteY1791" fmla="*/ 1168977 h 1212067"/>
                <a:gd name="connsiteX1792" fmla="*/ 966661 w 1385794"/>
                <a:gd name="connsiteY1792" fmla="*/ 1170727 h 1212067"/>
                <a:gd name="connsiteX1793" fmla="*/ 962420 w 1385794"/>
                <a:gd name="connsiteY1793" fmla="*/ 1171938 h 1212067"/>
                <a:gd name="connsiteX1794" fmla="*/ 961646 w 1385794"/>
                <a:gd name="connsiteY1794" fmla="*/ 1174124 h 1212067"/>
                <a:gd name="connsiteX1795" fmla="*/ 961983 w 1385794"/>
                <a:gd name="connsiteY1795" fmla="*/ 1176412 h 1212067"/>
                <a:gd name="connsiteX1796" fmla="*/ 962420 w 1385794"/>
                <a:gd name="connsiteY1796" fmla="*/ 1177925 h 1212067"/>
                <a:gd name="connsiteX1797" fmla="*/ 964911 w 1385794"/>
                <a:gd name="connsiteY1797" fmla="*/ 1181289 h 1212067"/>
                <a:gd name="connsiteX1798" fmla="*/ 968613 w 1385794"/>
                <a:gd name="connsiteY1798" fmla="*/ 1184553 h 1212067"/>
                <a:gd name="connsiteX1799" fmla="*/ 971103 w 1385794"/>
                <a:gd name="connsiteY1799" fmla="*/ 1186167 h 1212067"/>
                <a:gd name="connsiteX1800" fmla="*/ 973156 w 1385794"/>
                <a:gd name="connsiteY1800" fmla="*/ 1187816 h 1212067"/>
                <a:gd name="connsiteX1801" fmla="*/ 977598 w 1385794"/>
                <a:gd name="connsiteY1801" fmla="*/ 1189868 h 1212067"/>
                <a:gd name="connsiteX1802" fmla="*/ 979887 w 1385794"/>
                <a:gd name="connsiteY1802" fmla="*/ 1190843 h 1212067"/>
                <a:gd name="connsiteX1803" fmla="*/ 984127 w 1385794"/>
                <a:gd name="connsiteY1803" fmla="*/ 1193131 h 1212067"/>
                <a:gd name="connsiteX1804" fmla="*/ 988368 w 1385794"/>
                <a:gd name="connsiteY1804" fmla="*/ 1194543 h 1212067"/>
                <a:gd name="connsiteX1805" fmla="*/ 991834 w 1385794"/>
                <a:gd name="connsiteY1805" fmla="*/ 1195956 h 1212067"/>
                <a:gd name="connsiteX1806" fmla="*/ 995200 w 1385794"/>
                <a:gd name="connsiteY1806" fmla="*/ 1197807 h 1212067"/>
                <a:gd name="connsiteX1807" fmla="*/ 997488 w 1385794"/>
                <a:gd name="connsiteY1807" fmla="*/ 1200094 h 1212067"/>
                <a:gd name="connsiteX1808" fmla="*/ 999440 w 1385794"/>
                <a:gd name="connsiteY1808" fmla="*/ 1202045 h 1212067"/>
                <a:gd name="connsiteX1809" fmla="*/ 1001628 w 1385794"/>
                <a:gd name="connsiteY1809" fmla="*/ 1204535 h 1212067"/>
                <a:gd name="connsiteX1810" fmla="*/ 1005532 w 1385794"/>
                <a:gd name="connsiteY1810" fmla="*/ 1206385 h 1212067"/>
                <a:gd name="connsiteX1811" fmla="*/ 1008460 w 1385794"/>
                <a:gd name="connsiteY1811" fmla="*/ 1206385 h 1212067"/>
                <a:gd name="connsiteX1812" fmla="*/ 1011388 w 1385794"/>
                <a:gd name="connsiteY1812" fmla="*/ 1205510 h 1212067"/>
                <a:gd name="connsiteX1813" fmla="*/ 1016166 w 1385794"/>
                <a:gd name="connsiteY1813" fmla="*/ 1207461 h 1212067"/>
                <a:gd name="connsiteX1814" fmla="*/ 1018892 w 1385794"/>
                <a:gd name="connsiteY1814" fmla="*/ 1209210 h 1212067"/>
                <a:gd name="connsiteX1815" fmla="*/ 1023671 w 1385794"/>
                <a:gd name="connsiteY1815" fmla="*/ 1210825 h 1212067"/>
                <a:gd name="connsiteX1816" fmla="*/ 1030638 w 1385794"/>
                <a:gd name="connsiteY1816" fmla="*/ 1210825 h 1212067"/>
                <a:gd name="connsiteX1817" fmla="*/ 1032052 w 1385794"/>
                <a:gd name="connsiteY1817" fmla="*/ 1208773 h 1212067"/>
                <a:gd name="connsiteX1818" fmla="*/ 1034542 w 1385794"/>
                <a:gd name="connsiteY1818" fmla="*/ 1208571 h 1212067"/>
                <a:gd name="connsiteX1819" fmla="*/ 1038244 w 1385794"/>
                <a:gd name="connsiteY1819" fmla="*/ 1209648 h 1212067"/>
                <a:gd name="connsiteX1820" fmla="*/ 1041407 w 1385794"/>
                <a:gd name="connsiteY1820" fmla="*/ 1211700 h 1212067"/>
                <a:gd name="connsiteX1821" fmla="*/ 1044672 w 1385794"/>
                <a:gd name="connsiteY1821" fmla="*/ 1211700 h 1212067"/>
                <a:gd name="connsiteX1822" fmla="*/ 1046960 w 1385794"/>
                <a:gd name="connsiteY1822" fmla="*/ 1208874 h 1212067"/>
                <a:gd name="connsiteX1823" fmla="*/ 1047600 w 1385794"/>
                <a:gd name="connsiteY1823" fmla="*/ 1207259 h 1212067"/>
                <a:gd name="connsiteX1824" fmla="*/ 1049114 w 1385794"/>
                <a:gd name="connsiteY1824" fmla="*/ 1206183 h 1212067"/>
                <a:gd name="connsiteX1825" fmla="*/ 1055408 w 1385794"/>
                <a:gd name="connsiteY1825" fmla="*/ 1209749 h 1212067"/>
                <a:gd name="connsiteX1826" fmla="*/ 1059446 w 1385794"/>
                <a:gd name="connsiteY1826" fmla="*/ 1208235 h 1212067"/>
                <a:gd name="connsiteX1827" fmla="*/ 1062509 w 1385794"/>
                <a:gd name="connsiteY1827" fmla="*/ 1203559 h 1212067"/>
                <a:gd name="connsiteX1828" fmla="*/ 1065437 w 1385794"/>
                <a:gd name="connsiteY1828" fmla="*/ 1200531 h 1212067"/>
                <a:gd name="connsiteX1829" fmla="*/ 1067187 w 1385794"/>
                <a:gd name="connsiteY1829" fmla="*/ 1197941 h 1212067"/>
                <a:gd name="connsiteX1830" fmla="*/ 1069677 w 1385794"/>
                <a:gd name="connsiteY1830" fmla="*/ 1196192 h 1212067"/>
                <a:gd name="connsiteX1831" fmla="*/ 1070216 w 1385794"/>
                <a:gd name="connsiteY1831" fmla="*/ 1194342 h 1212067"/>
                <a:gd name="connsiteX1832" fmla="*/ 1068028 w 1385794"/>
                <a:gd name="connsiteY1832" fmla="*/ 1191751 h 1212067"/>
                <a:gd name="connsiteX1833" fmla="*/ 1068028 w 1385794"/>
                <a:gd name="connsiteY1833" fmla="*/ 1188287 h 1212067"/>
                <a:gd name="connsiteX1834" fmla="*/ 1068028 w 1385794"/>
                <a:gd name="connsiteY1834" fmla="*/ 1184822 h 1212067"/>
                <a:gd name="connsiteX1835" fmla="*/ 1068028 w 1385794"/>
                <a:gd name="connsiteY1835" fmla="*/ 1180247 h 1212067"/>
                <a:gd name="connsiteX1836" fmla="*/ 1070653 w 1385794"/>
                <a:gd name="connsiteY1836" fmla="*/ 1176984 h 1212067"/>
                <a:gd name="connsiteX1837" fmla="*/ 1076072 w 1385794"/>
                <a:gd name="connsiteY1837" fmla="*/ 1176984 h 1212067"/>
                <a:gd name="connsiteX1838" fmla="*/ 1079538 w 1385794"/>
                <a:gd name="connsiteY1838" fmla="*/ 1177858 h 1212067"/>
                <a:gd name="connsiteX1839" fmla="*/ 1081288 w 1385794"/>
                <a:gd name="connsiteY1839" fmla="*/ 1180886 h 1212067"/>
                <a:gd name="connsiteX1840" fmla="*/ 1088019 w 1385794"/>
                <a:gd name="connsiteY1840" fmla="*/ 1178497 h 1212067"/>
                <a:gd name="connsiteX1841" fmla="*/ 1094750 w 1385794"/>
                <a:gd name="connsiteY1841" fmla="*/ 1182837 h 1212067"/>
                <a:gd name="connsiteX1842" fmla="*/ 1099966 w 1385794"/>
                <a:gd name="connsiteY1842" fmla="*/ 1180650 h 1212067"/>
                <a:gd name="connsiteX1843" fmla="*/ 1105385 w 1385794"/>
                <a:gd name="connsiteY1843" fmla="*/ 1176311 h 1212067"/>
                <a:gd name="connsiteX1844" fmla="*/ 1112351 w 1385794"/>
                <a:gd name="connsiteY1844" fmla="*/ 1175234 h 1212067"/>
                <a:gd name="connsiteX1845" fmla="*/ 1119318 w 1385794"/>
                <a:gd name="connsiteY1845" fmla="*/ 1170458 h 1212067"/>
                <a:gd name="connsiteX1846" fmla="*/ 1119755 w 1385794"/>
                <a:gd name="connsiteY1846" fmla="*/ 1169045 h 1212067"/>
                <a:gd name="connsiteX1847" fmla="*/ 1120529 w 1385794"/>
                <a:gd name="connsiteY1847" fmla="*/ 1165580 h 1212067"/>
                <a:gd name="connsiteX1848" fmla="*/ 1120967 w 1385794"/>
                <a:gd name="connsiteY1848" fmla="*/ 1163965 h 1212067"/>
                <a:gd name="connsiteX1849" fmla="*/ 1120327 w 1385794"/>
                <a:gd name="connsiteY1849" fmla="*/ 1157876 h 1212067"/>
                <a:gd name="connsiteX1850" fmla="*/ 1120428 w 1385794"/>
                <a:gd name="connsiteY1850" fmla="*/ 1154277 h 1212067"/>
                <a:gd name="connsiteX1851" fmla="*/ 1120866 w 1385794"/>
                <a:gd name="connsiteY1851" fmla="*/ 1151350 h 1212067"/>
                <a:gd name="connsiteX1852" fmla="*/ 1122078 w 1385794"/>
                <a:gd name="connsiteY1852" fmla="*/ 1150274 h 1212067"/>
                <a:gd name="connsiteX1853" fmla="*/ 1124804 w 1385794"/>
                <a:gd name="connsiteY1853" fmla="*/ 1148861 h 1212067"/>
                <a:gd name="connsiteX1854" fmla="*/ 1126991 w 1385794"/>
                <a:gd name="connsiteY1854" fmla="*/ 1148861 h 1212067"/>
                <a:gd name="connsiteX1855" fmla="*/ 1129044 w 1385794"/>
                <a:gd name="connsiteY1855" fmla="*/ 1149500 h 1212067"/>
                <a:gd name="connsiteX1856" fmla="*/ 1131871 w 1385794"/>
                <a:gd name="connsiteY1856" fmla="*/ 1148962 h 1212067"/>
                <a:gd name="connsiteX1857" fmla="*/ 1132410 w 1385794"/>
                <a:gd name="connsiteY1857" fmla="*/ 1147011 h 1212067"/>
                <a:gd name="connsiteX1858" fmla="*/ 1130659 w 1385794"/>
                <a:gd name="connsiteY1858" fmla="*/ 1143983 h 1212067"/>
                <a:gd name="connsiteX1859" fmla="*/ 1126856 w 1385794"/>
                <a:gd name="connsiteY1859" fmla="*/ 1143109 h 1212067"/>
                <a:gd name="connsiteX1860" fmla="*/ 1125544 w 1385794"/>
                <a:gd name="connsiteY1860" fmla="*/ 1143109 h 1212067"/>
                <a:gd name="connsiteX1861" fmla="*/ 1122818 w 1385794"/>
                <a:gd name="connsiteY1861" fmla="*/ 1143983 h 1212067"/>
                <a:gd name="connsiteX1862" fmla="*/ 1121303 w 1385794"/>
                <a:gd name="connsiteY1862" fmla="*/ 1143983 h 1212067"/>
                <a:gd name="connsiteX1863" fmla="*/ 1120664 w 1385794"/>
                <a:gd name="connsiteY1863" fmla="*/ 1142739 h 1212067"/>
                <a:gd name="connsiteX1864" fmla="*/ 1117938 w 1385794"/>
                <a:gd name="connsiteY1864" fmla="*/ 1141595 h 1212067"/>
                <a:gd name="connsiteX1865" fmla="*/ 1114572 w 1385794"/>
                <a:gd name="connsiteY1865" fmla="*/ 1139408 h 1212067"/>
                <a:gd name="connsiteX1866" fmla="*/ 1110669 w 1385794"/>
                <a:gd name="connsiteY1866" fmla="*/ 1139408 h 1212067"/>
                <a:gd name="connsiteX1867" fmla="*/ 1108481 w 1385794"/>
                <a:gd name="connsiteY1867" fmla="*/ 1138870 h 1212067"/>
                <a:gd name="connsiteX1868" fmla="*/ 1104140 w 1385794"/>
                <a:gd name="connsiteY1868" fmla="*/ 1136919 h 1212067"/>
                <a:gd name="connsiteX1869" fmla="*/ 1103366 w 1385794"/>
                <a:gd name="connsiteY1869" fmla="*/ 1134329 h 1212067"/>
                <a:gd name="connsiteX1870" fmla="*/ 1103399 w 1385794"/>
                <a:gd name="connsiteY1870" fmla="*/ 1130965 h 1212067"/>
                <a:gd name="connsiteX1871" fmla="*/ 1103938 w 1385794"/>
                <a:gd name="connsiteY1871" fmla="*/ 1128240 h 1212067"/>
                <a:gd name="connsiteX1872" fmla="*/ 1106327 w 1385794"/>
                <a:gd name="connsiteY1872" fmla="*/ 1127163 h 1212067"/>
                <a:gd name="connsiteX1873" fmla="*/ 1111880 w 1385794"/>
                <a:gd name="connsiteY1873" fmla="*/ 1124876 h 1212067"/>
                <a:gd name="connsiteX1874" fmla="*/ 1115044 w 1385794"/>
                <a:gd name="connsiteY1874" fmla="*/ 1124001 h 1212067"/>
                <a:gd name="connsiteX1875" fmla="*/ 1115044 w 1385794"/>
                <a:gd name="connsiteY1875" fmla="*/ 1119325 h 1212067"/>
                <a:gd name="connsiteX1876" fmla="*/ 1116020 w 1385794"/>
                <a:gd name="connsiteY1876" fmla="*/ 1115188 h 1212067"/>
                <a:gd name="connsiteX1877" fmla="*/ 1116996 w 1385794"/>
                <a:gd name="connsiteY1877" fmla="*/ 1111487 h 1212067"/>
                <a:gd name="connsiteX1878" fmla="*/ 1118174 w 1385794"/>
                <a:gd name="connsiteY1878" fmla="*/ 1108224 h 1212067"/>
                <a:gd name="connsiteX1879" fmla="*/ 1119688 w 1385794"/>
                <a:gd name="connsiteY1879" fmla="*/ 1106374 h 1212067"/>
                <a:gd name="connsiteX1880" fmla="*/ 1124366 w 1385794"/>
                <a:gd name="connsiteY1880" fmla="*/ 1104524 h 1212067"/>
                <a:gd name="connsiteX1881" fmla="*/ 1127530 w 1385794"/>
                <a:gd name="connsiteY1881" fmla="*/ 1102909 h 1212067"/>
                <a:gd name="connsiteX1882" fmla="*/ 1129481 w 1385794"/>
                <a:gd name="connsiteY1882" fmla="*/ 1100857 h 1212067"/>
                <a:gd name="connsiteX1883" fmla="*/ 1131770 w 1385794"/>
                <a:gd name="connsiteY1883" fmla="*/ 1098368 h 1212067"/>
                <a:gd name="connsiteX1884" fmla="*/ 1133284 w 1385794"/>
                <a:gd name="connsiteY1884" fmla="*/ 1097056 h 1212067"/>
                <a:gd name="connsiteX1885" fmla="*/ 1137188 w 1385794"/>
                <a:gd name="connsiteY1885" fmla="*/ 1097291 h 1212067"/>
                <a:gd name="connsiteX1886" fmla="*/ 1139039 w 1385794"/>
                <a:gd name="connsiteY1886" fmla="*/ 1099781 h 1212067"/>
                <a:gd name="connsiteX1887" fmla="*/ 1141227 w 1385794"/>
                <a:gd name="connsiteY1887" fmla="*/ 1101631 h 1212067"/>
                <a:gd name="connsiteX1888" fmla="*/ 1143314 w 1385794"/>
                <a:gd name="connsiteY1888" fmla="*/ 1104019 h 1212067"/>
                <a:gd name="connsiteX1889" fmla="*/ 1148193 w 1385794"/>
                <a:gd name="connsiteY1889" fmla="*/ 1106071 h 1212067"/>
                <a:gd name="connsiteX1890" fmla="*/ 1149169 w 1385794"/>
                <a:gd name="connsiteY1890" fmla="*/ 1104995 h 1212067"/>
                <a:gd name="connsiteX1891" fmla="*/ 1151761 w 1385794"/>
                <a:gd name="connsiteY1891" fmla="*/ 1103346 h 1212067"/>
                <a:gd name="connsiteX1892" fmla="*/ 1154251 w 1385794"/>
                <a:gd name="connsiteY1892" fmla="*/ 1103010 h 1212067"/>
                <a:gd name="connsiteX1893" fmla="*/ 1157179 w 1385794"/>
                <a:gd name="connsiteY1893" fmla="*/ 1103649 h 1212067"/>
                <a:gd name="connsiteX1894" fmla="*/ 1159266 w 1385794"/>
                <a:gd name="connsiteY1894" fmla="*/ 1104524 h 1212067"/>
                <a:gd name="connsiteX1895" fmla="*/ 1161756 w 1385794"/>
                <a:gd name="connsiteY1895" fmla="*/ 1103885 h 1212067"/>
                <a:gd name="connsiteX1896" fmla="*/ 1163372 w 1385794"/>
                <a:gd name="connsiteY1896" fmla="*/ 1102034 h 1212067"/>
                <a:gd name="connsiteX1897" fmla="*/ 1165122 w 1385794"/>
                <a:gd name="connsiteY1897" fmla="*/ 1099983 h 1212067"/>
                <a:gd name="connsiteX1898" fmla="*/ 1166973 w 1385794"/>
                <a:gd name="connsiteY1898" fmla="*/ 1098570 h 1212067"/>
                <a:gd name="connsiteX1899" fmla="*/ 1169160 w 1385794"/>
                <a:gd name="connsiteY1899" fmla="*/ 1099545 h 1212067"/>
                <a:gd name="connsiteX1900" fmla="*/ 1169699 w 1385794"/>
                <a:gd name="connsiteY1900" fmla="*/ 1102034 h 1212067"/>
                <a:gd name="connsiteX1901" fmla="*/ 1169934 w 1385794"/>
                <a:gd name="connsiteY1901" fmla="*/ 1103111 h 1212067"/>
                <a:gd name="connsiteX1902" fmla="*/ 1170136 w 1385794"/>
                <a:gd name="connsiteY1902" fmla="*/ 1105600 h 1212067"/>
                <a:gd name="connsiteX1903" fmla="*/ 1170675 w 1385794"/>
                <a:gd name="connsiteY1903" fmla="*/ 1108527 h 1212067"/>
                <a:gd name="connsiteX1904" fmla="*/ 1171550 w 1385794"/>
                <a:gd name="connsiteY1904" fmla="*/ 1109301 h 1212067"/>
                <a:gd name="connsiteX1905" fmla="*/ 1173603 w 1385794"/>
                <a:gd name="connsiteY1905" fmla="*/ 1111689 h 1212067"/>
                <a:gd name="connsiteX1906" fmla="*/ 1176968 w 1385794"/>
                <a:gd name="connsiteY1906" fmla="*/ 1113001 h 1212067"/>
                <a:gd name="connsiteX1907" fmla="*/ 1179593 w 1385794"/>
                <a:gd name="connsiteY1907" fmla="*/ 1111925 h 1212067"/>
                <a:gd name="connsiteX1908" fmla="*/ 1180367 w 1385794"/>
                <a:gd name="connsiteY1908" fmla="*/ 1111285 h 1212067"/>
                <a:gd name="connsiteX1909" fmla="*/ 1181983 w 1385794"/>
                <a:gd name="connsiteY1909" fmla="*/ 1109099 h 1212067"/>
                <a:gd name="connsiteX1910" fmla="*/ 1183935 w 1385794"/>
                <a:gd name="connsiteY1910" fmla="*/ 1105836 h 1212067"/>
                <a:gd name="connsiteX1911" fmla="*/ 1185146 w 1385794"/>
                <a:gd name="connsiteY1911" fmla="*/ 1101496 h 1212067"/>
                <a:gd name="connsiteX1912" fmla="*/ 1184507 w 1385794"/>
                <a:gd name="connsiteY1912" fmla="*/ 1097157 h 1212067"/>
                <a:gd name="connsiteX1913" fmla="*/ 1182218 w 1385794"/>
                <a:gd name="connsiteY1913" fmla="*/ 1094869 h 1212067"/>
                <a:gd name="connsiteX1914" fmla="*/ 1177439 w 1385794"/>
                <a:gd name="connsiteY1914" fmla="*/ 1095307 h 1212067"/>
                <a:gd name="connsiteX1915" fmla="*/ 1174511 w 1385794"/>
                <a:gd name="connsiteY1915" fmla="*/ 1093793 h 1212067"/>
                <a:gd name="connsiteX1916" fmla="*/ 1176564 w 1385794"/>
                <a:gd name="connsiteY1916" fmla="*/ 1089554 h 1212067"/>
                <a:gd name="connsiteX1917" fmla="*/ 1176901 w 1385794"/>
                <a:gd name="connsiteY1917" fmla="*/ 1088141 h 1212067"/>
                <a:gd name="connsiteX1918" fmla="*/ 1175050 w 1385794"/>
                <a:gd name="connsiteY1918" fmla="*/ 1086829 h 1212067"/>
                <a:gd name="connsiteX1919" fmla="*/ 1174175 w 1385794"/>
                <a:gd name="connsiteY1919" fmla="*/ 1084004 h 1212067"/>
                <a:gd name="connsiteX1920" fmla="*/ 1174175 w 1385794"/>
                <a:gd name="connsiteY1920" fmla="*/ 1080741 h 1212067"/>
                <a:gd name="connsiteX1921" fmla="*/ 1174915 w 1385794"/>
                <a:gd name="connsiteY1921" fmla="*/ 1076939 h 1212067"/>
                <a:gd name="connsiteX1922" fmla="*/ 1174040 w 1385794"/>
                <a:gd name="connsiteY1922" fmla="*/ 1074450 h 1212067"/>
                <a:gd name="connsiteX1923" fmla="*/ 1172963 w 1385794"/>
                <a:gd name="connsiteY1923" fmla="*/ 1073575 h 1212067"/>
                <a:gd name="connsiteX1924" fmla="*/ 1170910 w 1385794"/>
                <a:gd name="connsiteY1924" fmla="*/ 1070750 h 1212067"/>
                <a:gd name="connsiteX1925" fmla="*/ 1168958 w 1385794"/>
                <a:gd name="connsiteY1925" fmla="*/ 1064762 h 1212067"/>
                <a:gd name="connsiteX1926" fmla="*/ 1168958 w 1385794"/>
                <a:gd name="connsiteY1926" fmla="*/ 1059548 h 1212067"/>
                <a:gd name="connsiteX1927" fmla="*/ 1169396 w 1385794"/>
                <a:gd name="connsiteY1927" fmla="*/ 1055511 h 1212067"/>
                <a:gd name="connsiteX1928" fmla="*/ 1171886 w 1385794"/>
                <a:gd name="connsiteY1928" fmla="*/ 1053459 h 1212067"/>
                <a:gd name="connsiteX1929" fmla="*/ 1174175 w 1385794"/>
                <a:gd name="connsiteY1929" fmla="*/ 1050835 h 1212067"/>
                <a:gd name="connsiteX1930" fmla="*/ 1177204 w 1385794"/>
                <a:gd name="connsiteY1930" fmla="*/ 1047236 h 1212067"/>
                <a:gd name="connsiteX1931" fmla="*/ 1178617 w 1385794"/>
                <a:gd name="connsiteY1931" fmla="*/ 1045284 h 1212067"/>
                <a:gd name="connsiteX1932" fmla="*/ 1180468 w 1385794"/>
                <a:gd name="connsiteY1932" fmla="*/ 1043872 h 1212067"/>
                <a:gd name="connsiteX1933" fmla="*/ 1184372 w 1385794"/>
                <a:gd name="connsiteY1933" fmla="*/ 1043872 h 1212067"/>
                <a:gd name="connsiteX1934" fmla="*/ 1188276 w 1385794"/>
                <a:gd name="connsiteY1934" fmla="*/ 1043098 h 1212067"/>
                <a:gd name="connsiteX1935" fmla="*/ 1188916 w 1385794"/>
                <a:gd name="connsiteY1935" fmla="*/ 1040810 h 1212067"/>
                <a:gd name="connsiteX1936" fmla="*/ 1187603 w 1385794"/>
                <a:gd name="connsiteY1936" fmla="*/ 1038321 h 1212067"/>
                <a:gd name="connsiteX1937" fmla="*/ 1185752 w 1385794"/>
                <a:gd name="connsiteY1937" fmla="*/ 1036908 h 1212067"/>
                <a:gd name="connsiteX1938" fmla="*/ 1182151 w 1385794"/>
                <a:gd name="connsiteY1938" fmla="*/ 1035294 h 1212067"/>
                <a:gd name="connsiteX1939" fmla="*/ 1177708 w 1385794"/>
                <a:gd name="connsiteY1939" fmla="*/ 1034217 h 1212067"/>
                <a:gd name="connsiteX1940" fmla="*/ 1175790 w 1385794"/>
                <a:gd name="connsiteY1940" fmla="*/ 1033578 h 1212067"/>
                <a:gd name="connsiteX1941" fmla="*/ 1175790 w 1385794"/>
                <a:gd name="connsiteY1941" fmla="*/ 1031089 h 1212067"/>
                <a:gd name="connsiteX1942" fmla="*/ 1178718 w 1385794"/>
                <a:gd name="connsiteY1942" fmla="*/ 1029440 h 1212067"/>
                <a:gd name="connsiteX1943" fmla="*/ 1180132 w 1385794"/>
                <a:gd name="connsiteY1943" fmla="*/ 1028364 h 1212067"/>
                <a:gd name="connsiteX1944" fmla="*/ 1183396 w 1385794"/>
                <a:gd name="connsiteY1944" fmla="*/ 1026850 h 1212067"/>
                <a:gd name="connsiteX1945" fmla="*/ 1185348 w 1385794"/>
                <a:gd name="connsiteY1945" fmla="*/ 1025773 h 1212067"/>
                <a:gd name="connsiteX1946" fmla="*/ 1190565 w 1385794"/>
                <a:gd name="connsiteY1946" fmla="*/ 1025773 h 1212067"/>
                <a:gd name="connsiteX1947" fmla="*/ 1193594 w 1385794"/>
                <a:gd name="connsiteY1947" fmla="*/ 1025773 h 1212067"/>
                <a:gd name="connsiteX1948" fmla="*/ 1195781 w 1385794"/>
                <a:gd name="connsiteY1948" fmla="*/ 1024630 h 1212067"/>
                <a:gd name="connsiteX1949" fmla="*/ 1196757 w 1385794"/>
                <a:gd name="connsiteY1949" fmla="*/ 1022510 h 1212067"/>
                <a:gd name="connsiteX1950" fmla="*/ 1196959 w 1385794"/>
                <a:gd name="connsiteY1950" fmla="*/ 1019483 h 1212067"/>
                <a:gd name="connsiteX1951" fmla="*/ 1194031 w 1385794"/>
                <a:gd name="connsiteY1951" fmla="*/ 1016994 h 1212067"/>
                <a:gd name="connsiteX1952" fmla="*/ 1192281 w 1385794"/>
                <a:gd name="connsiteY1952" fmla="*/ 1015076 h 1212067"/>
                <a:gd name="connsiteX1953" fmla="*/ 1190093 w 1385794"/>
                <a:gd name="connsiteY1953" fmla="*/ 1013630 h 1212067"/>
                <a:gd name="connsiteX1954" fmla="*/ 1186324 w 1385794"/>
                <a:gd name="connsiteY1954" fmla="*/ 1008853 h 1212067"/>
                <a:gd name="connsiteX1955" fmla="*/ 1184305 w 1385794"/>
                <a:gd name="connsiteY1955" fmla="*/ 1004210 h 1212067"/>
                <a:gd name="connsiteX1956" fmla="*/ 1181545 w 1385794"/>
                <a:gd name="connsiteY1956" fmla="*/ 1002629 h 1212067"/>
                <a:gd name="connsiteX1957" fmla="*/ 1177776 w 1385794"/>
                <a:gd name="connsiteY1957" fmla="*/ 1000880 h 1212067"/>
                <a:gd name="connsiteX1958" fmla="*/ 1174545 w 1385794"/>
                <a:gd name="connsiteY1958" fmla="*/ 998828 h 1212067"/>
                <a:gd name="connsiteX1959" fmla="*/ 1171348 w 1385794"/>
                <a:gd name="connsiteY1959" fmla="*/ 997449 h 1212067"/>
                <a:gd name="connsiteX1960" fmla="*/ 1169329 w 1385794"/>
                <a:gd name="connsiteY1960" fmla="*/ 998761 h 1212067"/>
                <a:gd name="connsiteX1961" fmla="*/ 1167141 w 1385794"/>
                <a:gd name="connsiteY1961" fmla="*/ 998761 h 1212067"/>
                <a:gd name="connsiteX1962" fmla="*/ 1164819 w 1385794"/>
                <a:gd name="connsiteY1962" fmla="*/ 996574 h 1212067"/>
                <a:gd name="connsiteX1963" fmla="*/ 1164078 w 1385794"/>
                <a:gd name="connsiteY1963" fmla="*/ 993378 h 1212067"/>
                <a:gd name="connsiteX1964" fmla="*/ 1164953 w 1385794"/>
                <a:gd name="connsiteY1964" fmla="*/ 990486 h 1212067"/>
                <a:gd name="connsiteX1965" fmla="*/ 1164953 w 1385794"/>
                <a:gd name="connsiteY1965" fmla="*/ 987021 h 1212067"/>
                <a:gd name="connsiteX1966" fmla="*/ 1164953 w 1385794"/>
                <a:gd name="connsiteY1966" fmla="*/ 984565 h 1212067"/>
                <a:gd name="connsiteX1967" fmla="*/ 1165694 w 1385794"/>
                <a:gd name="connsiteY1967" fmla="*/ 981369 h 1212067"/>
                <a:gd name="connsiteX1968" fmla="*/ 1167578 w 1385794"/>
                <a:gd name="connsiteY1968" fmla="*/ 978611 h 1212067"/>
                <a:gd name="connsiteX1969" fmla="*/ 1168319 w 1385794"/>
                <a:gd name="connsiteY1969" fmla="*/ 976861 h 1212067"/>
                <a:gd name="connsiteX1970" fmla="*/ 1169901 w 1385794"/>
                <a:gd name="connsiteY1970" fmla="*/ 974406 h 1212067"/>
                <a:gd name="connsiteX1971" fmla="*/ 1170607 w 1385794"/>
                <a:gd name="connsiteY1971" fmla="*/ 973531 h 1212067"/>
                <a:gd name="connsiteX1972" fmla="*/ 1172055 w 1385794"/>
                <a:gd name="connsiteY1972" fmla="*/ 971950 h 1212067"/>
                <a:gd name="connsiteX1973" fmla="*/ 1174511 w 1385794"/>
                <a:gd name="connsiteY1973" fmla="*/ 970504 h 1212067"/>
                <a:gd name="connsiteX1974" fmla="*/ 1177103 w 1385794"/>
                <a:gd name="connsiteY1974" fmla="*/ 970504 h 1212067"/>
                <a:gd name="connsiteX1975" fmla="*/ 1180300 w 1385794"/>
                <a:gd name="connsiteY1975" fmla="*/ 970504 h 1212067"/>
                <a:gd name="connsiteX1976" fmla="*/ 1182757 w 1385794"/>
                <a:gd name="connsiteY1976" fmla="*/ 969763 h 1212067"/>
                <a:gd name="connsiteX1977" fmla="*/ 1183632 w 1385794"/>
                <a:gd name="connsiteY1977" fmla="*/ 968620 h 1212067"/>
                <a:gd name="connsiteX1978" fmla="*/ 1183766 w 1385794"/>
                <a:gd name="connsiteY1978" fmla="*/ 967039 h 1212067"/>
                <a:gd name="connsiteX1979" fmla="*/ 1184204 w 1385794"/>
                <a:gd name="connsiteY1979" fmla="*/ 964280 h 1212067"/>
                <a:gd name="connsiteX1980" fmla="*/ 1184069 w 1385794"/>
                <a:gd name="connsiteY1980" fmla="*/ 962699 h 1212067"/>
                <a:gd name="connsiteX1981" fmla="*/ 1183497 w 1385794"/>
                <a:gd name="connsiteY1981" fmla="*/ 960075 h 1212067"/>
                <a:gd name="connsiteX1982" fmla="*/ 1182353 w 1385794"/>
                <a:gd name="connsiteY1982" fmla="*/ 958763 h 1212067"/>
                <a:gd name="connsiteX1983" fmla="*/ 1179156 w 1385794"/>
                <a:gd name="connsiteY1983" fmla="*/ 954693 h 1212067"/>
                <a:gd name="connsiteX1984" fmla="*/ 1177843 w 1385794"/>
                <a:gd name="connsiteY1984" fmla="*/ 952675 h 1212067"/>
                <a:gd name="connsiteX1985" fmla="*/ 1177103 w 1385794"/>
                <a:gd name="connsiteY1985" fmla="*/ 947023 h 1212067"/>
                <a:gd name="connsiteX1986" fmla="*/ 1177103 w 1385794"/>
                <a:gd name="connsiteY1986" fmla="*/ 943390 h 1212067"/>
                <a:gd name="connsiteX1987" fmla="*/ 1178920 w 1385794"/>
                <a:gd name="connsiteY1987" fmla="*/ 938041 h 1212067"/>
                <a:gd name="connsiteX1988" fmla="*/ 1179997 w 1385794"/>
                <a:gd name="connsiteY1988" fmla="*/ 935855 h 1212067"/>
                <a:gd name="connsiteX1989" fmla="*/ 1189286 w 1385794"/>
                <a:gd name="connsiteY1989" fmla="*/ 935720 h 1212067"/>
                <a:gd name="connsiteX1990" fmla="*/ 1195243 w 1385794"/>
                <a:gd name="connsiteY1990" fmla="*/ 934274 h 1212067"/>
                <a:gd name="connsiteX1991" fmla="*/ 1201199 w 1385794"/>
                <a:gd name="connsiteY1991" fmla="*/ 936595 h 1212067"/>
                <a:gd name="connsiteX1992" fmla="*/ 1204969 w 1385794"/>
                <a:gd name="connsiteY1992" fmla="*/ 935283 h 1212067"/>
                <a:gd name="connsiteX1993" fmla="*/ 1207560 w 1385794"/>
                <a:gd name="connsiteY1993" fmla="*/ 933096 h 1212067"/>
                <a:gd name="connsiteX1994" fmla="*/ 1214964 w 1385794"/>
                <a:gd name="connsiteY1994" fmla="*/ 932793 h 1212067"/>
                <a:gd name="connsiteX1995" fmla="*/ 1222065 w 1385794"/>
                <a:gd name="connsiteY1995" fmla="*/ 933231 h 1212067"/>
                <a:gd name="connsiteX1996" fmla="*/ 1225834 w 1385794"/>
                <a:gd name="connsiteY1996" fmla="*/ 937436 h 1212067"/>
                <a:gd name="connsiteX1997" fmla="*/ 1231186 w 1385794"/>
                <a:gd name="connsiteY1997" fmla="*/ 940060 h 1212067"/>
                <a:gd name="connsiteX1998" fmla="*/ 1235089 w 1385794"/>
                <a:gd name="connsiteY1998" fmla="*/ 943693 h 1212067"/>
                <a:gd name="connsiteX1999" fmla="*/ 1231758 w 1385794"/>
                <a:gd name="connsiteY1999" fmla="*/ 946149 h 1212067"/>
                <a:gd name="connsiteX2000" fmla="*/ 1233642 w 1385794"/>
                <a:gd name="connsiteY2000" fmla="*/ 950488 h 1212067"/>
                <a:gd name="connsiteX2001" fmla="*/ 1237849 w 1385794"/>
                <a:gd name="connsiteY2001" fmla="*/ 955568 h 1212067"/>
                <a:gd name="connsiteX2002" fmla="*/ 1243200 w 1385794"/>
                <a:gd name="connsiteY2002" fmla="*/ 959200 h 1212067"/>
                <a:gd name="connsiteX2003" fmla="*/ 1247104 w 1385794"/>
                <a:gd name="connsiteY2003" fmla="*/ 960075 h 1212067"/>
                <a:gd name="connsiteX2004" fmla="*/ 1248114 w 1385794"/>
                <a:gd name="connsiteY2004" fmla="*/ 957317 h 1212067"/>
                <a:gd name="connsiteX2005" fmla="*/ 1249124 w 1385794"/>
                <a:gd name="connsiteY2005" fmla="*/ 951968 h 1212067"/>
                <a:gd name="connsiteX2006" fmla="*/ 1252725 w 1385794"/>
                <a:gd name="connsiteY2006" fmla="*/ 951262 h 1212067"/>
                <a:gd name="connsiteX2007" fmla="*/ 1255350 w 1385794"/>
                <a:gd name="connsiteY2007" fmla="*/ 953717 h 1212067"/>
                <a:gd name="connsiteX2008" fmla="*/ 1261138 w 1385794"/>
                <a:gd name="connsiteY2008" fmla="*/ 957350 h 1212067"/>
                <a:gd name="connsiteX2009" fmla="*/ 1265177 w 1385794"/>
                <a:gd name="connsiteY2009" fmla="*/ 956644 h 1212067"/>
                <a:gd name="connsiteX2010" fmla="*/ 1270696 w 1385794"/>
                <a:gd name="connsiteY2010" fmla="*/ 956644 h 1212067"/>
                <a:gd name="connsiteX2011" fmla="*/ 1273893 w 1385794"/>
                <a:gd name="connsiteY2011" fmla="*/ 953886 h 1212067"/>
                <a:gd name="connsiteX2012" fmla="*/ 1274768 w 1385794"/>
                <a:gd name="connsiteY2012" fmla="*/ 950858 h 1212067"/>
                <a:gd name="connsiteX2013" fmla="*/ 1275071 w 1385794"/>
                <a:gd name="connsiteY2013" fmla="*/ 947090 h 1212067"/>
                <a:gd name="connsiteX2014" fmla="*/ 1278100 w 1385794"/>
                <a:gd name="connsiteY2014" fmla="*/ 946788 h 1212067"/>
                <a:gd name="connsiteX2015" fmla="*/ 1281432 w 1385794"/>
                <a:gd name="connsiteY2015" fmla="*/ 948806 h 1212067"/>
                <a:gd name="connsiteX2016" fmla="*/ 1281432 w 1385794"/>
                <a:gd name="connsiteY2016" fmla="*/ 950993 h 1212067"/>
                <a:gd name="connsiteX2017" fmla="*/ 1283821 w 1385794"/>
                <a:gd name="connsiteY2017" fmla="*/ 953314 h 1212067"/>
                <a:gd name="connsiteX2018" fmla="*/ 1287523 w 1385794"/>
                <a:gd name="connsiteY2018" fmla="*/ 951733 h 1212067"/>
                <a:gd name="connsiteX2019" fmla="*/ 1290721 w 1385794"/>
                <a:gd name="connsiteY2019" fmla="*/ 949411 h 1212067"/>
                <a:gd name="connsiteX2020" fmla="*/ 1294793 w 1385794"/>
                <a:gd name="connsiteY2020" fmla="*/ 949411 h 1212067"/>
                <a:gd name="connsiteX2021" fmla="*/ 1299134 w 1385794"/>
                <a:gd name="connsiteY2021" fmla="*/ 947965 h 1212067"/>
                <a:gd name="connsiteX2022" fmla="*/ 1304216 w 1385794"/>
                <a:gd name="connsiteY2022" fmla="*/ 946956 h 1212067"/>
                <a:gd name="connsiteX2023" fmla="*/ 1308255 w 1385794"/>
                <a:gd name="connsiteY2023" fmla="*/ 944803 h 1212067"/>
                <a:gd name="connsiteX2024" fmla="*/ 1310442 w 1385794"/>
                <a:gd name="connsiteY2024" fmla="*/ 943794 h 1212067"/>
                <a:gd name="connsiteX2025" fmla="*/ 1310745 w 1385794"/>
                <a:gd name="connsiteY2025" fmla="*/ 941910 h 1212067"/>
                <a:gd name="connsiteX2026" fmla="*/ 1305663 w 1385794"/>
                <a:gd name="connsiteY2026" fmla="*/ 936830 h 1212067"/>
                <a:gd name="connsiteX2027" fmla="*/ 1304216 w 1385794"/>
                <a:gd name="connsiteY2027" fmla="*/ 940295 h 1212067"/>
                <a:gd name="connsiteX2028" fmla="*/ 1299000 w 1385794"/>
                <a:gd name="connsiteY2028" fmla="*/ 941876 h 1212067"/>
                <a:gd name="connsiteX2029" fmla="*/ 1295971 w 1385794"/>
                <a:gd name="connsiteY2029" fmla="*/ 939421 h 1212067"/>
                <a:gd name="connsiteX2030" fmla="*/ 1294221 w 1385794"/>
                <a:gd name="connsiteY2030" fmla="*/ 935653 h 1212067"/>
                <a:gd name="connsiteX2031" fmla="*/ 1292033 w 1385794"/>
                <a:gd name="connsiteY2031" fmla="*/ 933466 h 1212067"/>
                <a:gd name="connsiteX2032" fmla="*/ 1289408 w 1385794"/>
                <a:gd name="connsiteY2032" fmla="*/ 932020 h 1212067"/>
                <a:gd name="connsiteX2033" fmla="*/ 1284898 w 1385794"/>
                <a:gd name="connsiteY2033" fmla="*/ 928118 h 1212067"/>
                <a:gd name="connsiteX2034" fmla="*/ 1283148 w 1385794"/>
                <a:gd name="connsiteY2034" fmla="*/ 923913 h 1212067"/>
                <a:gd name="connsiteX2035" fmla="*/ 1283283 w 1385794"/>
                <a:gd name="connsiteY2035" fmla="*/ 919573 h 1212067"/>
                <a:gd name="connsiteX2036" fmla="*/ 1287355 w 1385794"/>
                <a:gd name="connsiteY2036" fmla="*/ 921322 h 1212067"/>
                <a:gd name="connsiteX2037" fmla="*/ 1291427 w 1385794"/>
                <a:gd name="connsiteY2037" fmla="*/ 922466 h 1212067"/>
                <a:gd name="connsiteX2038" fmla="*/ 1292000 w 1385794"/>
                <a:gd name="connsiteY2038" fmla="*/ 920145 h 1212067"/>
                <a:gd name="connsiteX2039" fmla="*/ 1291697 w 1385794"/>
                <a:gd name="connsiteY2039" fmla="*/ 915805 h 1212067"/>
                <a:gd name="connsiteX2040" fmla="*/ 1289947 w 1385794"/>
                <a:gd name="connsiteY2040" fmla="*/ 912172 h 1212067"/>
                <a:gd name="connsiteX2041" fmla="*/ 1289812 w 1385794"/>
                <a:gd name="connsiteY2041" fmla="*/ 908708 h 1212067"/>
                <a:gd name="connsiteX2042" fmla="*/ 1292000 w 1385794"/>
                <a:gd name="connsiteY2042" fmla="*/ 907396 h 1212067"/>
                <a:gd name="connsiteX2043" fmla="*/ 1296644 w 1385794"/>
                <a:gd name="connsiteY2043" fmla="*/ 910726 h 1212067"/>
                <a:gd name="connsiteX2044" fmla="*/ 1300851 w 1385794"/>
                <a:gd name="connsiteY2044" fmla="*/ 914056 h 1212067"/>
                <a:gd name="connsiteX2045" fmla="*/ 1308827 w 1385794"/>
                <a:gd name="connsiteY2045" fmla="*/ 915368 h 1212067"/>
                <a:gd name="connsiteX2046" fmla="*/ 1313168 w 1385794"/>
                <a:gd name="connsiteY2046" fmla="*/ 918261 h 1212067"/>
                <a:gd name="connsiteX2047" fmla="*/ 1316500 w 1385794"/>
                <a:gd name="connsiteY2047" fmla="*/ 920145 h 1212067"/>
                <a:gd name="connsiteX2048" fmla="*/ 1318957 w 1385794"/>
                <a:gd name="connsiteY2048" fmla="*/ 918127 h 1212067"/>
                <a:gd name="connsiteX2049" fmla="*/ 1322861 w 1385794"/>
                <a:gd name="connsiteY2049" fmla="*/ 916108 h 1212067"/>
                <a:gd name="connsiteX2050" fmla="*/ 1327068 w 1385794"/>
                <a:gd name="connsiteY2050" fmla="*/ 914561 h 1212067"/>
                <a:gd name="connsiteX2051" fmla="*/ 1328649 w 1385794"/>
                <a:gd name="connsiteY2051" fmla="*/ 911769 h 1212067"/>
                <a:gd name="connsiteX2052" fmla="*/ 1331981 w 1385794"/>
                <a:gd name="connsiteY2052" fmla="*/ 908741 h 1212067"/>
                <a:gd name="connsiteX2053" fmla="*/ 1337770 w 1385794"/>
                <a:gd name="connsiteY2053" fmla="*/ 910053 h 1212067"/>
                <a:gd name="connsiteX2054" fmla="*/ 1341236 w 1385794"/>
                <a:gd name="connsiteY2054" fmla="*/ 910490 h 1212067"/>
                <a:gd name="connsiteX2055" fmla="*/ 1344871 w 1385794"/>
                <a:gd name="connsiteY2055" fmla="*/ 913821 h 1212067"/>
                <a:gd name="connsiteX2056" fmla="*/ 1350087 w 1385794"/>
                <a:gd name="connsiteY2056" fmla="*/ 914595 h 1212067"/>
                <a:gd name="connsiteX2057" fmla="*/ 1354732 w 1385794"/>
                <a:gd name="connsiteY2057" fmla="*/ 912946 h 1212067"/>
                <a:gd name="connsiteX2058" fmla="*/ 1357491 w 1385794"/>
                <a:gd name="connsiteY2058" fmla="*/ 912374 h 1212067"/>
                <a:gd name="connsiteX2059" fmla="*/ 1361833 w 1385794"/>
                <a:gd name="connsiteY2059" fmla="*/ 914393 h 1212067"/>
                <a:gd name="connsiteX2060" fmla="*/ 1368799 w 1385794"/>
                <a:gd name="connsiteY2060" fmla="*/ 914393 h 1212067"/>
                <a:gd name="connsiteX2061" fmla="*/ 1371121 w 1385794"/>
                <a:gd name="connsiteY2061" fmla="*/ 911062 h 1212067"/>
                <a:gd name="connsiteX2062" fmla="*/ 1369809 w 1385794"/>
                <a:gd name="connsiteY2062" fmla="*/ 905983 h 1212067"/>
                <a:gd name="connsiteX2063" fmla="*/ 1368631 w 1385794"/>
                <a:gd name="connsiteY2063" fmla="*/ 902350 h 1212067"/>
                <a:gd name="connsiteX2064" fmla="*/ 1370078 w 1385794"/>
                <a:gd name="connsiteY2064" fmla="*/ 897270 h 1212067"/>
                <a:gd name="connsiteX2065" fmla="*/ 1369943 w 1385794"/>
                <a:gd name="connsiteY2065" fmla="*/ 893805 h 1212067"/>
                <a:gd name="connsiteX2066" fmla="*/ 1372703 w 1385794"/>
                <a:gd name="connsiteY2066" fmla="*/ 890609 h 1212067"/>
                <a:gd name="connsiteX2067" fmla="*/ 1375732 w 1385794"/>
                <a:gd name="connsiteY2067" fmla="*/ 890609 h 1212067"/>
                <a:gd name="connsiteX2068" fmla="*/ 1376876 w 1385794"/>
                <a:gd name="connsiteY2068" fmla="*/ 889028 h 1212067"/>
                <a:gd name="connsiteX2069" fmla="*/ 1374857 w 1385794"/>
                <a:gd name="connsiteY2069" fmla="*/ 885563 h 1212067"/>
                <a:gd name="connsiteX2070" fmla="*/ 1372535 w 1385794"/>
                <a:gd name="connsiteY2070" fmla="*/ 883242 h 1212067"/>
                <a:gd name="connsiteX2071" fmla="*/ 1367756 w 1385794"/>
                <a:gd name="connsiteY2071" fmla="*/ 877288 h 1212067"/>
                <a:gd name="connsiteX2072" fmla="*/ 1366612 w 1385794"/>
                <a:gd name="connsiteY2072" fmla="*/ 871334 h 1212067"/>
                <a:gd name="connsiteX2073" fmla="*/ 1365198 w 1385794"/>
                <a:gd name="connsiteY2073" fmla="*/ 866591 h 1212067"/>
                <a:gd name="connsiteX2074" fmla="*/ 1365434 w 1385794"/>
                <a:gd name="connsiteY2074" fmla="*/ 862453 h 1212067"/>
                <a:gd name="connsiteX2075" fmla="*/ 1365097 w 1385794"/>
                <a:gd name="connsiteY2075" fmla="*/ 857575 h 1212067"/>
                <a:gd name="connsiteX2076" fmla="*/ 1364895 w 1385794"/>
                <a:gd name="connsiteY2076" fmla="*/ 855523 h 1212067"/>
                <a:gd name="connsiteX2077" fmla="*/ 1364996 w 1385794"/>
                <a:gd name="connsiteY2077" fmla="*/ 852496 h 1212067"/>
                <a:gd name="connsiteX2078" fmla="*/ 1365232 w 1385794"/>
                <a:gd name="connsiteY2078" fmla="*/ 848594 h 1212067"/>
                <a:gd name="connsiteX2079" fmla="*/ 1365468 w 1385794"/>
                <a:gd name="connsiteY2079" fmla="*/ 845532 h 1212067"/>
                <a:gd name="connsiteX2080" fmla="*/ 1365905 w 1385794"/>
                <a:gd name="connsiteY2080" fmla="*/ 843245 h 1212067"/>
                <a:gd name="connsiteX2081" fmla="*/ 1367655 w 1385794"/>
                <a:gd name="connsiteY2081" fmla="*/ 841933 h 1212067"/>
                <a:gd name="connsiteX2082" fmla="*/ 1369270 w 1385794"/>
                <a:gd name="connsiteY2082" fmla="*/ 840957 h 1212067"/>
                <a:gd name="connsiteX2083" fmla="*/ 1371323 w 1385794"/>
                <a:gd name="connsiteY2083" fmla="*/ 839645 h 1212067"/>
                <a:gd name="connsiteX2084" fmla="*/ 1374487 w 1385794"/>
                <a:gd name="connsiteY2084" fmla="*/ 838872 h 1212067"/>
                <a:gd name="connsiteX2085" fmla="*/ 1378828 w 1385794"/>
                <a:gd name="connsiteY2085" fmla="*/ 838872 h 1212067"/>
                <a:gd name="connsiteX2086" fmla="*/ 1381554 w 1385794"/>
                <a:gd name="connsiteY2086" fmla="*/ 838872 h 1212067"/>
                <a:gd name="connsiteX2087" fmla="*/ 1383304 w 1385794"/>
                <a:gd name="connsiteY2087" fmla="*/ 838098 h 1212067"/>
                <a:gd name="connsiteX2088" fmla="*/ 1384819 w 1385794"/>
                <a:gd name="connsiteY2088" fmla="*/ 834835 h 1212067"/>
                <a:gd name="connsiteX2089" fmla="*/ 1385795 w 1385794"/>
                <a:gd name="connsiteY2089" fmla="*/ 832346 h 1212067"/>
                <a:gd name="connsiteX2090" fmla="*/ 1385526 w 1385794"/>
                <a:gd name="connsiteY2090" fmla="*/ 829621 h 1212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</a:cxnLst>
              <a:rect l="l" t="t" r="r" b="b"/>
              <a:pathLst>
                <a:path w="1385794" h="1212067">
                  <a:moveTo>
                    <a:pt x="1385526" y="829621"/>
                  </a:moveTo>
                  <a:lnTo>
                    <a:pt x="1384752" y="827569"/>
                  </a:lnTo>
                  <a:lnTo>
                    <a:pt x="1382362" y="824306"/>
                  </a:lnTo>
                  <a:lnTo>
                    <a:pt x="1382463" y="820841"/>
                  </a:lnTo>
                  <a:lnTo>
                    <a:pt x="1382261" y="817241"/>
                  </a:lnTo>
                  <a:lnTo>
                    <a:pt x="1380915" y="810749"/>
                  </a:lnTo>
                  <a:lnTo>
                    <a:pt x="1379400" y="809100"/>
                  </a:lnTo>
                  <a:cubicBezTo>
                    <a:pt x="1379400" y="809100"/>
                    <a:pt x="1377819" y="807150"/>
                    <a:pt x="1377819" y="806914"/>
                  </a:cubicBezTo>
                  <a:cubicBezTo>
                    <a:pt x="1377819" y="806712"/>
                    <a:pt x="1378189" y="804727"/>
                    <a:pt x="1378189" y="804727"/>
                  </a:cubicBezTo>
                  <a:lnTo>
                    <a:pt x="1378828" y="803281"/>
                  </a:lnTo>
                  <a:cubicBezTo>
                    <a:pt x="1378828" y="803281"/>
                    <a:pt x="1380208" y="801902"/>
                    <a:pt x="1380208" y="801633"/>
                  </a:cubicBezTo>
                  <a:cubicBezTo>
                    <a:pt x="1380208" y="801330"/>
                    <a:pt x="1382093" y="800993"/>
                    <a:pt x="1382093" y="800993"/>
                  </a:cubicBezTo>
                  <a:lnTo>
                    <a:pt x="1383405" y="799177"/>
                  </a:lnTo>
                  <a:lnTo>
                    <a:pt x="1383978" y="797730"/>
                  </a:lnTo>
                  <a:lnTo>
                    <a:pt x="1384112" y="795846"/>
                  </a:lnTo>
                  <a:lnTo>
                    <a:pt x="1384112" y="793593"/>
                  </a:lnTo>
                  <a:lnTo>
                    <a:pt x="1383641" y="790128"/>
                  </a:lnTo>
                  <a:lnTo>
                    <a:pt x="1383102" y="789051"/>
                  </a:lnTo>
                  <a:lnTo>
                    <a:pt x="1379838" y="785923"/>
                  </a:lnTo>
                  <a:cubicBezTo>
                    <a:pt x="1379838" y="785923"/>
                    <a:pt x="1377583" y="784241"/>
                    <a:pt x="1377381" y="783972"/>
                  </a:cubicBezTo>
                  <a:cubicBezTo>
                    <a:pt x="1377179" y="783669"/>
                    <a:pt x="1374420" y="783164"/>
                    <a:pt x="1374184" y="783030"/>
                  </a:cubicBezTo>
                  <a:cubicBezTo>
                    <a:pt x="1373982" y="782895"/>
                    <a:pt x="1368665" y="782323"/>
                    <a:pt x="1368665" y="782323"/>
                  </a:cubicBezTo>
                  <a:lnTo>
                    <a:pt x="1366578" y="782895"/>
                  </a:lnTo>
                  <a:lnTo>
                    <a:pt x="1363381" y="783333"/>
                  </a:lnTo>
                  <a:cubicBezTo>
                    <a:pt x="1363381" y="783333"/>
                    <a:pt x="1360554" y="782525"/>
                    <a:pt x="1360621" y="782256"/>
                  </a:cubicBezTo>
                  <a:cubicBezTo>
                    <a:pt x="1360688" y="781953"/>
                    <a:pt x="1358770" y="778858"/>
                    <a:pt x="1358770" y="778858"/>
                  </a:cubicBezTo>
                  <a:cubicBezTo>
                    <a:pt x="1358770" y="778858"/>
                    <a:pt x="1354361" y="776134"/>
                    <a:pt x="1354025" y="775864"/>
                  </a:cubicBezTo>
                  <a:cubicBezTo>
                    <a:pt x="1353688" y="775596"/>
                    <a:pt x="1351837" y="773947"/>
                    <a:pt x="1351837" y="773947"/>
                  </a:cubicBezTo>
                  <a:cubicBezTo>
                    <a:pt x="1351837" y="773947"/>
                    <a:pt x="1350087" y="772164"/>
                    <a:pt x="1349616" y="771761"/>
                  </a:cubicBezTo>
                  <a:cubicBezTo>
                    <a:pt x="1349145" y="771391"/>
                    <a:pt x="1347765" y="769978"/>
                    <a:pt x="1347429" y="769406"/>
                  </a:cubicBezTo>
                  <a:cubicBezTo>
                    <a:pt x="1347126" y="768868"/>
                    <a:pt x="1346217" y="767926"/>
                    <a:pt x="1346082" y="767791"/>
                  </a:cubicBezTo>
                  <a:cubicBezTo>
                    <a:pt x="1345914" y="767623"/>
                    <a:pt x="1344063" y="765941"/>
                    <a:pt x="1343895" y="765840"/>
                  </a:cubicBezTo>
                  <a:cubicBezTo>
                    <a:pt x="1343727" y="765739"/>
                    <a:pt x="1341674" y="764932"/>
                    <a:pt x="1341337" y="764932"/>
                  </a:cubicBezTo>
                  <a:cubicBezTo>
                    <a:pt x="1341001" y="764932"/>
                    <a:pt x="1339015" y="764999"/>
                    <a:pt x="1339015" y="764999"/>
                  </a:cubicBezTo>
                  <a:cubicBezTo>
                    <a:pt x="1339015" y="764999"/>
                    <a:pt x="1337803" y="766412"/>
                    <a:pt x="1337601" y="766681"/>
                  </a:cubicBezTo>
                  <a:cubicBezTo>
                    <a:pt x="1337366" y="766950"/>
                    <a:pt x="1336794" y="767657"/>
                    <a:pt x="1336626" y="767657"/>
                  </a:cubicBezTo>
                  <a:cubicBezTo>
                    <a:pt x="1336457" y="767657"/>
                    <a:pt x="1335649" y="770112"/>
                    <a:pt x="1335649" y="770112"/>
                  </a:cubicBezTo>
                  <a:lnTo>
                    <a:pt x="1333731" y="770482"/>
                  </a:lnTo>
                  <a:lnTo>
                    <a:pt x="1331443" y="767152"/>
                  </a:lnTo>
                  <a:lnTo>
                    <a:pt x="1329120" y="764831"/>
                  </a:lnTo>
                  <a:lnTo>
                    <a:pt x="1324476" y="760491"/>
                  </a:lnTo>
                  <a:lnTo>
                    <a:pt x="1321851" y="757464"/>
                  </a:lnTo>
                  <a:lnTo>
                    <a:pt x="1320976" y="758473"/>
                  </a:lnTo>
                  <a:cubicBezTo>
                    <a:pt x="1320976" y="758473"/>
                    <a:pt x="1319798" y="759919"/>
                    <a:pt x="1318788" y="759785"/>
                  </a:cubicBezTo>
                  <a:cubicBezTo>
                    <a:pt x="1317779" y="759650"/>
                    <a:pt x="1315591" y="755580"/>
                    <a:pt x="1315591" y="755580"/>
                  </a:cubicBezTo>
                  <a:lnTo>
                    <a:pt x="1316534" y="751880"/>
                  </a:lnTo>
                  <a:cubicBezTo>
                    <a:pt x="1316534" y="751880"/>
                    <a:pt x="1315019" y="748347"/>
                    <a:pt x="1314716" y="747742"/>
                  </a:cubicBezTo>
                  <a:cubicBezTo>
                    <a:pt x="1314413" y="747170"/>
                    <a:pt x="1313774" y="745555"/>
                    <a:pt x="1313404" y="745152"/>
                  </a:cubicBezTo>
                  <a:cubicBezTo>
                    <a:pt x="1313034" y="744714"/>
                    <a:pt x="1311149" y="742124"/>
                    <a:pt x="1311082" y="741889"/>
                  </a:cubicBezTo>
                  <a:cubicBezTo>
                    <a:pt x="1311014" y="741687"/>
                    <a:pt x="1308759" y="740139"/>
                    <a:pt x="1308625" y="739803"/>
                  </a:cubicBezTo>
                  <a:cubicBezTo>
                    <a:pt x="1308490" y="739433"/>
                    <a:pt x="1304788" y="738121"/>
                    <a:pt x="1304485" y="737919"/>
                  </a:cubicBezTo>
                  <a:cubicBezTo>
                    <a:pt x="1304182" y="737717"/>
                    <a:pt x="1299908" y="736674"/>
                    <a:pt x="1299908" y="736674"/>
                  </a:cubicBezTo>
                  <a:lnTo>
                    <a:pt x="1298831" y="737482"/>
                  </a:lnTo>
                  <a:lnTo>
                    <a:pt x="1297384" y="738054"/>
                  </a:lnTo>
                  <a:lnTo>
                    <a:pt x="1295432" y="737852"/>
                  </a:lnTo>
                  <a:cubicBezTo>
                    <a:pt x="1295432" y="737852"/>
                    <a:pt x="1294423" y="736708"/>
                    <a:pt x="1294288" y="736405"/>
                  </a:cubicBezTo>
                  <a:cubicBezTo>
                    <a:pt x="1294153" y="736103"/>
                    <a:pt x="1291326" y="733714"/>
                    <a:pt x="1289879" y="733378"/>
                  </a:cubicBezTo>
                  <a:cubicBezTo>
                    <a:pt x="1288432" y="733008"/>
                    <a:pt x="1289240" y="733950"/>
                    <a:pt x="1289240" y="733950"/>
                  </a:cubicBezTo>
                  <a:cubicBezTo>
                    <a:pt x="1289240" y="733950"/>
                    <a:pt x="1288095" y="735194"/>
                    <a:pt x="1287793" y="735833"/>
                  </a:cubicBezTo>
                  <a:cubicBezTo>
                    <a:pt x="1287490" y="736473"/>
                    <a:pt x="1286783" y="738020"/>
                    <a:pt x="1286648" y="738222"/>
                  </a:cubicBezTo>
                  <a:cubicBezTo>
                    <a:pt x="1286514" y="738424"/>
                    <a:pt x="1282139" y="739870"/>
                    <a:pt x="1281869" y="739803"/>
                  </a:cubicBezTo>
                  <a:cubicBezTo>
                    <a:pt x="1281566" y="739736"/>
                    <a:pt x="1278235" y="739063"/>
                    <a:pt x="1278100" y="738794"/>
                  </a:cubicBezTo>
                  <a:cubicBezTo>
                    <a:pt x="1277966" y="738491"/>
                    <a:pt x="1277797" y="734723"/>
                    <a:pt x="1277797" y="734723"/>
                  </a:cubicBezTo>
                  <a:cubicBezTo>
                    <a:pt x="1277797" y="734723"/>
                    <a:pt x="1277494" y="732133"/>
                    <a:pt x="1277360" y="731830"/>
                  </a:cubicBezTo>
                  <a:cubicBezTo>
                    <a:pt x="1277225" y="731561"/>
                    <a:pt x="1275778" y="731191"/>
                    <a:pt x="1274970" y="730888"/>
                  </a:cubicBezTo>
                  <a:cubicBezTo>
                    <a:pt x="1274701" y="730788"/>
                    <a:pt x="1274566" y="730754"/>
                    <a:pt x="1274499" y="730754"/>
                  </a:cubicBezTo>
                  <a:lnTo>
                    <a:pt x="1273590" y="727188"/>
                  </a:lnTo>
                  <a:lnTo>
                    <a:pt x="1270057" y="727188"/>
                  </a:lnTo>
                  <a:lnTo>
                    <a:pt x="1268811" y="727895"/>
                  </a:lnTo>
                  <a:lnTo>
                    <a:pt x="1264672" y="728803"/>
                  </a:lnTo>
                  <a:cubicBezTo>
                    <a:pt x="1264672" y="728803"/>
                    <a:pt x="1260633" y="728365"/>
                    <a:pt x="1260465" y="728130"/>
                  </a:cubicBezTo>
                  <a:cubicBezTo>
                    <a:pt x="1260330" y="727928"/>
                    <a:pt x="1258143" y="726751"/>
                    <a:pt x="1258143" y="726751"/>
                  </a:cubicBezTo>
                  <a:cubicBezTo>
                    <a:pt x="1258143" y="726751"/>
                    <a:pt x="1257268" y="725439"/>
                    <a:pt x="1257201" y="725237"/>
                  </a:cubicBezTo>
                  <a:cubicBezTo>
                    <a:pt x="1257133" y="725035"/>
                    <a:pt x="1256830" y="722277"/>
                    <a:pt x="1256830" y="722277"/>
                  </a:cubicBezTo>
                  <a:cubicBezTo>
                    <a:pt x="1256830" y="722277"/>
                    <a:pt x="1257403" y="720696"/>
                    <a:pt x="1257638" y="720393"/>
                  </a:cubicBezTo>
                  <a:cubicBezTo>
                    <a:pt x="1257874" y="720090"/>
                    <a:pt x="1258076" y="717769"/>
                    <a:pt x="1258076" y="717769"/>
                  </a:cubicBezTo>
                  <a:lnTo>
                    <a:pt x="1258782" y="714136"/>
                  </a:lnTo>
                  <a:lnTo>
                    <a:pt x="1258782" y="711747"/>
                  </a:lnTo>
                  <a:lnTo>
                    <a:pt x="1258446" y="708047"/>
                  </a:lnTo>
                  <a:lnTo>
                    <a:pt x="1258749" y="706701"/>
                  </a:lnTo>
                  <a:lnTo>
                    <a:pt x="1258581" y="706701"/>
                  </a:lnTo>
                  <a:lnTo>
                    <a:pt x="1253129" y="703775"/>
                  </a:lnTo>
                  <a:lnTo>
                    <a:pt x="1251143" y="701824"/>
                  </a:lnTo>
                  <a:lnTo>
                    <a:pt x="1247609" y="699705"/>
                  </a:lnTo>
                  <a:lnTo>
                    <a:pt x="1241686" y="697518"/>
                  </a:lnTo>
                  <a:lnTo>
                    <a:pt x="1237816" y="697888"/>
                  </a:lnTo>
                  <a:lnTo>
                    <a:pt x="1234955" y="700075"/>
                  </a:lnTo>
                  <a:cubicBezTo>
                    <a:pt x="1234955" y="700075"/>
                    <a:pt x="1232936" y="701824"/>
                    <a:pt x="1232767" y="701925"/>
                  </a:cubicBezTo>
                  <a:cubicBezTo>
                    <a:pt x="1232599" y="702026"/>
                    <a:pt x="1230344" y="702799"/>
                    <a:pt x="1230344" y="702799"/>
                  </a:cubicBezTo>
                  <a:cubicBezTo>
                    <a:pt x="1230344" y="702799"/>
                    <a:pt x="1227686" y="699435"/>
                    <a:pt x="1227013" y="699368"/>
                  </a:cubicBezTo>
                  <a:cubicBezTo>
                    <a:pt x="1226373" y="699301"/>
                    <a:pt x="1224522" y="698897"/>
                    <a:pt x="1224522" y="698897"/>
                  </a:cubicBezTo>
                  <a:lnTo>
                    <a:pt x="1221325" y="701555"/>
                  </a:lnTo>
                  <a:lnTo>
                    <a:pt x="1220887" y="701891"/>
                  </a:lnTo>
                  <a:cubicBezTo>
                    <a:pt x="1220887" y="701891"/>
                    <a:pt x="1218060" y="697451"/>
                    <a:pt x="1217387" y="697585"/>
                  </a:cubicBezTo>
                  <a:cubicBezTo>
                    <a:pt x="1216748" y="697753"/>
                    <a:pt x="1214123" y="697114"/>
                    <a:pt x="1214123" y="697114"/>
                  </a:cubicBezTo>
                  <a:lnTo>
                    <a:pt x="1210219" y="698864"/>
                  </a:lnTo>
                  <a:cubicBezTo>
                    <a:pt x="1210219" y="698864"/>
                    <a:pt x="1209445" y="700444"/>
                    <a:pt x="1209411" y="700646"/>
                  </a:cubicBezTo>
                  <a:cubicBezTo>
                    <a:pt x="1209344" y="700848"/>
                    <a:pt x="1208503" y="702160"/>
                    <a:pt x="1207493" y="702261"/>
                  </a:cubicBezTo>
                  <a:cubicBezTo>
                    <a:pt x="1206517" y="702362"/>
                    <a:pt x="1203589" y="701487"/>
                    <a:pt x="1203589" y="701487"/>
                  </a:cubicBezTo>
                  <a:lnTo>
                    <a:pt x="1201267" y="701016"/>
                  </a:lnTo>
                  <a:lnTo>
                    <a:pt x="1199113" y="701185"/>
                  </a:lnTo>
                  <a:lnTo>
                    <a:pt x="1197935" y="704380"/>
                  </a:lnTo>
                  <a:lnTo>
                    <a:pt x="1197935" y="708888"/>
                  </a:lnTo>
                  <a:lnTo>
                    <a:pt x="1197935" y="714102"/>
                  </a:lnTo>
                  <a:lnTo>
                    <a:pt x="1197295" y="716692"/>
                  </a:lnTo>
                  <a:lnTo>
                    <a:pt x="1196757" y="719283"/>
                  </a:lnTo>
                  <a:lnTo>
                    <a:pt x="1193392" y="719821"/>
                  </a:lnTo>
                  <a:cubicBezTo>
                    <a:pt x="1193392" y="719821"/>
                    <a:pt x="1190026" y="721133"/>
                    <a:pt x="1189791" y="721469"/>
                  </a:cubicBezTo>
                  <a:cubicBezTo>
                    <a:pt x="1189555" y="721806"/>
                    <a:pt x="1188478" y="724194"/>
                    <a:pt x="1188478" y="724194"/>
                  </a:cubicBezTo>
                  <a:lnTo>
                    <a:pt x="1190766" y="728971"/>
                  </a:lnTo>
                  <a:cubicBezTo>
                    <a:pt x="1190766" y="728971"/>
                    <a:pt x="1192954" y="730047"/>
                    <a:pt x="1194132" y="730384"/>
                  </a:cubicBezTo>
                  <a:cubicBezTo>
                    <a:pt x="1195343" y="730720"/>
                    <a:pt x="1197397" y="731998"/>
                    <a:pt x="1197397" y="731998"/>
                  </a:cubicBezTo>
                  <a:lnTo>
                    <a:pt x="1198608" y="733748"/>
                  </a:lnTo>
                  <a:lnTo>
                    <a:pt x="1198709" y="736473"/>
                  </a:lnTo>
                  <a:lnTo>
                    <a:pt x="1196320" y="737112"/>
                  </a:lnTo>
                  <a:lnTo>
                    <a:pt x="1195882" y="740913"/>
                  </a:lnTo>
                  <a:lnTo>
                    <a:pt x="1196656" y="742225"/>
                  </a:lnTo>
                  <a:cubicBezTo>
                    <a:pt x="1196656" y="742225"/>
                    <a:pt x="1197397" y="744277"/>
                    <a:pt x="1197195" y="744613"/>
                  </a:cubicBezTo>
                  <a:cubicBezTo>
                    <a:pt x="1196992" y="744950"/>
                    <a:pt x="1194166" y="745051"/>
                    <a:pt x="1193728" y="745152"/>
                  </a:cubicBezTo>
                  <a:cubicBezTo>
                    <a:pt x="1193291" y="745253"/>
                    <a:pt x="1192214" y="744950"/>
                    <a:pt x="1190666" y="745152"/>
                  </a:cubicBezTo>
                  <a:cubicBezTo>
                    <a:pt x="1189151" y="745387"/>
                    <a:pt x="1187401" y="745185"/>
                    <a:pt x="1187401" y="745185"/>
                  </a:cubicBezTo>
                  <a:cubicBezTo>
                    <a:pt x="1187401" y="745185"/>
                    <a:pt x="1185887" y="747002"/>
                    <a:pt x="1185651" y="747338"/>
                  </a:cubicBezTo>
                  <a:cubicBezTo>
                    <a:pt x="1185449" y="747675"/>
                    <a:pt x="1183699" y="750164"/>
                    <a:pt x="1183699" y="750164"/>
                  </a:cubicBezTo>
                  <a:cubicBezTo>
                    <a:pt x="1183699" y="750164"/>
                    <a:pt x="1182285" y="752754"/>
                    <a:pt x="1182285" y="753191"/>
                  </a:cubicBezTo>
                  <a:cubicBezTo>
                    <a:pt x="1182285" y="753629"/>
                    <a:pt x="1182285" y="755815"/>
                    <a:pt x="1182285" y="755815"/>
                  </a:cubicBezTo>
                  <a:cubicBezTo>
                    <a:pt x="1182285" y="755815"/>
                    <a:pt x="1183060" y="757666"/>
                    <a:pt x="1182285" y="757767"/>
                  </a:cubicBezTo>
                  <a:cubicBezTo>
                    <a:pt x="1181511" y="757867"/>
                    <a:pt x="1180536" y="760256"/>
                    <a:pt x="1180536" y="760256"/>
                  </a:cubicBezTo>
                  <a:cubicBezTo>
                    <a:pt x="1180536" y="760256"/>
                    <a:pt x="1178785" y="761467"/>
                    <a:pt x="1178449" y="761568"/>
                  </a:cubicBezTo>
                  <a:cubicBezTo>
                    <a:pt x="1178112" y="761669"/>
                    <a:pt x="1178348" y="763620"/>
                    <a:pt x="1177574" y="763956"/>
                  </a:cubicBezTo>
                  <a:cubicBezTo>
                    <a:pt x="1176800" y="764293"/>
                    <a:pt x="1175184" y="763620"/>
                    <a:pt x="1174107" y="763956"/>
                  </a:cubicBezTo>
                  <a:cubicBezTo>
                    <a:pt x="1173030" y="764293"/>
                    <a:pt x="1172055" y="765033"/>
                    <a:pt x="1172055" y="765033"/>
                  </a:cubicBezTo>
                  <a:cubicBezTo>
                    <a:pt x="1172055" y="765033"/>
                    <a:pt x="1171718" y="767657"/>
                    <a:pt x="1172055" y="768296"/>
                  </a:cubicBezTo>
                  <a:cubicBezTo>
                    <a:pt x="1172391" y="768935"/>
                    <a:pt x="1174107" y="771559"/>
                    <a:pt x="1174781" y="771559"/>
                  </a:cubicBezTo>
                  <a:cubicBezTo>
                    <a:pt x="1175420" y="771559"/>
                    <a:pt x="1177507" y="773409"/>
                    <a:pt x="1177507" y="773409"/>
                  </a:cubicBezTo>
                  <a:lnTo>
                    <a:pt x="1180434" y="775596"/>
                  </a:lnTo>
                  <a:lnTo>
                    <a:pt x="1182487" y="778758"/>
                  </a:lnTo>
                  <a:lnTo>
                    <a:pt x="1184237" y="781247"/>
                  </a:lnTo>
                  <a:cubicBezTo>
                    <a:pt x="1184237" y="781247"/>
                    <a:pt x="1184776" y="784174"/>
                    <a:pt x="1184776" y="784947"/>
                  </a:cubicBezTo>
                  <a:cubicBezTo>
                    <a:pt x="1184776" y="785721"/>
                    <a:pt x="1184237" y="789186"/>
                    <a:pt x="1183901" y="789287"/>
                  </a:cubicBezTo>
                  <a:cubicBezTo>
                    <a:pt x="1183564" y="789388"/>
                    <a:pt x="1183463" y="790262"/>
                    <a:pt x="1182285" y="790800"/>
                  </a:cubicBezTo>
                  <a:cubicBezTo>
                    <a:pt x="1181074" y="791339"/>
                    <a:pt x="1177944" y="793828"/>
                    <a:pt x="1177944" y="793828"/>
                  </a:cubicBezTo>
                  <a:cubicBezTo>
                    <a:pt x="1177944" y="793828"/>
                    <a:pt x="1179257" y="796990"/>
                    <a:pt x="1179559" y="797293"/>
                  </a:cubicBezTo>
                  <a:cubicBezTo>
                    <a:pt x="1179896" y="797629"/>
                    <a:pt x="1178482" y="798605"/>
                    <a:pt x="1182487" y="798807"/>
                  </a:cubicBezTo>
                  <a:cubicBezTo>
                    <a:pt x="1186492" y="799009"/>
                    <a:pt x="1191608" y="798807"/>
                    <a:pt x="1191608" y="798807"/>
                  </a:cubicBezTo>
                  <a:lnTo>
                    <a:pt x="1194872" y="797158"/>
                  </a:lnTo>
                  <a:lnTo>
                    <a:pt x="1198238" y="798235"/>
                  </a:lnTo>
                  <a:lnTo>
                    <a:pt x="1200190" y="800623"/>
                  </a:lnTo>
                  <a:lnTo>
                    <a:pt x="1202916" y="802574"/>
                  </a:lnTo>
                  <a:cubicBezTo>
                    <a:pt x="1202916" y="802574"/>
                    <a:pt x="1206180" y="804256"/>
                    <a:pt x="1207257" y="804256"/>
                  </a:cubicBezTo>
                  <a:cubicBezTo>
                    <a:pt x="1208334" y="804256"/>
                    <a:pt x="1211498" y="805299"/>
                    <a:pt x="1211801" y="805299"/>
                  </a:cubicBezTo>
                  <a:cubicBezTo>
                    <a:pt x="1212104" y="805299"/>
                    <a:pt x="1214426" y="805299"/>
                    <a:pt x="1214426" y="805299"/>
                  </a:cubicBezTo>
                  <a:lnTo>
                    <a:pt x="1219305" y="807486"/>
                  </a:lnTo>
                  <a:lnTo>
                    <a:pt x="1221493" y="809773"/>
                  </a:lnTo>
                  <a:lnTo>
                    <a:pt x="1219305" y="812700"/>
                  </a:lnTo>
                  <a:lnTo>
                    <a:pt x="1220618" y="814651"/>
                  </a:lnTo>
                  <a:lnTo>
                    <a:pt x="1222806" y="817140"/>
                  </a:lnTo>
                  <a:lnTo>
                    <a:pt x="1224657" y="818755"/>
                  </a:lnTo>
                  <a:lnTo>
                    <a:pt x="1225532" y="821480"/>
                  </a:lnTo>
                  <a:cubicBezTo>
                    <a:pt x="1225532" y="821480"/>
                    <a:pt x="1224118" y="823768"/>
                    <a:pt x="1223445" y="825180"/>
                  </a:cubicBezTo>
                  <a:cubicBezTo>
                    <a:pt x="1222806" y="826593"/>
                    <a:pt x="1222267" y="828780"/>
                    <a:pt x="1222267" y="829183"/>
                  </a:cubicBezTo>
                  <a:cubicBezTo>
                    <a:pt x="1222267" y="829621"/>
                    <a:pt x="1221493" y="833758"/>
                    <a:pt x="1221493" y="833758"/>
                  </a:cubicBezTo>
                  <a:lnTo>
                    <a:pt x="1219642" y="837661"/>
                  </a:lnTo>
                  <a:lnTo>
                    <a:pt x="1217354" y="839073"/>
                  </a:lnTo>
                  <a:lnTo>
                    <a:pt x="1213551" y="840890"/>
                  </a:lnTo>
                  <a:lnTo>
                    <a:pt x="1213551" y="842639"/>
                  </a:lnTo>
                  <a:lnTo>
                    <a:pt x="1216916" y="847652"/>
                  </a:lnTo>
                  <a:lnTo>
                    <a:pt x="1220080" y="851016"/>
                  </a:lnTo>
                  <a:lnTo>
                    <a:pt x="1220012" y="851890"/>
                  </a:lnTo>
                  <a:lnTo>
                    <a:pt x="1220517" y="854716"/>
                  </a:lnTo>
                  <a:lnTo>
                    <a:pt x="1220517" y="856566"/>
                  </a:lnTo>
                  <a:cubicBezTo>
                    <a:pt x="1220517" y="856566"/>
                    <a:pt x="1220315" y="856196"/>
                    <a:pt x="1219305" y="856734"/>
                  </a:cubicBezTo>
                  <a:cubicBezTo>
                    <a:pt x="1218330" y="857272"/>
                    <a:pt x="1218094" y="857441"/>
                    <a:pt x="1216579" y="857441"/>
                  </a:cubicBezTo>
                  <a:cubicBezTo>
                    <a:pt x="1215065" y="857441"/>
                    <a:pt x="1213753" y="857441"/>
                    <a:pt x="1212676" y="857441"/>
                  </a:cubicBezTo>
                  <a:cubicBezTo>
                    <a:pt x="1211599" y="857441"/>
                    <a:pt x="1211127" y="857340"/>
                    <a:pt x="1210825" y="857441"/>
                  </a:cubicBezTo>
                  <a:cubicBezTo>
                    <a:pt x="1210488" y="857542"/>
                    <a:pt x="1210050" y="858753"/>
                    <a:pt x="1209512" y="859291"/>
                  </a:cubicBezTo>
                  <a:cubicBezTo>
                    <a:pt x="1208974" y="859829"/>
                    <a:pt x="1210286" y="858854"/>
                    <a:pt x="1208974" y="859829"/>
                  </a:cubicBezTo>
                  <a:cubicBezTo>
                    <a:pt x="1207661" y="860805"/>
                    <a:pt x="1206685" y="863294"/>
                    <a:pt x="1206685" y="863294"/>
                  </a:cubicBezTo>
                  <a:lnTo>
                    <a:pt x="1202983" y="862520"/>
                  </a:lnTo>
                  <a:lnTo>
                    <a:pt x="1200930" y="864438"/>
                  </a:lnTo>
                  <a:lnTo>
                    <a:pt x="1198978" y="866120"/>
                  </a:lnTo>
                  <a:lnTo>
                    <a:pt x="1197026" y="866120"/>
                  </a:lnTo>
                  <a:lnTo>
                    <a:pt x="1194098" y="863395"/>
                  </a:lnTo>
                  <a:lnTo>
                    <a:pt x="1190497" y="860670"/>
                  </a:lnTo>
                  <a:lnTo>
                    <a:pt x="1187435" y="858921"/>
                  </a:lnTo>
                  <a:lnTo>
                    <a:pt x="1185045" y="858046"/>
                  </a:lnTo>
                  <a:lnTo>
                    <a:pt x="1182117" y="855019"/>
                  </a:lnTo>
                  <a:lnTo>
                    <a:pt x="1180367" y="855120"/>
                  </a:lnTo>
                  <a:lnTo>
                    <a:pt x="1177910" y="857542"/>
                  </a:lnTo>
                  <a:lnTo>
                    <a:pt x="1175958" y="858315"/>
                  </a:lnTo>
                  <a:lnTo>
                    <a:pt x="1172694" y="859190"/>
                  </a:lnTo>
                  <a:lnTo>
                    <a:pt x="1171920" y="861242"/>
                  </a:lnTo>
                  <a:lnTo>
                    <a:pt x="1171920" y="863630"/>
                  </a:lnTo>
                  <a:cubicBezTo>
                    <a:pt x="1171920" y="863630"/>
                    <a:pt x="1173064" y="865043"/>
                    <a:pt x="1173266" y="865481"/>
                  </a:cubicBezTo>
                  <a:cubicBezTo>
                    <a:pt x="1173468" y="865918"/>
                    <a:pt x="1173636" y="867768"/>
                    <a:pt x="1173636" y="867768"/>
                  </a:cubicBezTo>
                  <a:lnTo>
                    <a:pt x="1173636" y="868844"/>
                  </a:lnTo>
                  <a:lnTo>
                    <a:pt x="1174612" y="871132"/>
                  </a:lnTo>
                  <a:lnTo>
                    <a:pt x="1175824" y="875270"/>
                  </a:lnTo>
                  <a:lnTo>
                    <a:pt x="1177338" y="877557"/>
                  </a:lnTo>
                  <a:lnTo>
                    <a:pt x="1175386" y="882065"/>
                  </a:lnTo>
                  <a:lnTo>
                    <a:pt x="1175958" y="887279"/>
                  </a:lnTo>
                  <a:cubicBezTo>
                    <a:pt x="1175958" y="887279"/>
                    <a:pt x="1177540" y="893368"/>
                    <a:pt x="1177978" y="893502"/>
                  </a:cubicBezTo>
                  <a:cubicBezTo>
                    <a:pt x="1178415" y="893637"/>
                    <a:pt x="1178685" y="896261"/>
                    <a:pt x="1178685" y="896261"/>
                  </a:cubicBezTo>
                  <a:lnTo>
                    <a:pt x="1178987" y="899019"/>
                  </a:lnTo>
                  <a:lnTo>
                    <a:pt x="1178281" y="901778"/>
                  </a:lnTo>
                  <a:lnTo>
                    <a:pt x="1177708" y="905243"/>
                  </a:lnTo>
                  <a:lnTo>
                    <a:pt x="1176564" y="909010"/>
                  </a:lnTo>
                  <a:lnTo>
                    <a:pt x="1175992" y="910760"/>
                  </a:lnTo>
                  <a:lnTo>
                    <a:pt x="1174982" y="913821"/>
                  </a:lnTo>
                  <a:cubicBezTo>
                    <a:pt x="1174982" y="913821"/>
                    <a:pt x="1174410" y="915133"/>
                    <a:pt x="1173973" y="915570"/>
                  </a:cubicBezTo>
                  <a:cubicBezTo>
                    <a:pt x="1173535" y="916007"/>
                    <a:pt x="1172829" y="916714"/>
                    <a:pt x="1172829" y="916714"/>
                  </a:cubicBezTo>
                  <a:lnTo>
                    <a:pt x="1171079" y="916714"/>
                  </a:lnTo>
                  <a:cubicBezTo>
                    <a:pt x="1171079" y="916714"/>
                    <a:pt x="1170069" y="916142"/>
                    <a:pt x="1169497" y="915839"/>
                  </a:cubicBezTo>
                  <a:cubicBezTo>
                    <a:pt x="1168925" y="915536"/>
                    <a:pt x="1167309" y="913821"/>
                    <a:pt x="1167309" y="913821"/>
                  </a:cubicBezTo>
                  <a:lnTo>
                    <a:pt x="1166165" y="912946"/>
                  </a:lnTo>
                  <a:lnTo>
                    <a:pt x="1164718" y="910188"/>
                  </a:lnTo>
                  <a:cubicBezTo>
                    <a:pt x="1164718" y="910188"/>
                    <a:pt x="1165425" y="909178"/>
                    <a:pt x="1164718" y="908169"/>
                  </a:cubicBezTo>
                  <a:cubicBezTo>
                    <a:pt x="1163977" y="907160"/>
                    <a:pt x="1163405" y="908035"/>
                    <a:pt x="1162968" y="906151"/>
                  </a:cubicBezTo>
                  <a:cubicBezTo>
                    <a:pt x="1162530" y="904267"/>
                    <a:pt x="1161958" y="902821"/>
                    <a:pt x="1161958" y="902821"/>
                  </a:cubicBezTo>
                  <a:lnTo>
                    <a:pt x="1160814" y="900062"/>
                  </a:lnTo>
                  <a:lnTo>
                    <a:pt x="1159232" y="898044"/>
                  </a:lnTo>
                  <a:lnTo>
                    <a:pt x="1156102" y="897169"/>
                  </a:lnTo>
                  <a:lnTo>
                    <a:pt x="1154588" y="896597"/>
                  </a:lnTo>
                  <a:lnTo>
                    <a:pt x="1154588" y="896732"/>
                  </a:lnTo>
                  <a:lnTo>
                    <a:pt x="1151121" y="896025"/>
                  </a:lnTo>
                  <a:lnTo>
                    <a:pt x="1149237" y="896900"/>
                  </a:lnTo>
                  <a:lnTo>
                    <a:pt x="1148496" y="898481"/>
                  </a:lnTo>
                  <a:lnTo>
                    <a:pt x="1147352" y="899625"/>
                  </a:lnTo>
                  <a:lnTo>
                    <a:pt x="1145030" y="900499"/>
                  </a:lnTo>
                  <a:cubicBezTo>
                    <a:pt x="1145030" y="900499"/>
                    <a:pt x="1143953" y="900499"/>
                    <a:pt x="1143650" y="898481"/>
                  </a:cubicBezTo>
                  <a:cubicBezTo>
                    <a:pt x="1143381" y="896463"/>
                    <a:pt x="1142405" y="895588"/>
                    <a:pt x="1142405" y="895588"/>
                  </a:cubicBezTo>
                  <a:lnTo>
                    <a:pt x="1142405" y="893267"/>
                  </a:lnTo>
                  <a:lnTo>
                    <a:pt x="1143112" y="891080"/>
                  </a:lnTo>
                  <a:lnTo>
                    <a:pt x="1142977" y="888894"/>
                  </a:lnTo>
                  <a:lnTo>
                    <a:pt x="1140285" y="886068"/>
                  </a:lnTo>
                  <a:lnTo>
                    <a:pt x="1134563" y="882233"/>
                  </a:lnTo>
                  <a:lnTo>
                    <a:pt x="1127900" y="879340"/>
                  </a:lnTo>
                  <a:cubicBezTo>
                    <a:pt x="1127900" y="879340"/>
                    <a:pt x="1125275" y="878465"/>
                    <a:pt x="1124433" y="878196"/>
                  </a:cubicBezTo>
                  <a:cubicBezTo>
                    <a:pt x="1123558" y="877894"/>
                    <a:pt x="1115448" y="873790"/>
                    <a:pt x="1115448" y="873790"/>
                  </a:cubicBezTo>
                  <a:cubicBezTo>
                    <a:pt x="1115448" y="873790"/>
                    <a:pt x="1114303" y="868946"/>
                    <a:pt x="1114000" y="867768"/>
                  </a:cubicBezTo>
                  <a:cubicBezTo>
                    <a:pt x="1113697" y="866624"/>
                    <a:pt x="1111981" y="863698"/>
                    <a:pt x="1111981" y="863698"/>
                  </a:cubicBezTo>
                  <a:lnTo>
                    <a:pt x="1113428" y="862554"/>
                  </a:lnTo>
                  <a:lnTo>
                    <a:pt x="1114000" y="859358"/>
                  </a:lnTo>
                  <a:lnTo>
                    <a:pt x="1114303" y="857912"/>
                  </a:lnTo>
                  <a:cubicBezTo>
                    <a:pt x="1114303" y="857912"/>
                    <a:pt x="1114606" y="857609"/>
                    <a:pt x="1111981" y="857037"/>
                  </a:cubicBezTo>
                  <a:cubicBezTo>
                    <a:pt x="1109390" y="856465"/>
                    <a:pt x="1105015" y="855893"/>
                    <a:pt x="1105015" y="855893"/>
                  </a:cubicBezTo>
                  <a:lnTo>
                    <a:pt x="1101548" y="855893"/>
                  </a:lnTo>
                  <a:lnTo>
                    <a:pt x="1099529" y="856768"/>
                  </a:lnTo>
                  <a:lnTo>
                    <a:pt x="1097510" y="857071"/>
                  </a:lnTo>
                  <a:lnTo>
                    <a:pt x="1092596" y="855624"/>
                  </a:lnTo>
                  <a:lnTo>
                    <a:pt x="1089971" y="854749"/>
                  </a:lnTo>
                  <a:lnTo>
                    <a:pt x="1089433" y="852664"/>
                  </a:lnTo>
                  <a:lnTo>
                    <a:pt x="1088120" y="850477"/>
                  </a:lnTo>
                  <a:cubicBezTo>
                    <a:pt x="1088120" y="850477"/>
                    <a:pt x="1086774" y="849199"/>
                    <a:pt x="1086606" y="849199"/>
                  </a:cubicBezTo>
                  <a:cubicBezTo>
                    <a:pt x="1086437" y="849199"/>
                    <a:pt x="1085091" y="848661"/>
                    <a:pt x="1084586" y="848493"/>
                  </a:cubicBezTo>
                  <a:cubicBezTo>
                    <a:pt x="1084081" y="848358"/>
                    <a:pt x="1082769" y="847786"/>
                    <a:pt x="1082634" y="847719"/>
                  </a:cubicBezTo>
                  <a:cubicBezTo>
                    <a:pt x="1082500" y="847685"/>
                    <a:pt x="1080952" y="846945"/>
                    <a:pt x="1081187" y="846373"/>
                  </a:cubicBezTo>
                  <a:cubicBezTo>
                    <a:pt x="1081389" y="845801"/>
                    <a:pt x="1081860" y="845162"/>
                    <a:pt x="1081995" y="844826"/>
                  </a:cubicBezTo>
                  <a:cubicBezTo>
                    <a:pt x="1082096" y="844456"/>
                    <a:pt x="1081658" y="843278"/>
                    <a:pt x="1081456" y="843043"/>
                  </a:cubicBezTo>
                  <a:cubicBezTo>
                    <a:pt x="1081255" y="842841"/>
                    <a:pt x="1079471" y="841462"/>
                    <a:pt x="1078932" y="841058"/>
                  </a:cubicBezTo>
                  <a:cubicBezTo>
                    <a:pt x="1078394" y="840654"/>
                    <a:pt x="1077216" y="839410"/>
                    <a:pt x="1077149" y="839242"/>
                  </a:cubicBezTo>
                  <a:cubicBezTo>
                    <a:pt x="1077081" y="839107"/>
                    <a:pt x="1076846" y="837930"/>
                    <a:pt x="1076846" y="837930"/>
                  </a:cubicBezTo>
                  <a:cubicBezTo>
                    <a:pt x="1076846" y="837930"/>
                    <a:pt x="1076644" y="835878"/>
                    <a:pt x="1076846" y="835676"/>
                  </a:cubicBezTo>
                  <a:cubicBezTo>
                    <a:pt x="1077081" y="835508"/>
                    <a:pt x="1077182" y="833725"/>
                    <a:pt x="1077216" y="833422"/>
                  </a:cubicBezTo>
                  <a:cubicBezTo>
                    <a:pt x="1077250" y="833119"/>
                    <a:pt x="1077283" y="830933"/>
                    <a:pt x="1077283" y="830933"/>
                  </a:cubicBezTo>
                  <a:lnTo>
                    <a:pt x="1079706" y="828746"/>
                  </a:lnTo>
                  <a:lnTo>
                    <a:pt x="1081423" y="827771"/>
                  </a:lnTo>
                  <a:lnTo>
                    <a:pt x="1082803" y="826122"/>
                  </a:lnTo>
                  <a:cubicBezTo>
                    <a:pt x="1082803" y="826122"/>
                    <a:pt x="1083004" y="824608"/>
                    <a:pt x="1083004" y="824440"/>
                  </a:cubicBezTo>
                  <a:cubicBezTo>
                    <a:pt x="1083004" y="824306"/>
                    <a:pt x="1083173" y="822994"/>
                    <a:pt x="1083274" y="822859"/>
                  </a:cubicBezTo>
                  <a:cubicBezTo>
                    <a:pt x="1083341" y="822725"/>
                    <a:pt x="1084856" y="821648"/>
                    <a:pt x="1085192" y="821648"/>
                  </a:cubicBezTo>
                  <a:cubicBezTo>
                    <a:pt x="1085529" y="821648"/>
                    <a:pt x="1086370" y="821211"/>
                    <a:pt x="1087077" y="820874"/>
                  </a:cubicBezTo>
                  <a:cubicBezTo>
                    <a:pt x="1087784" y="820538"/>
                    <a:pt x="1088827" y="819899"/>
                    <a:pt x="1089365" y="819865"/>
                  </a:cubicBezTo>
                  <a:cubicBezTo>
                    <a:pt x="1089904" y="819832"/>
                    <a:pt x="1092495" y="815627"/>
                    <a:pt x="1092495" y="815627"/>
                  </a:cubicBezTo>
                  <a:lnTo>
                    <a:pt x="1094010" y="813373"/>
                  </a:lnTo>
                  <a:lnTo>
                    <a:pt x="1093909" y="811354"/>
                  </a:lnTo>
                  <a:lnTo>
                    <a:pt x="1093505" y="806914"/>
                  </a:lnTo>
                  <a:lnTo>
                    <a:pt x="1094649" y="801061"/>
                  </a:lnTo>
                  <a:lnTo>
                    <a:pt x="1093505" y="795846"/>
                  </a:lnTo>
                  <a:lnTo>
                    <a:pt x="1092764" y="786562"/>
                  </a:lnTo>
                  <a:lnTo>
                    <a:pt x="1089870" y="778758"/>
                  </a:lnTo>
                  <a:lnTo>
                    <a:pt x="1087110" y="772232"/>
                  </a:lnTo>
                  <a:lnTo>
                    <a:pt x="1086505" y="768027"/>
                  </a:lnTo>
                  <a:lnTo>
                    <a:pt x="1083577" y="765739"/>
                  </a:lnTo>
                  <a:lnTo>
                    <a:pt x="1080985" y="765537"/>
                  </a:lnTo>
                  <a:lnTo>
                    <a:pt x="1077283" y="765100"/>
                  </a:lnTo>
                  <a:lnTo>
                    <a:pt x="1074019" y="764023"/>
                  </a:lnTo>
                  <a:lnTo>
                    <a:pt x="1072168" y="761433"/>
                  </a:lnTo>
                  <a:lnTo>
                    <a:pt x="1071629" y="758170"/>
                  </a:lnTo>
                  <a:lnTo>
                    <a:pt x="1072168" y="754907"/>
                  </a:lnTo>
                  <a:lnTo>
                    <a:pt x="1071629" y="751644"/>
                  </a:lnTo>
                  <a:lnTo>
                    <a:pt x="1073043" y="746968"/>
                  </a:lnTo>
                  <a:lnTo>
                    <a:pt x="1074355" y="745454"/>
                  </a:lnTo>
                  <a:cubicBezTo>
                    <a:pt x="1074355" y="745454"/>
                    <a:pt x="1074557" y="743604"/>
                    <a:pt x="1075668" y="743066"/>
                  </a:cubicBezTo>
                  <a:cubicBezTo>
                    <a:pt x="1076745" y="742528"/>
                    <a:pt x="1078495" y="741754"/>
                    <a:pt x="1078495" y="741754"/>
                  </a:cubicBezTo>
                  <a:lnTo>
                    <a:pt x="1079370" y="741418"/>
                  </a:lnTo>
                  <a:cubicBezTo>
                    <a:pt x="1079370" y="741418"/>
                    <a:pt x="1080245" y="740980"/>
                    <a:pt x="1080884" y="740442"/>
                  </a:cubicBezTo>
                  <a:cubicBezTo>
                    <a:pt x="1081524" y="739904"/>
                    <a:pt x="1082634" y="738592"/>
                    <a:pt x="1082634" y="738592"/>
                  </a:cubicBezTo>
                  <a:cubicBezTo>
                    <a:pt x="1082634" y="738592"/>
                    <a:pt x="1083173" y="737078"/>
                    <a:pt x="1083274" y="736641"/>
                  </a:cubicBezTo>
                  <a:cubicBezTo>
                    <a:pt x="1083375" y="736203"/>
                    <a:pt x="1083476" y="734252"/>
                    <a:pt x="1083476" y="733815"/>
                  </a:cubicBezTo>
                  <a:cubicBezTo>
                    <a:pt x="1083476" y="733378"/>
                    <a:pt x="1083711" y="731527"/>
                    <a:pt x="1083375" y="731225"/>
                  </a:cubicBezTo>
                  <a:cubicBezTo>
                    <a:pt x="1083038" y="730888"/>
                    <a:pt x="1081086" y="727962"/>
                    <a:pt x="1081086" y="727962"/>
                  </a:cubicBezTo>
                  <a:lnTo>
                    <a:pt x="1079235" y="724362"/>
                  </a:lnTo>
                  <a:lnTo>
                    <a:pt x="1076610" y="721738"/>
                  </a:lnTo>
                  <a:cubicBezTo>
                    <a:pt x="1076610" y="721738"/>
                    <a:pt x="1075399" y="721301"/>
                    <a:pt x="1074995" y="721301"/>
                  </a:cubicBezTo>
                  <a:cubicBezTo>
                    <a:pt x="1074557" y="721301"/>
                    <a:pt x="1071629" y="720426"/>
                    <a:pt x="1071629" y="720426"/>
                  </a:cubicBezTo>
                  <a:lnTo>
                    <a:pt x="1068802" y="719888"/>
                  </a:lnTo>
                  <a:lnTo>
                    <a:pt x="1067725" y="718273"/>
                  </a:lnTo>
                  <a:lnTo>
                    <a:pt x="1066548" y="714472"/>
                  </a:lnTo>
                  <a:lnTo>
                    <a:pt x="1064797" y="711209"/>
                  </a:lnTo>
                  <a:lnTo>
                    <a:pt x="1063485" y="708922"/>
                  </a:lnTo>
                  <a:lnTo>
                    <a:pt x="1061196" y="706197"/>
                  </a:lnTo>
                  <a:lnTo>
                    <a:pt x="1059244" y="704246"/>
                  </a:lnTo>
                  <a:lnTo>
                    <a:pt x="1056653" y="703270"/>
                  </a:lnTo>
                  <a:lnTo>
                    <a:pt x="1051235" y="703068"/>
                  </a:lnTo>
                  <a:lnTo>
                    <a:pt x="1049485" y="702194"/>
                  </a:lnTo>
                  <a:lnTo>
                    <a:pt x="1047533" y="700108"/>
                  </a:lnTo>
                  <a:cubicBezTo>
                    <a:pt x="1047533" y="700108"/>
                    <a:pt x="1047970" y="699099"/>
                    <a:pt x="1047970" y="698796"/>
                  </a:cubicBezTo>
                  <a:cubicBezTo>
                    <a:pt x="1047970" y="698493"/>
                    <a:pt x="1047533" y="697148"/>
                    <a:pt x="1047533" y="697148"/>
                  </a:cubicBezTo>
                  <a:cubicBezTo>
                    <a:pt x="1047533" y="697148"/>
                    <a:pt x="1045850" y="695903"/>
                    <a:pt x="1045076" y="695163"/>
                  </a:cubicBezTo>
                  <a:cubicBezTo>
                    <a:pt x="1044268" y="694457"/>
                    <a:pt x="1042754" y="692775"/>
                    <a:pt x="1042686" y="692472"/>
                  </a:cubicBezTo>
                  <a:cubicBezTo>
                    <a:pt x="1042619" y="692169"/>
                    <a:pt x="1042350" y="689579"/>
                    <a:pt x="1042350" y="689579"/>
                  </a:cubicBezTo>
                  <a:lnTo>
                    <a:pt x="1041643" y="685677"/>
                  </a:lnTo>
                  <a:lnTo>
                    <a:pt x="1041643" y="682851"/>
                  </a:lnTo>
                  <a:lnTo>
                    <a:pt x="1040129" y="682044"/>
                  </a:lnTo>
                  <a:lnTo>
                    <a:pt x="1037167" y="681976"/>
                  </a:lnTo>
                  <a:lnTo>
                    <a:pt x="1033835" y="681976"/>
                  </a:lnTo>
                  <a:lnTo>
                    <a:pt x="1030705" y="681236"/>
                  </a:lnTo>
                  <a:cubicBezTo>
                    <a:pt x="1030705" y="681236"/>
                    <a:pt x="1029393" y="681169"/>
                    <a:pt x="1029124" y="681236"/>
                  </a:cubicBezTo>
                  <a:cubicBezTo>
                    <a:pt x="1028821" y="681304"/>
                    <a:pt x="1027441" y="681203"/>
                    <a:pt x="1027441" y="681203"/>
                  </a:cubicBezTo>
                  <a:lnTo>
                    <a:pt x="1023268" y="680227"/>
                  </a:lnTo>
                  <a:lnTo>
                    <a:pt x="1021316" y="677502"/>
                  </a:lnTo>
                  <a:lnTo>
                    <a:pt x="1020777" y="675652"/>
                  </a:lnTo>
                  <a:lnTo>
                    <a:pt x="1020777" y="674138"/>
                  </a:lnTo>
                  <a:lnTo>
                    <a:pt x="1023369" y="672625"/>
                  </a:lnTo>
                  <a:lnTo>
                    <a:pt x="1024883" y="671548"/>
                  </a:lnTo>
                  <a:lnTo>
                    <a:pt x="1028585" y="671548"/>
                  </a:lnTo>
                  <a:lnTo>
                    <a:pt x="1032052" y="671548"/>
                  </a:lnTo>
                  <a:lnTo>
                    <a:pt x="1033801" y="670371"/>
                  </a:lnTo>
                  <a:lnTo>
                    <a:pt x="1035552" y="669395"/>
                  </a:lnTo>
                  <a:lnTo>
                    <a:pt x="1038379" y="668083"/>
                  </a:lnTo>
                  <a:cubicBezTo>
                    <a:pt x="1038379" y="668083"/>
                    <a:pt x="1039422" y="667108"/>
                    <a:pt x="1039422" y="666771"/>
                  </a:cubicBezTo>
                  <a:cubicBezTo>
                    <a:pt x="1039422" y="666435"/>
                    <a:pt x="1039893" y="665258"/>
                    <a:pt x="1039893" y="664820"/>
                  </a:cubicBezTo>
                  <a:cubicBezTo>
                    <a:pt x="1039893" y="664383"/>
                    <a:pt x="1039893" y="661994"/>
                    <a:pt x="1039893" y="661994"/>
                  </a:cubicBezTo>
                  <a:lnTo>
                    <a:pt x="1039253" y="660245"/>
                  </a:lnTo>
                  <a:cubicBezTo>
                    <a:pt x="1039253" y="660245"/>
                    <a:pt x="1038715" y="659371"/>
                    <a:pt x="1037739" y="659371"/>
                  </a:cubicBezTo>
                  <a:cubicBezTo>
                    <a:pt x="1036763" y="659371"/>
                    <a:pt x="1035552" y="659371"/>
                    <a:pt x="1035552" y="659371"/>
                  </a:cubicBezTo>
                  <a:lnTo>
                    <a:pt x="1032052" y="659371"/>
                  </a:lnTo>
                  <a:lnTo>
                    <a:pt x="1025085" y="659371"/>
                  </a:lnTo>
                  <a:lnTo>
                    <a:pt x="1019869" y="659371"/>
                  </a:lnTo>
                  <a:cubicBezTo>
                    <a:pt x="1019869" y="659371"/>
                    <a:pt x="1013138" y="659471"/>
                    <a:pt x="1012700" y="659371"/>
                  </a:cubicBezTo>
                  <a:cubicBezTo>
                    <a:pt x="1012263" y="659270"/>
                    <a:pt x="1008359" y="659909"/>
                    <a:pt x="1006945" y="659371"/>
                  </a:cubicBezTo>
                  <a:cubicBezTo>
                    <a:pt x="1005532" y="658832"/>
                    <a:pt x="1001628" y="657958"/>
                    <a:pt x="1000753" y="658059"/>
                  </a:cubicBezTo>
                  <a:cubicBezTo>
                    <a:pt x="999878" y="658159"/>
                    <a:pt x="997825" y="658462"/>
                    <a:pt x="996714" y="658059"/>
                  </a:cubicBezTo>
                  <a:cubicBezTo>
                    <a:pt x="995637" y="657621"/>
                    <a:pt x="993012" y="656175"/>
                    <a:pt x="993012" y="656175"/>
                  </a:cubicBezTo>
                  <a:lnTo>
                    <a:pt x="990825" y="652441"/>
                  </a:lnTo>
                  <a:lnTo>
                    <a:pt x="986752" y="652441"/>
                  </a:lnTo>
                  <a:lnTo>
                    <a:pt x="984026" y="656578"/>
                  </a:lnTo>
                  <a:lnTo>
                    <a:pt x="981738" y="655266"/>
                  </a:lnTo>
                  <a:cubicBezTo>
                    <a:pt x="981738" y="655266"/>
                    <a:pt x="977969" y="653517"/>
                    <a:pt x="977767" y="653450"/>
                  </a:cubicBezTo>
                  <a:cubicBezTo>
                    <a:pt x="977565" y="653383"/>
                    <a:pt x="972617" y="650422"/>
                    <a:pt x="972617" y="650422"/>
                  </a:cubicBezTo>
                  <a:cubicBezTo>
                    <a:pt x="972617" y="650422"/>
                    <a:pt x="966963" y="644771"/>
                    <a:pt x="965887" y="643694"/>
                  </a:cubicBezTo>
                  <a:cubicBezTo>
                    <a:pt x="964810" y="642618"/>
                    <a:pt x="957204" y="635217"/>
                    <a:pt x="956901" y="634915"/>
                  </a:cubicBezTo>
                  <a:cubicBezTo>
                    <a:pt x="956598" y="634612"/>
                    <a:pt x="948117" y="624789"/>
                    <a:pt x="948117" y="624789"/>
                  </a:cubicBezTo>
                  <a:lnTo>
                    <a:pt x="947040" y="620450"/>
                  </a:lnTo>
                  <a:lnTo>
                    <a:pt x="942396" y="616110"/>
                  </a:lnTo>
                  <a:cubicBezTo>
                    <a:pt x="942396" y="616110"/>
                    <a:pt x="938929" y="614663"/>
                    <a:pt x="938323" y="614361"/>
                  </a:cubicBezTo>
                  <a:cubicBezTo>
                    <a:pt x="937751" y="614058"/>
                    <a:pt x="930785" y="612174"/>
                    <a:pt x="930213" y="611602"/>
                  </a:cubicBezTo>
                  <a:cubicBezTo>
                    <a:pt x="929641" y="611030"/>
                    <a:pt x="925871" y="608978"/>
                    <a:pt x="925299" y="608978"/>
                  </a:cubicBezTo>
                  <a:cubicBezTo>
                    <a:pt x="924727" y="608978"/>
                    <a:pt x="920655" y="608978"/>
                    <a:pt x="920655" y="608978"/>
                  </a:cubicBezTo>
                  <a:lnTo>
                    <a:pt x="916010" y="606960"/>
                  </a:lnTo>
                  <a:cubicBezTo>
                    <a:pt x="916010" y="606960"/>
                    <a:pt x="916448" y="605345"/>
                    <a:pt x="916010" y="604639"/>
                  </a:cubicBezTo>
                  <a:cubicBezTo>
                    <a:pt x="915573" y="603899"/>
                    <a:pt x="916448" y="601443"/>
                    <a:pt x="916010" y="600871"/>
                  </a:cubicBezTo>
                  <a:cubicBezTo>
                    <a:pt x="915573" y="600299"/>
                    <a:pt x="916179" y="598415"/>
                    <a:pt x="915876" y="597675"/>
                  </a:cubicBezTo>
                  <a:cubicBezTo>
                    <a:pt x="915573" y="596969"/>
                    <a:pt x="915573" y="595657"/>
                    <a:pt x="914698" y="594210"/>
                  </a:cubicBezTo>
                  <a:cubicBezTo>
                    <a:pt x="913823" y="592764"/>
                    <a:pt x="912948" y="590746"/>
                    <a:pt x="912948" y="590746"/>
                  </a:cubicBezTo>
                  <a:cubicBezTo>
                    <a:pt x="912948" y="590746"/>
                    <a:pt x="912376" y="587987"/>
                    <a:pt x="912376" y="587550"/>
                  </a:cubicBezTo>
                  <a:cubicBezTo>
                    <a:pt x="912376" y="587113"/>
                    <a:pt x="912510" y="584489"/>
                    <a:pt x="912376" y="583917"/>
                  </a:cubicBezTo>
                  <a:cubicBezTo>
                    <a:pt x="912241" y="583345"/>
                    <a:pt x="912376" y="579443"/>
                    <a:pt x="912376" y="579443"/>
                  </a:cubicBezTo>
                  <a:lnTo>
                    <a:pt x="912308" y="578804"/>
                  </a:lnTo>
                  <a:lnTo>
                    <a:pt x="914126" y="575978"/>
                  </a:lnTo>
                  <a:lnTo>
                    <a:pt x="918905" y="575978"/>
                  </a:lnTo>
                  <a:lnTo>
                    <a:pt x="921059" y="575978"/>
                  </a:lnTo>
                  <a:lnTo>
                    <a:pt x="924121" y="575978"/>
                  </a:lnTo>
                  <a:lnTo>
                    <a:pt x="926746" y="577424"/>
                  </a:lnTo>
                  <a:lnTo>
                    <a:pt x="929641" y="575978"/>
                  </a:lnTo>
                  <a:cubicBezTo>
                    <a:pt x="929641" y="575978"/>
                    <a:pt x="930213" y="573960"/>
                    <a:pt x="930213" y="573354"/>
                  </a:cubicBezTo>
                  <a:cubicBezTo>
                    <a:pt x="930213" y="572782"/>
                    <a:pt x="930213" y="569889"/>
                    <a:pt x="930213" y="569889"/>
                  </a:cubicBezTo>
                  <a:lnTo>
                    <a:pt x="929641" y="562051"/>
                  </a:lnTo>
                  <a:lnTo>
                    <a:pt x="929775" y="559730"/>
                  </a:lnTo>
                  <a:lnTo>
                    <a:pt x="928631" y="558283"/>
                  </a:lnTo>
                  <a:lnTo>
                    <a:pt x="928496" y="557106"/>
                  </a:lnTo>
                  <a:cubicBezTo>
                    <a:pt x="928496" y="557106"/>
                    <a:pt x="929068" y="556097"/>
                    <a:pt x="929237" y="555660"/>
                  </a:cubicBezTo>
                  <a:cubicBezTo>
                    <a:pt x="929371" y="555222"/>
                    <a:pt x="930246" y="553776"/>
                    <a:pt x="930246" y="553776"/>
                  </a:cubicBezTo>
                  <a:lnTo>
                    <a:pt x="930246" y="552464"/>
                  </a:lnTo>
                  <a:cubicBezTo>
                    <a:pt x="930246" y="552464"/>
                    <a:pt x="929674" y="550445"/>
                    <a:pt x="929506" y="549840"/>
                  </a:cubicBezTo>
                  <a:cubicBezTo>
                    <a:pt x="929371" y="549268"/>
                    <a:pt x="927318" y="547149"/>
                    <a:pt x="926881" y="546577"/>
                  </a:cubicBezTo>
                  <a:cubicBezTo>
                    <a:pt x="926443" y="546005"/>
                    <a:pt x="923549" y="544626"/>
                    <a:pt x="923549" y="544626"/>
                  </a:cubicBezTo>
                  <a:lnTo>
                    <a:pt x="920655" y="544626"/>
                  </a:lnTo>
                  <a:lnTo>
                    <a:pt x="919713" y="542843"/>
                  </a:lnTo>
                  <a:cubicBezTo>
                    <a:pt x="919713" y="542843"/>
                    <a:pt x="919713" y="542204"/>
                    <a:pt x="919780" y="542136"/>
                  </a:cubicBezTo>
                  <a:cubicBezTo>
                    <a:pt x="919881" y="542069"/>
                    <a:pt x="920688" y="541228"/>
                    <a:pt x="920890" y="541127"/>
                  </a:cubicBezTo>
                  <a:cubicBezTo>
                    <a:pt x="921092" y="541026"/>
                    <a:pt x="922439" y="540354"/>
                    <a:pt x="922775" y="540219"/>
                  </a:cubicBezTo>
                  <a:cubicBezTo>
                    <a:pt x="923112" y="540084"/>
                    <a:pt x="926645" y="538268"/>
                    <a:pt x="926645" y="538268"/>
                  </a:cubicBezTo>
                  <a:lnTo>
                    <a:pt x="938559" y="533222"/>
                  </a:lnTo>
                  <a:lnTo>
                    <a:pt x="947679" y="528109"/>
                  </a:lnTo>
                  <a:cubicBezTo>
                    <a:pt x="947679" y="528109"/>
                    <a:pt x="957136" y="523668"/>
                    <a:pt x="957473" y="523332"/>
                  </a:cubicBezTo>
                  <a:cubicBezTo>
                    <a:pt x="957810" y="522995"/>
                    <a:pt x="961613" y="520304"/>
                    <a:pt x="962353" y="519430"/>
                  </a:cubicBezTo>
                  <a:cubicBezTo>
                    <a:pt x="963127" y="518555"/>
                    <a:pt x="967367" y="513038"/>
                    <a:pt x="967367" y="513038"/>
                  </a:cubicBezTo>
                  <a:lnTo>
                    <a:pt x="969319" y="506411"/>
                  </a:lnTo>
                  <a:lnTo>
                    <a:pt x="973021" y="500423"/>
                  </a:lnTo>
                  <a:cubicBezTo>
                    <a:pt x="973021" y="500423"/>
                    <a:pt x="974233" y="497261"/>
                    <a:pt x="974771" y="496958"/>
                  </a:cubicBezTo>
                  <a:cubicBezTo>
                    <a:pt x="975310" y="496622"/>
                    <a:pt x="979449" y="495781"/>
                    <a:pt x="979449" y="495781"/>
                  </a:cubicBezTo>
                  <a:lnTo>
                    <a:pt x="980762" y="493393"/>
                  </a:lnTo>
                  <a:lnTo>
                    <a:pt x="984666" y="489490"/>
                  </a:lnTo>
                  <a:cubicBezTo>
                    <a:pt x="984666" y="489490"/>
                    <a:pt x="984767" y="487876"/>
                    <a:pt x="985204" y="487539"/>
                  </a:cubicBezTo>
                  <a:cubicBezTo>
                    <a:pt x="985642" y="487203"/>
                    <a:pt x="988368" y="484613"/>
                    <a:pt x="988772" y="484276"/>
                  </a:cubicBezTo>
                  <a:cubicBezTo>
                    <a:pt x="989209" y="483940"/>
                    <a:pt x="991801" y="482325"/>
                    <a:pt x="992238" y="482224"/>
                  </a:cubicBezTo>
                  <a:cubicBezTo>
                    <a:pt x="992676" y="482123"/>
                    <a:pt x="994089" y="479399"/>
                    <a:pt x="994089" y="479399"/>
                  </a:cubicBezTo>
                  <a:cubicBezTo>
                    <a:pt x="994089" y="479399"/>
                    <a:pt x="994089" y="474723"/>
                    <a:pt x="993988" y="474285"/>
                  </a:cubicBezTo>
                  <a:cubicBezTo>
                    <a:pt x="993887" y="473848"/>
                    <a:pt x="992911" y="469845"/>
                    <a:pt x="992911" y="469509"/>
                  </a:cubicBezTo>
                  <a:cubicBezTo>
                    <a:pt x="992911" y="469172"/>
                    <a:pt x="992373" y="463756"/>
                    <a:pt x="992373" y="463756"/>
                  </a:cubicBezTo>
                  <a:cubicBezTo>
                    <a:pt x="992373" y="463756"/>
                    <a:pt x="990623" y="461132"/>
                    <a:pt x="990084" y="460594"/>
                  </a:cubicBezTo>
                  <a:cubicBezTo>
                    <a:pt x="989546" y="460056"/>
                    <a:pt x="987358" y="456456"/>
                    <a:pt x="987358" y="456456"/>
                  </a:cubicBezTo>
                  <a:lnTo>
                    <a:pt x="986483" y="453530"/>
                  </a:lnTo>
                  <a:lnTo>
                    <a:pt x="985945" y="451478"/>
                  </a:lnTo>
                  <a:lnTo>
                    <a:pt x="983555" y="447575"/>
                  </a:lnTo>
                  <a:cubicBezTo>
                    <a:pt x="983555" y="447575"/>
                    <a:pt x="982142" y="445826"/>
                    <a:pt x="982142" y="445523"/>
                  </a:cubicBezTo>
                  <a:cubicBezTo>
                    <a:pt x="982142" y="445187"/>
                    <a:pt x="982916" y="442899"/>
                    <a:pt x="983993" y="442159"/>
                  </a:cubicBezTo>
                  <a:cubicBezTo>
                    <a:pt x="985070" y="441386"/>
                    <a:pt x="985945" y="439771"/>
                    <a:pt x="985945" y="439771"/>
                  </a:cubicBezTo>
                  <a:cubicBezTo>
                    <a:pt x="985945" y="439771"/>
                    <a:pt x="986820" y="439334"/>
                    <a:pt x="986921" y="438694"/>
                  </a:cubicBezTo>
                  <a:cubicBezTo>
                    <a:pt x="987022" y="438055"/>
                    <a:pt x="987022" y="435970"/>
                    <a:pt x="987022" y="435970"/>
                  </a:cubicBezTo>
                  <a:cubicBezTo>
                    <a:pt x="987022" y="435970"/>
                    <a:pt x="984632" y="433783"/>
                    <a:pt x="984195" y="433144"/>
                  </a:cubicBezTo>
                  <a:cubicBezTo>
                    <a:pt x="983757" y="432505"/>
                    <a:pt x="983118" y="430554"/>
                    <a:pt x="980594" y="429444"/>
                  </a:cubicBezTo>
                  <a:cubicBezTo>
                    <a:pt x="978103" y="428367"/>
                    <a:pt x="976992" y="427694"/>
                    <a:pt x="976555" y="427493"/>
                  </a:cubicBezTo>
                  <a:cubicBezTo>
                    <a:pt x="976118" y="427291"/>
                    <a:pt x="973526" y="426517"/>
                    <a:pt x="972416" y="426517"/>
                  </a:cubicBezTo>
                  <a:cubicBezTo>
                    <a:pt x="971339" y="426517"/>
                    <a:pt x="967536" y="426517"/>
                    <a:pt x="967536" y="426517"/>
                  </a:cubicBezTo>
                  <a:cubicBezTo>
                    <a:pt x="967536" y="426517"/>
                    <a:pt x="964507" y="426080"/>
                    <a:pt x="963194" y="425979"/>
                  </a:cubicBezTo>
                  <a:cubicBezTo>
                    <a:pt x="961882" y="425878"/>
                    <a:pt x="957641" y="425777"/>
                    <a:pt x="956228" y="425979"/>
                  </a:cubicBezTo>
                  <a:cubicBezTo>
                    <a:pt x="954814" y="426181"/>
                    <a:pt x="952088" y="427156"/>
                    <a:pt x="951752" y="427392"/>
                  </a:cubicBezTo>
                  <a:cubicBezTo>
                    <a:pt x="951449" y="427593"/>
                    <a:pt x="948487" y="428468"/>
                    <a:pt x="948184" y="428704"/>
                  </a:cubicBezTo>
                  <a:cubicBezTo>
                    <a:pt x="947848" y="428905"/>
                    <a:pt x="945694" y="429040"/>
                    <a:pt x="945357" y="429242"/>
                  </a:cubicBezTo>
                  <a:cubicBezTo>
                    <a:pt x="945021" y="429444"/>
                    <a:pt x="943069" y="430655"/>
                    <a:pt x="942766" y="430756"/>
                  </a:cubicBezTo>
                  <a:cubicBezTo>
                    <a:pt x="942429" y="430857"/>
                    <a:pt x="942429" y="431193"/>
                    <a:pt x="940814" y="431630"/>
                  </a:cubicBezTo>
                  <a:cubicBezTo>
                    <a:pt x="939198" y="432067"/>
                    <a:pt x="937549" y="431967"/>
                    <a:pt x="936237" y="432505"/>
                  </a:cubicBezTo>
                  <a:cubicBezTo>
                    <a:pt x="934924" y="433043"/>
                    <a:pt x="932535" y="434120"/>
                    <a:pt x="932097" y="434456"/>
                  </a:cubicBezTo>
                  <a:cubicBezTo>
                    <a:pt x="931660" y="434792"/>
                    <a:pt x="928496" y="436071"/>
                    <a:pt x="928496" y="436071"/>
                  </a:cubicBezTo>
                  <a:lnTo>
                    <a:pt x="926544" y="436306"/>
                  </a:lnTo>
                  <a:cubicBezTo>
                    <a:pt x="926544" y="436306"/>
                    <a:pt x="924794" y="437181"/>
                    <a:pt x="924491" y="438055"/>
                  </a:cubicBezTo>
                  <a:cubicBezTo>
                    <a:pt x="924155" y="438930"/>
                    <a:pt x="922439" y="441419"/>
                    <a:pt x="922439" y="441419"/>
                  </a:cubicBezTo>
                  <a:cubicBezTo>
                    <a:pt x="922439" y="441419"/>
                    <a:pt x="920352" y="443269"/>
                    <a:pt x="919511" y="443909"/>
                  </a:cubicBezTo>
                  <a:cubicBezTo>
                    <a:pt x="918636" y="444548"/>
                    <a:pt x="915708" y="446398"/>
                    <a:pt x="915708" y="446398"/>
                  </a:cubicBezTo>
                  <a:lnTo>
                    <a:pt x="910054" y="450199"/>
                  </a:lnTo>
                  <a:lnTo>
                    <a:pt x="904501" y="454640"/>
                  </a:lnTo>
                  <a:cubicBezTo>
                    <a:pt x="904501" y="454640"/>
                    <a:pt x="903626" y="455615"/>
                    <a:pt x="903323" y="455952"/>
                  </a:cubicBezTo>
                  <a:cubicBezTo>
                    <a:pt x="902986" y="456288"/>
                    <a:pt x="901135" y="456725"/>
                    <a:pt x="900832" y="457028"/>
                  </a:cubicBezTo>
                  <a:cubicBezTo>
                    <a:pt x="900496" y="457364"/>
                    <a:pt x="900731" y="457802"/>
                    <a:pt x="898544" y="457802"/>
                  </a:cubicBezTo>
                  <a:cubicBezTo>
                    <a:pt x="896356" y="457802"/>
                    <a:pt x="892789" y="457802"/>
                    <a:pt x="892789" y="457802"/>
                  </a:cubicBezTo>
                  <a:cubicBezTo>
                    <a:pt x="892789" y="457802"/>
                    <a:pt x="889322" y="457903"/>
                    <a:pt x="888649" y="458138"/>
                  </a:cubicBezTo>
                  <a:cubicBezTo>
                    <a:pt x="888010" y="458340"/>
                    <a:pt x="882019" y="458340"/>
                    <a:pt x="882019" y="458340"/>
                  </a:cubicBezTo>
                  <a:cubicBezTo>
                    <a:pt x="882019" y="458340"/>
                    <a:pt x="875928" y="457903"/>
                    <a:pt x="875490" y="457802"/>
                  </a:cubicBezTo>
                  <a:cubicBezTo>
                    <a:pt x="875053" y="457701"/>
                    <a:pt x="873740" y="455312"/>
                    <a:pt x="873336" y="454640"/>
                  </a:cubicBezTo>
                  <a:cubicBezTo>
                    <a:pt x="872899" y="454000"/>
                    <a:pt x="871587" y="452453"/>
                    <a:pt x="871149" y="452453"/>
                  </a:cubicBezTo>
                  <a:cubicBezTo>
                    <a:pt x="870711" y="452453"/>
                    <a:pt x="868322" y="451579"/>
                    <a:pt x="866370" y="451579"/>
                  </a:cubicBezTo>
                  <a:cubicBezTo>
                    <a:pt x="864418" y="451579"/>
                    <a:pt x="860480" y="451478"/>
                    <a:pt x="860178" y="451780"/>
                  </a:cubicBezTo>
                  <a:cubicBezTo>
                    <a:pt x="859841" y="452117"/>
                    <a:pt x="857788" y="451679"/>
                    <a:pt x="857788" y="451679"/>
                  </a:cubicBezTo>
                  <a:lnTo>
                    <a:pt x="853884" y="449190"/>
                  </a:lnTo>
                  <a:lnTo>
                    <a:pt x="851394" y="444851"/>
                  </a:lnTo>
                  <a:cubicBezTo>
                    <a:pt x="851394" y="444851"/>
                    <a:pt x="850620" y="443337"/>
                    <a:pt x="850317" y="443000"/>
                  </a:cubicBezTo>
                  <a:cubicBezTo>
                    <a:pt x="849980" y="442664"/>
                    <a:pt x="847927" y="438964"/>
                    <a:pt x="847591" y="438863"/>
                  </a:cubicBezTo>
                  <a:cubicBezTo>
                    <a:pt x="847254" y="438762"/>
                    <a:pt x="844528" y="438425"/>
                    <a:pt x="844124" y="438425"/>
                  </a:cubicBezTo>
                  <a:cubicBezTo>
                    <a:pt x="843687" y="438425"/>
                    <a:pt x="841398" y="439636"/>
                    <a:pt x="840658" y="440376"/>
                  </a:cubicBezTo>
                  <a:cubicBezTo>
                    <a:pt x="839884" y="441150"/>
                    <a:pt x="839009" y="441352"/>
                    <a:pt x="838706" y="441991"/>
                  </a:cubicBezTo>
                  <a:cubicBezTo>
                    <a:pt x="838369" y="442630"/>
                    <a:pt x="837831" y="443841"/>
                    <a:pt x="837393" y="443841"/>
                  </a:cubicBezTo>
                  <a:cubicBezTo>
                    <a:pt x="836956" y="443841"/>
                    <a:pt x="833691" y="443841"/>
                    <a:pt x="833691" y="443841"/>
                  </a:cubicBezTo>
                  <a:cubicBezTo>
                    <a:pt x="833691" y="443841"/>
                    <a:pt x="831066" y="443640"/>
                    <a:pt x="829350" y="444043"/>
                  </a:cubicBezTo>
                  <a:cubicBezTo>
                    <a:pt x="827600" y="444481"/>
                    <a:pt x="825984" y="445120"/>
                    <a:pt x="825984" y="445120"/>
                  </a:cubicBezTo>
                  <a:lnTo>
                    <a:pt x="823797" y="446734"/>
                  </a:lnTo>
                  <a:cubicBezTo>
                    <a:pt x="823797" y="446734"/>
                    <a:pt x="818581" y="448585"/>
                    <a:pt x="818143" y="448786"/>
                  </a:cubicBezTo>
                  <a:cubicBezTo>
                    <a:pt x="817705" y="449022"/>
                    <a:pt x="814003" y="450098"/>
                    <a:pt x="813566" y="450199"/>
                  </a:cubicBezTo>
                  <a:cubicBezTo>
                    <a:pt x="813128" y="450300"/>
                    <a:pt x="810739" y="452117"/>
                    <a:pt x="810739" y="452117"/>
                  </a:cubicBezTo>
                  <a:lnTo>
                    <a:pt x="807811" y="452487"/>
                  </a:lnTo>
                  <a:lnTo>
                    <a:pt x="804143" y="452487"/>
                  </a:lnTo>
                  <a:cubicBezTo>
                    <a:pt x="804143" y="452487"/>
                    <a:pt x="800239" y="450872"/>
                    <a:pt x="799801" y="450738"/>
                  </a:cubicBezTo>
                  <a:cubicBezTo>
                    <a:pt x="799364" y="450637"/>
                    <a:pt x="795897" y="449964"/>
                    <a:pt x="795897" y="449964"/>
                  </a:cubicBezTo>
                  <a:cubicBezTo>
                    <a:pt x="795897" y="449964"/>
                    <a:pt x="792969" y="448753"/>
                    <a:pt x="792195" y="448652"/>
                  </a:cubicBezTo>
                  <a:cubicBezTo>
                    <a:pt x="791421" y="448551"/>
                    <a:pt x="787955" y="446701"/>
                    <a:pt x="787315" y="446701"/>
                  </a:cubicBezTo>
                  <a:cubicBezTo>
                    <a:pt x="786676" y="446701"/>
                    <a:pt x="785902" y="446465"/>
                    <a:pt x="785464" y="446465"/>
                  </a:cubicBezTo>
                  <a:cubicBezTo>
                    <a:pt x="785027" y="446465"/>
                    <a:pt x="781661" y="447004"/>
                    <a:pt x="781661" y="447004"/>
                  </a:cubicBezTo>
                  <a:lnTo>
                    <a:pt x="780786" y="449190"/>
                  </a:lnTo>
                  <a:cubicBezTo>
                    <a:pt x="780786" y="449190"/>
                    <a:pt x="781123" y="451679"/>
                    <a:pt x="781561" y="452016"/>
                  </a:cubicBezTo>
                  <a:cubicBezTo>
                    <a:pt x="781998" y="452352"/>
                    <a:pt x="784926" y="453765"/>
                    <a:pt x="784926" y="453765"/>
                  </a:cubicBezTo>
                  <a:lnTo>
                    <a:pt x="790041" y="456389"/>
                  </a:lnTo>
                  <a:lnTo>
                    <a:pt x="794719" y="458777"/>
                  </a:lnTo>
                  <a:cubicBezTo>
                    <a:pt x="794719" y="458777"/>
                    <a:pt x="795493" y="462242"/>
                    <a:pt x="795796" y="462478"/>
                  </a:cubicBezTo>
                  <a:cubicBezTo>
                    <a:pt x="796133" y="462680"/>
                    <a:pt x="797008" y="465943"/>
                    <a:pt x="797008" y="465943"/>
                  </a:cubicBezTo>
                  <a:cubicBezTo>
                    <a:pt x="797008" y="465943"/>
                    <a:pt x="798522" y="469542"/>
                    <a:pt x="798859" y="469744"/>
                  </a:cubicBezTo>
                  <a:cubicBezTo>
                    <a:pt x="799195" y="469946"/>
                    <a:pt x="802561" y="473209"/>
                    <a:pt x="802561" y="473209"/>
                  </a:cubicBezTo>
                  <a:cubicBezTo>
                    <a:pt x="802561" y="473209"/>
                    <a:pt x="803200" y="474622"/>
                    <a:pt x="804075" y="474723"/>
                  </a:cubicBezTo>
                  <a:cubicBezTo>
                    <a:pt x="804950" y="474823"/>
                    <a:pt x="807239" y="476775"/>
                    <a:pt x="807542" y="477346"/>
                  </a:cubicBezTo>
                  <a:cubicBezTo>
                    <a:pt x="807845" y="477885"/>
                    <a:pt x="808518" y="479634"/>
                    <a:pt x="808518" y="479634"/>
                  </a:cubicBezTo>
                  <a:cubicBezTo>
                    <a:pt x="808518" y="479634"/>
                    <a:pt x="807542" y="481686"/>
                    <a:pt x="805792" y="482258"/>
                  </a:cubicBezTo>
                  <a:cubicBezTo>
                    <a:pt x="804042" y="482796"/>
                    <a:pt x="801316" y="485286"/>
                    <a:pt x="800239" y="485857"/>
                  </a:cubicBezTo>
                  <a:cubicBezTo>
                    <a:pt x="799162" y="486395"/>
                    <a:pt x="798186" y="486934"/>
                    <a:pt x="796974" y="487808"/>
                  </a:cubicBezTo>
                  <a:cubicBezTo>
                    <a:pt x="795763" y="488683"/>
                    <a:pt x="792936" y="492148"/>
                    <a:pt x="792936" y="492148"/>
                  </a:cubicBezTo>
                  <a:lnTo>
                    <a:pt x="791522" y="493897"/>
                  </a:lnTo>
                  <a:cubicBezTo>
                    <a:pt x="791522" y="493897"/>
                    <a:pt x="788359" y="496622"/>
                    <a:pt x="788056" y="497160"/>
                  </a:cubicBezTo>
                  <a:cubicBezTo>
                    <a:pt x="787719" y="497699"/>
                    <a:pt x="785868" y="500087"/>
                    <a:pt x="785868" y="500524"/>
                  </a:cubicBezTo>
                  <a:cubicBezTo>
                    <a:pt x="785868" y="500961"/>
                    <a:pt x="785431" y="502812"/>
                    <a:pt x="785431" y="503249"/>
                  </a:cubicBezTo>
                  <a:cubicBezTo>
                    <a:pt x="785431" y="503686"/>
                    <a:pt x="785094" y="506277"/>
                    <a:pt x="784657" y="506512"/>
                  </a:cubicBezTo>
                  <a:cubicBezTo>
                    <a:pt x="784219" y="506747"/>
                    <a:pt x="783681" y="506949"/>
                    <a:pt x="782469" y="507151"/>
                  </a:cubicBezTo>
                  <a:cubicBezTo>
                    <a:pt x="781258" y="507353"/>
                    <a:pt x="779541" y="507252"/>
                    <a:pt x="779104" y="506714"/>
                  </a:cubicBezTo>
                  <a:cubicBezTo>
                    <a:pt x="778666" y="506176"/>
                    <a:pt x="777354" y="505839"/>
                    <a:pt x="777051" y="504325"/>
                  </a:cubicBezTo>
                  <a:cubicBezTo>
                    <a:pt x="776714" y="502812"/>
                    <a:pt x="775200" y="499751"/>
                    <a:pt x="775200" y="499751"/>
                  </a:cubicBezTo>
                  <a:lnTo>
                    <a:pt x="771397" y="498001"/>
                  </a:lnTo>
                  <a:cubicBezTo>
                    <a:pt x="771397" y="498001"/>
                    <a:pt x="768469" y="498775"/>
                    <a:pt x="768132" y="498977"/>
                  </a:cubicBezTo>
                  <a:cubicBezTo>
                    <a:pt x="767796" y="499178"/>
                    <a:pt x="764767" y="501802"/>
                    <a:pt x="764767" y="501802"/>
                  </a:cubicBezTo>
                  <a:cubicBezTo>
                    <a:pt x="764767" y="501802"/>
                    <a:pt x="764666" y="502879"/>
                    <a:pt x="763791" y="502442"/>
                  </a:cubicBezTo>
                  <a:cubicBezTo>
                    <a:pt x="762916" y="502004"/>
                    <a:pt x="760964" y="501130"/>
                    <a:pt x="759988" y="499280"/>
                  </a:cubicBezTo>
                  <a:cubicBezTo>
                    <a:pt x="759012" y="497429"/>
                    <a:pt x="758036" y="495276"/>
                    <a:pt x="757699" y="494503"/>
                  </a:cubicBezTo>
                  <a:cubicBezTo>
                    <a:pt x="757363" y="493763"/>
                    <a:pt x="757262" y="493628"/>
                    <a:pt x="756723" y="493090"/>
                  </a:cubicBezTo>
                  <a:cubicBezTo>
                    <a:pt x="756185" y="492552"/>
                    <a:pt x="755209" y="491576"/>
                    <a:pt x="754872" y="491038"/>
                  </a:cubicBezTo>
                  <a:cubicBezTo>
                    <a:pt x="754536" y="490500"/>
                    <a:pt x="752685" y="489524"/>
                    <a:pt x="752685" y="489524"/>
                  </a:cubicBezTo>
                  <a:cubicBezTo>
                    <a:pt x="752685" y="489524"/>
                    <a:pt x="751507" y="489423"/>
                    <a:pt x="750396" y="489423"/>
                  </a:cubicBezTo>
                  <a:cubicBezTo>
                    <a:pt x="749319" y="489423"/>
                    <a:pt x="750060" y="489087"/>
                    <a:pt x="748209" y="489423"/>
                  </a:cubicBezTo>
                  <a:cubicBezTo>
                    <a:pt x="746358" y="489759"/>
                    <a:pt x="744944" y="489759"/>
                    <a:pt x="744608" y="489524"/>
                  </a:cubicBezTo>
                  <a:cubicBezTo>
                    <a:pt x="744271" y="489322"/>
                    <a:pt x="743093" y="489087"/>
                    <a:pt x="742757" y="488986"/>
                  </a:cubicBezTo>
                  <a:cubicBezTo>
                    <a:pt x="742420" y="488885"/>
                    <a:pt x="741242" y="489423"/>
                    <a:pt x="740367" y="487371"/>
                  </a:cubicBezTo>
                  <a:cubicBezTo>
                    <a:pt x="739492" y="485319"/>
                    <a:pt x="739290" y="484983"/>
                    <a:pt x="739290" y="484343"/>
                  </a:cubicBezTo>
                  <a:cubicBezTo>
                    <a:pt x="739290" y="483704"/>
                    <a:pt x="739189" y="481619"/>
                    <a:pt x="739290" y="481181"/>
                  </a:cubicBezTo>
                  <a:cubicBezTo>
                    <a:pt x="739391" y="480744"/>
                    <a:pt x="738987" y="479230"/>
                    <a:pt x="739223" y="478692"/>
                  </a:cubicBezTo>
                  <a:cubicBezTo>
                    <a:pt x="739492" y="478154"/>
                    <a:pt x="739122" y="477481"/>
                    <a:pt x="739122" y="477178"/>
                  </a:cubicBezTo>
                  <a:cubicBezTo>
                    <a:pt x="739156" y="476842"/>
                    <a:pt x="737507" y="475866"/>
                    <a:pt x="737103" y="475429"/>
                  </a:cubicBezTo>
                  <a:cubicBezTo>
                    <a:pt x="736665" y="474992"/>
                    <a:pt x="734478" y="474353"/>
                    <a:pt x="734478" y="474353"/>
                  </a:cubicBezTo>
                  <a:cubicBezTo>
                    <a:pt x="734478" y="474353"/>
                    <a:pt x="733165" y="473579"/>
                    <a:pt x="732963" y="473141"/>
                  </a:cubicBezTo>
                  <a:cubicBezTo>
                    <a:pt x="732761" y="472704"/>
                    <a:pt x="731550" y="471089"/>
                    <a:pt x="731213" y="470854"/>
                  </a:cubicBezTo>
                  <a:cubicBezTo>
                    <a:pt x="730877" y="470652"/>
                    <a:pt x="728925" y="467591"/>
                    <a:pt x="728925" y="467591"/>
                  </a:cubicBezTo>
                  <a:cubicBezTo>
                    <a:pt x="728925" y="467591"/>
                    <a:pt x="727949" y="467053"/>
                    <a:pt x="728925" y="466279"/>
                  </a:cubicBezTo>
                  <a:cubicBezTo>
                    <a:pt x="729901" y="465505"/>
                    <a:pt x="730002" y="464530"/>
                    <a:pt x="730540" y="463992"/>
                  </a:cubicBezTo>
                  <a:cubicBezTo>
                    <a:pt x="731079" y="463453"/>
                    <a:pt x="731953" y="462814"/>
                    <a:pt x="733030" y="462579"/>
                  </a:cubicBezTo>
                  <a:cubicBezTo>
                    <a:pt x="734107" y="462343"/>
                    <a:pt x="735083" y="461940"/>
                    <a:pt x="735521" y="461805"/>
                  </a:cubicBezTo>
                  <a:cubicBezTo>
                    <a:pt x="735958" y="461704"/>
                    <a:pt x="737910" y="458340"/>
                    <a:pt x="737910" y="458004"/>
                  </a:cubicBezTo>
                  <a:cubicBezTo>
                    <a:pt x="737910" y="457667"/>
                    <a:pt x="737136" y="456053"/>
                    <a:pt x="735858" y="455817"/>
                  </a:cubicBezTo>
                  <a:cubicBezTo>
                    <a:pt x="734545" y="455582"/>
                    <a:pt x="732829" y="454741"/>
                    <a:pt x="731718" y="454841"/>
                  </a:cubicBezTo>
                  <a:cubicBezTo>
                    <a:pt x="730641" y="454942"/>
                    <a:pt x="727915" y="454942"/>
                    <a:pt x="727578" y="455279"/>
                  </a:cubicBezTo>
                  <a:cubicBezTo>
                    <a:pt x="727242" y="455615"/>
                    <a:pt x="726064" y="455817"/>
                    <a:pt x="725290" y="456456"/>
                  </a:cubicBezTo>
                  <a:cubicBezTo>
                    <a:pt x="724516" y="457095"/>
                    <a:pt x="723001" y="458407"/>
                    <a:pt x="722026" y="459181"/>
                  </a:cubicBezTo>
                  <a:cubicBezTo>
                    <a:pt x="721049" y="459955"/>
                    <a:pt x="719972" y="459618"/>
                    <a:pt x="719535" y="460493"/>
                  </a:cubicBezTo>
                  <a:cubicBezTo>
                    <a:pt x="719097" y="461368"/>
                    <a:pt x="718121" y="462007"/>
                    <a:pt x="717785" y="462007"/>
                  </a:cubicBezTo>
                  <a:cubicBezTo>
                    <a:pt x="717448" y="462007"/>
                    <a:pt x="714857" y="462343"/>
                    <a:pt x="714857" y="462343"/>
                  </a:cubicBezTo>
                  <a:cubicBezTo>
                    <a:pt x="714857" y="462343"/>
                    <a:pt x="711828" y="461906"/>
                    <a:pt x="711391" y="461704"/>
                  </a:cubicBezTo>
                  <a:cubicBezTo>
                    <a:pt x="710953" y="461502"/>
                    <a:pt x="709001" y="460190"/>
                    <a:pt x="708665" y="459854"/>
                  </a:cubicBezTo>
                  <a:cubicBezTo>
                    <a:pt x="708328" y="459517"/>
                    <a:pt x="707049" y="458777"/>
                    <a:pt x="706713" y="457129"/>
                  </a:cubicBezTo>
                  <a:cubicBezTo>
                    <a:pt x="706376" y="455481"/>
                    <a:pt x="706612" y="455279"/>
                    <a:pt x="706174" y="454841"/>
                  </a:cubicBezTo>
                  <a:cubicBezTo>
                    <a:pt x="705737" y="454404"/>
                    <a:pt x="704559" y="453866"/>
                    <a:pt x="704121" y="453866"/>
                  </a:cubicBezTo>
                  <a:cubicBezTo>
                    <a:pt x="703684" y="453866"/>
                    <a:pt x="700958" y="453967"/>
                    <a:pt x="700655" y="453866"/>
                  </a:cubicBezTo>
                  <a:cubicBezTo>
                    <a:pt x="700318" y="453765"/>
                    <a:pt x="698602" y="452991"/>
                    <a:pt x="698467" y="452453"/>
                  </a:cubicBezTo>
                  <a:cubicBezTo>
                    <a:pt x="698366" y="451915"/>
                    <a:pt x="698467" y="450603"/>
                    <a:pt x="699679" y="449527"/>
                  </a:cubicBezTo>
                  <a:cubicBezTo>
                    <a:pt x="700857" y="448450"/>
                    <a:pt x="702405" y="447037"/>
                    <a:pt x="702405" y="447037"/>
                  </a:cubicBezTo>
                  <a:cubicBezTo>
                    <a:pt x="702405" y="447037"/>
                    <a:pt x="702741" y="443774"/>
                    <a:pt x="702405" y="443673"/>
                  </a:cubicBezTo>
                  <a:cubicBezTo>
                    <a:pt x="702068" y="443572"/>
                    <a:pt x="701429" y="442698"/>
                    <a:pt x="700890" y="442361"/>
                  </a:cubicBezTo>
                  <a:cubicBezTo>
                    <a:pt x="700352" y="442025"/>
                    <a:pt x="698467" y="439973"/>
                    <a:pt x="698467" y="439973"/>
                  </a:cubicBezTo>
                  <a:cubicBezTo>
                    <a:pt x="698467" y="439973"/>
                    <a:pt x="699174" y="438358"/>
                    <a:pt x="699713" y="437921"/>
                  </a:cubicBezTo>
                  <a:cubicBezTo>
                    <a:pt x="700251" y="437484"/>
                    <a:pt x="701126" y="436609"/>
                    <a:pt x="701227" y="436272"/>
                  </a:cubicBezTo>
                  <a:cubicBezTo>
                    <a:pt x="701328" y="435936"/>
                    <a:pt x="702741" y="434759"/>
                    <a:pt x="702741" y="434759"/>
                  </a:cubicBezTo>
                  <a:cubicBezTo>
                    <a:pt x="702741" y="434759"/>
                    <a:pt x="701664" y="432269"/>
                    <a:pt x="701530" y="431933"/>
                  </a:cubicBezTo>
                  <a:cubicBezTo>
                    <a:pt x="701429" y="431597"/>
                    <a:pt x="700217" y="431159"/>
                    <a:pt x="700991" y="430520"/>
                  </a:cubicBezTo>
                  <a:cubicBezTo>
                    <a:pt x="701765" y="429881"/>
                    <a:pt x="702506" y="428670"/>
                    <a:pt x="702506" y="428670"/>
                  </a:cubicBezTo>
                  <a:lnTo>
                    <a:pt x="703381" y="427694"/>
                  </a:lnTo>
                  <a:cubicBezTo>
                    <a:pt x="703381" y="427694"/>
                    <a:pt x="703717" y="425070"/>
                    <a:pt x="703583" y="424667"/>
                  </a:cubicBezTo>
                  <a:cubicBezTo>
                    <a:pt x="703482" y="424229"/>
                    <a:pt x="702506" y="422615"/>
                    <a:pt x="702506" y="422177"/>
                  </a:cubicBezTo>
                  <a:cubicBezTo>
                    <a:pt x="702506" y="421740"/>
                    <a:pt x="703583" y="420428"/>
                    <a:pt x="704693" y="419789"/>
                  </a:cubicBezTo>
                  <a:cubicBezTo>
                    <a:pt x="705770" y="419150"/>
                    <a:pt x="706208" y="418477"/>
                    <a:pt x="706208" y="418040"/>
                  </a:cubicBezTo>
                  <a:cubicBezTo>
                    <a:pt x="706208" y="417602"/>
                    <a:pt x="707285" y="416627"/>
                    <a:pt x="706208" y="414878"/>
                  </a:cubicBezTo>
                  <a:cubicBezTo>
                    <a:pt x="705131" y="413128"/>
                    <a:pt x="703818" y="411716"/>
                    <a:pt x="703818" y="411716"/>
                  </a:cubicBezTo>
                  <a:lnTo>
                    <a:pt x="701328" y="410740"/>
                  </a:lnTo>
                  <a:lnTo>
                    <a:pt x="697962" y="410740"/>
                  </a:lnTo>
                  <a:lnTo>
                    <a:pt x="696212" y="410740"/>
                  </a:lnTo>
                  <a:lnTo>
                    <a:pt x="694462" y="410740"/>
                  </a:lnTo>
                  <a:lnTo>
                    <a:pt x="690996" y="410740"/>
                  </a:lnTo>
                  <a:cubicBezTo>
                    <a:pt x="690996" y="410740"/>
                    <a:pt x="690659" y="412254"/>
                    <a:pt x="690222" y="412590"/>
                  </a:cubicBezTo>
                  <a:cubicBezTo>
                    <a:pt x="689784" y="412927"/>
                    <a:pt x="688707" y="413465"/>
                    <a:pt x="688707" y="413465"/>
                  </a:cubicBezTo>
                  <a:cubicBezTo>
                    <a:pt x="688707" y="413465"/>
                    <a:pt x="687732" y="412927"/>
                    <a:pt x="687193" y="412489"/>
                  </a:cubicBezTo>
                  <a:cubicBezTo>
                    <a:pt x="686655" y="412052"/>
                    <a:pt x="684366" y="411514"/>
                    <a:pt x="684366" y="411514"/>
                  </a:cubicBezTo>
                  <a:cubicBezTo>
                    <a:pt x="684366" y="411514"/>
                    <a:pt x="683053" y="411312"/>
                    <a:pt x="682515" y="411312"/>
                  </a:cubicBezTo>
                  <a:cubicBezTo>
                    <a:pt x="681977" y="411312"/>
                    <a:pt x="680226" y="411648"/>
                    <a:pt x="680226" y="411648"/>
                  </a:cubicBezTo>
                  <a:lnTo>
                    <a:pt x="678375" y="412422"/>
                  </a:lnTo>
                  <a:lnTo>
                    <a:pt x="674135" y="410807"/>
                  </a:lnTo>
                  <a:lnTo>
                    <a:pt x="673597" y="409394"/>
                  </a:lnTo>
                  <a:cubicBezTo>
                    <a:pt x="673597" y="409394"/>
                    <a:pt x="675986" y="403407"/>
                    <a:pt x="676087" y="403104"/>
                  </a:cubicBezTo>
                  <a:cubicBezTo>
                    <a:pt x="676188" y="402767"/>
                    <a:pt x="673597" y="398226"/>
                    <a:pt x="673597" y="398226"/>
                  </a:cubicBezTo>
                  <a:lnTo>
                    <a:pt x="670568" y="396914"/>
                  </a:lnTo>
                  <a:lnTo>
                    <a:pt x="668380" y="396914"/>
                  </a:lnTo>
                  <a:lnTo>
                    <a:pt x="664914" y="396914"/>
                  </a:lnTo>
                  <a:cubicBezTo>
                    <a:pt x="664914" y="396914"/>
                    <a:pt x="662861" y="396039"/>
                    <a:pt x="662962" y="395064"/>
                  </a:cubicBezTo>
                  <a:cubicBezTo>
                    <a:pt x="663063" y="394088"/>
                    <a:pt x="664375" y="393113"/>
                    <a:pt x="662962" y="393113"/>
                  </a:cubicBezTo>
                  <a:cubicBezTo>
                    <a:pt x="661548" y="393113"/>
                    <a:pt x="659058" y="392339"/>
                    <a:pt x="659058" y="392339"/>
                  </a:cubicBezTo>
                  <a:cubicBezTo>
                    <a:pt x="659058" y="392339"/>
                    <a:pt x="658284" y="389614"/>
                    <a:pt x="658519" y="389312"/>
                  </a:cubicBezTo>
                  <a:cubicBezTo>
                    <a:pt x="658721" y="388975"/>
                    <a:pt x="658957" y="386486"/>
                    <a:pt x="658957" y="386048"/>
                  </a:cubicBezTo>
                  <a:cubicBezTo>
                    <a:pt x="658957" y="385611"/>
                    <a:pt x="659159" y="383223"/>
                    <a:pt x="659159" y="382785"/>
                  </a:cubicBezTo>
                  <a:cubicBezTo>
                    <a:pt x="659159" y="382348"/>
                    <a:pt x="659058" y="379321"/>
                    <a:pt x="659058" y="379321"/>
                  </a:cubicBezTo>
                  <a:cubicBezTo>
                    <a:pt x="659058" y="379321"/>
                    <a:pt x="657543" y="377672"/>
                    <a:pt x="657442" y="377370"/>
                  </a:cubicBezTo>
                  <a:cubicBezTo>
                    <a:pt x="657341" y="377033"/>
                    <a:pt x="655490" y="375957"/>
                    <a:pt x="656231" y="375183"/>
                  </a:cubicBezTo>
                  <a:cubicBezTo>
                    <a:pt x="657005" y="374409"/>
                    <a:pt x="657745" y="372593"/>
                    <a:pt x="657745" y="372122"/>
                  </a:cubicBezTo>
                  <a:cubicBezTo>
                    <a:pt x="657745" y="371684"/>
                    <a:pt x="655793" y="368960"/>
                    <a:pt x="655457" y="368960"/>
                  </a:cubicBezTo>
                  <a:cubicBezTo>
                    <a:pt x="655120" y="368960"/>
                    <a:pt x="652865" y="367917"/>
                    <a:pt x="652293" y="368051"/>
                  </a:cubicBezTo>
                  <a:cubicBezTo>
                    <a:pt x="651755" y="368152"/>
                    <a:pt x="648928" y="367345"/>
                    <a:pt x="648591" y="367345"/>
                  </a:cubicBezTo>
                  <a:cubicBezTo>
                    <a:pt x="648255" y="367345"/>
                    <a:pt x="642298" y="367345"/>
                    <a:pt x="642298" y="367345"/>
                  </a:cubicBezTo>
                  <a:lnTo>
                    <a:pt x="636879" y="365495"/>
                  </a:lnTo>
                  <a:lnTo>
                    <a:pt x="633076" y="362871"/>
                  </a:lnTo>
                  <a:lnTo>
                    <a:pt x="629172" y="360381"/>
                  </a:lnTo>
                  <a:lnTo>
                    <a:pt x="625269" y="357758"/>
                  </a:lnTo>
                  <a:lnTo>
                    <a:pt x="620052" y="358397"/>
                  </a:lnTo>
                  <a:cubicBezTo>
                    <a:pt x="620052" y="358397"/>
                    <a:pt x="618302" y="353284"/>
                    <a:pt x="617999" y="352846"/>
                  </a:cubicBezTo>
                  <a:cubicBezTo>
                    <a:pt x="617663" y="352409"/>
                    <a:pt x="612345" y="349045"/>
                    <a:pt x="612345" y="349045"/>
                  </a:cubicBezTo>
                  <a:cubicBezTo>
                    <a:pt x="612345" y="349045"/>
                    <a:pt x="609417" y="348608"/>
                    <a:pt x="608980" y="348507"/>
                  </a:cubicBezTo>
                  <a:cubicBezTo>
                    <a:pt x="608542" y="348406"/>
                    <a:pt x="602148" y="347094"/>
                    <a:pt x="601811" y="346993"/>
                  </a:cubicBezTo>
                  <a:cubicBezTo>
                    <a:pt x="601475" y="346892"/>
                    <a:pt x="597032" y="346993"/>
                    <a:pt x="597032" y="346993"/>
                  </a:cubicBezTo>
                  <a:cubicBezTo>
                    <a:pt x="597032" y="346993"/>
                    <a:pt x="595518" y="346455"/>
                    <a:pt x="594407" y="346959"/>
                  </a:cubicBezTo>
                  <a:cubicBezTo>
                    <a:pt x="593330" y="347430"/>
                    <a:pt x="590268" y="348204"/>
                    <a:pt x="590268" y="348204"/>
                  </a:cubicBezTo>
                  <a:cubicBezTo>
                    <a:pt x="590268" y="348204"/>
                    <a:pt x="589830" y="349617"/>
                    <a:pt x="587542" y="348978"/>
                  </a:cubicBezTo>
                  <a:cubicBezTo>
                    <a:pt x="585253" y="348338"/>
                    <a:pt x="582527" y="345816"/>
                    <a:pt x="582763" y="345513"/>
                  </a:cubicBezTo>
                  <a:cubicBezTo>
                    <a:pt x="582965" y="345176"/>
                    <a:pt x="587239" y="345513"/>
                    <a:pt x="587239" y="345513"/>
                  </a:cubicBezTo>
                  <a:lnTo>
                    <a:pt x="589830" y="345378"/>
                  </a:lnTo>
                  <a:lnTo>
                    <a:pt x="592220" y="343898"/>
                  </a:lnTo>
                  <a:lnTo>
                    <a:pt x="592758" y="342822"/>
                  </a:lnTo>
                  <a:lnTo>
                    <a:pt x="593633" y="340231"/>
                  </a:lnTo>
                  <a:cubicBezTo>
                    <a:pt x="593633" y="340231"/>
                    <a:pt x="594273" y="338818"/>
                    <a:pt x="594508" y="338482"/>
                  </a:cubicBezTo>
                  <a:cubicBezTo>
                    <a:pt x="594710" y="338146"/>
                    <a:pt x="596258" y="335892"/>
                    <a:pt x="596258" y="335892"/>
                  </a:cubicBezTo>
                  <a:cubicBezTo>
                    <a:pt x="596258" y="335892"/>
                    <a:pt x="598109" y="334916"/>
                    <a:pt x="598446" y="334681"/>
                  </a:cubicBezTo>
                  <a:cubicBezTo>
                    <a:pt x="598782" y="334479"/>
                    <a:pt x="598883" y="333806"/>
                    <a:pt x="599859" y="333604"/>
                  </a:cubicBezTo>
                  <a:cubicBezTo>
                    <a:pt x="600835" y="333402"/>
                    <a:pt x="601273" y="333402"/>
                    <a:pt x="601710" y="332831"/>
                  </a:cubicBezTo>
                  <a:cubicBezTo>
                    <a:pt x="602148" y="332292"/>
                    <a:pt x="603326" y="331317"/>
                    <a:pt x="604201" y="330678"/>
                  </a:cubicBezTo>
                  <a:cubicBezTo>
                    <a:pt x="605076" y="330039"/>
                    <a:pt x="605412" y="329366"/>
                    <a:pt x="605715" y="329265"/>
                  </a:cubicBezTo>
                  <a:cubicBezTo>
                    <a:pt x="606052" y="329164"/>
                    <a:pt x="606893" y="328289"/>
                    <a:pt x="606893" y="328289"/>
                  </a:cubicBezTo>
                  <a:lnTo>
                    <a:pt x="609081" y="327415"/>
                  </a:lnTo>
                  <a:lnTo>
                    <a:pt x="611033" y="327415"/>
                  </a:lnTo>
                  <a:lnTo>
                    <a:pt x="615172" y="327415"/>
                  </a:lnTo>
                  <a:lnTo>
                    <a:pt x="616249" y="327415"/>
                  </a:lnTo>
                  <a:cubicBezTo>
                    <a:pt x="616249" y="327415"/>
                    <a:pt x="618201" y="326103"/>
                    <a:pt x="618740" y="325564"/>
                  </a:cubicBezTo>
                  <a:cubicBezTo>
                    <a:pt x="619278" y="325026"/>
                    <a:pt x="620153" y="324252"/>
                    <a:pt x="620490" y="323815"/>
                  </a:cubicBezTo>
                  <a:cubicBezTo>
                    <a:pt x="620826" y="323378"/>
                    <a:pt x="622004" y="321629"/>
                    <a:pt x="622004" y="321629"/>
                  </a:cubicBezTo>
                  <a:lnTo>
                    <a:pt x="623317" y="319947"/>
                  </a:lnTo>
                  <a:lnTo>
                    <a:pt x="624730" y="318702"/>
                  </a:lnTo>
                  <a:lnTo>
                    <a:pt x="624932" y="318702"/>
                  </a:lnTo>
                  <a:cubicBezTo>
                    <a:pt x="624932" y="318702"/>
                    <a:pt x="627220" y="318366"/>
                    <a:pt x="628398" y="318702"/>
                  </a:cubicBezTo>
                  <a:cubicBezTo>
                    <a:pt x="629610" y="319038"/>
                    <a:pt x="630889" y="318567"/>
                    <a:pt x="630889" y="318567"/>
                  </a:cubicBezTo>
                  <a:cubicBezTo>
                    <a:pt x="630889" y="318567"/>
                    <a:pt x="632942" y="317289"/>
                    <a:pt x="633514" y="316650"/>
                  </a:cubicBezTo>
                  <a:cubicBezTo>
                    <a:pt x="634052" y="316011"/>
                    <a:pt x="635365" y="315574"/>
                    <a:pt x="635567" y="315136"/>
                  </a:cubicBezTo>
                  <a:cubicBezTo>
                    <a:pt x="635769" y="314699"/>
                    <a:pt x="636341" y="313723"/>
                    <a:pt x="636341" y="313084"/>
                  </a:cubicBezTo>
                  <a:cubicBezTo>
                    <a:pt x="636341" y="312445"/>
                    <a:pt x="635903" y="309720"/>
                    <a:pt x="635129" y="309047"/>
                  </a:cubicBezTo>
                  <a:cubicBezTo>
                    <a:pt x="634355" y="308408"/>
                    <a:pt x="634153" y="306861"/>
                    <a:pt x="634153" y="306861"/>
                  </a:cubicBezTo>
                  <a:cubicBezTo>
                    <a:pt x="634153" y="306861"/>
                    <a:pt x="635028" y="304910"/>
                    <a:pt x="635230" y="304371"/>
                  </a:cubicBezTo>
                  <a:cubicBezTo>
                    <a:pt x="635432" y="303833"/>
                    <a:pt x="636644" y="302757"/>
                    <a:pt x="637283" y="301748"/>
                  </a:cubicBezTo>
                  <a:cubicBezTo>
                    <a:pt x="637923" y="300772"/>
                    <a:pt x="638899" y="299359"/>
                    <a:pt x="638899" y="299359"/>
                  </a:cubicBezTo>
                  <a:cubicBezTo>
                    <a:pt x="638899" y="299359"/>
                    <a:pt x="642163" y="294481"/>
                    <a:pt x="642500" y="294347"/>
                  </a:cubicBezTo>
                  <a:cubicBezTo>
                    <a:pt x="642836" y="294246"/>
                    <a:pt x="644553" y="292934"/>
                    <a:pt x="644553" y="292934"/>
                  </a:cubicBezTo>
                  <a:cubicBezTo>
                    <a:pt x="644553" y="292934"/>
                    <a:pt x="645091" y="292732"/>
                    <a:pt x="645630" y="292396"/>
                  </a:cubicBezTo>
                  <a:cubicBezTo>
                    <a:pt x="646168" y="292059"/>
                    <a:pt x="646942" y="291622"/>
                    <a:pt x="646841" y="290983"/>
                  </a:cubicBezTo>
                  <a:cubicBezTo>
                    <a:pt x="646740" y="290344"/>
                    <a:pt x="646639" y="288494"/>
                    <a:pt x="646639" y="288494"/>
                  </a:cubicBezTo>
                  <a:cubicBezTo>
                    <a:pt x="646639" y="288494"/>
                    <a:pt x="647615" y="287518"/>
                    <a:pt x="648053" y="286879"/>
                  </a:cubicBezTo>
                  <a:cubicBezTo>
                    <a:pt x="648490" y="286240"/>
                    <a:pt x="649904" y="285264"/>
                    <a:pt x="649904" y="285264"/>
                  </a:cubicBezTo>
                  <a:cubicBezTo>
                    <a:pt x="649904" y="285264"/>
                    <a:pt x="650880" y="284289"/>
                    <a:pt x="651418" y="284053"/>
                  </a:cubicBezTo>
                  <a:cubicBezTo>
                    <a:pt x="651957" y="283851"/>
                    <a:pt x="653168" y="282876"/>
                    <a:pt x="653168" y="282876"/>
                  </a:cubicBezTo>
                  <a:lnTo>
                    <a:pt x="655457" y="280689"/>
                  </a:lnTo>
                  <a:cubicBezTo>
                    <a:pt x="655457" y="280689"/>
                    <a:pt x="656231" y="279478"/>
                    <a:pt x="656534" y="279377"/>
                  </a:cubicBezTo>
                  <a:cubicBezTo>
                    <a:pt x="656870" y="279276"/>
                    <a:pt x="658385" y="277762"/>
                    <a:pt x="659024" y="276989"/>
                  </a:cubicBezTo>
                  <a:cubicBezTo>
                    <a:pt x="659664" y="276249"/>
                    <a:pt x="660236" y="275677"/>
                    <a:pt x="660236" y="275374"/>
                  </a:cubicBezTo>
                  <a:cubicBezTo>
                    <a:pt x="660236" y="275038"/>
                    <a:pt x="661380" y="273860"/>
                    <a:pt x="661380" y="273860"/>
                  </a:cubicBezTo>
                  <a:cubicBezTo>
                    <a:pt x="661380" y="273860"/>
                    <a:pt x="662322" y="271573"/>
                    <a:pt x="662322" y="271236"/>
                  </a:cubicBezTo>
                  <a:cubicBezTo>
                    <a:pt x="662322" y="270900"/>
                    <a:pt x="662322" y="267435"/>
                    <a:pt x="662322" y="267435"/>
                  </a:cubicBezTo>
                  <a:cubicBezTo>
                    <a:pt x="662322" y="267435"/>
                    <a:pt x="661346" y="265921"/>
                    <a:pt x="661346" y="265585"/>
                  </a:cubicBezTo>
                  <a:cubicBezTo>
                    <a:pt x="661346" y="265249"/>
                    <a:pt x="661986" y="264710"/>
                    <a:pt x="662322" y="264508"/>
                  </a:cubicBezTo>
                  <a:cubicBezTo>
                    <a:pt x="662659" y="264307"/>
                    <a:pt x="663635" y="262995"/>
                    <a:pt x="663635" y="262995"/>
                  </a:cubicBezTo>
                  <a:lnTo>
                    <a:pt x="664072" y="262019"/>
                  </a:lnTo>
                  <a:lnTo>
                    <a:pt x="662760" y="257680"/>
                  </a:lnTo>
                  <a:cubicBezTo>
                    <a:pt x="662760" y="257680"/>
                    <a:pt x="662221" y="256704"/>
                    <a:pt x="661885" y="256368"/>
                  </a:cubicBezTo>
                  <a:cubicBezTo>
                    <a:pt x="661548" y="256031"/>
                    <a:pt x="660808" y="254955"/>
                    <a:pt x="660471" y="254854"/>
                  </a:cubicBezTo>
                  <a:cubicBezTo>
                    <a:pt x="660135" y="254753"/>
                    <a:pt x="658923" y="252028"/>
                    <a:pt x="658923" y="252028"/>
                  </a:cubicBezTo>
                  <a:lnTo>
                    <a:pt x="658788" y="248900"/>
                  </a:lnTo>
                  <a:lnTo>
                    <a:pt x="658216" y="246141"/>
                  </a:lnTo>
                  <a:lnTo>
                    <a:pt x="657341" y="244627"/>
                  </a:lnTo>
                  <a:cubicBezTo>
                    <a:pt x="657341" y="244627"/>
                    <a:pt x="655087" y="242306"/>
                    <a:pt x="654817" y="242306"/>
                  </a:cubicBezTo>
                  <a:cubicBezTo>
                    <a:pt x="654514" y="242306"/>
                    <a:pt x="652125" y="240355"/>
                    <a:pt x="651923" y="240288"/>
                  </a:cubicBezTo>
                  <a:cubicBezTo>
                    <a:pt x="651721" y="240221"/>
                    <a:pt x="648894" y="238606"/>
                    <a:pt x="648658" y="238606"/>
                  </a:cubicBezTo>
                  <a:cubicBezTo>
                    <a:pt x="648456" y="238606"/>
                    <a:pt x="647144" y="236789"/>
                    <a:pt x="647144" y="236789"/>
                  </a:cubicBezTo>
                  <a:lnTo>
                    <a:pt x="646942" y="235545"/>
                  </a:lnTo>
                  <a:cubicBezTo>
                    <a:pt x="646942" y="235545"/>
                    <a:pt x="645630" y="235612"/>
                    <a:pt x="644990" y="235545"/>
                  </a:cubicBezTo>
                  <a:cubicBezTo>
                    <a:pt x="644351" y="235477"/>
                    <a:pt x="643408" y="235612"/>
                    <a:pt x="642803" y="235545"/>
                  </a:cubicBezTo>
                  <a:cubicBezTo>
                    <a:pt x="642230" y="235477"/>
                    <a:pt x="640413" y="235578"/>
                    <a:pt x="640110" y="235545"/>
                  </a:cubicBezTo>
                  <a:cubicBezTo>
                    <a:pt x="639807" y="235477"/>
                    <a:pt x="638529" y="235410"/>
                    <a:pt x="637418" y="235208"/>
                  </a:cubicBezTo>
                  <a:cubicBezTo>
                    <a:pt x="636341" y="234973"/>
                    <a:pt x="633076" y="233964"/>
                    <a:pt x="632774" y="233896"/>
                  </a:cubicBezTo>
                  <a:cubicBezTo>
                    <a:pt x="632471" y="233829"/>
                    <a:pt x="630014" y="232887"/>
                    <a:pt x="630014" y="232887"/>
                  </a:cubicBezTo>
                  <a:cubicBezTo>
                    <a:pt x="630014" y="232887"/>
                    <a:pt x="629004" y="233089"/>
                    <a:pt x="628701" y="232887"/>
                  </a:cubicBezTo>
                  <a:cubicBezTo>
                    <a:pt x="628398" y="232685"/>
                    <a:pt x="623283" y="231003"/>
                    <a:pt x="623283" y="231003"/>
                  </a:cubicBezTo>
                  <a:cubicBezTo>
                    <a:pt x="623283" y="231003"/>
                    <a:pt x="622206" y="230499"/>
                    <a:pt x="621331" y="230364"/>
                  </a:cubicBezTo>
                  <a:cubicBezTo>
                    <a:pt x="620456" y="230230"/>
                    <a:pt x="616990" y="228918"/>
                    <a:pt x="616990" y="228918"/>
                  </a:cubicBezTo>
                  <a:cubicBezTo>
                    <a:pt x="616990" y="228918"/>
                    <a:pt x="616047" y="227034"/>
                    <a:pt x="615610" y="227101"/>
                  </a:cubicBezTo>
                  <a:cubicBezTo>
                    <a:pt x="615172" y="227168"/>
                    <a:pt x="613860" y="227976"/>
                    <a:pt x="613860" y="227976"/>
                  </a:cubicBezTo>
                  <a:cubicBezTo>
                    <a:pt x="613860" y="227976"/>
                    <a:pt x="612278" y="229658"/>
                    <a:pt x="612278" y="229994"/>
                  </a:cubicBezTo>
                  <a:cubicBezTo>
                    <a:pt x="612278" y="230364"/>
                    <a:pt x="612143" y="231743"/>
                    <a:pt x="612143" y="231743"/>
                  </a:cubicBezTo>
                  <a:lnTo>
                    <a:pt x="611134" y="232988"/>
                  </a:lnTo>
                  <a:lnTo>
                    <a:pt x="610561" y="234300"/>
                  </a:lnTo>
                  <a:cubicBezTo>
                    <a:pt x="610561" y="234300"/>
                    <a:pt x="610124" y="235377"/>
                    <a:pt x="610057" y="235612"/>
                  </a:cubicBezTo>
                  <a:cubicBezTo>
                    <a:pt x="609989" y="235814"/>
                    <a:pt x="608912" y="235982"/>
                    <a:pt x="608744" y="236487"/>
                  </a:cubicBezTo>
                  <a:cubicBezTo>
                    <a:pt x="608610" y="236991"/>
                    <a:pt x="607162" y="237294"/>
                    <a:pt x="606859" y="237294"/>
                  </a:cubicBezTo>
                  <a:cubicBezTo>
                    <a:pt x="606557" y="237294"/>
                    <a:pt x="603225" y="236857"/>
                    <a:pt x="602720" y="236924"/>
                  </a:cubicBezTo>
                  <a:cubicBezTo>
                    <a:pt x="602215" y="236991"/>
                    <a:pt x="599388" y="236991"/>
                    <a:pt x="599388" y="236991"/>
                  </a:cubicBezTo>
                  <a:cubicBezTo>
                    <a:pt x="599388" y="236991"/>
                    <a:pt x="596931" y="237059"/>
                    <a:pt x="596629" y="237059"/>
                  </a:cubicBezTo>
                  <a:cubicBezTo>
                    <a:pt x="596326" y="237059"/>
                    <a:pt x="593667" y="237059"/>
                    <a:pt x="593667" y="237059"/>
                  </a:cubicBezTo>
                  <a:lnTo>
                    <a:pt x="590907" y="235679"/>
                  </a:lnTo>
                  <a:lnTo>
                    <a:pt x="589460" y="235545"/>
                  </a:lnTo>
                  <a:lnTo>
                    <a:pt x="585556" y="233291"/>
                  </a:lnTo>
                  <a:lnTo>
                    <a:pt x="580474" y="234300"/>
                  </a:lnTo>
                  <a:lnTo>
                    <a:pt x="576570" y="235881"/>
                  </a:lnTo>
                  <a:cubicBezTo>
                    <a:pt x="576570" y="235881"/>
                    <a:pt x="571488" y="234872"/>
                    <a:pt x="570916" y="234872"/>
                  </a:cubicBezTo>
                  <a:cubicBezTo>
                    <a:pt x="570344" y="234872"/>
                    <a:pt x="563512" y="235747"/>
                    <a:pt x="563512" y="235747"/>
                  </a:cubicBezTo>
                  <a:lnTo>
                    <a:pt x="560618" y="237933"/>
                  </a:lnTo>
                  <a:lnTo>
                    <a:pt x="558027" y="240557"/>
                  </a:lnTo>
                  <a:lnTo>
                    <a:pt x="555267" y="240422"/>
                  </a:lnTo>
                  <a:lnTo>
                    <a:pt x="553080" y="240725"/>
                  </a:lnTo>
                  <a:lnTo>
                    <a:pt x="550757" y="243618"/>
                  </a:lnTo>
                  <a:lnTo>
                    <a:pt x="548300" y="245065"/>
                  </a:lnTo>
                  <a:cubicBezTo>
                    <a:pt x="548300" y="245065"/>
                    <a:pt x="545406" y="245199"/>
                    <a:pt x="544228" y="245637"/>
                  </a:cubicBezTo>
                  <a:cubicBezTo>
                    <a:pt x="543084" y="246074"/>
                    <a:pt x="538002" y="248967"/>
                    <a:pt x="538002" y="248967"/>
                  </a:cubicBezTo>
                  <a:lnTo>
                    <a:pt x="532348" y="254047"/>
                  </a:lnTo>
                  <a:lnTo>
                    <a:pt x="528141" y="257949"/>
                  </a:lnTo>
                  <a:lnTo>
                    <a:pt x="524237" y="259530"/>
                  </a:lnTo>
                  <a:lnTo>
                    <a:pt x="522487" y="263735"/>
                  </a:lnTo>
                  <a:lnTo>
                    <a:pt x="520603" y="265888"/>
                  </a:lnTo>
                  <a:lnTo>
                    <a:pt x="514646" y="265753"/>
                  </a:lnTo>
                  <a:cubicBezTo>
                    <a:pt x="514646" y="265753"/>
                    <a:pt x="508790" y="265181"/>
                    <a:pt x="508184" y="265047"/>
                  </a:cubicBezTo>
                  <a:cubicBezTo>
                    <a:pt x="507612" y="264912"/>
                    <a:pt x="504045" y="263163"/>
                    <a:pt x="504045" y="263163"/>
                  </a:cubicBezTo>
                  <a:lnTo>
                    <a:pt x="504045" y="260539"/>
                  </a:lnTo>
                  <a:lnTo>
                    <a:pt x="500141" y="260102"/>
                  </a:lnTo>
                  <a:lnTo>
                    <a:pt x="499434" y="262423"/>
                  </a:lnTo>
                  <a:lnTo>
                    <a:pt x="498559" y="262995"/>
                  </a:lnTo>
                  <a:lnTo>
                    <a:pt x="495867" y="263197"/>
                  </a:lnTo>
                  <a:cubicBezTo>
                    <a:pt x="495867" y="263197"/>
                    <a:pt x="492737" y="262894"/>
                    <a:pt x="492165" y="262894"/>
                  </a:cubicBezTo>
                  <a:cubicBezTo>
                    <a:pt x="491593" y="262894"/>
                    <a:pt x="489708" y="262086"/>
                    <a:pt x="489775" y="261817"/>
                  </a:cubicBezTo>
                  <a:cubicBezTo>
                    <a:pt x="489842" y="261515"/>
                    <a:pt x="490415" y="259934"/>
                    <a:pt x="490650" y="259631"/>
                  </a:cubicBezTo>
                  <a:cubicBezTo>
                    <a:pt x="490852" y="259328"/>
                    <a:pt x="491727" y="257242"/>
                    <a:pt x="491727" y="257242"/>
                  </a:cubicBezTo>
                  <a:lnTo>
                    <a:pt x="492366" y="255358"/>
                  </a:lnTo>
                  <a:lnTo>
                    <a:pt x="493006" y="253172"/>
                  </a:lnTo>
                  <a:lnTo>
                    <a:pt x="493645" y="250144"/>
                  </a:lnTo>
                  <a:lnTo>
                    <a:pt x="494958" y="246444"/>
                  </a:lnTo>
                  <a:cubicBezTo>
                    <a:pt x="494958" y="246444"/>
                    <a:pt x="495463" y="245569"/>
                    <a:pt x="495833" y="245368"/>
                  </a:cubicBezTo>
                  <a:cubicBezTo>
                    <a:pt x="496203" y="245132"/>
                    <a:pt x="498155" y="243551"/>
                    <a:pt x="498155" y="243551"/>
                  </a:cubicBezTo>
                  <a:cubicBezTo>
                    <a:pt x="498155" y="243551"/>
                    <a:pt x="499097" y="243753"/>
                    <a:pt x="499299" y="242979"/>
                  </a:cubicBezTo>
                  <a:cubicBezTo>
                    <a:pt x="499501" y="242172"/>
                    <a:pt x="499670" y="240658"/>
                    <a:pt x="499670" y="240221"/>
                  </a:cubicBezTo>
                  <a:cubicBezTo>
                    <a:pt x="499670" y="239783"/>
                    <a:pt x="499097" y="238404"/>
                    <a:pt x="499030" y="238135"/>
                  </a:cubicBezTo>
                  <a:cubicBezTo>
                    <a:pt x="498963" y="237832"/>
                    <a:pt x="499097" y="235948"/>
                    <a:pt x="499333" y="235747"/>
                  </a:cubicBezTo>
                  <a:cubicBezTo>
                    <a:pt x="499535" y="235545"/>
                    <a:pt x="501016" y="233930"/>
                    <a:pt x="501016" y="233930"/>
                  </a:cubicBezTo>
                  <a:cubicBezTo>
                    <a:pt x="501016" y="233930"/>
                    <a:pt x="502025" y="233123"/>
                    <a:pt x="502261" y="232685"/>
                  </a:cubicBezTo>
                  <a:cubicBezTo>
                    <a:pt x="502463" y="232248"/>
                    <a:pt x="502900" y="230667"/>
                    <a:pt x="503001" y="229994"/>
                  </a:cubicBezTo>
                  <a:cubicBezTo>
                    <a:pt x="503069" y="229355"/>
                    <a:pt x="503069" y="226529"/>
                    <a:pt x="503069" y="226227"/>
                  </a:cubicBezTo>
                  <a:cubicBezTo>
                    <a:pt x="503069" y="225924"/>
                    <a:pt x="503001" y="222963"/>
                    <a:pt x="503001" y="222963"/>
                  </a:cubicBezTo>
                  <a:lnTo>
                    <a:pt x="502867" y="221282"/>
                  </a:lnTo>
                  <a:lnTo>
                    <a:pt x="502497" y="219028"/>
                  </a:lnTo>
                  <a:lnTo>
                    <a:pt x="497785" y="218153"/>
                  </a:lnTo>
                  <a:lnTo>
                    <a:pt x="497146" y="215832"/>
                  </a:lnTo>
                  <a:cubicBezTo>
                    <a:pt x="497146" y="215832"/>
                    <a:pt x="494621" y="212804"/>
                    <a:pt x="494319" y="212804"/>
                  </a:cubicBezTo>
                  <a:cubicBezTo>
                    <a:pt x="494016" y="212804"/>
                    <a:pt x="492737" y="212300"/>
                    <a:pt x="491626" y="212804"/>
                  </a:cubicBezTo>
                  <a:cubicBezTo>
                    <a:pt x="490549" y="213309"/>
                    <a:pt x="489304" y="213174"/>
                    <a:pt x="489304" y="213174"/>
                  </a:cubicBezTo>
                  <a:cubicBezTo>
                    <a:pt x="489304" y="213174"/>
                    <a:pt x="489237" y="211997"/>
                    <a:pt x="487487" y="210853"/>
                  </a:cubicBezTo>
                  <a:cubicBezTo>
                    <a:pt x="485737" y="209710"/>
                    <a:pt x="483852" y="208229"/>
                    <a:pt x="482842" y="207590"/>
                  </a:cubicBezTo>
                  <a:cubicBezTo>
                    <a:pt x="481833" y="206951"/>
                    <a:pt x="478568" y="203755"/>
                    <a:pt x="478568" y="203755"/>
                  </a:cubicBezTo>
                  <a:lnTo>
                    <a:pt x="475539" y="200223"/>
                  </a:lnTo>
                  <a:lnTo>
                    <a:pt x="475236" y="196758"/>
                  </a:lnTo>
                  <a:cubicBezTo>
                    <a:pt x="475236" y="196758"/>
                    <a:pt x="473789" y="195379"/>
                    <a:pt x="473049" y="195177"/>
                  </a:cubicBezTo>
                  <a:cubicBezTo>
                    <a:pt x="472308" y="194942"/>
                    <a:pt x="469650" y="192553"/>
                    <a:pt x="469347" y="192486"/>
                  </a:cubicBezTo>
                  <a:cubicBezTo>
                    <a:pt x="469044" y="192419"/>
                    <a:pt x="467597" y="191410"/>
                    <a:pt x="467327" y="191107"/>
                  </a:cubicBezTo>
                  <a:cubicBezTo>
                    <a:pt x="467025" y="190804"/>
                    <a:pt x="465073" y="188147"/>
                    <a:pt x="464736" y="187474"/>
                  </a:cubicBezTo>
                  <a:cubicBezTo>
                    <a:pt x="464366" y="186835"/>
                    <a:pt x="462481" y="183908"/>
                    <a:pt x="462481" y="183908"/>
                  </a:cubicBezTo>
                  <a:lnTo>
                    <a:pt x="460597" y="178997"/>
                  </a:lnTo>
                  <a:lnTo>
                    <a:pt x="457837" y="174792"/>
                  </a:lnTo>
                  <a:lnTo>
                    <a:pt x="454202" y="167694"/>
                  </a:lnTo>
                  <a:cubicBezTo>
                    <a:pt x="454202" y="167694"/>
                    <a:pt x="454135" y="165171"/>
                    <a:pt x="454202" y="164935"/>
                  </a:cubicBezTo>
                  <a:cubicBezTo>
                    <a:pt x="454270" y="164733"/>
                    <a:pt x="451443" y="161470"/>
                    <a:pt x="450803" y="160663"/>
                  </a:cubicBezTo>
                  <a:cubicBezTo>
                    <a:pt x="450164" y="159856"/>
                    <a:pt x="448717" y="155213"/>
                    <a:pt x="448717" y="155213"/>
                  </a:cubicBezTo>
                  <a:lnTo>
                    <a:pt x="445250" y="151311"/>
                  </a:lnTo>
                  <a:cubicBezTo>
                    <a:pt x="445250" y="151311"/>
                    <a:pt x="443500" y="148620"/>
                    <a:pt x="443500" y="148351"/>
                  </a:cubicBezTo>
                  <a:cubicBezTo>
                    <a:pt x="443500" y="148082"/>
                    <a:pt x="443635" y="146770"/>
                    <a:pt x="443500" y="146467"/>
                  </a:cubicBezTo>
                  <a:cubicBezTo>
                    <a:pt x="443365" y="146164"/>
                    <a:pt x="444072" y="144650"/>
                    <a:pt x="444308" y="144583"/>
                  </a:cubicBezTo>
                  <a:cubicBezTo>
                    <a:pt x="444543" y="144516"/>
                    <a:pt x="444611" y="143843"/>
                    <a:pt x="445890" y="143574"/>
                  </a:cubicBezTo>
                  <a:cubicBezTo>
                    <a:pt x="447202" y="143271"/>
                    <a:pt x="449962" y="141320"/>
                    <a:pt x="450669" y="141186"/>
                  </a:cubicBezTo>
                  <a:cubicBezTo>
                    <a:pt x="451409" y="141051"/>
                    <a:pt x="453697" y="139672"/>
                    <a:pt x="454371" y="139537"/>
                  </a:cubicBezTo>
                  <a:cubicBezTo>
                    <a:pt x="455010" y="139403"/>
                    <a:pt x="458005" y="137283"/>
                    <a:pt x="458409" y="137283"/>
                  </a:cubicBezTo>
                  <a:cubicBezTo>
                    <a:pt x="458847" y="137283"/>
                    <a:pt x="465005" y="132944"/>
                    <a:pt x="465005" y="132944"/>
                  </a:cubicBezTo>
                  <a:lnTo>
                    <a:pt x="467395" y="130421"/>
                  </a:lnTo>
                  <a:cubicBezTo>
                    <a:pt x="467395" y="130421"/>
                    <a:pt x="466890" y="128470"/>
                    <a:pt x="466890" y="128167"/>
                  </a:cubicBezTo>
                  <a:cubicBezTo>
                    <a:pt x="466890" y="127864"/>
                    <a:pt x="466385" y="126485"/>
                    <a:pt x="466318" y="126283"/>
                  </a:cubicBezTo>
                  <a:cubicBezTo>
                    <a:pt x="466251" y="126081"/>
                    <a:pt x="465073" y="124534"/>
                    <a:pt x="464736" y="124265"/>
                  </a:cubicBezTo>
                  <a:cubicBezTo>
                    <a:pt x="464366" y="123962"/>
                    <a:pt x="462212" y="122516"/>
                    <a:pt x="462212" y="122516"/>
                  </a:cubicBezTo>
                  <a:cubicBezTo>
                    <a:pt x="462212" y="122516"/>
                    <a:pt x="462347" y="119757"/>
                    <a:pt x="462515" y="119555"/>
                  </a:cubicBezTo>
                  <a:cubicBezTo>
                    <a:pt x="462650" y="119353"/>
                    <a:pt x="462818" y="117234"/>
                    <a:pt x="462818" y="117234"/>
                  </a:cubicBezTo>
                  <a:cubicBezTo>
                    <a:pt x="462818" y="117234"/>
                    <a:pt x="460731" y="113164"/>
                    <a:pt x="459991" y="112222"/>
                  </a:cubicBezTo>
                  <a:cubicBezTo>
                    <a:pt x="459284" y="111280"/>
                    <a:pt x="457366" y="108892"/>
                    <a:pt x="457366" y="108892"/>
                  </a:cubicBezTo>
                  <a:lnTo>
                    <a:pt x="457500" y="105494"/>
                  </a:lnTo>
                  <a:lnTo>
                    <a:pt x="458308" y="102164"/>
                  </a:lnTo>
                  <a:cubicBezTo>
                    <a:pt x="458308" y="102164"/>
                    <a:pt x="456053" y="97589"/>
                    <a:pt x="455986" y="97185"/>
                  </a:cubicBezTo>
                  <a:cubicBezTo>
                    <a:pt x="455919" y="96748"/>
                    <a:pt x="453899" y="92475"/>
                    <a:pt x="453899" y="92173"/>
                  </a:cubicBezTo>
                  <a:cubicBezTo>
                    <a:pt x="453899" y="91870"/>
                    <a:pt x="453327" y="89212"/>
                    <a:pt x="453260" y="88842"/>
                  </a:cubicBezTo>
                  <a:cubicBezTo>
                    <a:pt x="453193" y="88472"/>
                    <a:pt x="451443" y="81543"/>
                    <a:pt x="451443" y="81543"/>
                  </a:cubicBezTo>
                  <a:lnTo>
                    <a:pt x="448481" y="75521"/>
                  </a:lnTo>
                  <a:lnTo>
                    <a:pt x="447337" y="66977"/>
                  </a:lnTo>
                  <a:lnTo>
                    <a:pt x="437779" y="45245"/>
                  </a:lnTo>
                  <a:lnTo>
                    <a:pt x="432865" y="24389"/>
                  </a:lnTo>
                  <a:lnTo>
                    <a:pt x="428524" y="3229"/>
                  </a:lnTo>
                  <a:lnTo>
                    <a:pt x="409677" y="639"/>
                  </a:lnTo>
                  <a:lnTo>
                    <a:pt x="398942" y="639"/>
                  </a:lnTo>
                  <a:lnTo>
                    <a:pt x="385042" y="639"/>
                  </a:lnTo>
                  <a:lnTo>
                    <a:pt x="376359" y="639"/>
                  </a:lnTo>
                  <a:lnTo>
                    <a:pt x="364176" y="639"/>
                  </a:lnTo>
                  <a:lnTo>
                    <a:pt x="357210" y="639"/>
                  </a:lnTo>
                  <a:lnTo>
                    <a:pt x="348964" y="0"/>
                  </a:lnTo>
                  <a:cubicBezTo>
                    <a:pt x="348964" y="0"/>
                    <a:pt x="341998" y="437"/>
                    <a:pt x="341695" y="639"/>
                  </a:cubicBezTo>
                  <a:cubicBezTo>
                    <a:pt x="341358" y="875"/>
                    <a:pt x="337656" y="3364"/>
                    <a:pt x="335503" y="4878"/>
                  </a:cubicBezTo>
                  <a:cubicBezTo>
                    <a:pt x="333315" y="6392"/>
                    <a:pt x="330185" y="7704"/>
                    <a:pt x="329748" y="8343"/>
                  </a:cubicBezTo>
                  <a:cubicBezTo>
                    <a:pt x="329310" y="8982"/>
                    <a:pt x="327358" y="11067"/>
                    <a:pt x="327123" y="11606"/>
                  </a:cubicBezTo>
                  <a:cubicBezTo>
                    <a:pt x="326921" y="12144"/>
                    <a:pt x="326483" y="16484"/>
                    <a:pt x="326483" y="16820"/>
                  </a:cubicBezTo>
                  <a:cubicBezTo>
                    <a:pt x="326483" y="17156"/>
                    <a:pt x="326584" y="20621"/>
                    <a:pt x="326483" y="20958"/>
                  </a:cubicBezTo>
                  <a:cubicBezTo>
                    <a:pt x="326382" y="21294"/>
                    <a:pt x="325406" y="27484"/>
                    <a:pt x="325406" y="27484"/>
                  </a:cubicBezTo>
                  <a:lnTo>
                    <a:pt x="326820" y="38114"/>
                  </a:lnTo>
                  <a:lnTo>
                    <a:pt x="325945" y="49181"/>
                  </a:lnTo>
                  <a:lnTo>
                    <a:pt x="322916" y="57120"/>
                  </a:lnTo>
                  <a:lnTo>
                    <a:pt x="320728" y="68625"/>
                  </a:lnTo>
                  <a:lnTo>
                    <a:pt x="325305" y="73839"/>
                  </a:lnTo>
                  <a:cubicBezTo>
                    <a:pt x="325305" y="73839"/>
                    <a:pt x="325844" y="75891"/>
                    <a:pt x="325507" y="76463"/>
                  </a:cubicBezTo>
                  <a:cubicBezTo>
                    <a:pt x="325171" y="77001"/>
                    <a:pt x="322916" y="79490"/>
                    <a:pt x="322916" y="79490"/>
                  </a:cubicBezTo>
                  <a:cubicBezTo>
                    <a:pt x="322916" y="79490"/>
                    <a:pt x="317161" y="82215"/>
                    <a:pt x="317026" y="82518"/>
                  </a:cubicBezTo>
                  <a:cubicBezTo>
                    <a:pt x="316925" y="82854"/>
                    <a:pt x="313560" y="85007"/>
                    <a:pt x="313560" y="85007"/>
                  </a:cubicBezTo>
                  <a:cubicBezTo>
                    <a:pt x="313560" y="85007"/>
                    <a:pt x="309656" y="90222"/>
                    <a:pt x="309420" y="90659"/>
                  </a:cubicBezTo>
                  <a:cubicBezTo>
                    <a:pt x="309218" y="91096"/>
                    <a:pt x="300939" y="91197"/>
                    <a:pt x="300502" y="91197"/>
                  </a:cubicBezTo>
                  <a:cubicBezTo>
                    <a:pt x="300064" y="91197"/>
                    <a:pt x="290170" y="88035"/>
                    <a:pt x="289732" y="87934"/>
                  </a:cubicBezTo>
                  <a:cubicBezTo>
                    <a:pt x="289295" y="87833"/>
                    <a:pt x="285290" y="86757"/>
                    <a:pt x="284852" y="86757"/>
                  </a:cubicBezTo>
                  <a:cubicBezTo>
                    <a:pt x="284415" y="86757"/>
                    <a:pt x="281487" y="84806"/>
                    <a:pt x="279838" y="84806"/>
                  </a:cubicBezTo>
                  <a:cubicBezTo>
                    <a:pt x="278222" y="84806"/>
                    <a:pt x="275496" y="84032"/>
                    <a:pt x="275496" y="84032"/>
                  </a:cubicBezTo>
                  <a:cubicBezTo>
                    <a:pt x="275496" y="84032"/>
                    <a:pt x="272434" y="84032"/>
                    <a:pt x="272030" y="84032"/>
                  </a:cubicBezTo>
                  <a:cubicBezTo>
                    <a:pt x="271593" y="84032"/>
                    <a:pt x="267588" y="86656"/>
                    <a:pt x="267588" y="86656"/>
                  </a:cubicBezTo>
                  <a:cubicBezTo>
                    <a:pt x="267588" y="86656"/>
                    <a:pt x="264761" y="87429"/>
                    <a:pt x="264424" y="87429"/>
                  </a:cubicBezTo>
                  <a:cubicBezTo>
                    <a:pt x="264088" y="87429"/>
                    <a:pt x="261934" y="88640"/>
                    <a:pt x="261160" y="88741"/>
                  </a:cubicBezTo>
                  <a:cubicBezTo>
                    <a:pt x="260385" y="88842"/>
                    <a:pt x="260621" y="90491"/>
                    <a:pt x="258232" y="89179"/>
                  </a:cubicBezTo>
                  <a:cubicBezTo>
                    <a:pt x="255842" y="87867"/>
                    <a:pt x="252039" y="86790"/>
                    <a:pt x="252039" y="86790"/>
                  </a:cubicBezTo>
                  <a:lnTo>
                    <a:pt x="249010" y="87228"/>
                  </a:lnTo>
                  <a:lnTo>
                    <a:pt x="230433" y="92105"/>
                  </a:lnTo>
                  <a:lnTo>
                    <a:pt x="215322" y="94157"/>
                  </a:lnTo>
                  <a:lnTo>
                    <a:pt x="211183" y="97219"/>
                  </a:lnTo>
                  <a:cubicBezTo>
                    <a:pt x="211183" y="97219"/>
                    <a:pt x="207043" y="98631"/>
                    <a:pt x="206067" y="99271"/>
                  </a:cubicBezTo>
                  <a:cubicBezTo>
                    <a:pt x="205091" y="99910"/>
                    <a:pt x="201052" y="101222"/>
                    <a:pt x="199875" y="102197"/>
                  </a:cubicBezTo>
                  <a:cubicBezTo>
                    <a:pt x="198663" y="103173"/>
                    <a:pt x="195096" y="105023"/>
                    <a:pt x="194557" y="105460"/>
                  </a:cubicBezTo>
                  <a:cubicBezTo>
                    <a:pt x="194019" y="105898"/>
                    <a:pt x="190956" y="108723"/>
                    <a:pt x="190552" y="108824"/>
                  </a:cubicBezTo>
                  <a:cubicBezTo>
                    <a:pt x="190115" y="108925"/>
                    <a:pt x="186850" y="111314"/>
                    <a:pt x="186850" y="111314"/>
                  </a:cubicBezTo>
                  <a:lnTo>
                    <a:pt x="178706" y="118479"/>
                  </a:lnTo>
                  <a:lnTo>
                    <a:pt x="164672" y="128470"/>
                  </a:lnTo>
                  <a:lnTo>
                    <a:pt x="159018" y="133146"/>
                  </a:lnTo>
                  <a:cubicBezTo>
                    <a:pt x="159018" y="133146"/>
                    <a:pt x="150974" y="139134"/>
                    <a:pt x="150638" y="139335"/>
                  </a:cubicBezTo>
                  <a:cubicBezTo>
                    <a:pt x="150301" y="139537"/>
                    <a:pt x="141080" y="144987"/>
                    <a:pt x="141080" y="144987"/>
                  </a:cubicBezTo>
                  <a:lnTo>
                    <a:pt x="131085" y="151614"/>
                  </a:lnTo>
                  <a:lnTo>
                    <a:pt x="123580" y="160091"/>
                  </a:lnTo>
                  <a:lnTo>
                    <a:pt x="118700" y="168131"/>
                  </a:lnTo>
                  <a:cubicBezTo>
                    <a:pt x="118700" y="168131"/>
                    <a:pt x="115334" y="170620"/>
                    <a:pt x="114022" y="171394"/>
                  </a:cubicBezTo>
                  <a:cubicBezTo>
                    <a:pt x="112709" y="172168"/>
                    <a:pt x="108368" y="177247"/>
                    <a:pt x="108368" y="177247"/>
                  </a:cubicBezTo>
                  <a:cubicBezTo>
                    <a:pt x="108368" y="177247"/>
                    <a:pt x="106416" y="180847"/>
                    <a:pt x="106079" y="181688"/>
                  </a:cubicBezTo>
                  <a:cubicBezTo>
                    <a:pt x="105743" y="182562"/>
                    <a:pt x="105305" y="184312"/>
                    <a:pt x="105002" y="184850"/>
                  </a:cubicBezTo>
                  <a:cubicBezTo>
                    <a:pt x="104666" y="185388"/>
                    <a:pt x="103387" y="186700"/>
                    <a:pt x="103252" y="187137"/>
                  </a:cubicBezTo>
                  <a:cubicBezTo>
                    <a:pt x="103151" y="187575"/>
                    <a:pt x="101199" y="190165"/>
                    <a:pt x="101199" y="190165"/>
                  </a:cubicBezTo>
                  <a:lnTo>
                    <a:pt x="100324" y="191914"/>
                  </a:lnTo>
                  <a:lnTo>
                    <a:pt x="99247" y="193125"/>
                  </a:lnTo>
                  <a:cubicBezTo>
                    <a:pt x="99247" y="193125"/>
                    <a:pt x="97935" y="193899"/>
                    <a:pt x="97497" y="193899"/>
                  </a:cubicBezTo>
                  <a:cubicBezTo>
                    <a:pt x="97060" y="193899"/>
                    <a:pt x="95747" y="194538"/>
                    <a:pt x="95747" y="194538"/>
                  </a:cubicBezTo>
                  <a:lnTo>
                    <a:pt x="94435" y="195749"/>
                  </a:lnTo>
                  <a:lnTo>
                    <a:pt x="93560" y="196186"/>
                  </a:lnTo>
                  <a:lnTo>
                    <a:pt x="92786" y="196725"/>
                  </a:lnTo>
                  <a:cubicBezTo>
                    <a:pt x="92786" y="196725"/>
                    <a:pt x="92247" y="197498"/>
                    <a:pt x="91608" y="197936"/>
                  </a:cubicBezTo>
                  <a:cubicBezTo>
                    <a:pt x="90968" y="198373"/>
                    <a:pt x="90093" y="199113"/>
                    <a:pt x="89656" y="199550"/>
                  </a:cubicBezTo>
                  <a:cubicBezTo>
                    <a:pt x="89218" y="199988"/>
                    <a:pt x="87704" y="200425"/>
                    <a:pt x="87704" y="200425"/>
                  </a:cubicBezTo>
                  <a:lnTo>
                    <a:pt x="86627" y="200862"/>
                  </a:lnTo>
                  <a:lnTo>
                    <a:pt x="85113" y="201401"/>
                  </a:lnTo>
                  <a:lnTo>
                    <a:pt x="83699" y="202477"/>
                  </a:lnTo>
                  <a:cubicBezTo>
                    <a:pt x="83699" y="202477"/>
                    <a:pt x="82723" y="203251"/>
                    <a:pt x="82387" y="203553"/>
                  </a:cubicBezTo>
                  <a:cubicBezTo>
                    <a:pt x="82050" y="203890"/>
                    <a:pt x="81074" y="204529"/>
                    <a:pt x="80435" y="204765"/>
                  </a:cubicBezTo>
                  <a:cubicBezTo>
                    <a:pt x="79795" y="204966"/>
                    <a:pt x="79257" y="204966"/>
                    <a:pt x="78684" y="205404"/>
                  </a:cubicBezTo>
                  <a:cubicBezTo>
                    <a:pt x="78146" y="205841"/>
                    <a:pt x="77809" y="206043"/>
                    <a:pt x="76732" y="206278"/>
                  </a:cubicBezTo>
                  <a:cubicBezTo>
                    <a:pt x="75656" y="206480"/>
                    <a:pt x="74444" y="206917"/>
                    <a:pt x="74444" y="206917"/>
                  </a:cubicBezTo>
                  <a:lnTo>
                    <a:pt x="72694" y="207456"/>
                  </a:lnTo>
                  <a:cubicBezTo>
                    <a:pt x="72694" y="207456"/>
                    <a:pt x="72055" y="207792"/>
                    <a:pt x="71617" y="208095"/>
                  </a:cubicBezTo>
                  <a:cubicBezTo>
                    <a:pt x="71180" y="208431"/>
                    <a:pt x="70103" y="208869"/>
                    <a:pt x="68992" y="209070"/>
                  </a:cubicBezTo>
                  <a:cubicBezTo>
                    <a:pt x="67915" y="209306"/>
                    <a:pt x="67377" y="209743"/>
                    <a:pt x="66064" y="209844"/>
                  </a:cubicBezTo>
                  <a:cubicBezTo>
                    <a:pt x="64751" y="209945"/>
                    <a:pt x="62800" y="209844"/>
                    <a:pt x="62463" y="210046"/>
                  </a:cubicBezTo>
                  <a:cubicBezTo>
                    <a:pt x="62126" y="210281"/>
                    <a:pt x="62126" y="210147"/>
                    <a:pt x="59636" y="210147"/>
                  </a:cubicBezTo>
                  <a:cubicBezTo>
                    <a:pt x="57146" y="210147"/>
                    <a:pt x="57146" y="209945"/>
                    <a:pt x="55631" y="209810"/>
                  </a:cubicBezTo>
                  <a:cubicBezTo>
                    <a:pt x="54117" y="209710"/>
                    <a:pt x="52905" y="209037"/>
                    <a:pt x="52602" y="208936"/>
                  </a:cubicBezTo>
                  <a:cubicBezTo>
                    <a:pt x="52266" y="208835"/>
                    <a:pt x="49674" y="207624"/>
                    <a:pt x="49001" y="207624"/>
                  </a:cubicBezTo>
                  <a:cubicBezTo>
                    <a:pt x="48362" y="207624"/>
                    <a:pt x="43246" y="204462"/>
                    <a:pt x="42371" y="204462"/>
                  </a:cubicBezTo>
                  <a:cubicBezTo>
                    <a:pt x="41496" y="204462"/>
                    <a:pt x="37491" y="204563"/>
                    <a:pt x="37054" y="204361"/>
                  </a:cubicBezTo>
                  <a:cubicBezTo>
                    <a:pt x="36616" y="204159"/>
                    <a:pt x="32174" y="203049"/>
                    <a:pt x="32174" y="203049"/>
                  </a:cubicBezTo>
                  <a:cubicBezTo>
                    <a:pt x="32174" y="203049"/>
                    <a:pt x="29885" y="201838"/>
                    <a:pt x="29448" y="201838"/>
                  </a:cubicBezTo>
                  <a:cubicBezTo>
                    <a:pt x="29010" y="201838"/>
                    <a:pt x="26621" y="201300"/>
                    <a:pt x="26621" y="201300"/>
                  </a:cubicBezTo>
                  <a:lnTo>
                    <a:pt x="24400" y="201199"/>
                  </a:lnTo>
                  <a:lnTo>
                    <a:pt x="22515" y="201300"/>
                  </a:lnTo>
                  <a:lnTo>
                    <a:pt x="22515" y="203049"/>
                  </a:lnTo>
                  <a:lnTo>
                    <a:pt x="22515" y="206514"/>
                  </a:lnTo>
                  <a:cubicBezTo>
                    <a:pt x="22515" y="206514"/>
                    <a:pt x="22077" y="207590"/>
                    <a:pt x="22515" y="208129"/>
                  </a:cubicBezTo>
                  <a:cubicBezTo>
                    <a:pt x="22952" y="208667"/>
                    <a:pt x="22852" y="209878"/>
                    <a:pt x="22852" y="210315"/>
                  </a:cubicBezTo>
                  <a:cubicBezTo>
                    <a:pt x="22852" y="210752"/>
                    <a:pt x="22347" y="212804"/>
                    <a:pt x="22347" y="212804"/>
                  </a:cubicBezTo>
                  <a:lnTo>
                    <a:pt x="21875" y="235612"/>
                  </a:lnTo>
                  <a:lnTo>
                    <a:pt x="22952" y="239851"/>
                  </a:lnTo>
                  <a:cubicBezTo>
                    <a:pt x="22952" y="239851"/>
                    <a:pt x="23289" y="241802"/>
                    <a:pt x="23188" y="242239"/>
                  </a:cubicBezTo>
                  <a:cubicBezTo>
                    <a:pt x="23087" y="242676"/>
                    <a:pt x="22751" y="244527"/>
                    <a:pt x="21875" y="245704"/>
                  </a:cubicBezTo>
                  <a:cubicBezTo>
                    <a:pt x="21000" y="246881"/>
                    <a:pt x="20799" y="247453"/>
                    <a:pt x="19385" y="248731"/>
                  </a:cubicBezTo>
                  <a:cubicBezTo>
                    <a:pt x="17972" y="250043"/>
                    <a:pt x="18308" y="248832"/>
                    <a:pt x="17332" y="250784"/>
                  </a:cubicBezTo>
                  <a:cubicBezTo>
                    <a:pt x="16356" y="252735"/>
                    <a:pt x="13731" y="255661"/>
                    <a:pt x="13731" y="255661"/>
                  </a:cubicBezTo>
                  <a:cubicBezTo>
                    <a:pt x="13731" y="255661"/>
                    <a:pt x="10803" y="257074"/>
                    <a:pt x="10265" y="257713"/>
                  </a:cubicBezTo>
                  <a:cubicBezTo>
                    <a:pt x="9726" y="258352"/>
                    <a:pt x="8414" y="260875"/>
                    <a:pt x="8414" y="260875"/>
                  </a:cubicBezTo>
                  <a:lnTo>
                    <a:pt x="5923" y="264576"/>
                  </a:lnTo>
                  <a:lnTo>
                    <a:pt x="4308" y="267267"/>
                  </a:lnTo>
                  <a:cubicBezTo>
                    <a:pt x="4308" y="267267"/>
                    <a:pt x="4644" y="268343"/>
                    <a:pt x="4308" y="269117"/>
                  </a:cubicBezTo>
                  <a:cubicBezTo>
                    <a:pt x="3971" y="269891"/>
                    <a:pt x="4308" y="270631"/>
                    <a:pt x="4644" y="271068"/>
                  </a:cubicBezTo>
                  <a:cubicBezTo>
                    <a:pt x="4981" y="271506"/>
                    <a:pt x="5183" y="273154"/>
                    <a:pt x="5183" y="273154"/>
                  </a:cubicBezTo>
                  <a:lnTo>
                    <a:pt x="5183" y="275980"/>
                  </a:lnTo>
                  <a:lnTo>
                    <a:pt x="4308" y="279243"/>
                  </a:lnTo>
                  <a:lnTo>
                    <a:pt x="3467" y="288056"/>
                  </a:lnTo>
                  <a:lnTo>
                    <a:pt x="3467" y="295121"/>
                  </a:lnTo>
                  <a:lnTo>
                    <a:pt x="0" y="298720"/>
                  </a:lnTo>
                  <a:lnTo>
                    <a:pt x="0" y="302084"/>
                  </a:lnTo>
                  <a:lnTo>
                    <a:pt x="1178" y="305549"/>
                  </a:lnTo>
                  <a:lnTo>
                    <a:pt x="1817" y="309687"/>
                  </a:lnTo>
                  <a:lnTo>
                    <a:pt x="2154" y="312849"/>
                  </a:lnTo>
                  <a:lnTo>
                    <a:pt x="2928" y="313387"/>
                  </a:lnTo>
                  <a:lnTo>
                    <a:pt x="6933" y="315977"/>
                  </a:lnTo>
                  <a:lnTo>
                    <a:pt x="7909" y="316953"/>
                  </a:lnTo>
                  <a:lnTo>
                    <a:pt x="9760" y="318164"/>
                  </a:lnTo>
                  <a:cubicBezTo>
                    <a:pt x="9760" y="318164"/>
                    <a:pt x="9928" y="319139"/>
                    <a:pt x="10029" y="319913"/>
                  </a:cubicBezTo>
                  <a:cubicBezTo>
                    <a:pt x="10130" y="320687"/>
                    <a:pt x="10399" y="322940"/>
                    <a:pt x="10399" y="322940"/>
                  </a:cubicBezTo>
                  <a:lnTo>
                    <a:pt x="10399" y="324690"/>
                  </a:lnTo>
                  <a:cubicBezTo>
                    <a:pt x="10399" y="324690"/>
                    <a:pt x="10298" y="326103"/>
                    <a:pt x="10298" y="326540"/>
                  </a:cubicBezTo>
                  <a:cubicBezTo>
                    <a:pt x="10298" y="326977"/>
                    <a:pt x="10063" y="329029"/>
                    <a:pt x="10063" y="329029"/>
                  </a:cubicBezTo>
                  <a:cubicBezTo>
                    <a:pt x="10063" y="329029"/>
                    <a:pt x="9625" y="331317"/>
                    <a:pt x="9625" y="331754"/>
                  </a:cubicBezTo>
                  <a:cubicBezTo>
                    <a:pt x="9625" y="332191"/>
                    <a:pt x="8851" y="335219"/>
                    <a:pt x="8851" y="335892"/>
                  </a:cubicBezTo>
                  <a:cubicBezTo>
                    <a:pt x="8851" y="336531"/>
                    <a:pt x="8414" y="337069"/>
                    <a:pt x="8313" y="337507"/>
                  </a:cubicBezTo>
                  <a:cubicBezTo>
                    <a:pt x="8212" y="337944"/>
                    <a:pt x="7875" y="338919"/>
                    <a:pt x="7673" y="339357"/>
                  </a:cubicBezTo>
                  <a:cubicBezTo>
                    <a:pt x="7471" y="339794"/>
                    <a:pt x="6899" y="342519"/>
                    <a:pt x="6899" y="342519"/>
                  </a:cubicBezTo>
                  <a:cubicBezTo>
                    <a:pt x="6899" y="342519"/>
                    <a:pt x="6798" y="344604"/>
                    <a:pt x="6899" y="344907"/>
                  </a:cubicBezTo>
                  <a:cubicBezTo>
                    <a:pt x="7000" y="345244"/>
                    <a:pt x="7000" y="346993"/>
                    <a:pt x="7000" y="346993"/>
                  </a:cubicBezTo>
                  <a:cubicBezTo>
                    <a:pt x="7000" y="346993"/>
                    <a:pt x="6899" y="348204"/>
                    <a:pt x="7101" y="348608"/>
                  </a:cubicBezTo>
                  <a:cubicBezTo>
                    <a:pt x="7303" y="349045"/>
                    <a:pt x="7640" y="349819"/>
                    <a:pt x="8717" y="350794"/>
                  </a:cubicBezTo>
                  <a:cubicBezTo>
                    <a:pt x="9794" y="351770"/>
                    <a:pt x="11005" y="352745"/>
                    <a:pt x="11645" y="353384"/>
                  </a:cubicBezTo>
                  <a:cubicBezTo>
                    <a:pt x="12284" y="354024"/>
                    <a:pt x="13058" y="354898"/>
                    <a:pt x="13496" y="354999"/>
                  </a:cubicBezTo>
                  <a:cubicBezTo>
                    <a:pt x="13933" y="355100"/>
                    <a:pt x="15683" y="354225"/>
                    <a:pt x="15683" y="354225"/>
                  </a:cubicBezTo>
                  <a:cubicBezTo>
                    <a:pt x="15683" y="354225"/>
                    <a:pt x="18409" y="354225"/>
                    <a:pt x="18847" y="354024"/>
                  </a:cubicBezTo>
                  <a:cubicBezTo>
                    <a:pt x="19284" y="353788"/>
                    <a:pt x="27328" y="353485"/>
                    <a:pt x="27328" y="353485"/>
                  </a:cubicBezTo>
                  <a:cubicBezTo>
                    <a:pt x="27328" y="353485"/>
                    <a:pt x="34159" y="353384"/>
                    <a:pt x="34395" y="352947"/>
                  </a:cubicBezTo>
                  <a:cubicBezTo>
                    <a:pt x="34631" y="352510"/>
                    <a:pt x="36246" y="350761"/>
                    <a:pt x="36246" y="350761"/>
                  </a:cubicBezTo>
                  <a:lnTo>
                    <a:pt x="38299" y="350962"/>
                  </a:lnTo>
                  <a:cubicBezTo>
                    <a:pt x="38299" y="350962"/>
                    <a:pt x="38198" y="352039"/>
                    <a:pt x="40049" y="352274"/>
                  </a:cubicBezTo>
                  <a:cubicBezTo>
                    <a:pt x="41900" y="352476"/>
                    <a:pt x="43650" y="353149"/>
                    <a:pt x="44727" y="353149"/>
                  </a:cubicBezTo>
                  <a:cubicBezTo>
                    <a:pt x="45804" y="353149"/>
                    <a:pt x="47016" y="353788"/>
                    <a:pt x="47991" y="352947"/>
                  </a:cubicBezTo>
                  <a:cubicBezTo>
                    <a:pt x="48967" y="352072"/>
                    <a:pt x="50482" y="351097"/>
                    <a:pt x="50819" y="350559"/>
                  </a:cubicBezTo>
                  <a:cubicBezTo>
                    <a:pt x="51155" y="350020"/>
                    <a:pt x="52131" y="348170"/>
                    <a:pt x="52232" y="347733"/>
                  </a:cubicBezTo>
                  <a:cubicBezTo>
                    <a:pt x="52333" y="347296"/>
                    <a:pt x="52871" y="345345"/>
                    <a:pt x="52871" y="345345"/>
                  </a:cubicBezTo>
                  <a:cubicBezTo>
                    <a:pt x="52871" y="345345"/>
                    <a:pt x="52770" y="344907"/>
                    <a:pt x="53410" y="345008"/>
                  </a:cubicBezTo>
                  <a:cubicBezTo>
                    <a:pt x="54049" y="345109"/>
                    <a:pt x="55261" y="345109"/>
                    <a:pt x="56136" y="345345"/>
                  </a:cubicBezTo>
                  <a:cubicBezTo>
                    <a:pt x="57011" y="345546"/>
                    <a:pt x="59400" y="346657"/>
                    <a:pt x="59939" y="346959"/>
                  </a:cubicBezTo>
                  <a:cubicBezTo>
                    <a:pt x="60477" y="347296"/>
                    <a:pt x="62766" y="348574"/>
                    <a:pt x="63540" y="348574"/>
                  </a:cubicBezTo>
                  <a:cubicBezTo>
                    <a:pt x="64314" y="348574"/>
                    <a:pt x="67982" y="349886"/>
                    <a:pt x="68420" y="349886"/>
                  </a:cubicBezTo>
                  <a:cubicBezTo>
                    <a:pt x="68857" y="349886"/>
                    <a:pt x="75588" y="349886"/>
                    <a:pt x="75588" y="349886"/>
                  </a:cubicBezTo>
                  <a:cubicBezTo>
                    <a:pt x="75588" y="349886"/>
                    <a:pt x="80165" y="350424"/>
                    <a:pt x="81781" y="350861"/>
                  </a:cubicBezTo>
                  <a:cubicBezTo>
                    <a:pt x="83430" y="351299"/>
                    <a:pt x="87334" y="351063"/>
                    <a:pt x="88411" y="351635"/>
                  </a:cubicBezTo>
                  <a:cubicBezTo>
                    <a:pt x="89488" y="352173"/>
                    <a:pt x="91137" y="352510"/>
                    <a:pt x="92214" y="353048"/>
                  </a:cubicBezTo>
                  <a:cubicBezTo>
                    <a:pt x="93291" y="353586"/>
                    <a:pt x="94603" y="354461"/>
                    <a:pt x="95478" y="354562"/>
                  </a:cubicBezTo>
                  <a:cubicBezTo>
                    <a:pt x="96353" y="354663"/>
                    <a:pt x="97968" y="355100"/>
                    <a:pt x="99281" y="355100"/>
                  </a:cubicBezTo>
                  <a:cubicBezTo>
                    <a:pt x="100594" y="355100"/>
                    <a:pt x="101906" y="355436"/>
                    <a:pt x="102882" y="355335"/>
                  </a:cubicBezTo>
                  <a:cubicBezTo>
                    <a:pt x="103858" y="355235"/>
                    <a:pt x="105171" y="354125"/>
                    <a:pt x="106349" y="354125"/>
                  </a:cubicBezTo>
                  <a:cubicBezTo>
                    <a:pt x="107526" y="354125"/>
                    <a:pt x="108637" y="353788"/>
                    <a:pt x="110152" y="353485"/>
                  </a:cubicBezTo>
                  <a:cubicBezTo>
                    <a:pt x="111666" y="353149"/>
                    <a:pt x="112204" y="352409"/>
                    <a:pt x="113854" y="351972"/>
                  </a:cubicBezTo>
                  <a:cubicBezTo>
                    <a:pt x="115469" y="351534"/>
                    <a:pt x="117219" y="350660"/>
                    <a:pt x="117892" y="350660"/>
                  </a:cubicBezTo>
                  <a:cubicBezTo>
                    <a:pt x="118532" y="350660"/>
                    <a:pt x="119642" y="350323"/>
                    <a:pt x="119945" y="350323"/>
                  </a:cubicBezTo>
                  <a:cubicBezTo>
                    <a:pt x="120281" y="350323"/>
                    <a:pt x="121796" y="351736"/>
                    <a:pt x="121796" y="351736"/>
                  </a:cubicBezTo>
                  <a:lnTo>
                    <a:pt x="124522" y="354125"/>
                  </a:lnTo>
                  <a:cubicBezTo>
                    <a:pt x="124522" y="354125"/>
                    <a:pt x="126810" y="356513"/>
                    <a:pt x="128123" y="356176"/>
                  </a:cubicBezTo>
                  <a:cubicBezTo>
                    <a:pt x="129436" y="355840"/>
                    <a:pt x="137142" y="355100"/>
                    <a:pt x="137142" y="355100"/>
                  </a:cubicBezTo>
                  <a:cubicBezTo>
                    <a:pt x="137142" y="355100"/>
                    <a:pt x="142796" y="355874"/>
                    <a:pt x="143133" y="356076"/>
                  </a:cubicBezTo>
                  <a:cubicBezTo>
                    <a:pt x="143470" y="356277"/>
                    <a:pt x="144984" y="357488"/>
                    <a:pt x="146936" y="358464"/>
                  </a:cubicBezTo>
                  <a:cubicBezTo>
                    <a:pt x="148888" y="359440"/>
                    <a:pt x="152253" y="362265"/>
                    <a:pt x="153128" y="362904"/>
                  </a:cubicBezTo>
                  <a:cubicBezTo>
                    <a:pt x="154003" y="363544"/>
                    <a:pt x="158883" y="367042"/>
                    <a:pt x="159556" y="367244"/>
                  </a:cubicBezTo>
                  <a:cubicBezTo>
                    <a:pt x="160196" y="367446"/>
                    <a:pt x="163460" y="368859"/>
                    <a:pt x="165984" y="369094"/>
                  </a:cubicBezTo>
                  <a:cubicBezTo>
                    <a:pt x="168475" y="369296"/>
                    <a:pt x="171201" y="369296"/>
                    <a:pt x="173489" y="369296"/>
                  </a:cubicBezTo>
                  <a:cubicBezTo>
                    <a:pt x="175778" y="369296"/>
                    <a:pt x="176754" y="369094"/>
                    <a:pt x="178067" y="369195"/>
                  </a:cubicBezTo>
                  <a:cubicBezTo>
                    <a:pt x="179379" y="369296"/>
                    <a:pt x="183384" y="370608"/>
                    <a:pt x="184494" y="371247"/>
                  </a:cubicBezTo>
                  <a:cubicBezTo>
                    <a:pt x="185571" y="371886"/>
                    <a:pt x="188937" y="374073"/>
                    <a:pt x="190485" y="375385"/>
                  </a:cubicBezTo>
                  <a:cubicBezTo>
                    <a:pt x="191999" y="376697"/>
                    <a:pt x="194826" y="378984"/>
                    <a:pt x="195500" y="379085"/>
                  </a:cubicBezTo>
                  <a:cubicBezTo>
                    <a:pt x="196139" y="379186"/>
                    <a:pt x="203745" y="378009"/>
                    <a:pt x="203745" y="378009"/>
                  </a:cubicBezTo>
                  <a:cubicBezTo>
                    <a:pt x="203745" y="378009"/>
                    <a:pt x="208961" y="377370"/>
                    <a:pt x="209298" y="379623"/>
                  </a:cubicBezTo>
                  <a:cubicBezTo>
                    <a:pt x="209635" y="381911"/>
                    <a:pt x="211485" y="385914"/>
                    <a:pt x="212899" y="387327"/>
                  </a:cubicBezTo>
                  <a:cubicBezTo>
                    <a:pt x="214312" y="388740"/>
                    <a:pt x="217038" y="389816"/>
                    <a:pt x="217678" y="391128"/>
                  </a:cubicBezTo>
                  <a:cubicBezTo>
                    <a:pt x="218317" y="392440"/>
                    <a:pt x="224543" y="399942"/>
                    <a:pt x="225519" y="400816"/>
                  </a:cubicBezTo>
                  <a:cubicBezTo>
                    <a:pt x="226495" y="401691"/>
                    <a:pt x="234741" y="408217"/>
                    <a:pt x="235077" y="408419"/>
                  </a:cubicBezTo>
                  <a:cubicBezTo>
                    <a:pt x="235414" y="408654"/>
                    <a:pt x="237130" y="410370"/>
                    <a:pt x="237366" y="410706"/>
                  </a:cubicBezTo>
                  <a:cubicBezTo>
                    <a:pt x="237568" y="411043"/>
                    <a:pt x="241707" y="411581"/>
                    <a:pt x="242145" y="415046"/>
                  </a:cubicBezTo>
                  <a:cubicBezTo>
                    <a:pt x="242582" y="418511"/>
                    <a:pt x="243222" y="423187"/>
                    <a:pt x="243222" y="423187"/>
                  </a:cubicBezTo>
                  <a:cubicBezTo>
                    <a:pt x="243222" y="423187"/>
                    <a:pt x="244433" y="424364"/>
                    <a:pt x="244871" y="424499"/>
                  </a:cubicBezTo>
                  <a:cubicBezTo>
                    <a:pt x="245308" y="424599"/>
                    <a:pt x="248674" y="426349"/>
                    <a:pt x="248674" y="426349"/>
                  </a:cubicBezTo>
                  <a:cubicBezTo>
                    <a:pt x="248674" y="426349"/>
                    <a:pt x="250727" y="427223"/>
                    <a:pt x="251164" y="427863"/>
                  </a:cubicBezTo>
                  <a:cubicBezTo>
                    <a:pt x="251602" y="428502"/>
                    <a:pt x="253655" y="429814"/>
                    <a:pt x="254092" y="430587"/>
                  </a:cubicBezTo>
                  <a:cubicBezTo>
                    <a:pt x="254530" y="431361"/>
                    <a:pt x="257996" y="435162"/>
                    <a:pt x="258972" y="435802"/>
                  </a:cubicBezTo>
                  <a:cubicBezTo>
                    <a:pt x="259948" y="436441"/>
                    <a:pt x="265265" y="441655"/>
                    <a:pt x="265501" y="442092"/>
                  </a:cubicBezTo>
                  <a:cubicBezTo>
                    <a:pt x="265703" y="442529"/>
                    <a:pt x="269641" y="446129"/>
                    <a:pt x="269943" y="446331"/>
                  </a:cubicBezTo>
                  <a:cubicBezTo>
                    <a:pt x="270280" y="446533"/>
                    <a:pt x="281352" y="453496"/>
                    <a:pt x="281891" y="453933"/>
                  </a:cubicBezTo>
                  <a:cubicBezTo>
                    <a:pt x="282429" y="454371"/>
                    <a:pt x="287982" y="456759"/>
                    <a:pt x="287982" y="456759"/>
                  </a:cubicBezTo>
                  <a:cubicBezTo>
                    <a:pt x="287982" y="456759"/>
                    <a:pt x="290170" y="456557"/>
                    <a:pt x="290574" y="456759"/>
                  </a:cubicBezTo>
                  <a:cubicBezTo>
                    <a:pt x="291011" y="456961"/>
                    <a:pt x="296665" y="459046"/>
                    <a:pt x="297103" y="459248"/>
                  </a:cubicBezTo>
                  <a:cubicBezTo>
                    <a:pt x="297540" y="459450"/>
                    <a:pt x="300569" y="460459"/>
                    <a:pt x="300906" y="461099"/>
                  </a:cubicBezTo>
                  <a:cubicBezTo>
                    <a:pt x="301242" y="461738"/>
                    <a:pt x="305146" y="466212"/>
                    <a:pt x="305785" y="466649"/>
                  </a:cubicBezTo>
                  <a:cubicBezTo>
                    <a:pt x="306425" y="467086"/>
                    <a:pt x="310026" y="470652"/>
                    <a:pt x="310026" y="470652"/>
                  </a:cubicBezTo>
                  <a:cubicBezTo>
                    <a:pt x="310026" y="470652"/>
                    <a:pt x="309925" y="476203"/>
                    <a:pt x="309925" y="476505"/>
                  </a:cubicBezTo>
                  <a:cubicBezTo>
                    <a:pt x="309925" y="476842"/>
                    <a:pt x="309723" y="478457"/>
                    <a:pt x="309723" y="478894"/>
                  </a:cubicBezTo>
                  <a:cubicBezTo>
                    <a:pt x="309723" y="479331"/>
                    <a:pt x="310800" y="482157"/>
                    <a:pt x="311473" y="482493"/>
                  </a:cubicBezTo>
                  <a:cubicBezTo>
                    <a:pt x="312113" y="482830"/>
                    <a:pt x="314300" y="483032"/>
                    <a:pt x="314839" y="483368"/>
                  </a:cubicBezTo>
                  <a:cubicBezTo>
                    <a:pt x="315377" y="483704"/>
                    <a:pt x="317329" y="485857"/>
                    <a:pt x="318642" y="487068"/>
                  </a:cubicBezTo>
                  <a:cubicBezTo>
                    <a:pt x="319954" y="488246"/>
                    <a:pt x="322108" y="490096"/>
                    <a:pt x="322546" y="490432"/>
                  </a:cubicBezTo>
                  <a:cubicBezTo>
                    <a:pt x="322983" y="490769"/>
                    <a:pt x="326685" y="493796"/>
                    <a:pt x="326685" y="493796"/>
                  </a:cubicBezTo>
                  <a:cubicBezTo>
                    <a:pt x="326685" y="493796"/>
                    <a:pt x="328200" y="495007"/>
                    <a:pt x="329075" y="495007"/>
                  </a:cubicBezTo>
                  <a:cubicBezTo>
                    <a:pt x="329950" y="495007"/>
                    <a:pt x="333416" y="495646"/>
                    <a:pt x="334392" y="495546"/>
                  </a:cubicBezTo>
                  <a:cubicBezTo>
                    <a:pt x="335368" y="495445"/>
                    <a:pt x="336243" y="493594"/>
                    <a:pt x="338094" y="493931"/>
                  </a:cubicBezTo>
                  <a:cubicBezTo>
                    <a:pt x="339945" y="494267"/>
                    <a:pt x="341897" y="493931"/>
                    <a:pt x="342570" y="493931"/>
                  </a:cubicBezTo>
                  <a:cubicBezTo>
                    <a:pt x="343210" y="493931"/>
                    <a:pt x="346036" y="493393"/>
                    <a:pt x="346911" y="493056"/>
                  </a:cubicBezTo>
                  <a:cubicBezTo>
                    <a:pt x="347787" y="492720"/>
                    <a:pt x="349200" y="492282"/>
                    <a:pt x="349301" y="491542"/>
                  </a:cubicBezTo>
                  <a:cubicBezTo>
                    <a:pt x="349402" y="490769"/>
                    <a:pt x="349839" y="491004"/>
                    <a:pt x="349839" y="489053"/>
                  </a:cubicBezTo>
                  <a:cubicBezTo>
                    <a:pt x="349839" y="487102"/>
                    <a:pt x="349940" y="485050"/>
                    <a:pt x="349940" y="484713"/>
                  </a:cubicBezTo>
                  <a:cubicBezTo>
                    <a:pt x="349940" y="484377"/>
                    <a:pt x="350277" y="481888"/>
                    <a:pt x="350479" y="479499"/>
                  </a:cubicBezTo>
                  <a:cubicBezTo>
                    <a:pt x="350714" y="477111"/>
                    <a:pt x="350479" y="473848"/>
                    <a:pt x="350714" y="473074"/>
                  </a:cubicBezTo>
                  <a:cubicBezTo>
                    <a:pt x="350916" y="472300"/>
                    <a:pt x="350613" y="466111"/>
                    <a:pt x="350378" y="465808"/>
                  </a:cubicBezTo>
                  <a:cubicBezTo>
                    <a:pt x="350142" y="465472"/>
                    <a:pt x="349065" y="462343"/>
                    <a:pt x="348527" y="460695"/>
                  </a:cubicBezTo>
                  <a:cubicBezTo>
                    <a:pt x="347988" y="459080"/>
                    <a:pt x="346911" y="457533"/>
                    <a:pt x="346911" y="455817"/>
                  </a:cubicBezTo>
                  <a:cubicBezTo>
                    <a:pt x="346911" y="454068"/>
                    <a:pt x="347012" y="453092"/>
                    <a:pt x="347988" y="451040"/>
                  </a:cubicBezTo>
                  <a:cubicBezTo>
                    <a:pt x="348964" y="448988"/>
                    <a:pt x="348964" y="446701"/>
                    <a:pt x="350479" y="441688"/>
                  </a:cubicBezTo>
                  <a:cubicBezTo>
                    <a:pt x="351993" y="436676"/>
                    <a:pt x="351690" y="433749"/>
                    <a:pt x="353407" y="431462"/>
                  </a:cubicBezTo>
                  <a:cubicBezTo>
                    <a:pt x="355157" y="429175"/>
                    <a:pt x="356133" y="427762"/>
                    <a:pt x="356234" y="424734"/>
                  </a:cubicBezTo>
                  <a:cubicBezTo>
                    <a:pt x="356335" y="421707"/>
                    <a:pt x="357210" y="421908"/>
                    <a:pt x="356133" y="420395"/>
                  </a:cubicBezTo>
                  <a:cubicBezTo>
                    <a:pt x="355056" y="418881"/>
                    <a:pt x="351556" y="413768"/>
                    <a:pt x="351253" y="413566"/>
                  </a:cubicBezTo>
                  <a:cubicBezTo>
                    <a:pt x="350916" y="413364"/>
                    <a:pt x="353642" y="406401"/>
                    <a:pt x="353541" y="405963"/>
                  </a:cubicBezTo>
                  <a:cubicBezTo>
                    <a:pt x="353440" y="405526"/>
                    <a:pt x="354316" y="403777"/>
                    <a:pt x="355157" y="402599"/>
                  </a:cubicBezTo>
                  <a:cubicBezTo>
                    <a:pt x="356032" y="401422"/>
                    <a:pt x="358758" y="398798"/>
                    <a:pt x="358758" y="398798"/>
                  </a:cubicBezTo>
                  <a:lnTo>
                    <a:pt x="360272" y="397721"/>
                  </a:lnTo>
                  <a:cubicBezTo>
                    <a:pt x="360272" y="397721"/>
                    <a:pt x="362460" y="396948"/>
                    <a:pt x="363739" y="396948"/>
                  </a:cubicBezTo>
                  <a:cubicBezTo>
                    <a:pt x="365018" y="396948"/>
                    <a:pt x="375148" y="397385"/>
                    <a:pt x="375484" y="397385"/>
                  </a:cubicBezTo>
                  <a:cubicBezTo>
                    <a:pt x="375821" y="397385"/>
                    <a:pt x="380600" y="398125"/>
                    <a:pt x="380600" y="398125"/>
                  </a:cubicBezTo>
                  <a:cubicBezTo>
                    <a:pt x="380600" y="398125"/>
                    <a:pt x="384066" y="400177"/>
                    <a:pt x="384840" y="400615"/>
                  </a:cubicBezTo>
                  <a:cubicBezTo>
                    <a:pt x="385614" y="401052"/>
                    <a:pt x="387028" y="401388"/>
                    <a:pt x="388206" y="403339"/>
                  </a:cubicBezTo>
                  <a:cubicBezTo>
                    <a:pt x="389417" y="405290"/>
                    <a:pt x="392009" y="408015"/>
                    <a:pt x="392345" y="408452"/>
                  </a:cubicBezTo>
                  <a:cubicBezTo>
                    <a:pt x="392682" y="408890"/>
                    <a:pt x="394735" y="410841"/>
                    <a:pt x="395273" y="411480"/>
                  </a:cubicBezTo>
                  <a:cubicBezTo>
                    <a:pt x="395811" y="412119"/>
                    <a:pt x="399514" y="415920"/>
                    <a:pt x="400052" y="416795"/>
                  </a:cubicBezTo>
                  <a:cubicBezTo>
                    <a:pt x="400591" y="417670"/>
                    <a:pt x="402879" y="419083"/>
                    <a:pt x="403216" y="420260"/>
                  </a:cubicBezTo>
                  <a:cubicBezTo>
                    <a:pt x="403552" y="421471"/>
                    <a:pt x="406043" y="424398"/>
                    <a:pt x="406581" y="425138"/>
                  </a:cubicBezTo>
                  <a:cubicBezTo>
                    <a:pt x="407120" y="425911"/>
                    <a:pt x="408197" y="426551"/>
                    <a:pt x="408869" y="427963"/>
                  </a:cubicBezTo>
                  <a:cubicBezTo>
                    <a:pt x="409509" y="429376"/>
                    <a:pt x="410822" y="431664"/>
                    <a:pt x="412908" y="432976"/>
                  </a:cubicBezTo>
                  <a:cubicBezTo>
                    <a:pt x="414961" y="434288"/>
                    <a:pt x="415836" y="435263"/>
                    <a:pt x="418562" y="436239"/>
                  </a:cubicBezTo>
                  <a:cubicBezTo>
                    <a:pt x="421288" y="437214"/>
                    <a:pt x="423004" y="437551"/>
                    <a:pt x="424553" y="438190"/>
                  </a:cubicBezTo>
                  <a:cubicBezTo>
                    <a:pt x="426067" y="438829"/>
                    <a:pt x="427918" y="440141"/>
                    <a:pt x="429332" y="440679"/>
                  </a:cubicBezTo>
                  <a:cubicBezTo>
                    <a:pt x="430745" y="441217"/>
                    <a:pt x="434010" y="442529"/>
                    <a:pt x="435423" y="443606"/>
                  </a:cubicBezTo>
                  <a:cubicBezTo>
                    <a:pt x="436836" y="444682"/>
                    <a:pt x="440639" y="446095"/>
                    <a:pt x="440639" y="446095"/>
                  </a:cubicBezTo>
                  <a:cubicBezTo>
                    <a:pt x="440639" y="446095"/>
                    <a:pt x="444981" y="448046"/>
                    <a:pt x="445082" y="448484"/>
                  </a:cubicBezTo>
                  <a:cubicBezTo>
                    <a:pt x="445183" y="448921"/>
                    <a:pt x="445317" y="452285"/>
                    <a:pt x="445317" y="452285"/>
                  </a:cubicBezTo>
                  <a:lnTo>
                    <a:pt x="445317" y="454976"/>
                  </a:lnTo>
                  <a:cubicBezTo>
                    <a:pt x="445317" y="454976"/>
                    <a:pt x="444005" y="455851"/>
                    <a:pt x="446091" y="456288"/>
                  </a:cubicBezTo>
                  <a:cubicBezTo>
                    <a:pt x="448145" y="456725"/>
                    <a:pt x="449894" y="456927"/>
                    <a:pt x="451106" y="456624"/>
                  </a:cubicBezTo>
                  <a:cubicBezTo>
                    <a:pt x="452284" y="456288"/>
                    <a:pt x="452183" y="456826"/>
                    <a:pt x="453395" y="455985"/>
                  </a:cubicBezTo>
                  <a:cubicBezTo>
                    <a:pt x="454606" y="455111"/>
                    <a:pt x="455246" y="452722"/>
                    <a:pt x="455683" y="452285"/>
                  </a:cubicBezTo>
                  <a:cubicBezTo>
                    <a:pt x="456121" y="451848"/>
                    <a:pt x="456558" y="451108"/>
                    <a:pt x="456558" y="450233"/>
                  </a:cubicBezTo>
                  <a:cubicBezTo>
                    <a:pt x="456558" y="449358"/>
                    <a:pt x="457198" y="447407"/>
                    <a:pt x="457972" y="446768"/>
                  </a:cubicBezTo>
                  <a:cubicBezTo>
                    <a:pt x="458746" y="446129"/>
                    <a:pt x="460698" y="444716"/>
                    <a:pt x="460698" y="444716"/>
                  </a:cubicBezTo>
                  <a:cubicBezTo>
                    <a:pt x="460698" y="444716"/>
                    <a:pt x="461034" y="445052"/>
                    <a:pt x="462010" y="444279"/>
                  </a:cubicBezTo>
                  <a:cubicBezTo>
                    <a:pt x="462986" y="443505"/>
                    <a:pt x="463626" y="442866"/>
                    <a:pt x="464299" y="442428"/>
                  </a:cubicBezTo>
                  <a:cubicBezTo>
                    <a:pt x="464938" y="441991"/>
                    <a:pt x="465813" y="439704"/>
                    <a:pt x="465813" y="439704"/>
                  </a:cubicBezTo>
                  <a:cubicBezTo>
                    <a:pt x="465813" y="439704"/>
                    <a:pt x="466352" y="439165"/>
                    <a:pt x="467227" y="438291"/>
                  </a:cubicBezTo>
                  <a:cubicBezTo>
                    <a:pt x="468102" y="437416"/>
                    <a:pt x="469078" y="436239"/>
                    <a:pt x="469515" y="435263"/>
                  </a:cubicBezTo>
                  <a:cubicBezTo>
                    <a:pt x="469953" y="434288"/>
                    <a:pt x="470289" y="433077"/>
                    <a:pt x="470929" y="432976"/>
                  </a:cubicBezTo>
                  <a:cubicBezTo>
                    <a:pt x="471568" y="432875"/>
                    <a:pt x="472544" y="432774"/>
                    <a:pt x="472881" y="432774"/>
                  </a:cubicBezTo>
                  <a:cubicBezTo>
                    <a:pt x="473217" y="432774"/>
                    <a:pt x="473856" y="432572"/>
                    <a:pt x="474294" y="432572"/>
                  </a:cubicBezTo>
                  <a:cubicBezTo>
                    <a:pt x="474732" y="432572"/>
                    <a:pt x="476885" y="433548"/>
                    <a:pt x="476885" y="433548"/>
                  </a:cubicBezTo>
                  <a:lnTo>
                    <a:pt x="480587" y="438425"/>
                  </a:lnTo>
                  <a:cubicBezTo>
                    <a:pt x="480587" y="438425"/>
                    <a:pt x="482640" y="441150"/>
                    <a:pt x="482775" y="441688"/>
                  </a:cubicBezTo>
                  <a:cubicBezTo>
                    <a:pt x="482876" y="442227"/>
                    <a:pt x="482977" y="444716"/>
                    <a:pt x="484088" y="445052"/>
                  </a:cubicBezTo>
                  <a:cubicBezTo>
                    <a:pt x="485165" y="445389"/>
                    <a:pt x="489943" y="445692"/>
                    <a:pt x="489943" y="445692"/>
                  </a:cubicBezTo>
                  <a:cubicBezTo>
                    <a:pt x="489943" y="445692"/>
                    <a:pt x="497684" y="444615"/>
                    <a:pt x="498290" y="444447"/>
                  </a:cubicBezTo>
                  <a:cubicBezTo>
                    <a:pt x="498862" y="444312"/>
                    <a:pt x="503372" y="442866"/>
                    <a:pt x="503372" y="442866"/>
                  </a:cubicBezTo>
                  <a:cubicBezTo>
                    <a:pt x="503372" y="442866"/>
                    <a:pt x="503675" y="442126"/>
                    <a:pt x="504247" y="441722"/>
                  </a:cubicBezTo>
                  <a:cubicBezTo>
                    <a:pt x="504819" y="441285"/>
                    <a:pt x="505997" y="439132"/>
                    <a:pt x="505997" y="439132"/>
                  </a:cubicBezTo>
                  <a:cubicBezTo>
                    <a:pt x="505997" y="439132"/>
                    <a:pt x="506569" y="438829"/>
                    <a:pt x="506569" y="437685"/>
                  </a:cubicBezTo>
                  <a:cubicBezTo>
                    <a:pt x="506569" y="436542"/>
                    <a:pt x="506872" y="435230"/>
                    <a:pt x="506872" y="435230"/>
                  </a:cubicBezTo>
                  <a:lnTo>
                    <a:pt x="507881" y="433346"/>
                  </a:lnTo>
                  <a:lnTo>
                    <a:pt x="509059" y="431327"/>
                  </a:lnTo>
                  <a:cubicBezTo>
                    <a:pt x="509059" y="431327"/>
                    <a:pt x="510204" y="431126"/>
                    <a:pt x="510944" y="430520"/>
                  </a:cubicBezTo>
                  <a:cubicBezTo>
                    <a:pt x="511651" y="429948"/>
                    <a:pt x="514141" y="428132"/>
                    <a:pt x="514579" y="428132"/>
                  </a:cubicBezTo>
                  <a:cubicBezTo>
                    <a:pt x="515016" y="428132"/>
                    <a:pt x="517607" y="428132"/>
                    <a:pt x="517607" y="428132"/>
                  </a:cubicBezTo>
                  <a:lnTo>
                    <a:pt x="522084" y="430453"/>
                  </a:lnTo>
                  <a:lnTo>
                    <a:pt x="524540" y="433211"/>
                  </a:lnTo>
                  <a:cubicBezTo>
                    <a:pt x="524540" y="433211"/>
                    <a:pt x="525853" y="436844"/>
                    <a:pt x="525853" y="437416"/>
                  </a:cubicBezTo>
                  <a:cubicBezTo>
                    <a:pt x="525853" y="437988"/>
                    <a:pt x="526593" y="440040"/>
                    <a:pt x="526862" y="440612"/>
                  </a:cubicBezTo>
                  <a:cubicBezTo>
                    <a:pt x="527165" y="441184"/>
                    <a:pt x="529319" y="443068"/>
                    <a:pt x="529454" y="443505"/>
                  </a:cubicBezTo>
                  <a:cubicBezTo>
                    <a:pt x="529588" y="443942"/>
                    <a:pt x="530901" y="445523"/>
                    <a:pt x="531473" y="445523"/>
                  </a:cubicBezTo>
                  <a:cubicBezTo>
                    <a:pt x="532045" y="445523"/>
                    <a:pt x="533223" y="445523"/>
                    <a:pt x="533223" y="445523"/>
                  </a:cubicBezTo>
                  <a:lnTo>
                    <a:pt x="536993" y="448114"/>
                  </a:lnTo>
                  <a:cubicBezTo>
                    <a:pt x="536993" y="448114"/>
                    <a:pt x="538877" y="451141"/>
                    <a:pt x="539315" y="452184"/>
                  </a:cubicBezTo>
                  <a:cubicBezTo>
                    <a:pt x="539752" y="453193"/>
                    <a:pt x="540762" y="455514"/>
                    <a:pt x="540897" y="455952"/>
                  </a:cubicBezTo>
                  <a:cubicBezTo>
                    <a:pt x="541031" y="456389"/>
                    <a:pt x="543353" y="457095"/>
                    <a:pt x="543791" y="457533"/>
                  </a:cubicBezTo>
                  <a:cubicBezTo>
                    <a:pt x="544228" y="457970"/>
                    <a:pt x="545675" y="459417"/>
                    <a:pt x="545675" y="459417"/>
                  </a:cubicBezTo>
                  <a:cubicBezTo>
                    <a:pt x="545675" y="459417"/>
                    <a:pt x="546248" y="459719"/>
                    <a:pt x="547257" y="460998"/>
                  </a:cubicBezTo>
                  <a:cubicBezTo>
                    <a:pt x="548267" y="462310"/>
                    <a:pt x="549714" y="463453"/>
                    <a:pt x="550286" y="464025"/>
                  </a:cubicBezTo>
                  <a:cubicBezTo>
                    <a:pt x="550858" y="464597"/>
                    <a:pt x="551868" y="465472"/>
                    <a:pt x="553483" y="466615"/>
                  </a:cubicBezTo>
                  <a:cubicBezTo>
                    <a:pt x="555065" y="467793"/>
                    <a:pt x="556681" y="470248"/>
                    <a:pt x="557253" y="470518"/>
                  </a:cubicBezTo>
                  <a:cubicBezTo>
                    <a:pt x="557825" y="470820"/>
                    <a:pt x="561459" y="472099"/>
                    <a:pt x="561762" y="472973"/>
                  </a:cubicBezTo>
                  <a:cubicBezTo>
                    <a:pt x="562065" y="473848"/>
                    <a:pt x="565397" y="476304"/>
                    <a:pt x="565397" y="476304"/>
                  </a:cubicBezTo>
                  <a:cubicBezTo>
                    <a:pt x="565397" y="476304"/>
                    <a:pt x="569032" y="480206"/>
                    <a:pt x="569032" y="481081"/>
                  </a:cubicBezTo>
                  <a:cubicBezTo>
                    <a:pt x="569032" y="481955"/>
                    <a:pt x="570613" y="484411"/>
                    <a:pt x="570782" y="484848"/>
                  </a:cubicBezTo>
                  <a:cubicBezTo>
                    <a:pt x="570916" y="485286"/>
                    <a:pt x="571657" y="486866"/>
                    <a:pt x="571960" y="487607"/>
                  </a:cubicBezTo>
                  <a:cubicBezTo>
                    <a:pt x="572263" y="488313"/>
                    <a:pt x="574416" y="489490"/>
                    <a:pt x="574416" y="490062"/>
                  </a:cubicBezTo>
                  <a:cubicBezTo>
                    <a:pt x="574416" y="490634"/>
                    <a:pt x="576166" y="491509"/>
                    <a:pt x="576166" y="491509"/>
                  </a:cubicBezTo>
                  <a:lnTo>
                    <a:pt x="577311" y="493830"/>
                  </a:lnTo>
                  <a:cubicBezTo>
                    <a:pt x="577311" y="493830"/>
                    <a:pt x="577614" y="496588"/>
                    <a:pt x="577748" y="497160"/>
                  </a:cubicBezTo>
                  <a:cubicBezTo>
                    <a:pt x="577883" y="497732"/>
                    <a:pt x="579061" y="500188"/>
                    <a:pt x="579061" y="500188"/>
                  </a:cubicBezTo>
                  <a:cubicBezTo>
                    <a:pt x="579061" y="500188"/>
                    <a:pt x="580205" y="501365"/>
                    <a:pt x="580643" y="501634"/>
                  </a:cubicBezTo>
                  <a:cubicBezTo>
                    <a:pt x="581080" y="501937"/>
                    <a:pt x="582527" y="502206"/>
                    <a:pt x="582662" y="502643"/>
                  </a:cubicBezTo>
                  <a:cubicBezTo>
                    <a:pt x="582796" y="503081"/>
                    <a:pt x="583974" y="505099"/>
                    <a:pt x="583974" y="505099"/>
                  </a:cubicBezTo>
                  <a:lnTo>
                    <a:pt x="586229" y="506613"/>
                  </a:lnTo>
                  <a:cubicBezTo>
                    <a:pt x="586229" y="506613"/>
                    <a:pt x="587239" y="507420"/>
                    <a:pt x="586734" y="507757"/>
                  </a:cubicBezTo>
                  <a:cubicBezTo>
                    <a:pt x="586229" y="508127"/>
                    <a:pt x="584984" y="509203"/>
                    <a:pt x="584917" y="509506"/>
                  </a:cubicBezTo>
                  <a:cubicBezTo>
                    <a:pt x="584849" y="509809"/>
                    <a:pt x="584715" y="510818"/>
                    <a:pt x="585051" y="511087"/>
                  </a:cubicBezTo>
                  <a:cubicBezTo>
                    <a:pt x="585422" y="511390"/>
                    <a:pt x="586498" y="512399"/>
                    <a:pt x="586498" y="512399"/>
                  </a:cubicBezTo>
                  <a:cubicBezTo>
                    <a:pt x="586498" y="512399"/>
                    <a:pt x="587071" y="513139"/>
                    <a:pt x="587508" y="513341"/>
                  </a:cubicBezTo>
                  <a:cubicBezTo>
                    <a:pt x="587946" y="513543"/>
                    <a:pt x="588080" y="513475"/>
                    <a:pt x="589258" y="513543"/>
                  </a:cubicBezTo>
                  <a:cubicBezTo>
                    <a:pt x="590402" y="513610"/>
                    <a:pt x="591277" y="513038"/>
                    <a:pt x="591513" y="513173"/>
                  </a:cubicBezTo>
                  <a:cubicBezTo>
                    <a:pt x="591715" y="513307"/>
                    <a:pt x="592826" y="513812"/>
                    <a:pt x="592960" y="514182"/>
                  </a:cubicBezTo>
                  <a:cubicBezTo>
                    <a:pt x="593095" y="514552"/>
                    <a:pt x="594205" y="515326"/>
                    <a:pt x="594609" y="515830"/>
                  </a:cubicBezTo>
                  <a:cubicBezTo>
                    <a:pt x="595047" y="516335"/>
                    <a:pt x="596494" y="518084"/>
                    <a:pt x="596797" y="518454"/>
                  </a:cubicBezTo>
                  <a:cubicBezTo>
                    <a:pt x="597100" y="518824"/>
                    <a:pt x="597874" y="519329"/>
                    <a:pt x="597874" y="519329"/>
                  </a:cubicBezTo>
                  <a:lnTo>
                    <a:pt x="607364" y="527436"/>
                  </a:lnTo>
                  <a:lnTo>
                    <a:pt x="612076" y="531204"/>
                  </a:lnTo>
                  <a:lnTo>
                    <a:pt x="613961" y="532078"/>
                  </a:lnTo>
                  <a:cubicBezTo>
                    <a:pt x="613961" y="532078"/>
                    <a:pt x="616720" y="534332"/>
                    <a:pt x="616653" y="534534"/>
                  </a:cubicBezTo>
                  <a:cubicBezTo>
                    <a:pt x="616586" y="534736"/>
                    <a:pt x="616956" y="537360"/>
                    <a:pt x="616956" y="537360"/>
                  </a:cubicBezTo>
                  <a:cubicBezTo>
                    <a:pt x="616956" y="537360"/>
                    <a:pt x="618403" y="538369"/>
                    <a:pt x="618639" y="538604"/>
                  </a:cubicBezTo>
                  <a:cubicBezTo>
                    <a:pt x="618840" y="538806"/>
                    <a:pt x="622038" y="540354"/>
                    <a:pt x="622273" y="540421"/>
                  </a:cubicBezTo>
                  <a:cubicBezTo>
                    <a:pt x="622509" y="540488"/>
                    <a:pt x="623216" y="540791"/>
                    <a:pt x="624293" y="541363"/>
                  </a:cubicBezTo>
                  <a:cubicBezTo>
                    <a:pt x="625369" y="541935"/>
                    <a:pt x="627254" y="542372"/>
                    <a:pt x="627692" y="542372"/>
                  </a:cubicBezTo>
                  <a:cubicBezTo>
                    <a:pt x="628129" y="542372"/>
                    <a:pt x="629341" y="542237"/>
                    <a:pt x="629812" y="542237"/>
                  </a:cubicBezTo>
                  <a:cubicBezTo>
                    <a:pt x="630283" y="542237"/>
                    <a:pt x="633110" y="541665"/>
                    <a:pt x="633548" y="541161"/>
                  </a:cubicBezTo>
                  <a:cubicBezTo>
                    <a:pt x="633985" y="540656"/>
                    <a:pt x="635230" y="540084"/>
                    <a:pt x="635298" y="539142"/>
                  </a:cubicBezTo>
                  <a:cubicBezTo>
                    <a:pt x="635365" y="538201"/>
                    <a:pt x="635533" y="537191"/>
                    <a:pt x="635600" y="536249"/>
                  </a:cubicBezTo>
                  <a:cubicBezTo>
                    <a:pt x="635668" y="535308"/>
                    <a:pt x="632134" y="531607"/>
                    <a:pt x="632134" y="531607"/>
                  </a:cubicBezTo>
                  <a:cubicBezTo>
                    <a:pt x="632134" y="531607"/>
                    <a:pt x="631764" y="531237"/>
                    <a:pt x="630990" y="530867"/>
                  </a:cubicBezTo>
                  <a:cubicBezTo>
                    <a:pt x="630182" y="530497"/>
                    <a:pt x="630115" y="529488"/>
                    <a:pt x="629846" y="529421"/>
                  </a:cubicBezTo>
                  <a:cubicBezTo>
                    <a:pt x="629610" y="529353"/>
                    <a:pt x="630048" y="529723"/>
                    <a:pt x="629240" y="528916"/>
                  </a:cubicBezTo>
                  <a:cubicBezTo>
                    <a:pt x="628432" y="528109"/>
                    <a:pt x="628533" y="527671"/>
                    <a:pt x="627995" y="527167"/>
                  </a:cubicBezTo>
                  <a:cubicBezTo>
                    <a:pt x="627490" y="526662"/>
                    <a:pt x="627793" y="525418"/>
                    <a:pt x="627120" y="524846"/>
                  </a:cubicBezTo>
                  <a:cubicBezTo>
                    <a:pt x="626480" y="524274"/>
                    <a:pt x="626783" y="524341"/>
                    <a:pt x="625841" y="523029"/>
                  </a:cubicBezTo>
                  <a:cubicBezTo>
                    <a:pt x="624898" y="521717"/>
                    <a:pt x="624562" y="521347"/>
                    <a:pt x="624562" y="521078"/>
                  </a:cubicBezTo>
                  <a:cubicBezTo>
                    <a:pt x="624562" y="520775"/>
                    <a:pt x="624562" y="519261"/>
                    <a:pt x="624562" y="519261"/>
                  </a:cubicBezTo>
                  <a:cubicBezTo>
                    <a:pt x="624562" y="519261"/>
                    <a:pt x="624562" y="518319"/>
                    <a:pt x="624629" y="517310"/>
                  </a:cubicBezTo>
                  <a:cubicBezTo>
                    <a:pt x="624696" y="516301"/>
                    <a:pt x="625067" y="515426"/>
                    <a:pt x="625201" y="514922"/>
                  </a:cubicBezTo>
                  <a:cubicBezTo>
                    <a:pt x="625336" y="514417"/>
                    <a:pt x="625571" y="512971"/>
                    <a:pt x="625639" y="512534"/>
                  </a:cubicBezTo>
                  <a:cubicBezTo>
                    <a:pt x="625706" y="512096"/>
                    <a:pt x="626514" y="510582"/>
                    <a:pt x="626514" y="510582"/>
                  </a:cubicBezTo>
                  <a:lnTo>
                    <a:pt x="628264" y="509270"/>
                  </a:lnTo>
                  <a:lnTo>
                    <a:pt x="629879" y="508463"/>
                  </a:lnTo>
                  <a:cubicBezTo>
                    <a:pt x="629879" y="508463"/>
                    <a:pt x="630653" y="508026"/>
                    <a:pt x="631091" y="508598"/>
                  </a:cubicBezTo>
                  <a:cubicBezTo>
                    <a:pt x="631528" y="509170"/>
                    <a:pt x="632841" y="509977"/>
                    <a:pt x="632841" y="509977"/>
                  </a:cubicBezTo>
                  <a:cubicBezTo>
                    <a:pt x="632841" y="509977"/>
                    <a:pt x="633918" y="511491"/>
                    <a:pt x="634355" y="512164"/>
                  </a:cubicBezTo>
                  <a:cubicBezTo>
                    <a:pt x="634793" y="512803"/>
                    <a:pt x="635567" y="514619"/>
                    <a:pt x="635567" y="514855"/>
                  </a:cubicBezTo>
                  <a:cubicBezTo>
                    <a:pt x="635567" y="515090"/>
                    <a:pt x="635937" y="516738"/>
                    <a:pt x="635870" y="517613"/>
                  </a:cubicBezTo>
                  <a:cubicBezTo>
                    <a:pt x="635802" y="518488"/>
                    <a:pt x="634927" y="519362"/>
                    <a:pt x="635802" y="520506"/>
                  </a:cubicBezTo>
                  <a:cubicBezTo>
                    <a:pt x="636677" y="521683"/>
                    <a:pt x="639067" y="522020"/>
                    <a:pt x="639067" y="522020"/>
                  </a:cubicBezTo>
                  <a:cubicBezTo>
                    <a:pt x="639067" y="522020"/>
                    <a:pt x="641086" y="522154"/>
                    <a:pt x="641153" y="522760"/>
                  </a:cubicBezTo>
                  <a:cubicBezTo>
                    <a:pt x="641221" y="523332"/>
                    <a:pt x="641961" y="523904"/>
                    <a:pt x="642096" y="524509"/>
                  </a:cubicBezTo>
                  <a:cubicBezTo>
                    <a:pt x="642230" y="525081"/>
                    <a:pt x="643106" y="525956"/>
                    <a:pt x="643240" y="526763"/>
                  </a:cubicBezTo>
                  <a:cubicBezTo>
                    <a:pt x="643375" y="527570"/>
                    <a:pt x="644317" y="528714"/>
                    <a:pt x="644822" y="529286"/>
                  </a:cubicBezTo>
                  <a:cubicBezTo>
                    <a:pt x="645327" y="529858"/>
                    <a:pt x="645966" y="530228"/>
                    <a:pt x="646269" y="530665"/>
                  </a:cubicBezTo>
                  <a:cubicBezTo>
                    <a:pt x="646572" y="531103"/>
                    <a:pt x="647346" y="531540"/>
                    <a:pt x="647649" y="532044"/>
                  </a:cubicBezTo>
                  <a:cubicBezTo>
                    <a:pt x="647952" y="532549"/>
                    <a:pt x="650543" y="534433"/>
                    <a:pt x="650543" y="534433"/>
                  </a:cubicBezTo>
                  <a:cubicBezTo>
                    <a:pt x="650543" y="534433"/>
                    <a:pt x="651284" y="534265"/>
                    <a:pt x="652226" y="534904"/>
                  </a:cubicBezTo>
                  <a:cubicBezTo>
                    <a:pt x="653168" y="535543"/>
                    <a:pt x="655793" y="535812"/>
                    <a:pt x="655793" y="535812"/>
                  </a:cubicBezTo>
                  <a:lnTo>
                    <a:pt x="658418" y="535812"/>
                  </a:lnTo>
                  <a:lnTo>
                    <a:pt x="661784" y="537561"/>
                  </a:lnTo>
                  <a:cubicBezTo>
                    <a:pt x="661784" y="537561"/>
                    <a:pt x="667438" y="538100"/>
                    <a:pt x="667640" y="538436"/>
                  </a:cubicBezTo>
                  <a:cubicBezTo>
                    <a:pt x="667842" y="538772"/>
                    <a:pt x="669390" y="541161"/>
                    <a:pt x="669390" y="541161"/>
                  </a:cubicBezTo>
                  <a:lnTo>
                    <a:pt x="669726" y="545299"/>
                  </a:lnTo>
                  <a:lnTo>
                    <a:pt x="669726" y="548898"/>
                  </a:lnTo>
                  <a:lnTo>
                    <a:pt x="670702" y="553776"/>
                  </a:lnTo>
                  <a:cubicBezTo>
                    <a:pt x="670702" y="553776"/>
                    <a:pt x="670500" y="554852"/>
                    <a:pt x="670265" y="555828"/>
                  </a:cubicBezTo>
                  <a:cubicBezTo>
                    <a:pt x="670063" y="556803"/>
                    <a:pt x="669726" y="558553"/>
                    <a:pt x="669726" y="558553"/>
                  </a:cubicBezTo>
                  <a:lnTo>
                    <a:pt x="669188" y="560403"/>
                  </a:lnTo>
                  <a:cubicBezTo>
                    <a:pt x="669188" y="560403"/>
                    <a:pt x="670164" y="562354"/>
                    <a:pt x="671241" y="562455"/>
                  </a:cubicBezTo>
                  <a:cubicBezTo>
                    <a:pt x="672318" y="562556"/>
                    <a:pt x="673731" y="563094"/>
                    <a:pt x="675582" y="562118"/>
                  </a:cubicBezTo>
                  <a:cubicBezTo>
                    <a:pt x="677433" y="561143"/>
                    <a:pt x="678073" y="560706"/>
                    <a:pt x="678746" y="560369"/>
                  </a:cubicBezTo>
                  <a:cubicBezTo>
                    <a:pt x="679385" y="560033"/>
                    <a:pt x="680058" y="560033"/>
                    <a:pt x="680058" y="560033"/>
                  </a:cubicBezTo>
                  <a:cubicBezTo>
                    <a:pt x="680058" y="560033"/>
                    <a:pt x="682111" y="561984"/>
                    <a:pt x="682448" y="562522"/>
                  </a:cubicBezTo>
                  <a:cubicBezTo>
                    <a:pt x="682784" y="563060"/>
                    <a:pt x="684299" y="563733"/>
                    <a:pt x="684400" y="564137"/>
                  </a:cubicBezTo>
                  <a:cubicBezTo>
                    <a:pt x="684501" y="564574"/>
                    <a:pt x="688539" y="568173"/>
                    <a:pt x="688977" y="568375"/>
                  </a:cubicBezTo>
                  <a:cubicBezTo>
                    <a:pt x="689414" y="568577"/>
                    <a:pt x="692679" y="569351"/>
                    <a:pt x="692982" y="569586"/>
                  </a:cubicBezTo>
                  <a:cubicBezTo>
                    <a:pt x="693318" y="569788"/>
                    <a:pt x="697659" y="570898"/>
                    <a:pt x="697659" y="570898"/>
                  </a:cubicBezTo>
                  <a:cubicBezTo>
                    <a:pt x="697659" y="570898"/>
                    <a:pt x="699275" y="572210"/>
                    <a:pt x="699713" y="572311"/>
                  </a:cubicBezTo>
                  <a:cubicBezTo>
                    <a:pt x="700150" y="572412"/>
                    <a:pt x="702741" y="574901"/>
                    <a:pt x="703179" y="575238"/>
                  </a:cubicBezTo>
                  <a:cubicBezTo>
                    <a:pt x="703616" y="575574"/>
                    <a:pt x="709910" y="578703"/>
                    <a:pt x="709910" y="578703"/>
                  </a:cubicBezTo>
                  <a:cubicBezTo>
                    <a:pt x="709910" y="578703"/>
                    <a:pt x="715025" y="583143"/>
                    <a:pt x="716001" y="583917"/>
                  </a:cubicBezTo>
                  <a:cubicBezTo>
                    <a:pt x="716977" y="584691"/>
                    <a:pt x="720477" y="587718"/>
                    <a:pt x="721453" y="588155"/>
                  </a:cubicBezTo>
                  <a:cubicBezTo>
                    <a:pt x="722429" y="588593"/>
                    <a:pt x="731449" y="597070"/>
                    <a:pt x="731449" y="597070"/>
                  </a:cubicBezTo>
                  <a:lnTo>
                    <a:pt x="734040" y="598483"/>
                  </a:lnTo>
                  <a:cubicBezTo>
                    <a:pt x="734040" y="598483"/>
                    <a:pt x="737507" y="601847"/>
                    <a:pt x="737641" y="602183"/>
                  </a:cubicBezTo>
                  <a:cubicBezTo>
                    <a:pt x="737742" y="602520"/>
                    <a:pt x="742959" y="608474"/>
                    <a:pt x="742959" y="608474"/>
                  </a:cubicBezTo>
                  <a:lnTo>
                    <a:pt x="745247" y="611299"/>
                  </a:lnTo>
                  <a:lnTo>
                    <a:pt x="748848" y="615336"/>
                  </a:lnTo>
                  <a:lnTo>
                    <a:pt x="750901" y="617086"/>
                  </a:lnTo>
                  <a:cubicBezTo>
                    <a:pt x="750901" y="617086"/>
                    <a:pt x="752752" y="617859"/>
                    <a:pt x="753089" y="617960"/>
                  </a:cubicBezTo>
                  <a:cubicBezTo>
                    <a:pt x="753425" y="618061"/>
                    <a:pt x="754300" y="618162"/>
                    <a:pt x="755142" y="618498"/>
                  </a:cubicBezTo>
                  <a:cubicBezTo>
                    <a:pt x="756017" y="618835"/>
                    <a:pt x="758171" y="620550"/>
                    <a:pt x="758171" y="620550"/>
                  </a:cubicBezTo>
                  <a:lnTo>
                    <a:pt x="760897" y="625125"/>
                  </a:lnTo>
                  <a:lnTo>
                    <a:pt x="763623" y="627716"/>
                  </a:lnTo>
                  <a:lnTo>
                    <a:pt x="765372" y="630440"/>
                  </a:lnTo>
                  <a:lnTo>
                    <a:pt x="766786" y="633266"/>
                  </a:lnTo>
                  <a:cubicBezTo>
                    <a:pt x="766786" y="633266"/>
                    <a:pt x="768099" y="633468"/>
                    <a:pt x="768401" y="633367"/>
                  </a:cubicBezTo>
                  <a:cubicBezTo>
                    <a:pt x="768738" y="633266"/>
                    <a:pt x="770690" y="632930"/>
                    <a:pt x="770690" y="632930"/>
                  </a:cubicBezTo>
                  <a:lnTo>
                    <a:pt x="773079" y="632291"/>
                  </a:lnTo>
                  <a:lnTo>
                    <a:pt x="774930" y="630541"/>
                  </a:lnTo>
                  <a:cubicBezTo>
                    <a:pt x="774930" y="630541"/>
                    <a:pt x="775132" y="629465"/>
                    <a:pt x="774830" y="628927"/>
                  </a:cubicBezTo>
                  <a:cubicBezTo>
                    <a:pt x="774493" y="628388"/>
                    <a:pt x="774291" y="626437"/>
                    <a:pt x="774291" y="626437"/>
                  </a:cubicBezTo>
                  <a:cubicBezTo>
                    <a:pt x="774291" y="626437"/>
                    <a:pt x="774055" y="625024"/>
                    <a:pt x="774055" y="624587"/>
                  </a:cubicBezTo>
                  <a:cubicBezTo>
                    <a:pt x="774055" y="624150"/>
                    <a:pt x="773719" y="622300"/>
                    <a:pt x="774156" y="621761"/>
                  </a:cubicBezTo>
                  <a:cubicBezTo>
                    <a:pt x="774594" y="621223"/>
                    <a:pt x="775233" y="619575"/>
                    <a:pt x="775233" y="619575"/>
                  </a:cubicBezTo>
                  <a:cubicBezTo>
                    <a:pt x="775233" y="619575"/>
                    <a:pt x="775132" y="619676"/>
                    <a:pt x="775873" y="618700"/>
                  </a:cubicBezTo>
                  <a:cubicBezTo>
                    <a:pt x="776647" y="617725"/>
                    <a:pt x="776849" y="616749"/>
                    <a:pt x="777522" y="615975"/>
                  </a:cubicBezTo>
                  <a:cubicBezTo>
                    <a:pt x="778161" y="615202"/>
                    <a:pt x="779036" y="613049"/>
                    <a:pt x="779272" y="612611"/>
                  </a:cubicBezTo>
                  <a:cubicBezTo>
                    <a:pt x="779474" y="612174"/>
                    <a:pt x="779709" y="611199"/>
                    <a:pt x="779810" y="610425"/>
                  </a:cubicBezTo>
                  <a:cubicBezTo>
                    <a:pt x="779911" y="609651"/>
                    <a:pt x="779911" y="608373"/>
                    <a:pt x="779911" y="608373"/>
                  </a:cubicBezTo>
                  <a:cubicBezTo>
                    <a:pt x="779911" y="608373"/>
                    <a:pt x="780685" y="607397"/>
                    <a:pt x="780988" y="607162"/>
                  </a:cubicBezTo>
                  <a:cubicBezTo>
                    <a:pt x="781325" y="606960"/>
                    <a:pt x="783277" y="606388"/>
                    <a:pt x="783277" y="606388"/>
                  </a:cubicBezTo>
                  <a:cubicBezTo>
                    <a:pt x="783277" y="606388"/>
                    <a:pt x="785666" y="607263"/>
                    <a:pt x="786003" y="607599"/>
                  </a:cubicBezTo>
                  <a:cubicBezTo>
                    <a:pt x="786339" y="607935"/>
                    <a:pt x="789469" y="609348"/>
                    <a:pt x="789469" y="610324"/>
                  </a:cubicBezTo>
                  <a:cubicBezTo>
                    <a:pt x="789469" y="611299"/>
                    <a:pt x="789705" y="612073"/>
                    <a:pt x="789705" y="612712"/>
                  </a:cubicBezTo>
                  <a:cubicBezTo>
                    <a:pt x="789705" y="613351"/>
                    <a:pt x="789705" y="614899"/>
                    <a:pt x="789705" y="614899"/>
                  </a:cubicBezTo>
                  <a:lnTo>
                    <a:pt x="790041" y="616951"/>
                  </a:lnTo>
                  <a:cubicBezTo>
                    <a:pt x="790041" y="616951"/>
                    <a:pt x="791017" y="616951"/>
                    <a:pt x="791657" y="618700"/>
                  </a:cubicBezTo>
                  <a:cubicBezTo>
                    <a:pt x="792296" y="620450"/>
                    <a:pt x="793508" y="620450"/>
                    <a:pt x="793609" y="621190"/>
                  </a:cubicBezTo>
                  <a:cubicBezTo>
                    <a:pt x="793710" y="621963"/>
                    <a:pt x="794147" y="623141"/>
                    <a:pt x="794147" y="623141"/>
                  </a:cubicBezTo>
                  <a:lnTo>
                    <a:pt x="793811" y="625092"/>
                  </a:lnTo>
                  <a:cubicBezTo>
                    <a:pt x="793811" y="625092"/>
                    <a:pt x="793609" y="626168"/>
                    <a:pt x="793373" y="626841"/>
                  </a:cubicBezTo>
                  <a:cubicBezTo>
                    <a:pt x="793171" y="627480"/>
                    <a:pt x="792835" y="628456"/>
                    <a:pt x="792599" y="628893"/>
                  </a:cubicBezTo>
                  <a:cubicBezTo>
                    <a:pt x="792397" y="629330"/>
                    <a:pt x="792061" y="630104"/>
                    <a:pt x="791926" y="630541"/>
                  </a:cubicBezTo>
                  <a:cubicBezTo>
                    <a:pt x="791825" y="630979"/>
                    <a:pt x="791287" y="631853"/>
                    <a:pt x="791287" y="632291"/>
                  </a:cubicBezTo>
                  <a:cubicBezTo>
                    <a:pt x="791287" y="632728"/>
                    <a:pt x="790210" y="633165"/>
                    <a:pt x="789772" y="633804"/>
                  </a:cubicBezTo>
                  <a:cubicBezTo>
                    <a:pt x="789335" y="634444"/>
                    <a:pt x="788594" y="634242"/>
                    <a:pt x="788460" y="634578"/>
                  </a:cubicBezTo>
                  <a:cubicBezTo>
                    <a:pt x="788359" y="634915"/>
                    <a:pt x="787820" y="637303"/>
                    <a:pt x="787685" y="638043"/>
                  </a:cubicBezTo>
                  <a:cubicBezTo>
                    <a:pt x="787585" y="638817"/>
                    <a:pt x="787248" y="639994"/>
                    <a:pt x="787248" y="640330"/>
                  </a:cubicBezTo>
                  <a:cubicBezTo>
                    <a:pt x="787248" y="640667"/>
                    <a:pt x="787147" y="642618"/>
                    <a:pt x="787147" y="643055"/>
                  </a:cubicBezTo>
                  <a:cubicBezTo>
                    <a:pt x="787147" y="643493"/>
                    <a:pt x="788022" y="643930"/>
                    <a:pt x="788460" y="644367"/>
                  </a:cubicBezTo>
                  <a:cubicBezTo>
                    <a:pt x="788897" y="644805"/>
                    <a:pt x="790950" y="646217"/>
                    <a:pt x="792263" y="646991"/>
                  </a:cubicBezTo>
                  <a:cubicBezTo>
                    <a:pt x="793575" y="647765"/>
                    <a:pt x="797277" y="649279"/>
                    <a:pt x="797816" y="649918"/>
                  </a:cubicBezTo>
                  <a:cubicBezTo>
                    <a:pt x="798354" y="650557"/>
                    <a:pt x="803133" y="651667"/>
                    <a:pt x="803133" y="651667"/>
                  </a:cubicBezTo>
                  <a:lnTo>
                    <a:pt x="806162" y="652979"/>
                  </a:lnTo>
                  <a:lnTo>
                    <a:pt x="807239" y="653315"/>
                  </a:lnTo>
                  <a:lnTo>
                    <a:pt x="812556" y="655704"/>
                  </a:lnTo>
                  <a:lnTo>
                    <a:pt x="815282" y="659169"/>
                  </a:lnTo>
                  <a:lnTo>
                    <a:pt x="818648" y="661658"/>
                  </a:lnTo>
                  <a:lnTo>
                    <a:pt x="823427" y="664686"/>
                  </a:lnTo>
                  <a:lnTo>
                    <a:pt x="826254" y="668689"/>
                  </a:lnTo>
                  <a:lnTo>
                    <a:pt x="829081" y="671178"/>
                  </a:lnTo>
                  <a:cubicBezTo>
                    <a:pt x="829081" y="671178"/>
                    <a:pt x="830292" y="672692"/>
                    <a:pt x="830494" y="673129"/>
                  </a:cubicBezTo>
                  <a:cubicBezTo>
                    <a:pt x="830696" y="673566"/>
                    <a:pt x="832547" y="675282"/>
                    <a:pt x="832783" y="675719"/>
                  </a:cubicBezTo>
                  <a:cubicBezTo>
                    <a:pt x="832985" y="676157"/>
                    <a:pt x="833860" y="677132"/>
                    <a:pt x="834095" y="678343"/>
                  </a:cubicBezTo>
                  <a:cubicBezTo>
                    <a:pt x="834297" y="679521"/>
                    <a:pt x="834297" y="681169"/>
                    <a:pt x="834196" y="681943"/>
                  </a:cubicBezTo>
                  <a:cubicBezTo>
                    <a:pt x="834095" y="682717"/>
                    <a:pt x="833422" y="683019"/>
                    <a:pt x="832446" y="683457"/>
                  </a:cubicBezTo>
                  <a:cubicBezTo>
                    <a:pt x="831470" y="683894"/>
                    <a:pt x="830797" y="683894"/>
                    <a:pt x="830057" y="684331"/>
                  </a:cubicBezTo>
                  <a:cubicBezTo>
                    <a:pt x="829316" y="684769"/>
                    <a:pt x="828542" y="685206"/>
                    <a:pt x="828542" y="685206"/>
                  </a:cubicBezTo>
                  <a:cubicBezTo>
                    <a:pt x="828542" y="685206"/>
                    <a:pt x="827903" y="687258"/>
                    <a:pt x="827768" y="687695"/>
                  </a:cubicBezTo>
                  <a:cubicBezTo>
                    <a:pt x="827667" y="688132"/>
                    <a:pt x="827230" y="690857"/>
                    <a:pt x="826355" y="692136"/>
                  </a:cubicBezTo>
                  <a:cubicBezTo>
                    <a:pt x="825480" y="693447"/>
                    <a:pt x="825244" y="694827"/>
                    <a:pt x="825244" y="694827"/>
                  </a:cubicBezTo>
                  <a:cubicBezTo>
                    <a:pt x="825244" y="694827"/>
                    <a:pt x="824705" y="696677"/>
                    <a:pt x="824268" y="696879"/>
                  </a:cubicBezTo>
                  <a:cubicBezTo>
                    <a:pt x="823831" y="697114"/>
                    <a:pt x="823494" y="696879"/>
                    <a:pt x="822518" y="697854"/>
                  </a:cubicBezTo>
                  <a:cubicBezTo>
                    <a:pt x="821542" y="698830"/>
                    <a:pt x="821004" y="701992"/>
                    <a:pt x="821004" y="702328"/>
                  </a:cubicBezTo>
                  <a:cubicBezTo>
                    <a:pt x="821004" y="702665"/>
                    <a:pt x="822754" y="703304"/>
                    <a:pt x="823629" y="703640"/>
                  </a:cubicBezTo>
                  <a:cubicBezTo>
                    <a:pt x="824504" y="703943"/>
                    <a:pt x="828206" y="704616"/>
                    <a:pt x="828845" y="705154"/>
                  </a:cubicBezTo>
                  <a:cubicBezTo>
                    <a:pt x="829485" y="705692"/>
                    <a:pt x="833086" y="708316"/>
                    <a:pt x="832985" y="707643"/>
                  </a:cubicBezTo>
                  <a:cubicBezTo>
                    <a:pt x="832884" y="707004"/>
                    <a:pt x="834634" y="709157"/>
                    <a:pt x="834634" y="709157"/>
                  </a:cubicBezTo>
                  <a:lnTo>
                    <a:pt x="837898" y="711781"/>
                  </a:lnTo>
                  <a:lnTo>
                    <a:pt x="840624" y="713093"/>
                  </a:lnTo>
                  <a:lnTo>
                    <a:pt x="842139" y="714943"/>
                  </a:lnTo>
                  <a:lnTo>
                    <a:pt x="842576" y="718105"/>
                  </a:lnTo>
                  <a:lnTo>
                    <a:pt x="842812" y="720056"/>
                  </a:lnTo>
                  <a:cubicBezTo>
                    <a:pt x="842812" y="720056"/>
                    <a:pt x="842812" y="721368"/>
                    <a:pt x="842273" y="721907"/>
                  </a:cubicBezTo>
                  <a:cubicBezTo>
                    <a:pt x="841735" y="722445"/>
                    <a:pt x="841398" y="723656"/>
                    <a:pt x="840860" y="723959"/>
                  </a:cubicBezTo>
                  <a:cubicBezTo>
                    <a:pt x="840321" y="724295"/>
                    <a:pt x="841062" y="723084"/>
                    <a:pt x="840321" y="724295"/>
                  </a:cubicBezTo>
                  <a:cubicBezTo>
                    <a:pt x="839547" y="725506"/>
                    <a:pt x="839345" y="725910"/>
                    <a:pt x="838470" y="726347"/>
                  </a:cubicBezTo>
                  <a:cubicBezTo>
                    <a:pt x="837595" y="726784"/>
                    <a:pt x="837696" y="726784"/>
                    <a:pt x="836417" y="727424"/>
                  </a:cubicBezTo>
                  <a:cubicBezTo>
                    <a:pt x="835105" y="728063"/>
                    <a:pt x="835105" y="727424"/>
                    <a:pt x="834465" y="728500"/>
                  </a:cubicBezTo>
                  <a:cubicBezTo>
                    <a:pt x="833826" y="729577"/>
                    <a:pt x="832850" y="730686"/>
                    <a:pt x="832715" y="731326"/>
                  </a:cubicBezTo>
                  <a:cubicBezTo>
                    <a:pt x="832614" y="731965"/>
                    <a:pt x="832513" y="733613"/>
                    <a:pt x="832513" y="734151"/>
                  </a:cubicBezTo>
                  <a:cubicBezTo>
                    <a:pt x="832513" y="734690"/>
                    <a:pt x="832715" y="735564"/>
                    <a:pt x="832951" y="736002"/>
                  </a:cubicBezTo>
                  <a:cubicBezTo>
                    <a:pt x="833153" y="736439"/>
                    <a:pt x="840119" y="738928"/>
                    <a:pt x="840119" y="738928"/>
                  </a:cubicBezTo>
                  <a:lnTo>
                    <a:pt x="840994" y="739567"/>
                  </a:lnTo>
                  <a:lnTo>
                    <a:pt x="841768" y="741754"/>
                  </a:lnTo>
                  <a:lnTo>
                    <a:pt x="842745" y="744916"/>
                  </a:lnTo>
                  <a:cubicBezTo>
                    <a:pt x="842745" y="744916"/>
                    <a:pt x="843720" y="747944"/>
                    <a:pt x="843821" y="748616"/>
                  </a:cubicBezTo>
                  <a:cubicBezTo>
                    <a:pt x="843922" y="749289"/>
                    <a:pt x="843956" y="752956"/>
                    <a:pt x="843956" y="752956"/>
                  </a:cubicBezTo>
                  <a:cubicBezTo>
                    <a:pt x="843956" y="752956"/>
                    <a:pt x="844057" y="756421"/>
                    <a:pt x="844057" y="757094"/>
                  </a:cubicBezTo>
                  <a:cubicBezTo>
                    <a:pt x="844057" y="757733"/>
                    <a:pt x="844932" y="762409"/>
                    <a:pt x="844932" y="762409"/>
                  </a:cubicBezTo>
                  <a:cubicBezTo>
                    <a:pt x="844932" y="762409"/>
                    <a:pt x="848533" y="765773"/>
                    <a:pt x="848971" y="766008"/>
                  </a:cubicBezTo>
                  <a:cubicBezTo>
                    <a:pt x="849408" y="766244"/>
                    <a:pt x="852235" y="767959"/>
                    <a:pt x="852672" y="768296"/>
                  </a:cubicBezTo>
                  <a:cubicBezTo>
                    <a:pt x="853110" y="768632"/>
                    <a:pt x="855836" y="771222"/>
                    <a:pt x="856375" y="771996"/>
                  </a:cubicBezTo>
                  <a:cubicBezTo>
                    <a:pt x="856913" y="772770"/>
                    <a:pt x="859976" y="774586"/>
                    <a:pt x="859976" y="774586"/>
                  </a:cubicBezTo>
                  <a:cubicBezTo>
                    <a:pt x="859976" y="774586"/>
                    <a:pt x="861389" y="775125"/>
                    <a:pt x="861625" y="775562"/>
                  </a:cubicBezTo>
                  <a:cubicBezTo>
                    <a:pt x="861860" y="775999"/>
                    <a:pt x="864115" y="778589"/>
                    <a:pt x="864115" y="778589"/>
                  </a:cubicBezTo>
                  <a:lnTo>
                    <a:pt x="864553" y="780978"/>
                  </a:lnTo>
                  <a:lnTo>
                    <a:pt x="865327" y="782391"/>
                  </a:lnTo>
                  <a:lnTo>
                    <a:pt x="867952" y="783366"/>
                  </a:lnTo>
                  <a:cubicBezTo>
                    <a:pt x="867952" y="783366"/>
                    <a:pt x="868827" y="783366"/>
                    <a:pt x="868726" y="783804"/>
                  </a:cubicBezTo>
                  <a:cubicBezTo>
                    <a:pt x="868625" y="784241"/>
                    <a:pt x="867413" y="786831"/>
                    <a:pt x="867413" y="786831"/>
                  </a:cubicBezTo>
                  <a:lnTo>
                    <a:pt x="866538" y="790397"/>
                  </a:lnTo>
                  <a:lnTo>
                    <a:pt x="860783" y="794736"/>
                  </a:lnTo>
                  <a:cubicBezTo>
                    <a:pt x="860783" y="794736"/>
                    <a:pt x="858932" y="795947"/>
                    <a:pt x="858495" y="796149"/>
                  </a:cubicBezTo>
                  <a:cubicBezTo>
                    <a:pt x="858057" y="796385"/>
                    <a:pt x="856442" y="799951"/>
                    <a:pt x="856442" y="799951"/>
                  </a:cubicBezTo>
                  <a:cubicBezTo>
                    <a:pt x="856442" y="799951"/>
                    <a:pt x="856341" y="800287"/>
                    <a:pt x="856105" y="800724"/>
                  </a:cubicBezTo>
                  <a:cubicBezTo>
                    <a:pt x="855903" y="801162"/>
                    <a:pt x="855903" y="801801"/>
                    <a:pt x="855903" y="802675"/>
                  </a:cubicBezTo>
                  <a:cubicBezTo>
                    <a:pt x="855903" y="803550"/>
                    <a:pt x="856778" y="804862"/>
                    <a:pt x="856980" y="805165"/>
                  </a:cubicBezTo>
                  <a:cubicBezTo>
                    <a:pt x="857182" y="805501"/>
                    <a:pt x="857620" y="806039"/>
                    <a:pt x="857620" y="806477"/>
                  </a:cubicBezTo>
                  <a:cubicBezTo>
                    <a:pt x="857620" y="806914"/>
                    <a:pt x="859134" y="808663"/>
                    <a:pt x="859235" y="808966"/>
                  </a:cubicBezTo>
                  <a:cubicBezTo>
                    <a:pt x="859336" y="809302"/>
                    <a:pt x="859235" y="809605"/>
                    <a:pt x="859235" y="810715"/>
                  </a:cubicBezTo>
                  <a:cubicBezTo>
                    <a:pt x="859235" y="811792"/>
                    <a:pt x="859336" y="813877"/>
                    <a:pt x="859336" y="814517"/>
                  </a:cubicBezTo>
                  <a:cubicBezTo>
                    <a:pt x="859336" y="815156"/>
                    <a:pt x="859336" y="818217"/>
                    <a:pt x="859336" y="818217"/>
                  </a:cubicBezTo>
                  <a:cubicBezTo>
                    <a:pt x="859336" y="818217"/>
                    <a:pt x="859336" y="821144"/>
                    <a:pt x="859235" y="821917"/>
                  </a:cubicBezTo>
                  <a:cubicBezTo>
                    <a:pt x="859134" y="822691"/>
                    <a:pt x="858798" y="825718"/>
                    <a:pt x="858798" y="825718"/>
                  </a:cubicBezTo>
                  <a:lnTo>
                    <a:pt x="858697" y="827131"/>
                  </a:lnTo>
                  <a:cubicBezTo>
                    <a:pt x="858697" y="827131"/>
                    <a:pt x="858798" y="827771"/>
                    <a:pt x="858461" y="828342"/>
                  </a:cubicBezTo>
                  <a:cubicBezTo>
                    <a:pt x="858125" y="828881"/>
                    <a:pt x="858125" y="828982"/>
                    <a:pt x="857283" y="829318"/>
                  </a:cubicBezTo>
                  <a:cubicBezTo>
                    <a:pt x="856408" y="829654"/>
                    <a:pt x="856072" y="829318"/>
                    <a:pt x="854221" y="828881"/>
                  </a:cubicBezTo>
                  <a:cubicBezTo>
                    <a:pt x="852370" y="828443"/>
                    <a:pt x="854120" y="828342"/>
                    <a:pt x="851629" y="828107"/>
                  </a:cubicBezTo>
                  <a:cubicBezTo>
                    <a:pt x="849139" y="827905"/>
                    <a:pt x="847826" y="827030"/>
                    <a:pt x="846076" y="827468"/>
                  </a:cubicBezTo>
                  <a:cubicBezTo>
                    <a:pt x="844326" y="827905"/>
                    <a:pt x="844326" y="828780"/>
                    <a:pt x="841836" y="829520"/>
                  </a:cubicBezTo>
                  <a:cubicBezTo>
                    <a:pt x="839345" y="830294"/>
                    <a:pt x="838369" y="831269"/>
                    <a:pt x="837932" y="831370"/>
                  </a:cubicBezTo>
                  <a:cubicBezTo>
                    <a:pt x="837494" y="831471"/>
                    <a:pt x="836619" y="831706"/>
                    <a:pt x="836619" y="831706"/>
                  </a:cubicBezTo>
                  <a:lnTo>
                    <a:pt x="833691" y="832682"/>
                  </a:lnTo>
                  <a:lnTo>
                    <a:pt x="834566" y="835609"/>
                  </a:lnTo>
                  <a:lnTo>
                    <a:pt x="835105" y="838098"/>
                  </a:lnTo>
                  <a:cubicBezTo>
                    <a:pt x="835105" y="838098"/>
                    <a:pt x="835441" y="839511"/>
                    <a:pt x="835441" y="839948"/>
                  </a:cubicBezTo>
                  <a:cubicBezTo>
                    <a:pt x="835441" y="840385"/>
                    <a:pt x="835643" y="844187"/>
                    <a:pt x="835643" y="844187"/>
                  </a:cubicBezTo>
                  <a:cubicBezTo>
                    <a:pt x="835643" y="844187"/>
                    <a:pt x="836182" y="847349"/>
                    <a:pt x="836417" y="847988"/>
                  </a:cubicBezTo>
                  <a:cubicBezTo>
                    <a:pt x="836619" y="848627"/>
                    <a:pt x="837292" y="851049"/>
                    <a:pt x="837292" y="851049"/>
                  </a:cubicBezTo>
                  <a:cubicBezTo>
                    <a:pt x="837292" y="851049"/>
                    <a:pt x="838066" y="855187"/>
                    <a:pt x="838066" y="855490"/>
                  </a:cubicBezTo>
                  <a:cubicBezTo>
                    <a:pt x="838066" y="855826"/>
                    <a:pt x="837831" y="856364"/>
                    <a:pt x="837965" y="857777"/>
                  </a:cubicBezTo>
                  <a:cubicBezTo>
                    <a:pt x="838066" y="859190"/>
                    <a:pt x="838066" y="861477"/>
                    <a:pt x="837763" y="862117"/>
                  </a:cubicBezTo>
                  <a:cubicBezTo>
                    <a:pt x="837427" y="862756"/>
                    <a:pt x="837225" y="864606"/>
                    <a:pt x="836451" y="864942"/>
                  </a:cubicBezTo>
                  <a:cubicBezTo>
                    <a:pt x="835677" y="865279"/>
                    <a:pt x="836788" y="866019"/>
                    <a:pt x="833860" y="866591"/>
                  </a:cubicBezTo>
                  <a:cubicBezTo>
                    <a:pt x="830932" y="867129"/>
                    <a:pt x="831234" y="867667"/>
                    <a:pt x="829081" y="867028"/>
                  </a:cubicBezTo>
                  <a:cubicBezTo>
                    <a:pt x="826893" y="866389"/>
                    <a:pt x="828441" y="865514"/>
                    <a:pt x="825816" y="864539"/>
                  </a:cubicBezTo>
                  <a:cubicBezTo>
                    <a:pt x="823225" y="863563"/>
                    <a:pt x="824941" y="862251"/>
                    <a:pt x="821138" y="862352"/>
                  </a:cubicBezTo>
                  <a:cubicBezTo>
                    <a:pt x="817335" y="862453"/>
                    <a:pt x="817100" y="863328"/>
                    <a:pt x="816460" y="863765"/>
                  </a:cubicBezTo>
                  <a:cubicBezTo>
                    <a:pt x="815821" y="864202"/>
                    <a:pt x="816023" y="866355"/>
                    <a:pt x="814845" y="867903"/>
                  </a:cubicBezTo>
                  <a:cubicBezTo>
                    <a:pt x="813633" y="869417"/>
                    <a:pt x="812792" y="869955"/>
                    <a:pt x="810941" y="870829"/>
                  </a:cubicBezTo>
                  <a:cubicBezTo>
                    <a:pt x="809090" y="871704"/>
                    <a:pt x="808316" y="873117"/>
                    <a:pt x="807676" y="873655"/>
                  </a:cubicBezTo>
                  <a:cubicBezTo>
                    <a:pt x="807037" y="874193"/>
                    <a:pt x="807037" y="876043"/>
                    <a:pt x="805388" y="875068"/>
                  </a:cubicBezTo>
                  <a:cubicBezTo>
                    <a:pt x="803739" y="874092"/>
                    <a:pt x="805489" y="873117"/>
                    <a:pt x="803200" y="873117"/>
                  </a:cubicBezTo>
                  <a:cubicBezTo>
                    <a:pt x="800912" y="873117"/>
                    <a:pt x="800710" y="872478"/>
                    <a:pt x="799296" y="872780"/>
                  </a:cubicBezTo>
                  <a:cubicBezTo>
                    <a:pt x="797883" y="873117"/>
                    <a:pt x="797008" y="873655"/>
                    <a:pt x="796469" y="873991"/>
                  </a:cubicBezTo>
                  <a:cubicBezTo>
                    <a:pt x="795931" y="874328"/>
                    <a:pt x="795695" y="874967"/>
                    <a:pt x="795392" y="875505"/>
                  </a:cubicBezTo>
                  <a:cubicBezTo>
                    <a:pt x="795056" y="876043"/>
                    <a:pt x="794450" y="877120"/>
                    <a:pt x="794248" y="878095"/>
                  </a:cubicBezTo>
                  <a:cubicBezTo>
                    <a:pt x="794046" y="879071"/>
                    <a:pt x="793306" y="881359"/>
                    <a:pt x="793306" y="881695"/>
                  </a:cubicBezTo>
                  <a:cubicBezTo>
                    <a:pt x="793306" y="882031"/>
                    <a:pt x="793306" y="884319"/>
                    <a:pt x="793306" y="884319"/>
                  </a:cubicBezTo>
                  <a:cubicBezTo>
                    <a:pt x="793306" y="884319"/>
                    <a:pt x="793743" y="886505"/>
                    <a:pt x="793844" y="887044"/>
                  </a:cubicBezTo>
                  <a:cubicBezTo>
                    <a:pt x="793945" y="887582"/>
                    <a:pt x="793609" y="887817"/>
                    <a:pt x="794484" y="889533"/>
                  </a:cubicBezTo>
                  <a:cubicBezTo>
                    <a:pt x="795359" y="891282"/>
                    <a:pt x="795460" y="891383"/>
                    <a:pt x="797210" y="891719"/>
                  </a:cubicBezTo>
                  <a:cubicBezTo>
                    <a:pt x="798960" y="892056"/>
                    <a:pt x="801349" y="892157"/>
                    <a:pt x="801551" y="892931"/>
                  </a:cubicBezTo>
                  <a:cubicBezTo>
                    <a:pt x="801753" y="893704"/>
                    <a:pt x="803941" y="896093"/>
                    <a:pt x="803941" y="896093"/>
                  </a:cubicBezTo>
                  <a:lnTo>
                    <a:pt x="804479" y="898145"/>
                  </a:lnTo>
                  <a:cubicBezTo>
                    <a:pt x="804479" y="898145"/>
                    <a:pt x="804681" y="898918"/>
                    <a:pt x="804580" y="899457"/>
                  </a:cubicBezTo>
                  <a:cubicBezTo>
                    <a:pt x="804479" y="899995"/>
                    <a:pt x="803604" y="902181"/>
                    <a:pt x="803402" y="902921"/>
                  </a:cubicBezTo>
                  <a:cubicBezTo>
                    <a:pt x="803167" y="903695"/>
                    <a:pt x="802191" y="905310"/>
                    <a:pt x="801349" y="905747"/>
                  </a:cubicBezTo>
                  <a:cubicBezTo>
                    <a:pt x="800474" y="906185"/>
                    <a:pt x="798421" y="908136"/>
                    <a:pt x="797647" y="908472"/>
                  </a:cubicBezTo>
                  <a:cubicBezTo>
                    <a:pt x="796873" y="908808"/>
                    <a:pt x="795695" y="909549"/>
                    <a:pt x="795359" y="909885"/>
                  </a:cubicBezTo>
                  <a:cubicBezTo>
                    <a:pt x="795022" y="910221"/>
                    <a:pt x="794383" y="912072"/>
                    <a:pt x="793272" y="912475"/>
                  </a:cubicBezTo>
                  <a:cubicBezTo>
                    <a:pt x="792195" y="912913"/>
                    <a:pt x="791758" y="914863"/>
                    <a:pt x="791758" y="914863"/>
                  </a:cubicBezTo>
                  <a:lnTo>
                    <a:pt x="788493" y="916478"/>
                  </a:lnTo>
                  <a:cubicBezTo>
                    <a:pt x="788493" y="916478"/>
                    <a:pt x="787181" y="917790"/>
                    <a:pt x="785666" y="917790"/>
                  </a:cubicBezTo>
                  <a:cubicBezTo>
                    <a:pt x="784152" y="917790"/>
                    <a:pt x="781964" y="918665"/>
                    <a:pt x="781964" y="918665"/>
                  </a:cubicBezTo>
                  <a:cubicBezTo>
                    <a:pt x="781964" y="918665"/>
                    <a:pt x="780113" y="919304"/>
                    <a:pt x="779676" y="919539"/>
                  </a:cubicBezTo>
                  <a:cubicBezTo>
                    <a:pt x="779238" y="919741"/>
                    <a:pt x="778700" y="921053"/>
                    <a:pt x="775873" y="921726"/>
                  </a:cubicBezTo>
                  <a:cubicBezTo>
                    <a:pt x="773046" y="922365"/>
                    <a:pt x="772608" y="922601"/>
                    <a:pt x="771969" y="922601"/>
                  </a:cubicBezTo>
                  <a:cubicBezTo>
                    <a:pt x="771329" y="922601"/>
                    <a:pt x="770454" y="923913"/>
                    <a:pt x="769142" y="924114"/>
                  </a:cubicBezTo>
                  <a:cubicBezTo>
                    <a:pt x="767829" y="924316"/>
                    <a:pt x="765002" y="925292"/>
                    <a:pt x="764363" y="925965"/>
                  </a:cubicBezTo>
                  <a:cubicBezTo>
                    <a:pt x="763723" y="926604"/>
                    <a:pt x="762310" y="927142"/>
                    <a:pt x="761772" y="927579"/>
                  </a:cubicBezTo>
                  <a:cubicBezTo>
                    <a:pt x="761233" y="928017"/>
                    <a:pt x="760795" y="928891"/>
                    <a:pt x="759820" y="929531"/>
                  </a:cubicBezTo>
                  <a:cubicBezTo>
                    <a:pt x="758844" y="930170"/>
                    <a:pt x="758171" y="931381"/>
                    <a:pt x="758069" y="931717"/>
                  </a:cubicBezTo>
                  <a:cubicBezTo>
                    <a:pt x="757969" y="932020"/>
                    <a:pt x="757632" y="934980"/>
                    <a:pt x="757632" y="934980"/>
                  </a:cubicBezTo>
                  <a:cubicBezTo>
                    <a:pt x="757632" y="934980"/>
                    <a:pt x="757868" y="936830"/>
                    <a:pt x="757868" y="937469"/>
                  </a:cubicBezTo>
                  <a:cubicBezTo>
                    <a:pt x="757868" y="938109"/>
                    <a:pt x="758507" y="940632"/>
                    <a:pt x="758507" y="940632"/>
                  </a:cubicBezTo>
                  <a:lnTo>
                    <a:pt x="758507" y="943424"/>
                  </a:lnTo>
                  <a:cubicBezTo>
                    <a:pt x="758507" y="943424"/>
                    <a:pt x="758305" y="944837"/>
                    <a:pt x="758305" y="945173"/>
                  </a:cubicBezTo>
                  <a:cubicBezTo>
                    <a:pt x="758305" y="945509"/>
                    <a:pt x="758406" y="946922"/>
                    <a:pt x="758406" y="946922"/>
                  </a:cubicBezTo>
                  <a:lnTo>
                    <a:pt x="758137" y="948840"/>
                  </a:lnTo>
                  <a:lnTo>
                    <a:pt x="757497" y="949210"/>
                  </a:lnTo>
                  <a:lnTo>
                    <a:pt x="756252" y="950017"/>
                  </a:lnTo>
                  <a:cubicBezTo>
                    <a:pt x="756252" y="950017"/>
                    <a:pt x="755209" y="949849"/>
                    <a:pt x="754502" y="950017"/>
                  </a:cubicBezTo>
                  <a:cubicBezTo>
                    <a:pt x="753795" y="950185"/>
                    <a:pt x="753089" y="949849"/>
                    <a:pt x="752550" y="949512"/>
                  </a:cubicBezTo>
                  <a:cubicBezTo>
                    <a:pt x="752012" y="949176"/>
                    <a:pt x="751036" y="948301"/>
                    <a:pt x="750766" y="948099"/>
                  </a:cubicBezTo>
                  <a:cubicBezTo>
                    <a:pt x="750497" y="947898"/>
                    <a:pt x="749454" y="946216"/>
                    <a:pt x="748882" y="945980"/>
                  </a:cubicBezTo>
                  <a:cubicBezTo>
                    <a:pt x="748276" y="945778"/>
                    <a:pt x="746661" y="946317"/>
                    <a:pt x="746425" y="946417"/>
                  </a:cubicBezTo>
                  <a:cubicBezTo>
                    <a:pt x="746223" y="946518"/>
                    <a:pt x="743867" y="947662"/>
                    <a:pt x="743867" y="947662"/>
                  </a:cubicBezTo>
                  <a:cubicBezTo>
                    <a:pt x="743867" y="947662"/>
                    <a:pt x="741814" y="948570"/>
                    <a:pt x="741478" y="948739"/>
                  </a:cubicBezTo>
                  <a:cubicBezTo>
                    <a:pt x="741141" y="948907"/>
                    <a:pt x="739627" y="949512"/>
                    <a:pt x="739189" y="949546"/>
                  </a:cubicBezTo>
                  <a:cubicBezTo>
                    <a:pt x="738752" y="949613"/>
                    <a:pt x="737507" y="950320"/>
                    <a:pt x="737136" y="950723"/>
                  </a:cubicBezTo>
                  <a:cubicBezTo>
                    <a:pt x="736766" y="951161"/>
                    <a:pt x="735824" y="952675"/>
                    <a:pt x="735521" y="953011"/>
                  </a:cubicBezTo>
                  <a:cubicBezTo>
                    <a:pt x="735184" y="953347"/>
                    <a:pt x="734545" y="955500"/>
                    <a:pt x="734444" y="955904"/>
                  </a:cubicBezTo>
                  <a:cubicBezTo>
                    <a:pt x="734343" y="956274"/>
                    <a:pt x="734107" y="957922"/>
                    <a:pt x="734107" y="957922"/>
                  </a:cubicBezTo>
                  <a:cubicBezTo>
                    <a:pt x="734107" y="957922"/>
                    <a:pt x="734040" y="959268"/>
                    <a:pt x="734208" y="959604"/>
                  </a:cubicBezTo>
                  <a:cubicBezTo>
                    <a:pt x="734377" y="959941"/>
                    <a:pt x="735958" y="963742"/>
                    <a:pt x="735958" y="963742"/>
                  </a:cubicBezTo>
                  <a:cubicBezTo>
                    <a:pt x="735958" y="963742"/>
                    <a:pt x="736497" y="964886"/>
                    <a:pt x="737742" y="965626"/>
                  </a:cubicBezTo>
                  <a:cubicBezTo>
                    <a:pt x="738987" y="966399"/>
                    <a:pt x="741208" y="966870"/>
                    <a:pt x="742050" y="966433"/>
                  </a:cubicBezTo>
                  <a:cubicBezTo>
                    <a:pt x="742858" y="965996"/>
                    <a:pt x="744170" y="964684"/>
                    <a:pt x="744540" y="964112"/>
                  </a:cubicBezTo>
                  <a:cubicBezTo>
                    <a:pt x="744911" y="963506"/>
                    <a:pt x="746055" y="962464"/>
                    <a:pt x="746492" y="961656"/>
                  </a:cubicBezTo>
                  <a:cubicBezTo>
                    <a:pt x="746930" y="960849"/>
                    <a:pt x="748411" y="959907"/>
                    <a:pt x="748545" y="959873"/>
                  </a:cubicBezTo>
                  <a:cubicBezTo>
                    <a:pt x="748714" y="959806"/>
                    <a:pt x="751978" y="958797"/>
                    <a:pt x="751978" y="958797"/>
                  </a:cubicBezTo>
                  <a:cubicBezTo>
                    <a:pt x="751978" y="958797"/>
                    <a:pt x="755243" y="959705"/>
                    <a:pt x="755411" y="959840"/>
                  </a:cubicBezTo>
                  <a:cubicBezTo>
                    <a:pt x="755579" y="959941"/>
                    <a:pt x="756555" y="961421"/>
                    <a:pt x="756656" y="961690"/>
                  </a:cubicBezTo>
                  <a:cubicBezTo>
                    <a:pt x="756757" y="961959"/>
                    <a:pt x="757194" y="963170"/>
                    <a:pt x="756925" y="963607"/>
                  </a:cubicBezTo>
                  <a:cubicBezTo>
                    <a:pt x="756656" y="964045"/>
                    <a:pt x="756252" y="966601"/>
                    <a:pt x="756017" y="966635"/>
                  </a:cubicBezTo>
                  <a:cubicBezTo>
                    <a:pt x="755781" y="966702"/>
                    <a:pt x="755074" y="968855"/>
                    <a:pt x="755074" y="968855"/>
                  </a:cubicBezTo>
                  <a:lnTo>
                    <a:pt x="755074" y="969494"/>
                  </a:lnTo>
                  <a:cubicBezTo>
                    <a:pt x="755074" y="969494"/>
                    <a:pt x="757026" y="972085"/>
                    <a:pt x="757295" y="972253"/>
                  </a:cubicBezTo>
                  <a:cubicBezTo>
                    <a:pt x="757565" y="972421"/>
                    <a:pt x="759584" y="974002"/>
                    <a:pt x="760122" y="974036"/>
                  </a:cubicBezTo>
                  <a:cubicBezTo>
                    <a:pt x="760661" y="974103"/>
                    <a:pt x="763555" y="975550"/>
                    <a:pt x="764026" y="975650"/>
                  </a:cubicBezTo>
                  <a:cubicBezTo>
                    <a:pt x="764498" y="975751"/>
                    <a:pt x="768200" y="976794"/>
                    <a:pt x="768469" y="976727"/>
                  </a:cubicBezTo>
                  <a:cubicBezTo>
                    <a:pt x="768738" y="976693"/>
                    <a:pt x="770488" y="976458"/>
                    <a:pt x="770690" y="976525"/>
                  </a:cubicBezTo>
                  <a:cubicBezTo>
                    <a:pt x="770926" y="976592"/>
                    <a:pt x="774493" y="978005"/>
                    <a:pt x="775099" y="978577"/>
                  </a:cubicBezTo>
                  <a:cubicBezTo>
                    <a:pt x="775704" y="979182"/>
                    <a:pt x="776950" y="980595"/>
                    <a:pt x="776950" y="980595"/>
                  </a:cubicBezTo>
                  <a:lnTo>
                    <a:pt x="777017" y="981907"/>
                  </a:lnTo>
                  <a:lnTo>
                    <a:pt x="777825" y="987021"/>
                  </a:lnTo>
                  <a:lnTo>
                    <a:pt x="777724" y="988433"/>
                  </a:lnTo>
                  <a:lnTo>
                    <a:pt x="778060" y="991595"/>
                  </a:lnTo>
                  <a:lnTo>
                    <a:pt x="778397" y="993547"/>
                  </a:lnTo>
                  <a:lnTo>
                    <a:pt x="781224" y="995229"/>
                  </a:lnTo>
                  <a:cubicBezTo>
                    <a:pt x="781224" y="995229"/>
                    <a:pt x="782032" y="996541"/>
                    <a:pt x="781830" y="996810"/>
                  </a:cubicBezTo>
                  <a:cubicBezTo>
                    <a:pt x="781628" y="997079"/>
                    <a:pt x="782200" y="997583"/>
                    <a:pt x="780786" y="997853"/>
                  </a:cubicBezTo>
                  <a:cubicBezTo>
                    <a:pt x="779373" y="998122"/>
                    <a:pt x="779541" y="998727"/>
                    <a:pt x="778296" y="999030"/>
                  </a:cubicBezTo>
                  <a:cubicBezTo>
                    <a:pt x="777051" y="999366"/>
                    <a:pt x="776007" y="999467"/>
                    <a:pt x="775267" y="999736"/>
                  </a:cubicBezTo>
                  <a:cubicBezTo>
                    <a:pt x="774493" y="1000005"/>
                    <a:pt x="771901" y="1000174"/>
                    <a:pt x="771901" y="1000174"/>
                  </a:cubicBezTo>
                  <a:lnTo>
                    <a:pt x="771127" y="1001856"/>
                  </a:lnTo>
                  <a:lnTo>
                    <a:pt x="770757" y="1002932"/>
                  </a:lnTo>
                  <a:lnTo>
                    <a:pt x="767291" y="1003740"/>
                  </a:lnTo>
                  <a:cubicBezTo>
                    <a:pt x="767291" y="1003740"/>
                    <a:pt x="766079" y="1003941"/>
                    <a:pt x="765608" y="1004110"/>
                  </a:cubicBezTo>
                  <a:cubicBezTo>
                    <a:pt x="765103" y="1004278"/>
                    <a:pt x="763118" y="1006666"/>
                    <a:pt x="762781" y="1006834"/>
                  </a:cubicBezTo>
                  <a:cubicBezTo>
                    <a:pt x="762445" y="1007002"/>
                    <a:pt x="761435" y="1008886"/>
                    <a:pt x="761435" y="1008886"/>
                  </a:cubicBezTo>
                  <a:lnTo>
                    <a:pt x="761098" y="1011207"/>
                  </a:lnTo>
                  <a:cubicBezTo>
                    <a:pt x="761098" y="1011207"/>
                    <a:pt x="760829" y="1012957"/>
                    <a:pt x="760661" y="1013159"/>
                  </a:cubicBezTo>
                  <a:cubicBezTo>
                    <a:pt x="760493" y="1013360"/>
                    <a:pt x="759315" y="1015278"/>
                    <a:pt x="759180" y="1015446"/>
                  </a:cubicBezTo>
                  <a:cubicBezTo>
                    <a:pt x="759079" y="1015614"/>
                    <a:pt x="758406" y="1016153"/>
                    <a:pt x="758238" y="1016422"/>
                  </a:cubicBezTo>
                  <a:cubicBezTo>
                    <a:pt x="758069" y="1016691"/>
                    <a:pt x="758339" y="1019517"/>
                    <a:pt x="758069" y="1019887"/>
                  </a:cubicBezTo>
                  <a:cubicBezTo>
                    <a:pt x="757800" y="1020257"/>
                    <a:pt x="758406" y="1022107"/>
                    <a:pt x="756757" y="1021669"/>
                  </a:cubicBezTo>
                  <a:cubicBezTo>
                    <a:pt x="755142" y="1021232"/>
                    <a:pt x="754435" y="1021030"/>
                    <a:pt x="753728" y="1020526"/>
                  </a:cubicBezTo>
                  <a:cubicBezTo>
                    <a:pt x="753021" y="1020021"/>
                    <a:pt x="753728" y="1018945"/>
                    <a:pt x="752214" y="1017868"/>
                  </a:cubicBezTo>
                  <a:cubicBezTo>
                    <a:pt x="750699" y="1016792"/>
                    <a:pt x="750295" y="1016354"/>
                    <a:pt x="750295" y="1016354"/>
                  </a:cubicBezTo>
                  <a:lnTo>
                    <a:pt x="748411" y="1017296"/>
                  </a:lnTo>
                  <a:lnTo>
                    <a:pt x="747401" y="1018373"/>
                  </a:lnTo>
                  <a:lnTo>
                    <a:pt x="746661" y="1019819"/>
                  </a:lnTo>
                  <a:lnTo>
                    <a:pt x="746156" y="1020963"/>
                  </a:lnTo>
                  <a:lnTo>
                    <a:pt x="745786" y="1022208"/>
                  </a:lnTo>
                  <a:lnTo>
                    <a:pt x="745483" y="1023721"/>
                  </a:lnTo>
                  <a:lnTo>
                    <a:pt x="744540" y="1024966"/>
                  </a:lnTo>
                  <a:lnTo>
                    <a:pt x="742353" y="1025773"/>
                  </a:lnTo>
                  <a:cubicBezTo>
                    <a:pt x="742353" y="1025773"/>
                    <a:pt x="741915" y="1026278"/>
                    <a:pt x="741410" y="1026345"/>
                  </a:cubicBezTo>
                  <a:cubicBezTo>
                    <a:pt x="740906" y="1026413"/>
                    <a:pt x="739829" y="1026715"/>
                    <a:pt x="739593" y="1026715"/>
                  </a:cubicBezTo>
                  <a:cubicBezTo>
                    <a:pt x="739391" y="1026715"/>
                    <a:pt x="739290" y="1026413"/>
                    <a:pt x="737910" y="1026715"/>
                  </a:cubicBezTo>
                  <a:cubicBezTo>
                    <a:pt x="736531" y="1027018"/>
                    <a:pt x="735218" y="1026278"/>
                    <a:pt x="735218" y="1026278"/>
                  </a:cubicBezTo>
                  <a:cubicBezTo>
                    <a:pt x="735218" y="1026278"/>
                    <a:pt x="734276" y="1025202"/>
                    <a:pt x="734141" y="1024966"/>
                  </a:cubicBezTo>
                  <a:cubicBezTo>
                    <a:pt x="734007" y="1024764"/>
                    <a:pt x="732055" y="1022510"/>
                    <a:pt x="731752" y="1022510"/>
                  </a:cubicBezTo>
                  <a:cubicBezTo>
                    <a:pt x="731449" y="1022510"/>
                    <a:pt x="730069" y="1021434"/>
                    <a:pt x="729732" y="1021064"/>
                  </a:cubicBezTo>
                  <a:cubicBezTo>
                    <a:pt x="729362" y="1020694"/>
                    <a:pt x="727276" y="1018877"/>
                    <a:pt x="726703" y="1018743"/>
                  </a:cubicBezTo>
                  <a:cubicBezTo>
                    <a:pt x="726131" y="1018608"/>
                    <a:pt x="723742" y="1017431"/>
                    <a:pt x="723136" y="1016994"/>
                  </a:cubicBezTo>
                  <a:cubicBezTo>
                    <a:pt x="722564" y="1016556"/>
                    <a:pt x="721992" y="1013663"/>
                    <a:pt x="721756" y="1013529"/>
                  </a:cubicBezTo>
                  <a:cubicBezTo>
                    <a:pt x="721554" y="1013394"/>
                    <a:pt x="721824" y="1012519"/>
                    <a:pt x="721049" y="1012082"/>
                  </a:cubicBezTo>
                  <a:cubicBezTo>
                    <a:pt x="720242" y="1011645"/>
                    <a:pt x="718660" y="1010703"/>
                    <a:pt x="717650" y="1010501"/>
                  </a:cubicBezTo>
                  <a:cubicBezTo>
                    <a:pt x="716641" y="1010299"/>
                    <a:pt x="715126" y="1009559"/>
                    <a:pt x="714689" y="1009425"/>
                  </a:cubicBezTo>
                  <a:cubicBezTo>
                    <a:pt x="714251" y="1009290"/>
                    <a:pt x="713814" y="1009189"/>
                    <a:pt x="712501" y="1008684"/>
                  </a:cubicBezTo>
                  <a:cubicBezTo>
                    <a:pt x="711189" y="1008180"/>
                    <a:pt x="709102" y="1007104"/>
                    <a:pt x="708294" y="1006935"/>
                  </a:cubicBezTo>
                  <a:cubicBezTo>
                    <a:pt x="707487" y="1006801"/>
                    <a:pt x="705669" y="1005993"/>
                    <a:pt x="705400" y="1005859"/>
                  </a:cubicBezTo>
                  <a:cubicBezTo>
                    <a:pt x="705097" y="1005724"/>
                    <a:pt x="704256" y="1004547"/>
                    <a:pt x="702943" y="1004042"/>
                  </a:cubicBezTo>
                  <a:cubicBezTo>
                    <a:pt x="701631" y="1003538"/>
                    <a:pt x="699982" y="1002091"/>
                    <a:pt x="698804" y="1001587"/>
                  </a:cubicBezTo>
                  <a:cubicBezTo>
                    <a:pt x="697626" y="1001082"/>
                    <a:pt x="694530" y="999400"/>
                    <a:pt x="694530" y="999400"/>
                  </a:cubicBezTo>
                  <a:lnTo>
                    <a:pt x="691198" y="996574"/>
                  </a:lnTo>
                  <a:lnTo>
                    <a:pt x="687563" y="994186"/>
                  </a:lnTo>
                  <a:cubicBezTo>
                    <a:pt x="687563" y="994186"/>
                    <a:pt x="684601" y="991999"/>
                    <a:pt x="684433" y="991797"/>
                  </a:cubicBezTo>
                  <a:cubicBezTo>
                    <a:pt x="684299" y="991595"/>
                    <a:pt x="682111" y="989913"/>
                    <a:pt x="682111" y="989913"/>
                  </a:cubicBezTo>
                  <a:lnTo>
                    <a:pt x="678712" y="989476"/>
                  </a:lnTo>
                  <a:cubicBezTo>
                    <a:pt x="678712" y="989476"/>
                    <a:pt x="677198" y="988669"/>
                    <a:pt x="676524" y="988602"/>
                  </a:cubicBezTo>
                  <a:cubicBezTo>
                    <a:pt x="675885" y="988534"/>
                    <a:pt x="674842" y="988232"/>
                    <a:pt x="674337" y="988232"/>
                  </a:cubicBezTo>
                  <a:cubicBezTo>
                    <a:pt x="673832" y="988232"/>
                    <a:pt x="672587" y="987862"/>
                    <a:pt x="671577" y="987794"/>
                  </a:cubicBezTo>
                  <a:cubicBezTo>
                    <a:pt x="670568" y="987727"/>
                    <a:pt x="669558" y="987155"/>
                    <a:pt x="669322" y="986920"/>
                  </a:cubicBezTo>
                  <a:cubicBezTo>
                    <a:pt x="669120" y="986684"/>
                    <a:pt x="669020" y="986180"/>
                    <a:pt x="667741" y="985473"/>
                  </a:cubicBezTo>
                  <a:cubicBezTo>
                    <a:pt x="666428" y="984767"/>
                    <a:pt x="665351" y="984464"/>
                    <a:pt x="665351" y="984464"/>
                  </a:cubicBezTo>
                  <a:cubicBezTo>
                    <a:pt x="665351" y="984464"/>
                    <a:pt x="664779" y="984161"/>
                    <a:pt x="663096" y="984161"/>
                  </a:cubicBezTo>
                  <a:cubicBezTo>
                    <a:pt x="661447" y="984161"/>
                    <a:pt x="659192" y="983892"/>
                    <a:pt x="658755" y="983892"/>
                  </a:cubicBezTo>
                  <a:cubicBezTo>
                    <a:pt x="658317" y="983892"/>
                    <a:pt x="656500" y="984397"/>
                    <a:pt x="655793" y="984397"/>
                  </a:cubicBezTo>
                  <a:cubicBezTo>
                    <a:pt x="655053" y="984397"/>
                    <a:pt x="651216" y="984464"/>
                    <a:pt x="650644" y="984599"/>
                  </a:cubicBezTo>
                  <a:cubicBezTo>
                    <a:pt x="650072" y="984733"/>
                    <a:pt x="649399" y="985036"/>
                    <a:pt x="648961" y="985238"/>
                  </a:cubicBezTo>
                  <a:cubicBezTo>
                    <a:pt x="648524" y="985440"/>
                    <a:pt x="647817" y="986819"/>
                    <a:pt x="647649" y="987256"/>
                  </a:cubicBezTo>
                  <a:cubicBezTo>
                    <a:pt x="647514" y="987693"/>
                    <a:pt x="647514" y="989880"/>
                    <a:pt x="647514" y="990654"/>
                  </a:cubicBezTo>
                  <a:cubicBezTo>
                    <a:pt x="647514" y="991461"/>
                    <a:pt x="648322" y="994791"/>
                    <a:pt x="648221" y="995060"/>
                  </a:cubicBezTo>
                  <a:cubicBezTo>
                    <a:pt x="648154" y="995363"/>
                    <a:pt x="648423" y="997819"/>
                    <a:pt x="648423" y="998391"/>
                  </a:cubicBezTo>
                  <a:cubicBezTo>
                    <a:pt x="648423" y="998963"/>
                    <a:pt x="649433" y="1004412"/>
                    <a:pt x="649433" y="1004412"/>
                  </a:cubicBezTo>
                  <a:cubicBezTo>
                    <a:pt x="649433" y="1004412"/>
                    <a:pt x="649062" y="1013024"/>
                    <a:pt x="649062" y="1013764"/>
                  </a:cubicBezTo>
                  <a:cubicBezTo>
                    <a:pt x="649062" y="1014504"/>
                    <a:pt x="649500" y="1016590"/>
                    <a:pt x="649567" y="1016792"/>
                  </a:cubicBezTo>
                  <a:cubicBezTo>
                    <a:pt x="649635" y="1016994"/>
                    <a:pt x="653908" y="1025134"/>
                    <a:pt x="653908" y="1025908"/>
                  </a:cubicBezTo>
                  <a:cubicBezTo>
                    <a:pt x="653908" y="1026715"/>
                    <a:pt x="656231" y="1030618"/>
                    <a:pt x="657308" y="1032199"/>
                  </a:cubicBezTo>
                  <a:cubicBezTo>
                    <a:pt x="658385" y="1033780"/>
                    <a:pt x="666159" y="1041483"/>
                    <a:pt x="666428" y="1041752"/>
                  </a:cubicBezTo>
                  <a:cubicBezTo>
                    <a:pt x="666731" y="1042055"/>
                    <a:pt x="669693" y="1045823"/>
                    <a:pt x="670837" y="1046327"/>
                  </a:cubicBezTo>
                  <a:cubicBezTo>
                    <a:pt x="671981" y="1046832"/>
                    <a:pt x="676693" y="1052046"/>
                    <a:pt x="676693" y="1052046"/>
                  </a:cubicBezTo>
                  <a:lnTo>
                    <a:pt x="678140" y="1053425"/>
                  </a:lnTo>
                  <a:lnTo>
                    <a:pt x="678241" y="1055914"/>
                  </a:lnTo>
                  <a:cubicBezTo>
                    <a:pt x="678241" y="1055914"/>
                    <a:pt x="677702" y="1057866"/>
                    <a:pt x="677601" y="1058303"/>
                  </a:cubicBezTo>
                  <a:cubicBezTo>
                    <a:pt x="677500" y="1058740"/>
                    <a:pt x="676188" y="1061028"/>
                    <a:pt x="676188" y="1061028"/>
                  </a:cubicBezTo>
                  <a:lnTo>
                    <a:pt x="675212" y="1062979"/>
                  </a:lnTo>
                  <a:lnTo>
                    <a:pt x="674236" y="1065468"/>
                  </a:lnTo>
                  <a:lnTo>
                    <a:pt x="672789" y="1066881"/>
                  </a:lnTo>
                  <a:lnTo>
                    <a:pt x="673092" y="1068563"/>
                  </a:lnTo>
                  <a:lnTo>
                    <a:pt x="674472" y="1070144"/>
                  </a:lnTo>
                  <a:cubicBezTo>
                    <a:pt x="674472" y="1070144"/>
                    <a:pt x="676289" y="1070077"/>
                    <a:pt x="676794" y="1070144"/>
                  </a:cubicBezTo>
                  <a:cubicBezTo>
                    <a:pt x="677298" y="1070211"/>
                    <a:pt x="680698" y="1070582"/>
                    <a:pt x="680933" y="1070514"/>
                  </a:cubicBezTo>
                  <a:cubicBezTo>
                    <a:pt x="681135" y="1070447"/>
                    <a:pt x="685207" y="1069202"/>
                    <a:pt x="685510" y="1069202"/>
                  </a:cubicBezTo>
                  <a:cubicBezTo>
                    <a:pt x="685813" y="1069202"/>
                    <a:pt x="687698" y="1067722"/>
                    <a:pt x="687698" y="1067722"/>
                  </a:cubicBezTo>
                  <a:lnTo>
                    <a:pt x="689381" y="1067554"/>
                  </a:lnTo>
                  <a:lnTo>
                    <a:pt x="693217" y="1067554"/>
                  </a:lnTo>
                  <a:cubicBezTo>
                    <a:pt x="693217" y="1067554"/>
                    <a:pt x="693520" y="1067688"/>
                    <a:pt x="693722" y="1067756"/>
                  </a:cubicBezTo>
                  <a:cubicBezTo>
                    <a:pt x="693958" y="1067823"/>
                    <a:pt x="694799" y="1068900"/>
                    <a:pt x="694799" y="1068900"/>
                  </a:cubicBezTo>
                  <a:cubicBezTo>
                    <a:pt x="694799" y="1068900"/>
                    <a:pt x="696381" y="1068967"/>
                    <a:pt x="696818" y="1068832"/>
                  </a:cubicBezTo>
                  <a:cubicBezTo>
                    <a:pt x="697256" y="1068698"/>
                    <a:pt x="698770" y="1068529"/>
                    <a:pt x="699578" y="1068462"/>
                  </a:cubicBezTo>
                  <a:cubicBezTo>
                    <a:pt x="700385" y="1068395"/>
                    <a:pt x="703213" y="1067588"/>
                    <a:pt x="703650" y="1067520"/>
                  </a:cubicBezTo>
                  <a:cubicBezTo>
                    <a:pt x="704088" y="1067453"/>
                    <a:pt x="706107" y="1066410"/>
                    <a:pt x="706107" y="1066410"/>
                  </a:cubicBezTo>
                  <a:lnTo>
                    <a:pt x="706914" y="1065805"/>
                  </a:lnTo>
                  <a:lnTo>
                    <a:pt x="707116" y="1065805"/>
                  </a:lnTo>
                  <a:lnTo>
                    <a:pt x="709068" y="1066309"/>
                  </a:lnTo>
                  <a:lnTo>
                    <a:pt x="710886" y="1066511"/>
                  </a:lnTo>
                  <a:lnTo>
                    <a:pt x="714924" y="1068597"/>
                  </a:lnTo>
                  <a:lnTo>
                    <a:pt x="714924" y="1073575"/>
                  </a:lnTo>
                  <a:cubicBezTo>
                    <a:pt x="714924" y="1073575"/>
                    <a:pt x="714588" y="1074753"/>
                    <a:pt x="714588" y="1075190"/>
                  </a:cubicBezTo>
                  <a:cubicBezTo>
                    <a:pt x="714588" y="1075627"/>
                    <a:pt x="714487" y="1077478"/>
                    <a:pt x="714487" y="1077478"/>
                  </a:cubicBezTo>
                  <a:lnTo>
                    <a:pt x="713612" y="1079429"/>
                  </a:lnTo>
                  <a:lnTo>
                    <a:pt x="713073" y="1081279"/>
                  </a:lnTo>
                  <a:lnTo>
                    <a:pt x="712535" y="1082053"/>
                  </a:lnTo>
                  <a:cubicBezTo>
                    <a:pt x="712535" y="1082053"/>
                    <a:pt x="711660" y="1083365"/>
                    <a:pt x="711660" y="1083667"/>
                  </a:cubicBezTo>
                  <a:cubicBezTo>
                    <a:pt x="711660" y="1084004"/>
                    <a:pt x="710482" y="1085316"/>
                    <a:pt x="710482" y="1085316"/>
                  </a:cubicBezTo>
                  <a:cubicBezTo>
                    <a:pt x="710482" y="1085316"/>
                    <a:pt x="710684" y="1086392"/>
                    <a:pt x="710381" y="1086964"/>
                  </a:cubicBezTo>
                  <a:cubicBezTo>
                    <a:pt x="710045" y="1087502"/>
                    <a:pt x="710819" y="1089251"/>
                    <a:pt x="711357" y="1089991"/>
                  </a:cubicBezTo>
                  <a:cubicBezTo>
                    <a:pt x="711895" y="1090765"/>
                    <a:pt x="714520" y="1091842"/>
                    <a:pt x="714520" y="1091842"/>
                  </a:cubicBezTo>
                  <a:lnTo>
                    <a:pt x="715833" y="1091842"/>
                  </a:lnTo>
                  <a:lnTo>
                    <a:pt x="717718" y="1092548"/>
                  </a:lnTo>
                  <a:lnTo>
                    <a:pt x="719468" y="1092111"/>
                  </a:lnTo>
                  <a:lnTo>
                    <a:pt x="722059" y="1090799"/>
                  </a:lnTo>
                  <a:lnTo>
                    <a:pt x="722934" y="1090496"/>
                  </a:lnTo>
                  <a:cubicBezTo>
                    <a:pt x="722934" y="1090496"/>
                    <a:pt x="723877" y="1089554"/>
                    <a:pt x="724078" y="1089487"/>
                  </a:cubicBezTo>
                  <a:cubicBezTo>
                    <a:pt x="724314" y="1089420"/>
                    <a:pt x="727040" y="1088982"/>
                    <a:pt x="727040" y="1088982"/>
                  </a:cubicBezTo>
                  <a:lnTo>
                    <a:pt x="728756" y="1088646"/>
                  </a:lnTo>
                  <a:cubicBezTo>
                    <a:pt x="729295" y="1088141"/>
                    <a:pt x="729598" y="1087839"/>
                    <a:pt x="729598" y="1087839"/>
                  </a:cubicBezTo>
                  <a:cubicBezTo>
                    <a:pt x="729598" y="1087839"/>
                    <a:pt x="731247" y="1085416"/>
                    <a:pt x="731449" y="1085114"/>
                  </a:cubicBezTo>
                  <a:cubicBezTo>
                    <a:pt x="731684" y="1084811"/>
                    <a:pt x="733535" y="1081548"/>
                    <a:pt x="733535" y="1081548"/>
                  </a:cubicBezTo>
                  <a:lnTo>
                    <a:pt x="734175" y="1079260"/>
                  </a:lnTo>
                  <a:lnTo>
                    <a:pt x="736160" y="1077377"/>
                  </a:lnTo>
                  <a:lnTo>
                    <a:pt x="738920" y="1074450"/>
                  </a:lnTo>
                  <a:lnTo>
                    <a:pt x="740132" y="1074450"/>
                  </a:lnTo>
                  <a:lnTo>
                    <a:pt x="741377" y="1077377"/>
                  </a:lnTo>
                  <a:lnTo>
                    <a:pt x="742723" y="1079227"/>
                  </a:lnTo>
                  <a:lnTo>
                    <a:pt x="742723" y="1082254"/>
                  </a:lnTo>
                  <a:lnTo>
                    <a:pt x="742723" y="1085719"/>
                  </a:lnTo>
                  <a:lnTo>
                    <a:pt x="742723" y="1089184"/>
                  </a:lnTo>
                  <a:lnTo>
                    <a:pt x="742723" y="1092649"/>
                  </a:lnTo>
                  <a:lnTo>
                    <a:pt x="744843" y="1095273"/>
                  </a:lnTo>
                  <a:lnTo>
                    <a:pt x="746190" y="1096450"/>
                  </a:lnTo>
                  <a:lnTo>
                    <a:pt x="746190" y="1097863"/>
                  </a:lnTo>
                  <a:lnTo>
                    <a:pt x="746190" y="1099613"/>
                  </a:lnTo>
                  <a:cubicBezTo>
                    <a:pt x="746190" y="1099613"/>
                    <a:pt x="746526" y="1103212"/>
                    <a:pt x="746190" y="1103616"/>
                  </a:cubicBezTo>
                  <a:cubicBezTo>
                    <a:pt x="745853" y="1104053"/>
                    <a:pt x="744877" y="1106206"/>
                    <a:pt x="744877" y="1106206"/>
                  </a:cubicBezTo>
                  <a:lnTo>
                    <a:pt x="743901" y="1110646"/>
                  </a:lnTo>
                  <a:lnTo>
                    <a:pt x="742824" y="1112496"/>
                  </a:lnTo>
                  <a:lnTo>
                    <a:pt x="741747" y="1113909"/>
                  </a:lnTo>
                  <a:lnTo>
                    <a:pt x="739896" y="1115524"/>
                  </a:lnTo>
                  <a:cubicBezTo>
                    <a:pt x="739896" y="1115524"/>
                    <a:pt x="738482" y="1115961"/>
                    <a:pt x="737406" y="1116399"/>
                  </a:cubicBezTo>
                  <a:cubicBezTo>
                    <a:pt x="736329" y="1116836"/>
                    <a:pt x="732526" y="1118888"/>
                    <a:pt x="732526" y="1118888"/>
                  </a:cubicBezTo>
                  <a:lnTo>
                    <a:pt x="730641" y="1120234"/>
                  </a:lnTo>
                  <a:lnTo>
                    <a:pt x="733333" y="1123026"/>
                  </a:lnTo>
                  <a:lnTo>
                    <a:pt x="735790" y="1128677"/>
                  </a:lnTo>
                  <a:lnTo>
                    <a:pt x="736800" y="1129686"/>
                  </a:lnTo>
                  <a:lnTo>
                    <a:pt x="740132" y="1132714"/>
                  </a:lnTo>
                  <a:lnTo>
                    <a:pt x="746930" y="1133286"/>
                  </a:lnTo>
                  <a:cubicBezTo>
                    <a:pt x="746930" y="1133286"/>
                    <a:pt x="748949" y="1131839"/>
                    <a:pt x="749387" y="1131402"/>
                  </a:cubicBezTo>
                  <a:cubicBezTo>
                    <a:pt x="749824" y="1130965"/>
                    <a:pt x="750396" y="1129081"/>
                    <a:pt x="750396" y="1129081"/>
                  </a:cubicBezTo>
                  <a:cubicBezTo>
                    <a:pt x="750396" y="1129081"/>
                    <a:pt x="750968" y="1127937"/>
                    <a:pt x="751137" y="1127500"/>
                  </a:cubicBezTo>
                  <a:cubicBezTo>
                    <a:pt x="751271" y="1127062"/>
                    <a:pt x="751877" y="1126053"/>
                    <a:pt x="752012" y="1125616"/>
                  </a:cubicBezTo>
                  <a:cubicBezTo>
                    <a:pt x="752146" y="1125179"/>
                    <a:pt x="753021" y="1123867"/>
                    <a:pt x="753021" y="1123867"/>
                  </a:cubicBezTo>
                  <a:lnTo>
                    <a:pt x="754334" y="1122723"/>
                  </a:lnTo>
                  <a:lnTo>
                    <a:pt x="757531" y="1123026"/>
                  </a:lnTo>
                  <a:lnTo>
                    <a:pt x="758541" y="1119123"/>
                  </a:lnTo>
                  <a:lnTo>
                    <a:pt x="760291" y="1116096"/>
                  </a:lnTo>
                  <a:lnTo>
                    <a:pt x="762748" y="1116096"/>
                  </a:lnTo>
                  <a:lnTo>
                    <a:pt x="765204" y="1121175"/>
                  </a:lnTo>
                  <a:cubicBezTo>
                    <a:pt x="765204" y="1121175"/>
                    <a:pt x="765642" y="1122622"/>
                    <a:pt x="766079" y="1123059"/>
                  </a:cubicBezTo>
                  <a:cubicBezTo>
                    <a:pt x="766517" y="1123497"/>
                    <a:pt x="770421" y="1123766"/>
                    <a:pt x="770421" y="1123194"/>
                  </a:cubicBezTo>
                  <a:cubicBezTo>
                    <a:pt x="770421" y="1122622"/>
                    <a:pt x="770993" y="1121613"/>
                    <a:pt x="770993" y="1121613"/>
                  </a:cubicBezTo>
                  <a:lnTo>
                    <a:pt x="768805" y="1120166"/>
                  </a:lnTo>
                  <a:cubicBezTo>
                    <a:pt x="768805" y="1120166"/>
                    <a:pt x="767796" y="1118282"/>
                    <a:pt x="767358" y="1118013"/>
                  </a:cubicBezTo>
                  <a:cubicBezTo>
                    <a:pt x="766921" y="1117711"/>
                    <a:pt x="766214" y="1116129"/>
                    <a:pt x="766214" y="1116129"/>
                  </a:cubicBezTo>
                  <a:cubicBezTo>
                    <a:pt x="766214" y="1116129"/>
                    <a:pt x="766349" y="1115255"/>
                    <a:pt x="766349" y="1114683"/>
                  </a:cubicBezTo>
                  <a:cubicBezTo>
                    <a:pt x="766349" y="1114111"/>
                    <a:pt x="767661" y="1113102"/>
                    <a:pt x="767661" y="1113102"/>
                  </a:cubicBezTo>
                  <a:lnTo>
                    <a:pt x="769983" y="1112530"/>
                  </a:lnTo>
                  <a:lnTo>
                    <a:pt x="770858" y="1114549"/>
                  </a:lnTo>
                  <a:cubicBezTo>
                    <a:pt x="770858" y="1114549"/>
                    <a:pt x="771430" y="1113405"/>
                    <a:pt x="771430" y="1112530"/>
                  </a:cubicBezTo>
                  <a:cubicBezTo>
                    <a:pt x="771430" y="1111655"/>
                    <a:pt x="772171" y="1109503"/>
                    <a:pt x="772171" y="1109503"/>
                  </a:cubicBezTo>
                  <a:cubicBezTo>
                    <a:pt x="772171" y="1109503"/>
                    <a:pt x="772878" y="1107921"/>
                    <a:pt x="773483" y="1107619"/>
                  </a:cubicBezTo>
                  <a:cubicBezTo>
                    <a:pt x="774055" y="1107316"/>
                    <a:pt x="777118" y="1106609"/>
                    <a:pt x="777118" y="1106609"/>
                  </a:cubicBezTo>
                  <a:lnTo>
                    <a:pt x="780753" y="1104860"/>
                  </a:lnTo>
                  <a:lnTo>
                    <a:pt x="782772" y="1104591"/>
                  </a:lnTo>
                  <a:lnTo>
                    <a:pt x="786407" y="1105903"/>
                  </a:lnTo>
                  <a:lnTo>
                    <a:pt x="788157" y="1106340"/>
                  </a:lnTo>
                  <a:lnTo>
                    <a:pt x="793508" y="1104591"/>
                  </a:lnTo>
                  <a:cubicBezTo>
                    <a:pt x="793508" y="1104591"/>
                    <a:pt x="794955" y="1102707"/>
                    <a:pt x="794955" y="1102136"/>
                  </a:cubicBezTo>
                  <a:cubicBezTo>
                    <a:pt x="794955" y="1101563"/>
                    <a:pt x="795258" y="1100554"/>
                    <a:pt x="795527" y="1099108"/>
                  </a:cubicBezTo>
                  <a:cubicBezTo>
                    <a:pt x="795830" y="1097661"/>
                    <a:pt x="796402" y="1094466"/>
                    <a:pt x="796402" y="1094466"/>
                  </a:cubicBezTo>
                  <a:lnTo>
                    <a:pt x="796671" y="1090429"/>
                  </a:lnTo>
                  <a:lnTo>
                    <a:pt x="796671" y="1089285"/>
                  </a:lnTo>
                  <a:cubicBezTo>
                    <a:pt x="796671" y="1089285"/>
                    <a:pt x="796402" y="1087839"/>
                    <a:pt x="794921" y="1086964"/>
                  </a:cubicBezTo>
                  <a:cubicBezTo>
                    <a:pt x="793474" y="1086089"/>
                    <a:pt x="792027" y="1084643"/>
                    <a:pt x="792027" y="1084643"/>
                  </a:cubicBezTo>
                  <a:cubicBezTo>
                    <a:pt x="792027" y="1084643"/>
                    <a:pt x="790580" y="1083062"/>
                    <a:pt x="789402" y="1082624"/>
                  </a:cubicBezTo>
                  <a:cubicBezTo>
                    <a:pt x="788258" y="1082187"/>
                    <a:pt x="787383" y="1081313"/>
                    <a:pt x="787383" y="1081313"/>
                  </a:cubicBezTo>
                  <a:lnTo>
                    <a:pt x="786238" y="1078857"/>
                  </a:lnTo>
                  <a:cubicBezTo>
                    <a:pt x="786238" y="1078857"/>
                    <a:pt x="786238" y="1075964"/>
                    <a:pt x="786238" y="1075392"/>
                  </a:cubicBezTo>
                  <a:cubicBezTo>
                    <a:pt x="786238" y="1074820"/>
                    <a:pt x="785229" y="1071321"/>
                    <a:pt x="785229" y="1071321"/>
                  </a:cubicBezTo>
                  <a:lnTo>
                    <a:pt x="787113" y="1066410"/>
                  </a:lnTo>
                  <a:lnTo>
                    <a:pt x="788258" y="1062071"/>
                  </a:lnTo>
                  <a:cubicBezTo>
                    <a:pt x="788258" y="1062071"/>
                    <a:pt x="788392" y="1057428"/>
                    <a:pt x="788258" y="1056722"/>
                  </a:cubicBezTo>
                  <a:cubicBezTo>
                    <a:pt x="788123" y="1055982"/>
                    <a:pt x="787955" y="1052820"/>
                    <a:pt x="786945" y="1051642"/>
                  </a:cubicBezTo>
                  <a:cubicBezTo>
                    <a:pt x="785936" y="1050499"/>
                    <a:pt x="784320" y="1049052"/>
                    <a:pt x="782738" y="1048447"/>
                  </a:cubicBezTo>
                  <a:cubicBezTo>
                    <a:pt x="781156" y="1047875"/>
                    <a:pt x="779272" y="1046563"/>
                    <a:pt x="778094" y="1045688"/>
                  </a:cubicBezTo>
                  <a:cubicBezTo>
                    <a:pt x="776916" y="1044813"/>
                    <a:pt x="775132" y="1042425"/>
                    <a:pt x="775132" y="1042425"/>
                  </a:cubicBezTo>
                  <a:lnTo>
                    <a:pt x="773382" y="1040037"/>
                  </a:lnTo>
                  <a:cubicBezTo>
                    <a:pt x="773382" y="1040037"/>
                    <a:pt x="772878" y="1039599"/>
                    <a:pt x="772878" y="1039095"/>
                  </a:cubicBezTo>
                  <a:cubicBezTo>
                    <a:pt x="772878" y="1038590"/>
                    <a:pt x="773618" y="1037715"/>
                    <a:pt x="773618" y="1037715"/>
                  </a:cubicBezTo>
                  <a:lnTo>
                    <a:pt x="774695" y="1037312"/>
                  </a:lnTo>
                  <a:cubicBezTo>
                    <a:pt x="774695" y="1037312"/>
                    <a:pt x="776950" y="1036269"/>
                    <a:pt x="777219" y="1036269"/>
                  </a:cubicBezTo>
                  <a:cubicBezTo>
                    <a:pt x="777522" y="1036269"/>
                    <a:pt x="783613" y="1036269"/>
                    <a:pt x="783613" y="1036269"/>
                  </a:cubicBezTo>
                  <a:cubicBezTo>
                    <a:pt x="783613" y="1036269"/>
                    <a:pt x="786205" y="1035764"/>
                    <a:pt x="786440" y="1035630"/>
                  </a:cubicBezTo>
                  <a:cubicBezTo>
                    <a:pt x="786642" y="1035495"/>
                    <a:pt x="789335" y="1034183"/>
                    <a:pt x="789335" y="1034183"/>
                  </a:cubicBezTo>
                  <a:cubicBezTo>
                    <a:pt x="789335" y="1034183"/>
                    <a:pt x="790782" y="1033174"/>
                    <a:pt x="791287" y="1032939"/>
                  </a:cubicBezTo>
                  <a:cubicBezTo>
                    <a:pt x="791791" y="1032737"/>
                    <a:pt x="792229" y="1031997"/>
                    <a:pt x="792868" y="1031425"/>
                  </a:cubicBezTo>
                  <a:cubicBezTo>
                    <a:pt x="793508" y="1030853"/>
                    <a:pt x="794820" y="1029407"/>
                    <a:pt x="794820" y="1029407"/>
                  </a:cubicBezTo>
                  <a:lnTo>
                    <a:pt x="795628" y="1028969"/>
                  </a:lnTo>
                  <a:lnTo>
                    <a:pt x="798253" y="1028835"/>
                  </a:lnTo>
                  <a:cubicBezTo>
                    <a:pt x="798253" y="1028835"/>
                    <a:pt x="800138" y="1028902"/>
                    <a:pt x="800340" y="1029339"/>
                  </a:cubicBezTo>
                  <a:cubicBezTo>
                    <a:pt x="800542" y="1029777"/>
                    <a:pt x="802224" y="1031290"/>
                    <a:pt x="802224" y="1031290"/>
                  </a:cubicBezTo>
                  <a:cubicBezTo>
                    <a:pt x="802224" y="1031290"/>
                    <a:pt x="803671" y="1030920"/>
                    <a:pt x="803974" y="1030920"/>
                  </a:cubicBezTo>
                  <a:cubicBezTo>
                    <a:pt x="804277" y="1030920"/>
                    <a:pt x="805421" y="1030214"/>
                    <a:pt x="805859" y="1030046"/>
                  </a:cubicBezTo>
                  <a:cubicBezTo>
                    <a:pt x="806297" y="1029911"/>
                    <a:pt x="807172" y="1029238"/>
                    <a:pt x="808114" y="1029036"/>
                  </a:cubicBezTo>
                  <a:cubicBezTo>
                    <a:pt x="809056" y="1028801"/>
                    <a:pt x="810436" y="1028532"/>
                    <a:pt x="811008" y="1028465"/>
                  </a:cubicBezTo>
                  <a:cubicBezTo>
                    <a:pt x="811580" y="1028397"/>
                    <a:pt x="817032" y="1030718"/>
                    <a:pt x="817032" y="1030718"/>
                  </a:cubicBezTo>
                  <a:lnTo>
                    <a:pt x="819489" y="1032670"/>
                  </a:lnTo>
                  <a:lnTo>
                    <a:pt x="821071" y="1032165"/>
                  </a:lnTo>
                  <a:lnTo>
                    <a:pt x="821374" y="1030416"/>
                  </a:lnTo>
                  <a:cubicBezTo>
                    <a:pt x="821374" y="1030416"/>
                    <a:pt x="821307" y="1027792"/>
                    <a:pt x="821071" y="1027657"/>
                  </a:cubicBezTo>
                  <a:cubicBezTo>
                    <a:pt x="820869" y="1027523"/>
                    <a:pt x="820263" y="1026345"/>
                    <a:pt x="819859" y="1026076"/>
                  </a:cubicBezTo>
                  <a:cubicBezTo>
                    <a:pt x="819422" y="1025807"/>
                    <a:pt x="818042" y="1024630"/>
                    <a:pt x="817604" y="1024495"/>
                  </a:cubicBezTo>
                  <a:cubicBezTo>
                    <a:pt x="817167" y="1024361"/>
                    <a:pt x="816090" y="1024361"/>
                    <a:pt x="815652" y="1024058"/>
                  </a:cubicBezTo>
                  <a:cubicBezTo>
                    <a:pt x="815215" y="1023755"/>
                    <a:pt x="814643" y="1023419"/>
                    <a:pt x="814643" y="1023116"/>
                  </a:cubicBezTo>
                  <a:cubicBezTo>
                    <a:pt x="814643" y="1022813"/>
                    <a:pt x="815148" y="1021905"/>
                    <a:pt x="815350" y="1021737"/>
                  </a:cubicBezTo>
                  <a:cubicBezTo>
                    <a:pt x="815552" y="1021602"/>
                    <a:pt x="816292" y="1020728"/>
                    <a:pt x="816494" y="1020492"/>
                  </a:cubicBezTo>
                  <a:cubicBezTo>
                    <a:pt x="816729" y="1020290"/>
                    <a:pt x="817504" y="1019550"/>
                    <a:pt x="817504" y="1019550"/>
                  </a:cubicBezTo>
                  <a:cubicBezTo>
                    <a:pt x="817504" y="1019550"/>
                    <a:pt x="818749" y="1018036"/>
                    <a:pt x="819018" y="1017868"/>
                  </a:cubicBezTo>
                  <a:cubicBezTo>
                    <a:pt x="819287" y="1017734"/>
                    <a:pt x="820263" y="1016859"/>
                    <a:pt x="820768" y="1016623"/>
                  </a:cubicBezTo>
                  <a:cubicBezTo>
                    <a:pt x="821273" y="1016388"/>
                    <a:pt x="821710" y="1016052"/>
                    <a:pt x="822282" y="1015682"/>
                  </a:cubicBezTo>
                  <a:cubicBezTo>
                    <a:pt x="822855" y="1015312"/>
                    <a:pt x="824470" y="1013798"/>
                    <a:pt x="824807" y="1013428"/>
                  </a:cubicBezTo>
                  <a:cubicBezTo>
                    <a:pt x="825177" y="1013058"/>
                    <a:pt x="826321" y="1011611"/>
                    <a:pt x="826759" y="1011308"/>
                  </a:cubicBezTo>
                  <a:cubicBezTo>
                    <a:pt x="827196" y="1011039"/>
                    <a:pt x="827903" y="1010064"/>
                    <a:pt x="828206" y="1009996"/>
                  </a:cubicBezTo>
                  <a:cubicBezTo>
                    <a:pt x="828508" y="1009929"/>
                    <a:pt x="829013" y="1009290"/>
                    <a:pt x="829283" y="1009290"/>
                  </a:cubicBezTo>
                  <a:cubicBezTo>
                    <a:pt x="829585" y="1009290"/>
                    <a:pt x="830427" y="1008920"/>
                    <a:pt x="831033" y="1008920"/>
                  </a:cubicBezTo>
                  <a:cubicBezTo>
                    <a:pt x="831605" y="1008920"/>
                    <a:pt x="832715" y="1008853"/>
                    <a:pt x="833220" y="1008920"/>
                  </a:cubicBezTo>
                  <a:cubicBezTo>
                    <a:pt x="833725" y="1008987"/>
                    <a:pt x="835105" y="1008550"/>
                    <a:pt x="835980" y="1009122"/>
                  </a:cubicBezTo>
                  <a:cubicBezTo>
                    <a:pt x="836855" y="1009694"/>
                    <a:pt x="837292" y="1010568"/>
                    <a:pt x="837292" y="1010568"/>
                  </a:cubicBezTo>
                  <a:lnTo>
                    <a:pt x="838437" y="1013091"/>
                  </a:lnTo>
                  <a:lnTo>
                    <a:pt x="839514" y="1013024"/>
                  </a:lnTo>
                  <a:lnTo>
                    <a:pt x="840321" y="1012082"/>
                  </a:lnTo>
                  <a:lnTo>
                    <a:pt x="840759" y="1011073"/>
                  </a:lnTo>
                  <a:cubicBezTo>
                    <a:pt x="840759" y="1011073"/>
                    <a:pt x="841196" y="1010568"/>
                    <a:pt x="841196" y="1010131"/>
                  </a:cubicBezTo>
                  <a:cubicBezTo>
                    <a:pt x="841196" y="1009694"/>
                    <a:pt x="841398" y="1009054"/>
                    <a:pt x="841398" y="1009054"/>
                  </a:cubicBezTo>
                  <a:lnTo>
                    <a:pt x="841836" y="1008045"/>
                  </a:lnTo>
                  <a:lnTo>
                    <a:pt x="842273" y="1007473"/>
                  </a:lnTo>
                  <a:cubicBezTo>
                    <a:pt x="842273" y="1007473"/>
                    <a:pt x="843518" y="1007036"/>
                    <a:pt x="844023" y="1007036"/>
                  </a:cubicBezTo>
                  <a:cubicBezTo>
                    <a:pt x="844528" y="1007036"/>
                    <a:pt x="846110" y="1007406"/>
                    <a:pt x="846648" y="1007978"/>
                  </a:cubicBezTo>
                  <a:cubicBezTo>
                    <a:pt x="847153" y="1008550"/>
                    <a:pt x="847793" y="1008785"/>
                    <a:pt x="848163" y="1009425"/>
                  </a:cubicBezTo>
                  <a:cubicBezTo>
                    <a:pt x="848533" y="1010064"/>
                    <a:pt x="849004" y="1010736"/>
                    <a:pt x="849004" y="1011308"/>
                  </a:cubicBezTo>
                  <a:cubicBezTo>
                    <a:pt x="849004" y="1011880"/>
                    <a:pt x="848836" y="1013192"/>
                    <a:pt x="848836" y="1013192"/>
                  </a:cubicBezTo>
                  <a:lnTo>
                    <a:pt x="848836" y="1014504"/>
                  </a:lnTo>
                  <a:cubicBezTo>
                    <a:pt x="848836" y="1014504"/>
                    <a:pt x="849374" y="1016119"/>
                    <a:pt x="849274" y="1016994"/>
                  </a:cubicBezTo>
                  <a:cubicBezTo>
                    <a:pt x="849172" y="1017868"/>
                    <a:pt x="849274" y="1018608"/>
                    <a:pt x="849274" y="1018608"/>
                  </a:cubicBezTo>
                  <a:lnTo>
                    <a:pt x="850889" y="1019483"/>
                  </a:lnTo>
                  <a:lnTo>
                    <a:pt x="851764" y="1019920"/>
                  </a:lnTo>
                  <a:cubicBezTo>
                    <a:pt x="851764" y="1019920"/>
                    <a:pt x="854490" y="1020358"/>
                    <a:pt x="854793" y="1020458"/>
                  </a:cubicBezTo>
                  <a:cubicBezTo>
                    <a:pt x="855129" y="1020559"/>
                    <a:pt x="856644" y="1019819"/>
                    <a:pt x="856644" y="1019819"/>
                  </a:cubicBezTo>
                  <a:cubicBezTo>
                    <a:pt x="856644" y="1019819"/>
                    <a:pt x="857182" y="1022006"/>
                    <a:pt x="857317" y="1022409"/>
                  </a:cubicBezTo>
                  <a:cubicBezTo>
                    <a:pt x="857418" y="1022847"/>
                    <a:pt x="859067" y="1023284"/>
                    <a:pt x="859067" y="1023284"/>
                  </a:cubicBezTo>
                  <a:cubicBezTo>
                    <a:pt x="859067" y="1023284"/>
                    <a:pt x="859303" y="1023385"/>
                    <a:pt x="860144" y="1023385"/>
                  </a:cubicBezTo>
                  <a:cubicBezTo>
                    <a:pt x="861019" y="1023385"/>
                    <a:pt x="861995" y="1023183"/>
                    <a:pt x="862331" y="1023284"/>
                  </a:cubicBezTo>
                  <a:cubicBezTo>
                    <a:pt x="862668" y="1023385"/>
                    <a:pt x="863745" y="1024899"/>
                    <a:pt x="863846" y="1025336"/>
                  </a:cubicBezTo>
                  <a:cubicBezTo>
                    <a:pt x="863947" y="1025773"/>
                    <a:pt x="864620" y="1026951"/>
                    <a:pt x="864620" y="1027287"/>
                  </a:cubicBezTo>
                  <a:cubicBezTo>
                    <a:pt x="864620" y="1027624"/>
                    <a:pt x="865798" y="1028902"/>
                    <a:pt x="865798" y="1029676"/>
                  </a:cubicBezTo>
                  <a:cubicBezTo>
                    <a:pt x="865798" y="1030449"/>
                    <a:pt x="866235" y="1031627"/>
                    <a:pt x="866000" y="1033040"/>
                  </a:cubicBezTo>
                  <a:cubicBezTo>
                    <a:pt x="865798" y="1034453"/>
                    <a:pt x="865024" y="1036303"/>
                    <a:pt x="864788" y="1036639"/>
                  </a:cubicBezTo>
                  <a:cubicBezTo>
                    <a:pt x="864586" y="1036976"/>
                    <a:pt x="864586" y="1038489"/>
                    <a:pt x="863711" y="1039027"/>
                  </a:cubicBezTo>
                  <a:cubicBezTo>
                    <a:pt x="862836" y="1039566"/>
                    <a:pt x="861322" y="1042055"/>
                    <a:pt x="860985" y="1042627"/>
                  </a:cubicBezTo>
                  <a:cubicBezTo>
                    <a:pt x="860649" y="1043165"/>
                    <a:pt x="859908" y="1045116"/>
                    <a:pt x="859908" y="1045116"/>
                  </a:cubicBezTo>
                  <a:lnTo>
                    <a:pt x="860548" y="1047505"/>
                  </a:lnTo>
                  <a:lnTo>
                    <a:pt x="862634" y="1049994"/>
                  </a:lnTo>
                  <a:lnTo>
                    <a:pt x="864149" y="1051407"/>
                  </a:lnTo>
                  <a:cubicBezTo>
                    <a:pt x="864149" y="1051407"/>
                    <a:pt x="864384" y="1053257"/>
                    <a:pt x="864384" y="1053795"/>
                  </a:cubicBezTo>
                  <a:cubicBezTo>
                    <a:pt x="864384" y="1054334"/>
                    <a:pt x="864283" y="1055982"/>
                    <a:pt x="864283" y="1055982"/>
                  </a:cubicBezTo>
                  <a:lnTo>
                    <a:pt x="864216" y="1057832"/>
                  </a:lnTo>
                  <a:lnTo>
                    <a:pt x="864485" y="1060557"/>
                  </a:lnTo>
                  <a:lnTo>
                    <a:pt x="864485" y="1061431"/>
                  </a:lnTo>
                  <a:lnTo>
                    <a:pt x="864586" y="1063719"/>
                  </a:lnTo>
                  <a:lnTo>
                    <a:pt x="864149" y="1064930"/>
                  </a:lnTo>
                  <a:lnTo>
                    <a:pt x="864048" y="1066444"/>
                  </a:lnTo>
                  <a:lnTo>
                    <a:pt x="864384" y="1067756"/>
                  </a:lnTo>
                  <a:lnTo>
                    <a:pt x="868827" y="1068395"/>
                  </a:lnTo>
                  <a:cubicBezTo>
                    <a:pt x="868827" y="1068395"/>
                    <a:pt x="871654" y="1070245"/>
                    <a:pt x="872091" y="1070245"/>
                  </a:cubicBezTo>
                  <a:cubicBezTo>
                    <a:pt x="872529" y="1070245"/>
                    <a:pt x="877745" y="1069606"/>
                    <a:pt x="877745" y="1069606"/>
                  </a:cubicBezTo>
                  <a:lnTo>
                    <a:pt x="879394" y="1069068"/>
                  </a:lnTo>
                  <a:cubicBezTo>
                    <a:pt x="879394" y="1069068"/>
                    <a:pt x="881582" y="1070582"/>
                    <a:pt x="881885" y="1070682"/>
                  </a:cubicBezTo>
                  <a:cubicBezTo>
                    <a:pt x="882221" y="1070783"/>
                    <a:pt x="883399" y="1071321"/>
                    <a:pt x="884173" y="1071019"/>
                  </a:cubicBezTo>
                  <a:cubicBezTo>
                    <a:pt x="884947" y="1070682"/>
                    <a:pt x="885587" y="1070480"/>
                    <a:pt x="886260" y="1069707"/>
                  </a:cubicBezTo>
                  <a:cubicBezTo>
                    <a:pt x="886899" y="1068933"/>
                    <a:pt x="888548" y="1068059"/>
                    <a:pt x="888548" y="1068059"/>
                  </a:cubicBezTo>
                  <a:cubicBezTo>
                    <a:pt x="888548" y="1068059"/>
                    <a:pt x="889962" y="1066208"/>
                    <a:pt x="890298" y="1065771"/>
                  </a:cubicBezTo>
                  <a:cubicBezTo>
                    <a:pt x="890635" y="1065334"/>
                    <a:pt x="890938" y="1064257"/>
                    <a:pt x="890938" y="1064257"/>
                  </a:cubicBezTo>
                  <a:lnTo>
                    <a:pt x="892452" y="1063046"/>
                  </a:lnTo>
                  <a:cubicBezTo>
                    <a:pt x="892452" y="1063046"/>
                    <a:pt x="894640" y="1062844"/>
                    <a:pt x="895178" y="1063046"/>
                  </a:cubicBezTo>
                  <a:cubicBezTo>
                    <a:pt x="895717" y="1063248"/>
                    <a:pt x="896592" y="1063685"/>
                    <a:pt x="896592" y="1063685"/>
                  </a:cubicBezTo>
                  <a:cubicBezTo>
                    <a:pt x="896592" y="1063685"/>
                    <a:pt x="897130" y="1064661"/>
                    <a:pt x="897366" y="1065435"/>
                  </a:cubicBezTo>
                  <a:cubicBezTo>
                    <a:pt x="897601" y="1066208"/>
                    <a:pt x="897702" y="1067621"/>
                    <a:pt x="897601" y="1068462"/>
                  </a:cubicBezTo>
                  <a:cubicBezTo>
                    <a:pt x="897500" y="1069337"/>
                    <a:pt x="897164" y="1070951"/>
                    <a:pt x="897164" y="1070951"/>
                  </a:cubicBezTo>
                  <a:cubicBezTo>
                    <a:pt x="897164" y="1070951"/>
                    <a:pt x="896726" y="1071725"/>
                    <a:pt x="896625" y="1072028"/>
                  </a:cubicBezTo>
                  <a:cubicBezTo>
                    <a:pt x="896524" y="1072364"/>
                    <a:pt x="896861" y="1073878"/>
                    <a:pt x="896861" y="1073878"/>
                  </a:cubicBezTo>
                  <a:lnTo>
                    <a:pt x="898174" y="1075392"/>
                  </a:lnTo>
                  <a:cubicBezTo>
                    <a:pt x="898174" y="1075392"/>
                    <a:pt x="898914" y="1077007"/>
                    <a:pt x="898914" y="1077444"/>
                  </a:cubicBezTo>
                  <a:cubicBezTo>
                    <a:pt x="898914" y="1077881"/>
                    <a:pt x="898712" y="1078218"/>
                    <a:pt x="898712" y="1078621"/>
                  </a:cubicBezTo>
                  <a:cubicBezTo>
                    <a:pt x="898712" y="1079025"/>
                    <a:pt x="897938" y="1078621"/>
                    <a:pt x="898712" y="1079059"/>
                  </a:cubicBezTo>
                  <a:cubicBezTo>
                    <a:pt x="899486" y="1079496"/>
                    <a:pt x="899352" y="1080270"/>
                    <a:pt x="900664" y="1079933"/>
                  </a:cubicBezTo>
                  <a:cubicBezTo>
                    <a:pt x="901976" y="1079597"/>
                    <a:pt x="903727" y="1078722"/>
                    <a:pt x="903727" y="1078419"/>
                  </a:cubicBezTo>
                  <a:cubicBezTo>
                    <a:pt x="903727" y="1078083"/>
                    <a:pt x="904703" y="1077007"/>
                    <a:pt x="904703" y="1077007"/>
                  </a:cubicBezTo>
                  <a:cubicBezTo>
                    <a:pt x="904703" y="1077007"/>
                    <a:pt x="905578" y="1076670"/>
                    <a:pt x="906217" y="1077007"/>
                  </a:cubicBezTo>
                  <a:cubicBezTo>
                    <a:pt x="906856" y="1077343"/>
                    <a:pt x="908607" y="1079059"/>
                    <a:pt x="908607" y="1079059"/>
                  </a:cubicBezTo>
                  <a:lnTo>
                    <a:pt x="913924" y="1080135"/>
                  </a:lnTo>
                  <a:lnTo>
                    <a:pt x="917289" y="1081649"/>
                  </a:lnTo>
                  <a:lnTo>
                    <a:pt x="919881" y="1082086"/>
                  </a:lnTo>
                  <a:cubicBezTo>
                    <a:pt x="919881" y="1082086"/>
                    <a:pt x="921193" y="1081985"/>
                    <a:pt x="921631" y="1081985"/>
                  </a:cubicBezTo>
                  <a:cubicBezTo>
                    <a:pt x="922068" y="1081985"/>
                    <a:pt x="927621" y="1081783"/>
                    <a:pt x="928261" y="1081783"/>
                  </a:cubicBezTo>
                  <a:cubicBezTo>
                    <a:pt x="928900" y="1081783"/>
                    <a:pt x="931525" y="1081447"/>
                    <a:pt x="931963" y="1081447"/>
                  </a:cubicBezTo>
                  <a:cubicBezTo>
                    <a:pt x="932400" y="1081447"/>
                    <a:pt x="934016" y="1081346"/>
                    <a:pt x="934453" y="1081346"/>
                  </a:cubicBezTo>
                  <a:cubicBezTo>
                    <a:pt x="934891" y="1081346"/>
                    <a:pt x="936742" y="1081346"/>
                    <a:pt x="936742" y="1081346"/>
                  </a:cubicBezTo>
                  <a:lnTo>
                    <a:pt x="940208" y="1081346"/>
                  </a:lnTo>
                  <a:lnTo>
                    <a:pt x="942261" y="1083196"/>
                  </a:lnTo>
                  <a:lnTo>
                    <a:pt x="944550" y="1083970"/>
                  </a:lnTo>
                  <a:cubicBezTo>
                    <a:pt x="944550" y="1083970"/>
                    <a:pt x="946401" y="1084609"/>
                    <a:pt x="946737" y="1084744"/>
                  </a:cubicBezTo>
                  <a:cubicBezTo>
                    <a:pt x="947074" y="1084845"/>
                    <a:pt x="949127" y="1086257"/>
                    <a:pt x="949127" y="1086257"/>
                  </a:cubicBezTo>
                  <a:cubicBezTo>
                    <a:pt x="949127" y="1086257"/>
                    <a:pt x="950776" y="1087334"/>
                    <a:pt x="950978" y="1087771"/>
                  </a:cubicBezTo>
                  <a:cubicBezTo>
                    <a:pt x="951179" y="1088209"/>
                    <a:pt x="953165" y="1090059"/>
                    <a:pt x="953266" y="1090597"/>
                  </a:cubicBezTo>
                  <a:cubicBezTo>
                    <a:pt x="953367" y="1091135"/>
                    <a:pt x="953905" y="1091774"/>
                    <a:pt x="953905" y="1092212"/>
                  </a:cubicBezTo>
                  <a:cubicBezTo>
                    <a:pt x="953905" y="1092649"/>
                    <a:pt x="954444" y="1093423"/>
                    <a:pt x="954545" y="1095037"/>
                  </a:cubicBezTo>
                  <a:cubicBezTo>
                    <a:pt x="954646" y="1096652"/>
                    <a:pt x="955958" y="1099478"/>
                    <a:pt x="956194" y="1100252"/>
                  </a:cubicBezTo>
                  <a:cubicBezTo>
                    <a:pt x="956430" y="1101025"/>
                    <a:pt x="958045" y="1104827"/>
                    <a:pt x="958045" y="1105466"/>
                  </a:cubicBezTo>
                  <a:cubicBezTo>
                    <a:pt x="958045" y="1106105"/>
                    <a:pt x="959694" y="1109166"/>
                    <a:pt x="960233" y="1110243"/>
                  </a:cubicBezTo>
                  <a:cubicBezTo>
                    <a:pt x="960771" y="1111319"/>
                    <a:pt x="961882" y="1114582"/>
                    <a:pt x="962084" y="1115019"/>
                  </a:cubicBezTo>
                  <a:cubicBezTo>
                    <a:pt x="962285" y="1115457"/>
                    <a:pt x="963396" y="1118821"/>
                    <a:pt x="963396" y="1118821"/>
                  </a:cubicBezTo>
                  <a:cubicBezTo>
                    <a:pt x="963396" y="1118821"/>
                    <a:pt x="964271" y="1119897"/>
                    <a:pt x="965045" y="1120435"/>
                  </a:cubicBezTo>
                  <a:cubicBezTo>
                    <a:pt x="965819" y="1120974"/>
                    <a:pt x="967771" y="1121512"/>
                    <a:pt x="968310" y="1121747"/>
                  </a:cubicBezTo>
                  <a:cubicBezTo>
                    <a:pt x="968848" y="1121949"/>
                    <a:pt x="970262" y="1123059"/>
                    <a:pt x="971238" y="1123261"/>
                  </a:cubicBezTo>
                  <a:cubicBezTo>
                    <a:pt x="972214" y="1123463"/>
                    <a:pt x="974940" y="1123900"/>
                    <a:pt x="976017" y="1123799"/>
                  </a:cubicBezTo>
                  <a:cubicBezTo>
                    <a:pt x="977094" y="1123698"/>
                    <a:pt x="979483" y="1123598"/>
                    <a:pt x="979483" y="1123598"/>
                  </a:cubicBezTo>
                  <a:cubicBezTo>
                    <a:pt x="979483" y="1123598"/>
                    <a:pt x="980997" y="1122958"/>
                    <a:pt x="981772" y="1124472"/>
                  </a:cubicBezTo>
                  <a:cubicBezTo>
                    <a:pt x="982546" y="1125986"/>
                    <a:pt x="983824" y="1128072"/>
                    <a:pt x="983185" y="1128711"/>
                  </a:cubicBezTo>
                  <a:cubicBezTo>
                    <a:pt x="982512" y="1129350"/>
                    <a:pt x="981973" y="1130897"/>
                    <a:pt x="980997" y="1131335"/>
                  </a:cubicBezTo>
                  <a:cubicBezTo>
                    <a:pt x="980021" y="1131772"/>
                    <a:pt x="979786" y="1133017"/>
                    <a:pt x="977632" y="1133353"/>
                  </a:cubicBezTo>
                  <a:cubicBezTo>
                    <a:pt x="975478" y="1133723"/>
                    <a:pt x="973728" y="1134799"/>
                    <a:pt x="973055" y="1135338"/>
                  </a:cubicBezTo>
                  <a:cubicBezTo>
                    <a:pt x="972416" y="1135876"/>
                    <a:pt x="970766" y="1140451"/>
                    <a:pt x="970766" y="1140451"/>
                  </a:cubicBezTo>
                  <a:cubicBezTo>
                    <a:pt x="970766" y="1140451"/>
                    <a:pt x="972079" y="1143277"/>
                    <a:pt x="972079" y="1143916"/>
                  </a:cubicBezTo>
                  <a:cubicBezTo>
                    <a:pt x="972079" y="1144555"/>
                    <a:pt x="972315" y="1149029"/>
                    <a:pt x="972315" y="1149029"/>
                  </a:cubicBezTo>
                  <a:lnTo>
                    <a:pt x="972214" y="1152830"/>
                  </a:lnTo>
                  <a:lnTo>
                    <a:pt x="970026" y="1154681"/>
                  </a:lnTo>
                  <a:lnTo>
                    <a:pt x="971238" y="1157069"/>
                  </a:lnTo>
                  <a:lnTo>
                    <a:pt x="973526" y="1157607"/>
                  </a:lnTo>
                  <a:cubicBezTo>
                    <a:pt x="973526" y="1157607"/>
                    <a:pt x="975579" y="1159020"/>
                    <a:pt x="975579" y="1160097"/>
                  </a:cubicBezTo>
                  <a:cubicBezTo>
                    <a:pt x="975579" y="1161173"/>
                    <a:pt x="975377" y="1163696"/>
                    <a:pt x="975142" y="1164974"/>
                  </a:cubicBezTo>
                  <a:cubicBezTo>
                    <a:pt x="974940" y="1166286"/>
                    <a:pt x="974940" y="1167699"/>
                    <a:pt x="973526" y="1168002"/>
                  </a:cubicBezTo>
                  <a:cubicBezTo>
                    <a:pt x="972113" y="1168338"/>
                    <a:pt x="971675" y="1168540"/>
                    <a:pt x="969925" y="1168977"/>
                  </a:cubicBezTo>
                  <a:cubicBezTo>
                    <a:pt x="968175" y="1169415"/>
                    <a:pt x="970127" y="1170054"/>
                    <a:pt x="966661" y="1170727"/>
                  </a:cubicBezTo>
                  <a:cubicBezTo>
                    <a:pt x="963194" y="1171366"/>
                    <a:pt x="962959" y="1171938"/>
                    <a:pt x="962420" y="1171938"/>
                  </a:cubicBezTo>
                  <a:cubicBezTo>
                    <a:pt x="961882" y="1171938"/>
                    <a:pt x="961646" y="1174124"/>
                    <a:pt x="961646" y="1174124"/>
                  </a:cubicBezTo>
                  <a:cubicBezTo>
                    <a:pt x="961646" y="1174124"/>
                    <a:pt x="961983" y="1175974"/>
                    <a:pt x="961983" y="1176412"/>
                  </a:cubicBezTo>
                  <a:cubicBezTo>
                    <a:pt x="961983" y="1176849"/>
                    <a:pt x="962084" y="1176849"/>
                    <a:pt x="962420" y="1177925"/>
                  </a:cubicBezTo>
                  <a:cubicBezTo>
                    <a:pt x="962757" y="1179002"/>
                    <a:pt x="964911" y="1181289"/>
                    <a:pt x="964911" y="1181289"/>
                  </a:cubicBezTo>
                  <a:cubicBezTo>
                    <a:pt x="964911" y="1181289"/>
                    <a:pt x="968175" y="1184115"/>
                    <a:pt x="968613" y="1184553"/>
                  </a:cubicBezTo>
                  <a:cubicBezTo>
                    <a:pt x="969050" y="1184990"/>
                    <a:pt x="971103" y="1186167"/>
                    <a:pt x="971103" y="1186167"/>
                  </a:cubicBezTo>
                  <a:cubicBezTo>
                    <a:pt x="971103" y="1186167"/>
                    <a:pt x="972853" y="1187580"/>
                    <a:pt x="973156" y="1187816"/>
                  </a:cubicBezTo>
                  <a:cubicBezTo>
                    <a:pt x="973492" y="1188017"/>
                    <a:pt x="977194" y="1189767"/>
                    <a:pt x="977598" y="1189868"/>
                  </a:cubicBezTo>
                  <a:cubicBezTo>
                    <a:pt x="978036" y="1189969"/>
                    <a:pt x="979550" y="1190742"/>
                    <a:pt x="979887" y="1190843"/>
                  </a:cubicBezTo>
                  <a:cubicBezTo>
                    <a:pt x="980223" y="1190944"/>
                    <a:pt x="983690" y="1192794"/>
                    <a:pt x="984127" y="1193131"/>
                  </a:cubicBezTo>
                  <a:cubicBezTo>
                    <a:pt x="984565" y="1193467"/>
                    <a:pt x="987930" y="1194207"/>
                    <a:pt x="988368" y="1194543"/>
                  </a:cubicBezTo>
                  <a:cubicBezTo>
                    <a:pt x="988805" y="1194880"/>
                    <a:pt x="990656" y="1195519"/>
                    <a:pt x="991834" y="1195956"/>
                  </a:cubicBezTo>
                  <a:cubicBezTo>
                    <a:pt x="993046" y="1196394"/>
                    <a:pt x="994863" y="1197033"/>
                    <a:pt x="995200" y="1197807"/>
                  </a:cubicBezTo>
                  <a:cubicBezTo>
                    <a:pt x="995536" y="1198580"/>
                    <a:pt x="997488" y="1200094"/>
                    <a:pt x="997488" y="1200094"/>
                  </a:cubicBezTo>
                  <a:cubicBezTo>
                    <a:pt x="997488" y="1200094"/>
                    <a:pt x="999003" y="1201070"/>
                    <a:pt x="999440" y="1202045"/>
                  </a:cubicBezTo>
                  <a:cubicBezTo>
                    <a:pt x="999878" y="1203021"/>
                    <a:pt x="1001628" y="1204535"/>
                    <a:pt x="1001628" y="1204535"/>
                  </a:cubicBezTo>
                  <a:lnTo>
                    <a:pt x="1005532" y="1206385"/>
                  </a:lnTo>
                  <a:cubicBezTo>
                    <a:pt x="1005532" y="1206385"/>
                    <a:pt x="1008157" y="1206284"/>
                    <a:pt x="1008460" y="1206385"/>
                  </a:cubicBezTo>
                  <a:cubicBezTo>
                    <a:pt x="1008796" y="1206486"/>
                    <a:pt x="1008897" y="1204972"/>
                    <a:pt x="1011388" y="1205510"/>
                  </a:cubicBezTo>
                  <a:cubicBezTo>
                    <a:pt x="1013878" y="1206048"/>
                    <a:pt x="1015628" y="1207158"/>
                    <a:pt x="1016166" y="1207461"/>
                  </a:cubicBezTo>
                  <a:cubicBezTo>
                    <a:pt x="1016705" y="1207798"/>
                    <a:pt x="1017479" y="1208672"/>
                    <a:pt x="1018892" y="1209210"/>
                  </a:cubicBezTo>
                  <a:cubicBezTo>
                    <a:pt x="1020306" y="1209749"/>
                    <a:pt x="1019532" y="1210522"/>
                    <a:pt x="1023671" y="1210825"/>
                  </a:cubicBezTo>
                  <a:cubicBezTo>
                    <a:pt x="1027811" y="1211161"/>
                    <a:pt x="1030200" y="1211061"/>
                    <a:pt x="1030638" y="1210825"/>
                  </a:cubicBezTo>
                  <a:cubicBezTo>
                    <a:pt x="1031075" y="1210623"/>
                    <a:pt x="1032052" y="1208773"/>
                    <a:pt x="1032052" y="1208773"/>
                  </a:cubicBezTo>
                  <a:cubicBezTo>
                    <a:pt x="1032052" y="1208773"/>
                    <a:pt x="1034239" y="1208672"/>
                    <a:pt x="1034542" y="1208571"/>
                  </a:cubicBezTo>
                  <a:cubicBezTo>
                    <a:pt x="1034878" y="1208470"/>
                    <a:pt x="1036595" y="1208773"/>
                    <a:pt x="1038244" y="1209648"/>
                  </a:cubicBezTo>
                  <a:cubicBezTo>
                    <a:pt x="1039859" y="1210522"/>
                    <a:pt x="1039994" y="1211599"/>
                    <a:pt x="1041407" y="1211700"/>
                  </a:cubicBezTo>
                  <a:cubicBezTo>
                    <a:pt x="1042821" y="1211801"/>
                    <a:pt x="1043595" y="1212473"/>
                    <a:pt x="1044672" y="1211700"/>
                  </a:cubicBezTo>
                  <a:cubicBezTo>
                    <a:pt x="1045749" y="1210926"/>
                    <a:pt x="1046759" y="1209749"/>
                    <a:pt x="1046960" y="1208874"/>
                  </a:cubicBezTo>
                  <a:cubicBezTo>
                    <a:pt x="1047162" y="1207999"/>
                    <a:pt x="1047061" y="1208235"/>
                    <a:pt x="1047600" y="1207259"/>
                  </a:cubicBezTo>
                  <a:cubicBezTo>
                    <a:pt x="1048138" y="1206284"/>
                    <a:pt x="1047162" y="1205308"/>
                    <a:pt x="1049114" y="1206183"/>
                  </a:cubicBezTo>
                  <a:cubicBezTo>
                    <a:pt x="1051066" y="1207058"/>
                    <a:pt x="1055408" y="1209749"/>
                    <a:pt x="1055408" y="1209749"/>
                  </a:cubicBezTo>
                  <a:lnTo>
                    <a:pt x="1059446" y="1208235"/>
                  </a:lnTo>
                  <a:lnTo>
                    <a:pt x="1062509" y="1203559"/>
                  </a:lnTo>
                  <a:lnTo>
                    <a:pt x="1065437" y="1200531"/>
                  </a:lnTo>
                  <a:lnTo>
                    <a:pt x="1067187" y="1197941"/>
                  </a:lnTo>
                  <a:lnTo>
                    <a:pt x="1069677" y="1196192"/>
                  </a:lnTo>
                  <a:lnTo>
                    <a:pt x="1070216" y="1194342"/>
                  </a:lnTo>
                  <a:lnTo>
                    <a:pt x="1068028" y="1191751"/>
                  </a:lnTo>
                  <a:lnTo>
                    <a:pt x="1068028" y="1188287"/>
                  </a:lnTo>
                  <a:lnTo>
                    <a:pt x="1068028" y="1184822"/>
                  </a:lnTo>
                  <a:lnTo>
                    <a:pt x="1068028" y="1180247"/>
                  </a:lnTo>
                  <a:lnTo>
                    <a:pt x="1070653" y="1176984"/>
                  </a:lnTo>
                  <a:lnTo>
                    <a:pt x="1076072" y="1176984"/>
                  </a:lnTo>
                  <a:lnTo>
                    <a:pt x="1079538" y="1177858"/>
                  </a:lnTo>
                  <a:lnTo>
                    <a:pt x="1081288" y="1180886"/>
                  </a:lnTo>
                  <a:lnTo>
                    <a:pt x="1088019" y="1178497"/>
                  </a:lnTo>
                  <a:lnTo>
                    <a:pt x="1094750" y="1182837"/>
                  </a:lnTo>
                  <a:lnTo>
                    <a:pt x="1099966" y="1180650"/>
                  </a:lnTo>
                  <a:lnTo>
                    <a:pt x="1105385" y="1176311"/>
                  </a:lnTo>
                  <a:lnTo>
                    <a:pt x="1112351" y="1175234"/>
                  </a:lnTo>
                  <a:lnTo>
                    <a:pt x="1119318" y="1170458"/>
                  </a:lnTo>
                  <a:lnTo>
                    <a:pt x="1119755" y="1169045"/>
                  </a:lnTo>
                  <a:cubicBezTo>
                    <a:pt x="1119755" y="1169045"/>
                    <a:pt x="1120529" y="1166017"/>
                    <a:pt x="1120529" y="1165580"/>
                  </a:cubicBezTo>
                  <a:cubicBezTo>
                    <a:pt x="1120529" y="1165142"/>
                    <a:pt x="1120967" y="1163965"/>
                    <a:pt x="1120967" y="1163965"/>
                  </a:cubicBezTo>
                  <a:lnTo>
                    <a:pt x="1120327" y="1157876"/>
                  </a:lnTo>
                  <a:cubicBezTo>
                    <a:pt x="1120327" y="1157876"/>
                    <a:pt x="1120327" y="1155488"/>
                    <a:pt x="1120428" y="1154277"/>
                  </a:cubicBezTo>
                  <a:cubicBezTo>
                    <a:pt x="1120529" y="1153066"/>
                    <a:pt x="1120630" y="1151989"/>
                    <a:pt x="1120866" y="1151350"/>
                  </a:cubicBezTo>
                  <a:cubicBezTo>
                    <a:pt x="1121101" y="1150711"/>
                    <a:pt x="1121741" y="1150711"/>
                    <a:pt x="1122078" y="1150274"/>
                  </a:cubicBezTo>
                  <a:cubicBezTo>
                    <a:pt x="1122414" y="1149836"/>
                    <a:pt x="1124130" y="1149298"/>
                    <a:pt x="1124804" y="1148861"/>
                  </a:cubicBezTo>
                  <a:cubicBezTo>
                    <a:pt x="1125443" y="1148423"/>
                    <a:pt x="1126655" y="1148861"/>
                    <a:pt x="1126991" y="1148861"/>
                  </a:cubicBezTo>
                  <a:cubicBezTo>
                    <a:pt x="1127328" y="1148861"/>
                    <a:pt x="1129044" y="1149500"/>
                    <a:pt x="1129044" y="1149500"/>
                  </a:cubicBezTo>
                  <a:cubicBezTo>
                    <a:pt x="1129044" y="1149500"/>
                    <a:pt x="1131333" y="1149264"/>
                    <a:pt x="1131871" y="1148962"/>
                  </a:cubicBezTo>
                  <a:cubicBezTo>
                    <a:pt x="1132410" y="1148626"/>
                    <a:pt x="1132410" y="1147011"/>
                    <a:pt x="1132410" y="1147011"/>
                  </a:cubicBezTo>
                  <a:cubicBezTo>
                    <a:pt x="1132410" y="1147011"/>
                    <a:pt x="1131097" y="1143849"/>
                    <a:pt x="1130659" y="1143983"/>
                  </a:cubicBezTo>
                  <a:cubicBezTo>
                    <a:pt x="1130222" y="1144084"/>
                    <a:pt x="1127496" y="1143209"/>
                    <a:pt x="1126856" y="1143109"/>
                  </a:cubicBezTo>
                  <a:cubicBezTo>
                    <a:pt x="1126217" y="1143008"/>
                    <a:pt x="1125544" y="1143109"/>
                    <a:pt x="1125544" y="1143109"/>
                  </a:cubicBezTo>
                  <a:lnTo>
                    <a:pt x="1122818" y="1143983"/>
                  </a:lnTo>
                  <a:lnTo>
                    <a:pt x="1121303" y="1143983"/>
                  </a:lnTo>
                  <a:lnTo>
                    <a:pt x="1120664" y="1142739"/>
                  </a:lnTo>
                  <a:lnTo>
                    <a:pt x="1117938" y="1141595"/>
                  </a:lnTo>
                  <a:lnTo>
                    <a:pt x="1114572" y="1139408"/>
                  </a:lnTo>
                  <a:cubicBezTo>
                    <a:pt x="1114572" y="1139408"/>
                    <a:pt x="1112082" y="1139509"/>
                    <a:pt x="1110669" y="1139408"/>
                  </a:cubicBezTo>
                  <a:cubicBezTo>
                    <a:pt x="1109255" y="1139307"/>
                    <a:pt x="1108818" y="1138971"/>
                    <a:pt x="1108481" y="1138870"/>
                  </a:cubicBezTo>
                  <a:cubicBezTo>
                    <a:pt x="1108145" y="1138769"/>
                    <a:pt x="1105217" y="1137659"/>
                    <a:pt x="1104140" y="1136919"/>
                  </a:cubicBezTo>
                  <a:cubicBezTo>
                    <a:pt x="1103063" y="1136145"/>
                    <a:pt x="1103500" y="1135170"/>
                    <a:pt x="1103366" y="1134329"/>
                  </a:cubicBezTo>
                  <a:cubicBezTo>
                    <a:pt x="1103231" y="1133454"/>
                    <a:pt x="1103500" y="1131503"/>
                    <a:pt x="1103399" y="1130965"/>
                  </a:cubicBezTo>
                  <a:cubicBezTo>
                    <a:pt x="1103298" y="1130426"/>
                    <a:pt x="1103635" y="1129014"/>
                    <a:pt x="1103938" y="1128240"/>
                  </a:cubicBezTo>
                  <a:cubicBezTo>
                    <a:pt x="1104274" y="1127500"/>
                    <a:pt x="1105991" y="1127500"/>
                    <a:pt x="1106327" y="1127163"/>
                  </a:cubicBezTo>
                  <a:cubicBezTo>
                    <a:pt x="1106664" y="1126827"/>
                    <a:pt x="1111106" y="1125414"/>
                    <a:pt x="1111880" y="1124876"/>
                  </a:cubicBezTo>
                  <a:cubicBezTo>
                    <a:pt x="1112654" y="1124338"/>
                    <a:pt x="1115044" y="1124001"/>
                    <a:pt x="1115044" y="1124001"/>
                  </a:cubicBezTo>
                  <a:lnTo>
                    <a:pt x="1115044" y="1119325"/>
                  </a:lnTo>
                  <a:lnTo>
                    <a:pt x="1116020" y="1115188"/>
                  </a:lnTo>
                  <a:cubicBezTo>
                    <a:pt x="1116020" y="1115188"/>
                    <a:pt x="1116895" y="1111824"/>
                    <a:pt x="1116996" y="1111487"/>
                  </a:cubicBezTo>
                  <a:cubicBezTo>
                    <a:pt x="1117097" y="1111151"/>
                    <a:pt x="1118174" y="1108863"/>
                    <a:pt x="1118174" y="1108224"/>
                  </a:cubicBezTo>
                  <a:cubicBezTo>
                    <a:pt x="1118174" y="1107585"/>
                    <a:pt x="1119688" y="1106374"/>
                    <a:pt x="1119688" y="1106374"/>
                  </a:cubicBezTo>
                  <a:cubicBezTo>
                    <a:pt x="1119688" y="1106374"/>
                    <a:pt x="1123053" y="1104860"/>
                    <a:pt x="1124366" y="1104524"/>
                  </a:cubicBezTo>
                  <a:cubicBezTo>
                    <a:pt x="1125679" y="1104187"/>
                    <a:pt x="1127395" y="1103212"/>
                    <a:pt x="1127530" y="1102909"/>
                  </a:cubicBezTo>
                  <a:cubicBezTo>
                    <a:pt x="1127630" y="1102573"/>
                    <a:pt x="1129179" y="1100958"/>
                    <a:pt x="1129481" y="1100857"/>
                  </a:cubicBezTo>
                  <a:cubicBezTo>
                    <a:pt x="1129818" y="1100756"/>
                    <a:pt x="1131770" y="1098368"/>
                    <a:pt x="1131770" y="1098368"/>
                  </a:cubicBezTo>
                  <a:lnTo>
                    <a:pt x="1133284" y="1097056"/>
                  </a:lnTo>
                  <a:lnTo>
                    <a:pt x="1137188" y="1097291"/>
                  </a:lnTo>
                  <a:cubicBezTo>
                    <a:pt x="1137188" y="1097291"/>
                    <a:pt x="1138703" y="1099781"/>
                    <a:pt x="1139039" y="1099781"/>
                  </a:cubicBezTo>
                  <a:cubicBezTo>
                    <a:pt x="1139376" y="1099781"/>
                    <a:pt x="1141227" y="1101631"/>
                    <a:pt x="1141227" y="1101631"/>
                  </a:cubicBezTo>
                  <a:lnTo>
                    <a:pt x="1143314" y="1104019"/>
                  </a:lnTo>
                  <a:cubicBezTo>
                    <a:pt x="1143314" y="1104019"/>
                    <a:pt x="1147217" y="1106307"/>
                    <a:pt x="1148193" y="1106071"/>
                  </a:cubicBezTo>
                  <a:cubicBezTo>
                    <a:pt x="1149169" y="1105869"/>
                    <a:pt x="1148732" y="1105869"/>
                    <a:pt x="1149169" y="1104995"/>
                  </a:cubicBezTo>
                  <a:cubicBezTo>
                    <a:pt x="1149607" y="1104120"/>
                    <a:pt x="1151761" y="1103346"/>
                    <a:pt x="1151761" y="1103346"/>
                  </a:cubicBezTo>
                  <a:cubicBezTo>
                    <a:pt x="1151761" y="1103346"/>
                    <a:pt x="1153174" y="1103010"/>
                    <a:pt x="1154251" y="1103010"/>
                  </a:cubicBezTo>
                  <a:cubicBezTo>
                    <a:pt x="1155328" y="1103010"/>
                    <a:pt x="1155766" y="1103447"/>
                    <a:pt x="1157179" y="1103649"/>
                  </a:cubicBezTo>
                  <a:cubicBezTo>
                    <a:pt x="1158593" y="1103851"/>
                    <a:pt x="1158929" y="1104524"/>
                    <a:pt x="1159266" y="1104524"/>
                  </a:cubicBezTo>
                  <a:cubicBezTo>
                    <a:pt x="1159569" y="1104524"/>
                    <a:pt x="1161319" y="1104625"/>
                    <a:pt x="1161756" y="1103885"/>
                  </a:cubicBezTo>
                  <a:cubicBezTo>
                    <a:pt x="1162194" y="1103111"/>
                    <a:pt x="1162497" y="1103010"/>
                    <a:pt x="1163372" y="1102034"/>
                  </a:cubicBezTo>
                  <a:cubicBezTo>
                    <a:pt x="1164247" y="1101059"/>
                    <a:pt x="1164247" y="1100622"/>
                    <a:pt x="1165122" y="1099983"/>
                  </a:cubicBezTo>
                  <a:cubicBezTo>
                    <a:pt x="1165997" y="1099343"/>
                    <a:pt x="1165997" y="1099444"/>
                    <a:pt x="1166973" y="1098570"/>
                  </a:cubicBezTo>
                  <a:cubicBezTo>
                    <a:pt x="1167949" y="1097695"/>
                    <a:pt x="1168824" y="1099343"/>
                    <a:pt x="1169160" y="1099545"/>
                  </a:cubicBezTo>
                  <a:cubicBezTo>
                    <a:pt x="1169497" y="1099747"/>
                    <a:pt x="1169699" y="1101597"/>
                    <a:pt x="1169699" y="1102034"/>
                  </a:cubicBezTo>
                  <a:cubicBezTo>
                    <a:pt x="1169699" y="1102472"/>
                    <a:pt x="1169800" y="1102808"/>
                    <a:pt x="1169934" y="1103111"/>
                  </a:cubicBezTo>
                  <a:cubicBezTo>
                    <a:pt x="1170035" y="1103447"/>
                    <a:pt x="1170136" y="1105163"/>
                    <a:pt x="1170136" y="1105600"/>
                  </a:cubicBezTo>
                  <a:cubicBezTo>
                    <a:pt x="1170136" y="1106038"/>
                    <a:pt x="1170574" y="1108090"/>
                    <a:pt x="1170675" y="1108527"/>
                  </a:cubicBezTo>
                  <a:cubicBezTo>
                    <a:pt x="1170776" y="1108964"/>
                    <a:pt x="1171213" y="1109301"/>
                    <a:pt x="1171550" y="1109301"/>
                  </a:cubicBezTo>
                  <a:cubicBezTo>
                    <a:pt x="1171886" y="1109301"/>
                    <a:pt x="1172963" y="1110814"/>
                    <a:pt x="1173603" y="1111689"/>
                  </a:cubicBezTo>
                  <a:cubicBezTo>
                    <a:pt x="1174242" y="1112564"/>
                    <a:pt x="1175656" y="1113001"/>
                    <a:pt x="1176968" y="1113001"/>
                  </a:cubicBezTo>
                  <a:cubicBezTo>
                    <a:pt x="1178281" y="1113001"/>
                    <a:pt x="1179156" y="1112227"/>
                    <a:pt x="1179593" y="1111925"/>
                  </a:cubicBezTo>
                  <a:cubicBezTo>
                    <a:pt x="1180031" y="1111588"/>
                    <a:pt x="1180367" y="1111285"/>
                    <a:pt x="1180367" y="1111285"/>
                  </a:cubicBezTo>
                  <a:cubicBezTo>
                    <a:pt x="1180367" y="1111285"/>
                    <a:pt x="1181882" y="1110209"/>
                    <a:pt x="1181983" y="1109099"/>
                  </a:cubicBezTo>
                  <a:cubicBezTo>
                    <a:pt x="1182084" y="1108022"/>
                    <a:pt x="1183497" y="1106811"/>
                    <a:pt x="1183935" y="1105836"/>
                  </a:cubicBezTo>
                  <a:cubicBezTo>
                    <a:pt x="1184372" y="1104860"/>
                    <a:pt x="1185146" y="1101833"/>
                    <a:pt x="1185146" y="1101496"/>
                  </a:cubicBezTo>
                  <a:cubicBezTo>
                    <a:pt x="1185146" y="1101160"/>
                    <a:pt x="1184507" y="1097157"/>
                    <a:pt x="1184507" y="1097157"/>
                  </a:cubicBezTo>
                  <a:lnTo>
                    <a:pt x="1182218" y="1094869"/>
                  </a:lnTo>
                  <a:cubicBezTo>
                    <a:pt x="1182218" y="1094869"/>
                    <a:pt x="1178853" y="1094970"/>
                    <a:pt x="1177439" y="1095307"/>
                  </a:cubicBezTo>
                  <a:cubicBezTo>
                    <a:pt x="1176026" y="1095643"/>
                    <a:pt x="1174511" y="1094230"/>
                    <a:pt x="1174511" y="1093793"/>
                  </a:cubicBezTo>
                  <a:cubicBezTo>
                    <a:pt x="1174511" y="1093355"/>
                    <a:pt x="1175925" y="1090631"/>
                    <a:pt x="1176564" y="1089554"/>
                  </a:cubicBezTo>
                  <a:cubicBezTo>
                    <a:pt x="1177204" y="1088478"/>
                    <a:pt x="1176901" y="1088141"/>
                    <a:pt x="1176901" y="1088141"/>
                  </a:cubicBezTo>
                  <a:lnTo>
                    <a:pt x="1175050" y="1086829"/>
                  </a:lnTo>
                  <a:lnTo>
                    <a:pt x="1174175" y="1084004"/>
                  </a:lnTo>
                  <a:cubicBezTo>
                    <a:pt x="1174175" y="1084004"/>
                    <a:pt x="1174175" y="1081178"/>
                    <a:pt x="1174175" y="1080741"/>
                  </a:cubicBezTo>
                  <a:cubicBezTo>
                    <a:pt x="1174175" y="1080303"/>
                    <a:pt x="1174915" y="1077377"/>
                    <a:pt x="1174915" y="1076939"/>
                  </a:cubicBezTo>
                  <a:cubicBezTo>
                    <a:pt x="1174915" y="1076502"/>
                    <a:pt x="1174040" y="1074450"/>
                    <a:pt x="1174040" y="1074450"/>
                  </a:cubicBezTo>
                  <a:lnTo>
                    <a:pt x="1172963" y="1073575"/>
                  </a:lnTo>
                  <a:lnTo>
                    <a:pt x="1170910" y="1070750"/>
                  </a:lnTo>
                  <a:cubicBezTo>
                    <a:pt x="1170910" y="1070750"/>
                    <a:pt x="1169295" y="1065973"/>
                    <a:pt x="1168958" y="1064762"/>
                  </a:cubicBezTo>
                  <a:cubicBezTo>
                    <a:pt x="1168622" y="1063551"/>
                    <a:pt x="1168824" y="1059985"/>
                    <a:pt x="1168958" y="1059548"/>
                  </a:cubicBezTo>
                  <a:cubicBezTo>
                    <a:pt x="1169059" y="1059110"/>
                    <a:pt x="1169396" y="1055948"/>
                    <a:pt x="1169396" y="1055511"/>
                  </a:cubicBezTo>
                  <a:cubicBezTo>
                    <a:pt x="1169396" y="1055073"/>
                    <a:pt x="1171886" y="1053459"/>
                    <a:pt x="1171886" y="1053459"/>
                  </a:cubicBezTo>
                  <a:lnTo>
                    <a:pt x="1174175" y="1050835"/>
                  </a:lnTo>
                  <a:lnTo>
                    <a:pt x="1177204" y="1047236"/>
                  </a:lnTo>
                  <a:cubicBezTo>
                    <a:pt x="1177204" y="1047236"/>
                    <a:pt x="1177641" y="1045823"/>
                    <a:pt x="1178617" y="1045284"/>
                  </a:cubicBezTo>
                  <a:cubicBezTo>
                    <a:pt x="1179593" y="1044746"/>
                    <a:pt x="1180468" y="1043872"/>
                    <a:pt x="1180468" y="1043872"/>
                  </a:cubicBezTo>
                  <a:cubicBezTo>
                    <a:pt x="1180468" y="1043872"/>
                    <a:pt x="1183497" y="1043737"/>
                    <a:pt x="1184372" y="1043872"/>
                  </a:cubicBezTo>
                  <a:cubicBezTo>
                    <a:pt x="1185247" y="1043972"/>
                    <a:pt x="1187098" y="1043434"/>
                    <a:pt x="1188276" y="1043098"/>
                  </a:cubicBezTo>
                  <a:cubicBezTo>
                    <a:pt x="1189454" y="1042761"/>
                    <a:pt x="1188916" y="1042021"/>
                    <a:pt x="1188916" y="1040810"/>
                  </a:cubicBezTo>
                  <a:cubicBezTo>
                    <a:pt x="1188916" y="1039633"/>
                    <a:pt x="1187940" y="1038523"/>
                    <a:pt x="1187603" y="1038321"/>
                  </a:cubicBezTo>
                  <a:cubicBezTo>
                    <a:pt x="1187266" y="1038119"/>
                    <a:pt x="1186088" y="1037346"/>
                    <a:pt x="1185752" y="1036908"/>
                  </a:cubicBezTo>
                  <a:cubicBezTo>
                    <a:pt x="1185416" y="1036471"/>
                    <a:pt x="1182824" y="1035294"/>
                    <a:pt x="1182151" y="1035294"/>
                  </a:cubicBezTo>
                  <a:cubicBezTo>
                    <a:pt x="1181511" y="1035294"/>
                    <a:pt x="1179324" y="1034520"/>
                    <a:pt x="1177708" y="1034217"/>
                  </a:cubicBezTo>
                  <a:cubicBezTo>
                    <a:pt x="1176093" y="1033881"/>
                    <a:pt x="1175790" y="1033578"/>
                    <a:pt x="1175790" y="1033578"/>
                  </a:cubicBezTo>
                  <a:lnTo>
                    <a:pt x="1175790" y="1031089"/>
                  </a:lnTo>
                  <a:cubicBezTo>
                    <a:pt x="1175790" y="1031089"/>
                    <a:pt x="1178415" y="1029777"/>
                    <a:pt x="1178718" y="1029440"/>
                  </a:cubicBezTo>
                  <a:cubicBezTo>
                    <a:pt x="1179055" y="1029104"/>
                    <a:pt x="1179795" y="1028566"/>
                    <a:pt x="1180132" y="1028364"/>
                  </a:cubicBezTo>
                  <a:cubicBezTo>
                    <a:pt x="1180468" y="1028162"/>
                    <a:pt x="1182218" y="1027388"/>
                    <a:pt x="1183396" y="1026850"/>
                  </a:cubicBezTo>
                  <a:cubicBezTo>
                    <a:pt x="1184608" y="1026312"/>
                    <a:pt x="1185348" y="1025773"/>
                    <a:pt x="1185348" y="1025773"/>
                  </a:cubicBezTo>
                  <a:lnTo>
                    <a:pt x="1190565" y="1025773"/>
                  </a:lnTo>
                  <a:lnTo>
                    <a:pt x="1193594" y="1025773"/>
                  </a:lnTo>
                  <a:cubicBezTo>
                    <a:pt x="1193594" y="1025773"/>
                    <a:pt x="1195343" y="1024731"/>
                    <a:pt x="1195781" y="1024630"/>
                  </a:cubicBezTo>
                  <a:cubicBezTo>
                    <a:pt x="1196218" y="1024529"/>
                    <a:pt x="1196757" y="1022948"/>
                    <a:pt x="1196757" y="1022510"/>
                  </a:cubicBezTo>
                  <a:cubicBezTo>
                    <a:pt x="1196757" y="1022073"/>
                    <a:pt x="1196959" y="1019483"/>
                    <a:pt x="1196959" y="1019483"/>
                  </a:cubicBezTo>
                  <a:lnTo>
                    <a:pt x="1194031" y="1016994"/>
                  </a:lnTo>
                  <a:lnTo>
                    <a:pt x="1192281" y="1015076"/>
                  </a:lnTo>
                  <a:lnTo>
                    <a:pt x="1190093" y="1013630"/>
                  </a:lnTo>
                  <a:cubicBezTo>
                    <a:pt x="1190093" y="1013630"/>
                    <a:pt x="1186459" y="1009290"/>
                    <a:pt x="1186324" y="1008853"/>
                  </a:cubicBezTo>
                  <a:cubicBezTo>
                    <a:pt x="1186189" y="1008415"/>
                    <a:pt x="1184305" y="1004210"/>
                    <a:pt x="1184305" y="1004210"/>
                  </a:cubicBezTo>
                  <a:cubicBezTo>
                    <a:pt x="1184305" y="1004210"/>
                    <a:pt x="1182117" y="1002629"/>
                    <a:pt x="1181545" y="1002629"/>
                  </a:cubicBezTo>
                  <a:cubicBezTo>
                    <a:pt x="1180973" y="1002629"/>
                    <a:pt x="1177776" y="1000880"/>
                    <a:pt x="1177776" y="1000880"/>
                  </a:cubicBezTo>
                  <a:lnTo>
                    <a:pt x="1174545" y="998828"/>
                  </a:lnTo>
                  <a:cubicBezTo>
                    <a:pt x="1174545" y="998828"/>
                    <a:pt x="1171785" y="997314"/>
                    <a:pt x="1171348" y="997449"/>
                  </a:cubicBezTo>
                  <a:cubicBezTo>
                    <a:pt x="1170910" y="997583"/>
                    <a:pt x="1170910" y="998593"/>
                    <a:pt x="1169329" y="998761"/>
                  </a:cubicBezTo>
                  <a:cubicBezTo>
                    <a:pt x="1167747" y="998895"/>
                    <a:pt x="1167141" y="998761"/>
                    <a:pt x="1167141" y="998761"/>
                  </a:cubicBezTo>
                  <a:lnTo>
                    <a:pt x="1164819" y="996574"/>
                  </a:lnTo>
                  <a:lnTo>
                    <a:pt x="1164078" y="993378"/>
                  </a:lnTo>
                  <a:lnTo>
                    <a:pt x="1164953" y="990486"/>
                  </a:lnTo>
                  <a:lnTo>
                    <a:pt x="1164953" y="987021"/>
                  </a:lnTo>
                  <a:lnTo>
                    <a:pt x="1164953" y="984565"/>
                  </a:lnTo>
                  <a:lnTo>
                    <a:pt x="1165694" y="981369"/>
                  </a:lnTo>
                  <a:cubicBezTo>
                    <a:pt x="1165694" y="981369"/>
                    <a:pt x="1167141" y="979048"/>
                    <a:pt x="1167578" y="978611"/>
                  </a:cubicBezTo>
                  <a:cubicBezTo>
                    <a:pt x="1168016" y="978173"/>
                    <a:pt x="1168319" y="976861"/>
                    <a:pt x="1168319" y="976861"/>
                  </a:cubicBezTo>
                  <a:lnTo>
                    <a:pt x="1169901" y="974406"/>
                  </a:lnTo>
                  <a:lnTo>
                    <a:pt x="1170607" y="973531"/>
                  </a:lnTo>
                  <a:lnTo>
                    <a:pt x="1172055" y="971950"/>
                  </a:lnTo>
                  <a:cubicBezTo>
                    <a:pt x="1172055" y="971950"/>
                    <a:pt x="1173939" y="971244"/>
                    <a:pt x="1174511" y="970504"/>
                  </a:cubicBezTo>
                  <a:cubicBezTo>
                    <a:pt x="1175084" y="969763"/>
                    <a:pt x="1175824" y="970638"/>
                    <a:pt x="1177103" y="970504"/>
                  </a:cubicBezTo>
                  <a:cubicBezTo>
                    <a:pt x="1178415" y="970369"/>
                    <a:pt x="1179559" y="970504"/>
                    <a:pt x="1180300" y="970504"/>
                  </a:cubicBezTo>
                  <a:cubicBezTo>
                    <a:pt x="1181007" y="970504"/>
                    <a:pt x="1182757" y="969763"/>
                    <a:pt x="1182757" y="969763"/>
                  </a:cubicBezTo>
                  <a:lnTo>
                    <a:pt x="1183632" y="968620"/>
                  </a:lnTo>
                  <a:lnTo>
                    <a:pt x="1183766" y="967039"/>
                  </a:lnTo>
                  <a:cubicBezTo>
                    <a:pt x="1183766" y="967039"/>
                    <a:pt x="1184204" y="964852"/>
                    <a:pt x="1184204" y="964280"/>
                  </a:cubicBezTo>
                  <a:cubicBezTo>
                    <a:pt x="1184204" y="963708"/>
                    <a:pt x="1184069" y="962699"/>
                    <a:pt x="1184069" y="962699"/>
                  </a:cubicBezTo>
                  <a:lnTo>
                    <a:pt x="1183497" y="960075"/>
                  </a:lnTo>
                  <a:lnTo>
                    <a:pt x="1182353" y="958763"/>
                  </a:lnTo>
                  <a:cubicBezTo>
                    <a:pt x="1182353" y="958763"/>
                    <a:pt x="1179459" y="955130"/>
                    <a:pt x="1179156" y="954693"/>
                  </a:cubicBezTo>
                  <a:cubicBezTo>
                    <a:pt x="1178853" y="954256"/>
                    <a:pt x="1177843" y="952675"/>
                    <a:pt x="1177843" y="952675"/>
                  </a:cubicBezTo>
                  <a:lnTo>
                    <a:pt x="1177103" y="947023"/>
                  </a:lnTo>
                  <a:cubicBezTo>
                    <a:pt x="1177103" y="947023"/>
                    <a:pt x="1177103" y="944399"/>
                    <a:pt x="1177103" y="943390"/>
                  </a:cubicBezTo>
                  <a:cubicBezTo>
                    <a:pt x="1177103" y="942381"/>
                    <a:pt x="1178920" y="938041"/>
                    <a:pt x="1178920" y="938041"/>
                  </a:cubicBezTo>
                  <a:lnTo>
                    <a:pt x="1179997" y="935855"/>
                  </a:lnTo>
                  <a:lnTo>
                    <a:pt x="1189286" y="935720"/>
                  </a:lnTo>
                  <a:lnTo>
                    <a:pt x="1195243" y="934274"/>
                  </a:lnTo>
                  <a:lnTo>
                    <a:pt x="1201199" y="936595"/>
                  </a:lnTo>
                  <a:lnTo>
                    <a:pt x="1204969" y="935283"/>
                  </a:lnTo>
                  <a:lnTo>
                    <a:pt x="1207560" y="933096"/>
                  </a:lnTo>
                  <a:lnTo>
                    <a:pt x="1214964" y="932793"/>
                  </a:lnTo>
                  <a:cubicBezTo>
                    <a:pt x="1214964" y="932793"/>
                    <a:pt x="1221493" y="933231"/>
                    <a:pt x="1222065" y="933231"/>
                  </a:cubicBezTo>
                  <a:cubicBezTo>
                    <a:pt x="1222637" y="933231"/>
                    <a:pt x="1225834" y="937436"/>
                    <a:pt x="1225834" y="937436"/>
                  </a:cubicBezTo>
                  <a:cubicBezTo>
                    <a:pt x="1225834" y="937436"/>
                    <a:pt x="1229469" y="938882"/>
                    <a:pt x="1231186" y="940060"/>
                  </a:cubicBezTo>
                  <a:cubicBezTo>
                    <a:pt x="1232936" y="941237"/>
                    <a:pt x="1235089" y="943255"/>
                    <a:pt x="1235089" y="943693"/>
                  </a:cubicBezTo>
                  <a:cubicBezTo>
                    <a:pt x="1235089" y="944130"/>
                    <a:pt x="1231758" y="946149"/>
                    <a:pt x="1231758" y="946149"/>
                  </a:cubicBezTo>
                  <a:lnTo>
                    <a:pt x="1233642" y="950488"/>
                  </a:lnTo>
                  <a:lnTo>
                    <a:pt x="1237849" y="955568"/>
                  </a:lnTo>
                  <a:lnTo>
                    <a:pt x="1243200" y="959200"/>
                  </a:lnTo>
                  <a:lnTo>
                    <a:pt x="1247104" y="960075"/>
                  </a:lnTo>
                  <a:lnTo>
                    <a:pt x="1248114" y="957317"/>
                  </a:lnTo>
                  <a:lnTo>
                    <a:pt x="1249124" y="951968"/>
                  </a:lnTo>
                  <a:lnTo>
                    <a:pt x="1252725" y="951262"/>
                  </a:lnTo>
                  <a:lnTo>
                    <a:pt x="1255350" y="953717"/>
                  </a:lnTo>
                  <a:lnTo>
                    <a:pt x="1261138" y="957350"/>
                  </a:lnTo>
                  <a:cubicBezTo>
                    <a:pt x="1261138" y="957350"/>
                    <a:pt x="1264773" y="957350"/>
                    <a:pt x="1265177" y="956644"/>
                  </a:cubicBezTo>
                  <a:cubicBezTo>
                    <a:pt x="1265614" y="955904"/>
                    <a:pt x="1270696" y="956644"/>
                    <a:pt x="1270696" y="956644"/>
                  </a:cubicBezTo>
                  <a:lnTo>
                    <a:pt x="1273893" y="953886"/>
                  </a:lnTo>
                  <a:lnTo>
                    <a:pt x="1274768" y="950858"/>
                  </a:lnTo>
                  <a:lnTo>
                    <a:pt x="1275071" y="947090"/>
                  </a:lnTo>
                  <a:lnTo>
                    <a:pt x="1278100" y="946788"/>
                  </a:lnTo>
                  <a:lnTo>
                    <a:pt x="1281432" y="948806"/>
                  </a:lnTo>
                  <a:lnTo>
                    <a:pt x="1281432" y="950993"/>
                  </a:lnTo>
                  <a:lnTo>
                    <a:pt x="1283821" y="953314"/>
                  </a:lnTo>
                  <a:lnTo>
                    <a:pt x="1287523" y="951733"/>
                  </a:lnTo>
                  <a:lnTo>
                    <a:pt x="1290721" y="949411"/>
                  </a:lnTo>
                  <a:cubicBezTo>
                    <a:pt x="1290721" y="949411"/>
                    <a:pt x="1292605" y="949714"/>
                    <a:pt x="1294793" y="949411"/>
                  </a:cubicBezTo>
                  <a:cubicBezTo>
                    <a:pt x="1296980" y="949109"/>
                    <a:pt x="1297687" y="948537"/>
                    <a:pt x="1299134" y="947965"/>
                  </a:cubicBezTo>
                  <a:cubicBezTo>
                    <a:pt x="1300581" y="947393"/>
                    <a:pt x="1302331" y="947225"/>
                    <a:pt x="1304216" y="946956"/>
                  </a:cubicBezTo>
                  <a:cubicBezTo>
                    <a:pt x="1306101" y="946687"/>
                    <a:pt x="1306538" y="945812"/>
                    <a:pt x="1308255" y="944803"/>
                  </a:cubicBezTo>
                  <a:cubicBezTo>
                    <a:pt x="1310005" y="943794"/>
                    <a:pt x="1309702" y="944063"/>
                    <a:pt x="1310442" y="943794"/>
                  </a:cubicBezTo>
                  <a:cubicBezTo>
                    <a:pt x="1311149" y="943491"/>
                    <a:pt x="1310745" y="941910"/>
                    <a:pt x="1310745" y="941910"/>
                  </a:cubicBezTo>
                  <a:lnTo>
                    <a:pt x="1305663" y="936830"/>
                  </a:lnTo>
                  <a:lnTo>
                    <a:pt x="1304216" y="940295"/>
                  </a:lnTo>
                  <a:lnTo>
                    <a:pt x="1299000" y="941876"/>
                  </a:lnTo>
                  <a:lnTo>
                    <a:pt x="1295971" y="939421"/>
                  </a:lnTo>
                  <a:lnTo>
                    <a:pt x="1294221" y="935653"/>
                  </a:lnTo>
                  <a:lnTo>
                    <a:pt x="1292033" y="933466"/>
                  </a:lnTo>
                  <a:lnTo>
                    <a:pt x="1289408" y="932020"/>
                  </a:lnTo>
                  <a:cubicBezTo>
                    <a:pt x="1289408" y="932020"/>
                    <a:pt x="1285201" y="928992"/>
                    <a:pt x="1284898" y="928118"/>
                  </a:cubicBezTo>
                  <a:cubicBezTo>
                    <a:pt x="1284629" y="927243"/>
                    <a:pt x="1283148" y="923913"/>
                    <a:pt x="1283148" y="923913"/>
                  </a:cubicBezTo>
                  <a:lnTo>
                    <a:pt x="1283283" y="919573"/>
                  </a:lnTo>
                  <a:lnTo>
                    <a:pt x="1287355" y="921322"/>
                  </a:lnTo>
                  <a:cubicBezTo>
                    <a:pt x="1287355" y="921322"/>
                    <a:pt x="1290821" y="922634"/>
                    <a:pt x="1291427" y="922466"/>
                  </a:cubicBezTo>
                  <a:cubicBezTo>
                    <a:pt x="1292000" y="922332"/>
                    <a:pt x="1292000" y="920145"/>
                    <a:pt x="1292000" y="920145"/>
                  </a:cubicBezTo>
                  <a:lnTo>
                    <a:pt x="1291697" y="915805"/>
                  </a:lnTo>
                  <a:lnTo>
                    <a:pt x="1289947" y="912172"/>
                  </a:lnTo>
                  <a:lnTo>
                    <a:pt x="1289812" y="908708"/>
                  </a:lnTo>
                  <a:lnTo>
                    <a:pt x="1292000" y="907396"/>
                  </a:lnTo>
                  <a:lnTo>
                    <a:pt x="1296644" y="910726"/>
                  </a:lnTo>
                  <a:lnTo>
                    <a:pt x="1300851" y="914056"/>
                  </a:lnTo>
                  <a:cubicBezTo>
                    <a:pt x="1300851" y="914056"/>
                    <a:pt x="1307952" y="915200"/>
                    <a:pt x="1308827" y="915368"/>
                  </a:cubicBezTo>
                  <a:cubicBezTo>
                    <a:pt x="1309702" y="915503"/>
                    <a:pt x="1312596" y="918127"/>
                    <a:pt x="1313168" y="918261"/>
                  </a:cubicBezTo>
                  <a:cubicBezTo>
                    <a:pt x="1313740" y="918396"/>
                    <a:pt x="1316500" y="920145"/>
                    <a:pt x="1316500" y="920145"/>
                  </a:cubicBezTo>
                  <a:lnTo>
                    <a:pt x="1318957" y="918127"/>
                  </a:lnTo>
                  <a:lnTo>
                    <a:pt x="1322861" y="916108"/>
                  </a:lnTo>
                  <a:lnTo>
                    <a:pt x="1327068" y="914561"/>
                  </a:lnTo>
                  <a:lnTo>
                    <a:pt x="1328649" y="911769"/>
                  </a:lnTo>
                  <a:lnTo>
                    <a:pt x="1331981" y="908741"/>
                  </a:lnTo>
                  <a:cubicBezTo>
                    <a:pt x="1331981" y="908741"/>
                    <a:pt x="1336895" y="909885"/>
                    <a:pt x="1337770" y="910053"/>
                  </a:cubicBezTo>
                  <a:cubicBezTo>
                    <a:pt x="1338645" y="910188"/>
                    <a:pt x="1341236" y="910490"/>
                    <a:pt x="1341236" y="910490"/>
                  </a:cubicBezTo>
                  <a:cubicBezTo>
                    <a:pt x="1341236" y="910490"/>
                    <a:pt x="1344265" y="913686"/>
                    <a:pt x="1344871" y="913821"/>
                  </a:cubicBezTo>
                  <a:cubicBezTo>
                    <a:pt x="1345443" y="913955"/>
                    <a:pt x="1348775" y="914527"/>
                    <a:pt x="1350087" y="914595"/>
                  </a:cubicBezTo>
                  <a:cubicBezTo>
                    <a:pt x="1351400" y="914628"/>
                    <a:pt x="1354294" y="913081"/>
                    <a:pt x="1354732" y="912946"/>
                  </a:cubicBezTo>
                  <a:cubicBezTo>
                    <a:pt x="1355169" y="912812"/>
                    <a:pt x="1356616" y="912374"/>
                    <a:pt x="1357491" y="912374"/>
                  </a:cubicBezTo>
                  <a:cubicBezTo>
                    <a:pt x="1358366" y="912374"/>
                    <a:pt x="1361126" y="914393"/>
                    <a:pt x="1361833" y="914393"/>
                  </a:cubicBezTo>
                  <a:cubicBezTo>
                    <a:pt x="1362539" y="914393"/>
                    <a:pt x="1368631" y="914830"/>
                    <a:pt x="1368799" y="914393"/>
                  </a:cubicBezTo>
                  <a:cubicBezTo>
                    <a:pt x="1368934" y="913955"/>
                    <a:pt x="1371121" y="911062"/>
                    <a:pt x="1371121" y="911062"/>
                  </a:cubicBezTo>
                  <a:cubicBezTo>
                    <a:pt x="1371121" y="911062"/>
                    <a:pt x="1370246" y="906151"/>
                    <a:pt x="1369809" y="905983"/>
                  </a:cubicBezTo>
                  <a:cubicBezTo>
                    <a:pt x="1369371" y="905848"/>
                    <a:pt x="1368631" y="902350"/>
                    <a:pt x="1368631" y="902350"/>
                  </a:cubicBezTo>
                  <a:lnTo>
                    <a:pt x="1370078" y="897270"/>
                  </a:lnTo>
                  <a:lnTo>
                    <a:pt x="1369943" y="893805"/>
                  </a:lnTo>
                  <a:lnTo>
                    <a:pt x="1372703" y="890609"/>
                  </a:lnTo>
                  <a:lnTo>
                    <a:pt x="1375732" y="890609"/>
                  </a:lnTo>
                  <a:lnTo>
                    <a:pt x="1376876" y="889028"/>
                  </a:lnTo>
                  <a:lnTo>
                    <a:pt x="1374857" y="885563"/>
                  </a:lnTo>
                  <a:lnTo>
                    <a:pt x="1372535" y="883242"/>
                  </a:lnTo>
                  <a:cubicBezTo>
                    <a:pt x="1372535" y="883242"/>
                    <a:pt x="1368025" y="877894"/>
                    <a:pt x="1367756" y="877288"/>
                  </a:cubicBezTo>
                  <a:cubicBezTo>
                    <a:pt x="1367453" y="876716"/>
                    <a:pt x="1366612" y="871334"/>
                    <a:pt x="1366612" y="871334"/>
                  </a:cubicBezTo>
                  <a:lnTo>
                    <a:pt x="1365198" y="866591"/>
                  </a:lnTo>
                  <a:lnTo>
                    <a:pt x="1365434" y="862453"/>
                  </a:lnTo>
                  <a:lnTo>
                    <a:pt x="1365097" y="857575"/>
                  </a:lnTo>
                  <a:cubicBezTo>
                    <a:pt x="1365097" y="857575"/>
                    <a:pt x="1364895" y="855826"/>
                    <a:pt x="1364895" y="855523"/>
                  </a:cubicBezTo>
                  <a:cubicBezTo>
                    <a:pt x="1364895" y="855187"/>
                    <a:pt x="1364895" y="852799"/>
                    <a:pt x="1364996" y="852496"/>
                  </a:cubicBezTo>
                  <a:cubicBezTo>
                    <a:pt x="1365097" y="852193"/>
                    <a:pt x="1365333" y="849132"/>
                    <a:pt x="1365232" y="848594"/>
                  </a:cubicBezTo>
                  <a:cubicBezTo>
                    <a:pt x="1365131" y="848055"/>
                    <a:pt x="1365468" y="845532"/>
                    <a:pt x="1365468" y="845532"/>
                  </a:cubicBezTo>
                  <a:cubicBezTo>
                    <a:pt x="1365468" y="845532"/>
                    <a:pt x="1365905" y="843918"/>
                    <a:pt x="1365905" y="843245"/>
                  </a:cubicBezTo>
                  <a:cubicBezTo>
                    <a:pt x="1365905" y="842572"/>
                    <a:pt x="1366881" y="842168"/>
                    <a:pt x="1367655" y="841933"/>
                  </a:cubicBezTo>
                  <a:cubicBezTo>
                    <a:pt x="1368429" y="841731"/>
                    <a:pt x="1368968" y="841058"/>
                    <a:pt x="1369270" y="840957"/>
                  </a:cubicBezTo>
                  <a:cubicBezTo>
                    <a:pt x="1369607" y="840856"/>
                    <a:pt x="1371323" y="839645"/>
                    <a:pt x="1371323" y="839645"/>
                  </a:cubicBezTo>
                  <a:cubicBezTo>
                    <a:pt x="1371323" y="839645"/>
                    <a:pt x="1374150" y="839309"/>
                    <a:pt x="1374487" y="838872"/>
                  </a:cubicBezTo>
                  <a:cubicBezTo>
                    <a:pt x="1374823" y="838434"/>
                    <a:pt x="1378492" y="839107"/>
                    <a:pt x="1378828" y="838872"/>
                  </a:cubicBezTo>
                  <a:cubicBezTo>
                    <a:pt x="1379165" y="838670"/>
                    <a:pt x="1381554" y="838872"/>
                    <a:pt x="1381554" y="838872"/>
                  </a:cubicBezTo>
                  <a:lnTo>
                    <a:pt x="1383304" y="838098"/>
                  </a:lnTo>
                  <a:cubicBezTo>
                    <a:pt x="1383304" y="838098"/>
                    <a:pt x="1384617" y="835710"/>
                    <a:pt x="1384819" y="834835"/>
                  </a:cubicBezTo>
                  <a:cubicBezTo>
                    <a:pt x="1385021" y="833960"/>
                    <a:pt x="1385795" y="832346"/>
                    <a:pt x="1385795" y="832346"/>
                  </a:cubicBezTo>
                  <a:lnTo>
                    <a:pt x="1385526" y="829621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42" name="Freeform 908">
              <a:extLst>
                <a:ext uri="{FF2B5EF4-FFF2-40B4-BE49-F238E27FC236}">
                  <a16:creationId xmlns:a16="http://schemas.microsoft.com/office/drawing/2014/main" id="{C0B8B34A-A23E-9980-DD0F-076B4D30E878}"/>
                </a:ext>
              </a:extLst>
            </p:cNvPr>
            <p:cNvSpPr/>
            <p:nvPr/>
          </p:nvSpPr>
          <p:spPr>
            <a:xfrm>
              <a:off x="7125555" y="2850549"/>
              <a:ext cx="549716" cy="494528"/>
            </a:xfrm>
            <a:custGeom>
              <a:avLst/>
              <a:gdLst>
                <a:gd name="connsiteX0" fmla="*/ 1054161 w 1055399"/>
                <a:gd name="connsiteY0" fmla="*/ 318904 h 949444"/>
                <a:gd name="connsiteX1" fmla="*/ 1050089 w 1055399"/>
                <a:gd name="connsiteY1" fmla="*/ 315843 h 949444"/>
                <a:gd name="connsiteX2" fmla="*/ 1043728 w 1055399"/>
                <a:gd name="connsiteY2" fmla="*/ 312647 h 949444"/>
                <a:gd name="connsiteX3" fmla="*/ 1040700 w 1055399"/>
                <a:gd name="connsiteY3" fmla="*/ 311200 h 949444"/>
                <a:gd name="connsiteX4" fmla="*/ 1037065 w 1055399"/>
                <a:gd name="connsiteY4" fmla="*/ 309316 h 949444"/>
                <a:gd name="connsiteX5" fmla="*/ 1036190 w 1055399"/>
                <a:gd name="connsiteY5" fmla="*/ 306121 h 949444"/>
                <a:gd name="connsiteX6" fmla="*/ 1032858 w 1055399"/>
                <a:gd name="connsiteY6" fmla="*/ 303665 h 949444"/>
                <a:gd name="connsiteX7" fmla="*/ 1031478 w 1055399"/>
                <a:gd name="connsiteY7" fmla="*/ 302219 h 949444"/>
                <a:gd name="connsiteX8" fmla="*/ 1031411 w 1055399"/>
                <a:gd name="connsiteY8" fmla="*/ 298316 h 949444"/>
                <a:gd name="connsiteX9" fmla="*/ 1031411 w 1055399"/>
                <a:gd name="connsiteY9" fmla="*/ 292396 h 949444"/>
                <a:gd name="connsiteX10" fmla="*/ 1031276 w 1055399"/>
                <a:gd name="connsiteY10" fmla="*/ 290949 h 949444"/>
                <a:gd name="connsiteX11" fmla="*/ 1036190 w 1055399"/>
                <a:gd name="connsiteY11" fmla="*/ 290949 h 949444"/>
                <a:gd name="connsiteX12" fmla="*/ 1038815 w 1055399"/>
                <a:gd name="connsiteY12" fmla="*/ 294582 h 949444"/>
                <a:gd name="connsiteX13" fmla="*/ 1040397 w 1055399"/>
                <a:gd name="connsiteY13" fmla="*/ 293708 h 949444"/>
                <a:gd name="connsiteX14" fmla="*/ 1041103 w 1055399"/>
                <a:gd name="connsiteY14" fmla="*/ 287922 h 949444"/>
                <a:gd name="connsiteX15" fmla="*/ 1041406 w 1055399"/>
                <a:gd name="connsiteY15" fmla="*/ 285163 h 949444"/>
                <a:gd name="connsiteX16" fmla="*/ 1042854 w 1055399"/>
                <a:gd name="connsiteY16" fmla="*/ 284591 h 949444"/>
                <a:gd name="connsiteX17" fmla="*/ 1044435 w 1055399"/>
                <a:gd name="connsiteY17" fmla="*/ 284591 h 949444"/>
                <a:gd name="connsiteX18" fmla="*/ 1046185 w 1055399"/>
                <a:gd name="connsiteY18" fmla="*/ 284591 h 949444"/>
                <a:gd name="connsiteX19" fmla="*/ 1047060 w 1055399"/>
                <a:gd name="connsiteY19" fmla="*/ 282842 h 949444"/>
                <a:gd name="connsiteX20" fmla="*/ 1047060 w 1055399"/>
                <a:gd name="connsiteY20" fmla="*/ 281967 h 949444"/>
                <a:gd name="connsiteX21" fmla="*/ 1047363 w 1055399"/>
                <a:gd name="connsiteY21" fmla="*/ 278502 h 949444"/>
                <a:gd name="connsiteX22" fmla="*/ 1046219 w 1055399"/>
                <a:gd name="connsiteY22" fmla="*/ 278502 h 949444"/>
                <a:gd name="connsiteX23" fmla="*/ 1043897 w 1055399"/>
                <a:gd name="connsiteY23" fmla="*/ 276047 h 949444"/>
                <a:gd name="connsiteX24" fmla="*/ 1042147 w 1055399"/>
                <a:gd name="connsiteY24" fmla="*/ 275038 h 949444"/>
                <a:gd name="connsiteX25" fmla="*/ 1040834 w 1055399"/>
                <a:gd name="connsiteY25" fmla="*/ 273457 h 949444"/>
                <a:gd name="connsiteX26" fmla="*/ 1041406 w 1055399"/>
                <a:gd name="connsiteY26" fmla="*/ 271438 h 949444"/>
                <a:gd name="connsiteX27" fmla="*/ 1041709 w 1055399"/>
                <a:gd name="connsiteY27" fmla="*/ 269689 h 949444"/>
                <a:gd name="connsiteX28" fmla="*/ 1042147 w 1055399"/>
                <a:gd name="connsiteY28" fmla="*/ 267805 h 949444"/>
                <a:gd name="connsiteX29" fmla="*/ 1044469 w 1055399"/>
                <a:gd name="connsiteY29" fmla="*/ 265417 h 949444"/>
                <a:gd name="connsiteX30" fmla="*/ 1046219 w 1055399"/>
                <a:gd name="connsiteY30" fmla="*/ 263735 h 949444"/>
                <a:gd name="connsiteX31" fmla="*/ 1039051 w 1055399"/>
                <a:gd name="connsiteY31" fmla="*/ 263735 h 949444"/>
                <a:gd name="connsiteX32" fmla="*/ 1036223 w 1055399"/>
                <a:gd name="connsiteY32" fmla="*/ 263735 h 949444"/>
                <a:gd name="connsiteX33" fmla="*/ 1034709 w 1055399"/>
                <a:gd name="connsiteY33" fmla="*/ 263735 h 949444"/>
                <a:gd name="connsiteX34" fmla="*/ 1033194 w 1055399"/>
                <a:gd name="connsiteY34" fmla="*/ 261884 h 949444"/>
                <a:gd name="connsiteX35" fmla="*/ 1031445 w 1055399"/>
                <a:gd name="connsiteY35" fmla="*/ 260135 h 949444"/>
                <a:gd name="connsiteX36" fmla="*/ 1029594 w 1055399"/>
                <a:gd name="connsiteY36" fmla="*/ 259059 h 949444"/>
                <a:gd name="connsiteX37" fmla="*/ 1028180 w 1055399"/>
                <a:gd name="connsiteY37" fmla="*/ 259059 h 949444"/>
                <a:gd name="connsiteX38" fmla="*/ 1026868 w 1055399"/>
                <a:gd name="connsiteY38" fmla="*/ 259934 h 949444"/>
                <a:gd name="connsiteX39" fmla="*/ 1025218 w 1055399"/>
                <a:gd name="connsiteY39" fmla="*/ 261145 h 949444"/>
                <a:gd name="connsiteX40" fmla="*/ 1023267 w 1055399"/>
                <a:gd name="connsiteY40" fmla="*/ 262120 h 949444"/>
                <a:gd name="connsiteX41" fmla="*/ 1021415 w 1055399"/>
                <a:gd name="connsiteY41" fmla="*/ 262457 h 949444"/>
                <a:gd name="connsiteX42" fmla="*/ 1019766 w 1055399"/>
                <a:gd name="connsiteY42" fmla="*/ 262894 h 949444"/>
                <a:gd name="connsiteX43" fmla="*/ 1016939 w 1055399"/>
                <a:gd name="connsiteY43" fmla="*/ 263768 h 949444"/>
                <a:gd name="connsiteX44" fmla="*/ 1015189 w 1055399"/>
                <a:gd name="connsiteY44" fmla="*/ 263768 h 949444"/>
                <a:gd name="connsiteX45" fmla="*/ 1012362 w 1055399"/>
                <a:gd name="connsiteY45" fmla="*/ 262995 h 949444"/>
                <a:gd name="connsiteX46" fmla="*/ 1010074 w 1055399"/>
                <a:gd name="connsiteY46" fmla="*/ 262995 h 949444"/>
                <a:gd name="connsiteX47" fmla="*/ 1008425 w 1055399"/>
                <a:gd name="connsiteY47" fmla="*/ 262894 h 949444"/>
                <a:gd name="connsiteX48" fmla="*/ 1006136 w 1055399"/>
                <a:gd name="connsiteY48" fmla="*/ 263768 h 949444"/>
                <a:gd name="connsiteX49" fmla="*/ 1004521 w 1055399"/>
                <a:gd name="connsiteY49" fmla="*/ 264845 h 949444"/>
                <a:gd name="connsiteX50" fmla="*/ 1003309 w 1055399"/>
                <a:gd name="connsiteY50" fmla="*/ 267334 h 949444"/>
                <a:gd name="connsiteX51" fmla="*/ 1003410 w 1055399"/>
                <a:gd name="connsiteY51" fmla="*/ 269285 h 949444"/>
                <a:gd name="connsiteX52" fmla="*/ 1003074 w 1055399"/>
                <a:gd name="connsiteY52" fmla="*/ 272111 h 949444"/>
                <a:gd name="connsiteX53" fmla="*/ 1001324 w 1055399"/>
                <a:gd name="connsiteY53" fmla="*/ 274163 h 949444"/>
                <a:gd name="connsiteX54" fmla="*/ 999372 w 1055399"/>
                <a:gd name="connsiteY54" fmla="*/ 275677 h 949444"/>
                <a:gd name="connsiteX55" fmla="*/ 997083 w 1055399"/>
                <a:gd name="connsiteY55" fmla="*/ 275677 h 949444"/>
                <a:gd name="connsiteX56" fmla="*/ 994997 w 1055399"/>
                <a:gd name="connsiteY56" fmla="*/ 273490 h 949444"/>
                <a:gd name="connsiteX57" fmla="*/ 992809 w 1055399"/>
                <a:gd name="connsiteY57" fmla="*/ 270227 h 949444"/>
                <a:gd name="connsiteX58" fmla="*/ 991093 w 1055399"/>
                <a:gd name="connsiteY58" fmla="*/ 267738 h 949444"/>
                <a:gd name="connsiteX59" fmla="*/ 988804 w 1055399"/>
                <a:gd name="connsiteY59" fmla="*/ 266325 h 949444"/>
                <a:gd name="connsiteX60" fmla="*/ 987290 w 1055399"/>
                <a:gd name="connsiteY60" fmla="*/ 263701 h 949444"/>
                <a:gd name="connsiteX61" fmla="*/ 984362 w 1055399"/>
                <a:gd name="connsiteY61" fmla="*/ 262826 h 949444"/>
                <a:gd name="connsiteX62" fmla="*/ 979785 w 1055399"/>
                <a:gd name="connsiteY62" fmla="*/ 260875 h 949444"/>
                <a:gd name="connsiteX63" fmla="*/ 979246 w 1055399"/>
                <a:gd name="connsiteY63" fmla="*/ 257949 h 949444"/>
                <a:gd name="connsiteX64" fmla="*/ 979347 w 1055399"/>
                <a:gd name="connsiteY64" fmla="*/ 255762 h 949444"/>
                <a:gd name="connsiteX65" fmla="*/ 978708 w 1055399"/>
                <a:gd name="connsiteY65" fmla="*/ 254013 h 949444"/>
                <a:gd name="connsiteX66" fmla="*/ 978607 w 1055399"/>
                <a:gd name="connsiteY66" fmla="*/ 250851 h 949444"/>
                <a:gd name="connsiteX67" fmla="*/ 975780 w 1055399"/>
                <a:gd name="connsiteY67" fmla="*/ 248563 h 949444"/>
                <a:gd name="connsiteX68" fmla="*/ 975780 w 1055399"/>
                <a:gd name="connsiteY68" fmla="*/ 247150 h 949444"/>
                <a:gd name="connsiteX69" fmla="*/ 973491 w 1055399"/>
                <a:gd name="connsiteY69" fmla="*/ 245401 h 949444"/>
                <a:gd name="connsiteX70" fmla="*/ 970765 w 1055399"/>
                <a:gd name="connsiteY70" fmla="*/ 244190 h 949444"/>
                <a:gd name="connsiteX71" fmla="*/ 966727 w 1055399"/>
                <a:gd name="connsiteY71" fmla="*/ 244089 h 949444"/>
                <a:gd name="connsiteX72" fmla="*/ 963361 w 1055399"/>
                <a:gd name="connsiteY72" fmla="*/ 244527 h 949444"/>
                <a:gd name="connsiteX73" fmla="*/ 961948 w 1055399"/>
                <a:gd name="connsiteY73" fmla="*/ 247016 h 949444"/>
                <a:gd name="connsiteX74" fmla="*/ 959154 w 1055399"/>
                <a:gd name="connsiteY74" fmla="*/ 247991 h 949444"/>
                <a:gd name="connsiteX75" fmla="*/ 955688 w 1055399"/>
                <a:gd name="connsiteY75" fmla="*/ 247991 h 949444"/>
                <a:gd name="connsiteX76" fmla="*/ 953400 w 1055399"/>
                <a:gd name="connsiteY76" fmla="*/ 247991 h 949444"/>
                <a:gd name="connsiteX77" fmla="*/ 951649 w 1055399"/>
                <a:gd name="connsiteY77" fmla="*/ 245704 h 949444"/>
                <a:gd name="connsiteX78" fmla="*/ 950236 w 1055399"/>
                <a:gd name="connsiteY78" fmla="*/ 242676 h 949444"/>
                <a:gd name="connsiteX79" fmla="*/ 949361 w 1055399"/>
                <a:gd name="connsiteY79" fmla="*/ 241465 h 949444"/>
                <a:gd name="connsiteX80" fmla="*/ 948385 w 1055399"/>
                <a:gd name="connsiteY80" fmla="*/ 240591 h 949444"/>
                <a:gd name="connsiteX81" fmla="*/ 947847 w 1055399"/>
                <a:gd name="connsiteY81" fmla="*/ 239615 h 949444"/>
                <a:gd name="connsiteX82" fmla="*/ 948284 w 1055399"/>
                <a:gd name="connsiteY82" fmla="*/ 235713 h 949444"/>
                <a:gd name="connsiteX83" fmla="*/ 950000 w 1055399"/>
                <a:gd name="connsiteY83" fmla="*/ 233762 h 949444"/>
                <a:gd name="connsiteX84" fmla="*/ 950438 w 1055399"/>
                <a:gd name="connsiteY84" fmla="*/ 231474 h 949444"/>
                <a:gd name="connsiteX85" fmla="*/ 949125 w 1055399"/>
                <a:gd name="connsiteY85" fmla="*/ 228447 h 949444"/>
                <a:gd name="connsiteX86" fmla="*/ 945760 w 1055399"/>
                <a:gd name="connsiteY86" fmla="*/ 228447 h 949444"/>
                <a:gd name="connsiteX87" fmla="*/ 941519 w 1055399"/>
                <a:gd name="connsiteY87" fmla="*/ 228548 h 949444"/>
                <a:gd name="connsiteX88" fmla="*/ 940544 w 1055399"/>
                <a:gd name="connsiteY88" fmla="*/ 229624 h 949444"/>
                <a:gd name="connsiteX89" fmla="*/ 939231 w 1055399"/>
                <a:gd name="connsiteY89" fmla="*/ 231912 h 949444"/>
                <a:gd name="connsiteX90" fmla="*/ 937481 w 1055399"/>
                <a:gd name="connsiteY90" fmla="*/ 232887 h 949444"/>
                <a:gd name="connsiteX91" fmla="*/ 936741 w 1055399"/>
                <a:gd name="connsiteY91" fmla="*/ 234199 h 949444"/>
                <a:gd name="connsiteX92" fmla="*/ 935664 w 1055399"/>
                <a:gd name="connsiteY92" fmla="*/ 234973 h 949444"/>
                <a:gd name="connsiteX93" fmla="*/ 935664 w 1055399"/>
                <a:gd name="connsiteY93" fmla="*/ 237698 h 949444"/>
                <a:gd name="connsiteX94" fmla="*/ 935933 w 1055399"/>
                <a:gd name="connsiteY94" fmla="*/ 239548 h 949444"/>
                <a:gd name="connsiteX95" fmla="*/ 934789 w 1055399"/>
                <a:gd name="connsiteY95" fmla="*/ 241499 h 949444"/>
                <a:gd name="connsiteX96" fmla="*/ 933274 w 1055399"/>
                <a:gd name="connsiteY96" fmla="*/ 241499 h 949444"/>
                <a:gd name="connsiteX97" fmla="*/ 930010 w 1055399"/>
                <a:gd name="connsiteY97" fmla="*/ 240961 h 949444"/>
                <a:gd name="connsiteX98" fmla="*/ 927418 w 1055399"/>
                <a:gd name="connsiteY98" fmla="*/ 240422 h 949444"/>
                <a:gd name="connsiteX99" fmla="*/ 925130 w 1055399"/>
                <a:gd name="connsiteY99" fmla="*/ 238370 h 949444"/>
                <a:gd name="connsiteX100" fmla="*/ 924894 w 1055399"/>
                <a:gd name="connsiteY100" fmla="*/ 235343 h 949444"/>
                <a:gd name="connsiteX101" fmla="*/ 924120 w 1055399"/>
                <a:gd name="connsiteY101" fmla="*/ 233156 h 949444"/>
                <a:gd name="connsiteX102" fmla="*/ 918904 w 1055399"/>
                <a:gd name="connsiteY102" fmla="*/ 230566 h 949444"/>
                <a:gd name="connsiteX103" fmla="*/ 916615 w 1055399"/>
                <a:gd name="connsiteY103" fmla="*/ 229489 h 949444"/>
                <a:gd name="connsiteX104" fmla="*/ 914327 w 1055399"/>
                <a:gd name="connsiteY104" fmla="*/ 226462 h 949444"/>
                <a:gd name="connsiteX105" fmla="*/ 914428 w 1055399"/>
                <a:gd name="connsiteY105" fmla="*/ 223636 h 949444"/>
                <a:gd name="connsiteX106" fmla="*/ 915303 w 1055399"/>
                <a:gd name="connsiteY106" fmla="*/ 221584 h 949444"/>
                <a:gd name="connsiteX107" fmla="*/ 916278 w 1055399"/>
                <a:gd name="connsiteY107" fmla="*/ 219398 h 949444"/>
                <a:gd name="connsiteX108" fmla="*/ 918029 w 1055399"/>
                <a:gd name="connsiteY108" fmla="*/ 217985 h 949444"/>
                <a:gd name="connsiteX109" fmla="*/ 918365 w 1055399"/>
                <a:gd name="connsiteY109" fmla="*/ 214183 h 949444"/>
                <a:gd name="connsiteX110" fmla="*/ 919880 w 1055399"/>
                <a:gd name="connsiteY110" fmla="*/ 212569 h 949444"/>
                <a:gd name="connsiteX111" fmla="*/ 920418 w 1055399"/>
                <a:gd name="connsiteY111" fmla="*/ 209407 h 949444"/>
                <a:gd name="connsiteX112" fmla="*/ 919005 w 1055399"/>
                <a:gd name="connsiteY112" fmla="*/ 207355 h 949444"/>
                <a:gd name="connsiteX113" fmla="*/ 917389 w 1055399"/>
                <a:gd name="connsiteY113" fmla="*/ 206480 h 949444"/>
                <a:gd name="connsiteX114" fmla="*/ 914226 w 1055399"/>
                <a:gd name="connsiteY114" fmla="*/ 206379 h 949444"/>
                <a:gd name="connsiteX115" fmla="*/ 910961 w 1055399"/>
                <a:gd name="connsiteY115" fmla="*/ 207792 h 949444"/>
                <a:gd name="connsiteX116" fmla="*/ 909783 w 1055399"/>
                <a:gd name="connsiteY116" fmla="*/ 209306 h 949444"/>
                <a:gd name="connsiteX117" fmla="*/ 907596 w 1055399"/>
                <a:gd name="connsiteY117" fmla="*/ 209642 h 949444"/>
                <a:gd name="connsiteX118" fmla="*/ 906081 w 1055399"/>
                <a:gd name="connsiteY118" fmla="*/ 209844 h 949444"/>
                <a:gd name="connsiteX119" fmla="*/ 904028 w 1055399"/>
                <a:gd name="connsiteY119" fmla="*/ 209945 h 949444"/>
                <a:gd name="connsiteX120" fmla="*/ 902177 w 1055399"/>
                <a:gd name="connsiteY120" fmla="*/ 210382 h 949444"/>
                <a:gd name="connsiteX121" fmla="*/ 899249 w 1055399"/>
                <a:gd name="connsiteY121" fmla="*/ 210483 h 949444"/>
                <a:gd name="connsiteX122" fmla="*/ 895345 w 1055399"/>
                <a:gd name="connsiteY122" fmla="*/ 209710 h 949444"/>
                <a:gd name="connsiteX123" fmla="*/ 892855 w 1055399"/>
                <a:gd name="connsiteY123" fmla="*/ 209609 h 949444"/>
                <a:gd name="connsiteX124" fmla="*/ 889692 w 1055399"/>
                <a:gd name="connsiteY124" fmla="*/ 209272 h 949444"/>
                <a:gd name="connsiteX125" fmla="*/ 888513 w 1055399"/>
                <a:gd name="connsiteY125" fmla="*/ 207960 h 949444"/>
                <a:gd name="connsiteX126" fmla="*/ 886999 w 1055399"/>
                <a:gd name="connsiteY126" fmla="*/ 204697 h 949444"/>
                <a:gd name="connsiteX127" fmla="*/ 883936 w 1055399"/>
                <a:gd name="connsiteY127" fmla="*/ 203520 h 949444"/>
                <a:gd name="connsiteX128" fmla="*/ 881984 w 1055399"/>
                <a:gd name="connsiteY128" fmla="*/ 202881 h 949444"/>
                <a:gd name="connsiteX129" fmla="*/ 880033 w 1055399"/>
                <a:gd name="connsiteY129" fmla="*/ 204092 h 949444"/>
                <a:gd name="connsiteX130" fmla="*/ 877407 w 1055399"/>
                <a:gd name="connsiteY130" fmla="*/ 205303 h 949444"/>
                <a:gd name="connsiteX131" fmla="*/ 875119 w 1055399"/>
                <a:gd name="connsiteY131" fmla="*/ 206951 h 949444"/>
                <a:gd name="connsiteX132" fmla="*/ 873706 w 1055399"/>
                <a:gd name="connsiteY132" fmla="*/ 207388 h 949444"/>
                <a:gd name="connsiteX133" fmla="*/ 871215 w 1055399"/>
                <a:gd name="connsiteY133" fmla="*/ 207927 h 949444"/>
                <a:gd name="connsiteX134" fmla="*/ 868052 w 1055399"/>
                <a:gd name="connsiteY134" fmla="*/ 208566 h 949444"/>
                <a:gd name="connsiteX135" fmla="*/ 865763 w 1055399"/>
                <a:gd name="connsiteY135" fmla="*/ 210517 h 949444"/>
                <a:gd name="connsiteX136" fmla="*/ 864249 w 1055399"/>
                <a:gd name="connsiteY136" fmla="*/ 212703 h 949444"/>
                <a:gd name="connsiteX137" fmla="*/ 862499 w 1055399"/>
                <a:gd name="connsiteY137" fmla="*/ 213343 h 949444"/>
                <a:gd name="connsiteX138" fmla="*/ 860311 w 1055399"/>
                <a:gd name="connsiteY138" fmla="*/ 214856 h 949444"/>
                <a:gd name="connsiteX139" fmla="*/ 857585 w 1055399"/>
                <a:gd name="connsiteY139" fmla="*/ 215731 h 949444"/>
                <a:gd name="connsiteX140" fmla="*/ 856508 w 1055399"/>
                <a:gd name="connsiteY140" fmla="*/ 216807 h 949444"/>
                <a:gd name="connsiteX141" fmla="*/ 854018 w 1055399"/>
                <a:gd name="connsiteY141" fmla="*/ 216807 h 949444"/>
                <a:gd name="connsiteX142" fmla="*/ 852806 w 1055399"/>
                <a:gd name="connsiteY142" fmla="*/ 214756 h 949444"/>
                <a:gd name="connsiteX143" fmla="*/ 848667 w 1055399"/>
                <a:gd name="connsiteY143" fmla="*/ 211593 h 949444"/>
                <a:gd name="connsiteX144" fmla="*/ 845503 w 1055399"/>
                <a:gd name="connsiteY144" fmla="*/ 211593 h 949444"/>
                <a:gd name="connsiteX145" fmla="*/ 842339 w 1055399"/>
                <a:gd name="connsiteY145" fmla="*/ 210719 h 949444"/>
                <a:gd name="connsiteX146" fmla="*/ 837998 w 1055399"/>
                <a:gd name="connsiteY146" fmla="*/ 208431 h 949444"/>
                <a:gd name="connsiteX147" fmla="*/ 836147 w 1055399"/>
                <a:gd name="connsiteY147" fmla="*/ 207220 h 949444"/>
                <a:gd name="connsiteX148" fmla="*/ 833118 w 1055399"/>
                <a:gd name="connsiteY148" fmla="*/ 205807 h 949444"/>
                <a:gd name="connsiteX149" fmla="*/ 829214 w 1055399"/>
                <a:gd name="connsiteY149" fmla="*/ 204495 h 949444"/>
                <a:gd name="connsiteX150" fmla="*/ 825950 w 1055399"/>
                <a:gd name="connsiteY150" fmla="*/ 203217 h 949444"/>
                <a:gd name="connsiteX151" fmla="*/ 824738 w 1055399"/>
                <a:gd name="connsiteY151" fmla="*/ 202208 h 949444"/>
                <a:gd name="connsiteX152" fmla="*/ 824637 w 1055399"/>
                <a:gd name="connsiteY152" fmla="*/ 199180 h 949444"/>
                <a:gd name="connsiteX153" fmla="*/ 825613 w 1055399"/>
                <a:gd name="connsiteY153" fmla="*/ 197128 h 949444"/>
                <a:gd name="connsiteX154" fmla="*/ 827902 w 1055399"/>
                <a:gd name="connsiteY154" fmla="*/ 195715 h 949444"/>
                <a:gd name="connsiteX155" fmla="*/ 828878 w 1055399"/>
                <a:gd name="connsiteY155" fmla="*/ 194639 h 949444"/>
                <a:gd name="connsiteX156" fmla="*/ 828339 w 1055399"/>
                <a:gd name="connsiteY156" fmla="*/ 191712 h 949444"/>
                <a:gd name="connsiteX157" fmla="*/ 827027 w 1055399"/>
                <a:gd name="connsiteY157" fmla="*/ 190198 h 949444"/>
                <a:gd name="connsiteX158" fmla="*/ 820397 w 1055399"/>
                <a:gd name="connsiteY158" fmla="*/ 189660 h 949444"/>
                <a:gd name="connsiteX159" fmla="*/ 817805 w 1055399"/>
                <a:gd name="connsiteY159" fmla="*/ 189223 h 949444"/>
                <a:gd name="connsiteX160" fmla="*/ 810401 w 1055399"/>
                <a:gd name="connsiteY160" fmla="*/ 190535 h 949444"/>
                <a:gd name="connsiteX161" fmla="*/ 807574 w 1055399"/>
                <a:gd name="connsiteY161" fmla="*/ 192284 h 949444"/>
                <a:gd name="connsiteX162" fmla="*/ 805622 w 1055399"/>
                <a:gd name="connsiteY162" fmla="*/ 191847 h 949444"/>
                <a:gd name="connsiteX163" fmla="*/ 802358 w 1055399"/>
                <a:gd name="connsiteY163" fmla="*/ 190098 h 949444"/>
                <a:gd name="connsiteX164" fmla="*/ 800608 w 1055399"/>
                <a:gd name="connsiteY164" fmla="*/ 192486 h 949444"/>
                <a:gd name="connsiteX165" fmla="*/ 798858 w 1055399"/>
                <a:gd name="connsiteY165" fmla="*/ 194437 h 949444"/>
                <a:gd name="connsiteX166" fmla="*/ 796704 w 1055399"/>
                <a:gd name="connsiteY166" fmla="*/ 196826 h 949444"/>
                <a:gd name="connsiteX167" fmla="*/ 793002 w 1055399"/>
                <a:gd name="connsiteY167" fmla="*/ 199012 h 949444"/>
                <a:gd name="connsiteX168" fmla="*/ 787987 w 1055399"/>
                <a:gd name="connsiteY168" fmla="*/ 201838 h 949444"/>
                <a:gd name="connsiteX169" fmla="*/ 783410 w 1055399"/>
                <a:gd name="connsiteY169" fmla="*/ 202914 h 949444"/>
                <a:gd name="connsiteX170" fmla="*/ 778429 w 1055399"/>
                <a:gd name="connsiteY170" fmla="*/ 202914 h 949444"/>
                <a:gd name="connsiteX171" fmla="*/ 774290 w 1055399"/>
                <a:gd name="connsiteY171" fmla="*/ 202914 h 949444"/>
                <a:gd name="connsiteX172" fmla="*/ 770823 w 1055399"/>
                <a:gd name="connsiteY172" fmla="*/ 198777 h 949444"/>
                <a:gd name="connsiteX173" fmla="*/ 767795 w 1055399"/>
                <a:gd name="connsiteY173" fmla="*/ 195951 h 949444"/>
                <a:gd name="connsiteX174" fmla="*/ 762141 w 1055399"/>
                <a:gd name="connsiteY174" fmla="*/ 195951 h 949444"/>
                <a:gd name="connsiteX175" fmla="*/ 761602 w 1055399"/>
                <a:gd name="connsiteY175" fmla="*/ 197801 h 949444"/>
                <a:gd name="connsiteX176" fmla="*/ 759112 w 1055399"/>
                <a:gd name="connsiteY176" fmla="*/ 199550 h 949444"/>
                <a:gd name="connsiteX177" fmla="*/ 757362 w 1055399"/>
                <a:gd name="connsiteY177" fmla="*/ 202174 h 949444"/>
                <a:gd name="connsiteX178" fmla="*/ 754434 w 1055399"/>
                <a:gd name="connsiteY178" fmla="*/ 205202 h 949444"/>
                <a:gd name="connsiteX179" fmla="*/ 751371 w 1055399"/>
                <a:gd name="connsiteY179" fmla="*/ 209878 h 949444"/>
                <a:gd name="connsiteX180" fmla="*/ 747366 w 1055399"/>
                <a:gd name="connsiteY180" fmla="*/ 211392 h 949444"/>
                <a:gd name="connsiteX181" fmla="*/ 741073 w 1055399"/>
                <a:gd name="connsiteY181" fmla="*/ 207792 h 949444"/>
                <a:gd name="connsiteX182" fmla="*/ 739558 w 1055399"/>
                <a:gd name="connsiteY182" fmla="*/ 208869 h 949444"/>
                <a:gd name="connsiteX183" fmla="*/ 738919 w 1055399"/>
                <a:gd name="connsiteY183" fmla="*/ 210517 h 949444"/>
                <a:gd name="connsiteX184" fmla="*/ 736630 w 1055399"/>
                <a:gd name="connsiteY184" fmla="*/ 213343 h 949444"/>
                <a:gd name="connsiteX185" fmla="*/ 733366 w 1055399"/>
                <a:gd name="connsiteY185" fmla="*/ 213343 h 949444"/>
                <a:gd name="connsiteX186" fmla="*/ 730236 w 1055399"/>
                <a:gd name="connsiteY186" fmla="*/ 211291 h 949444"/>
                <a:gd name="connsiteX187" fmla="*/ 726534 w 1055399"/>
                <a:gd name="connsiteY187" fmla="*/ 210214 h 949444"/>
                <a:gd name="connsiteX188" fmla="*/ 724044 w 1055399"/>
                <a:gd name="connsiteY188" fmla="*/ 210416 h 949444"/>
                <a:gd name="connsiteX189" fmla="*/ 722630 w 1055399"/>
                <a:gd name="connsiteY189" fmla="*/ 212468 h 949444"/>
                <a:gd name="connsiteX190" fmla="*/ 715664 w 1055399"/>
                <a:gd name="connsiteY190" fmla="*/ 212468 h 949444"/>
                <a:gd name="connsiteX191" fmla="*/ 710885 w 1055399"/>
                <a:gd name="connsiteY191" fmla="*/ 210853 h 949444"/>
                <a:gd name="connsiteX192" fmla="*/ 708159 w 1055399"/>
                <a:gd name="connsiteY192" fmla="*/ 209104 h 949444"/>
                <a:gd name="connsiteX193" fmla="*/ 703380 w 1055399"/>
                <a:gd name="connsiteY193" fmla="*/ 207153 h 949444"/>
                <a:gd name="connsiteX194" fmla="*/ 700452 w 1055399"/>
                <a:gd name="connsiteY194" fmla="*/ 208028 h 949444"/>
                <a:gd name="connsiteX195" fmla="*/ 697524 w 1055399"/>
                <a:gd name="connsiteY195" fmla="*/ 208028 h 949444"/>
                <a:gd name="connsiteX196" fmla="*/ 693620 w 1055399"/>
                <a:gd name="connsiteY196" fmla="*/ 206177 h 949444"/>
                <a:gd name="connsiteX197" fmla="*/ 691432 w 1055399"/>
                <a:gd name="connsiteY197" fmla="*/ 203688 h 949444"/>
                <a:gd name="connsiteX198" fmla="*/ 689480 w 1055399"/>
                <a:gd name="connsiteY198" fmla="*/ 201737 h 949444"/>
                <a:gd name="connsiteX199" fmla="*/ 687192 w 1055399"/>
                <a:gd name="connsiteY199" fmla="*/ 199449 h 949444"/>
                <a:gd name="connsiteX200" fmla="*/ 683826 w 1055399"/>
                <a:gd name="connsiteY200" fmla="*/ 197599 h 949444"/>
                <a:gd name="connsiteX201" fmla="*/ 680360 w 1055399"/>
                <a:gd name="connsiteY201" fmla="*/ 196186 h 949444"/>
                <a:gd name="connsiteX202" fmla="*/ 676119 w 1055399"/>
                <a:gd name="connsiteY202" fmla="*/ 194774 h 949444"/>
                <a:gd name="connsiteX203" fmla="*/ 671879 w 1055399"/>
                <a:gd name="connsiteY203" fmla="*/ 192486 h 949444"/>
                <a:gd name="connsiteX204" fmla="*/ 669590 w 1055399"/>
                <a:gd name="connsiteY204" fmla="*/ 191510 h 949444"/>
                <a:gd name="connsiteX205" fmla="*/ 665114 w 1055399"/>
                <a:gd name="connsiteY205" fmla="*/ 189458 h 949444"/>
                <a:gd name="connsiteX206" fmla="*/ 663061 w 1055399"/>
                <a:gd name="connsiteY206" fmla="*/ 187844 h 949444"/>
                <a:gd name="connsiteX207" fmla="*/ 660571 w 1055399"/>
                <a:gd name="connsiteY207" fmla="*/ 186229 h 949444"/>
                <a:gd name="connsiteX208" fmla="*/ 656869 w 1055399"/>
                <a:gd name="connsiteY208" fmla="*/ 182966 h 949444"/>
                <a:gd name="connsiteX209" fmla="*/ 654379 w 1055399"/>
                <a:gd name="connsiteY209" fmla="*/ 179602 h 949444"/>
                <a:gd name="connsiteX210" fmla="*/ 653941 w 1055399"/>
                <a:gd name="connsiteY210" fmla="*/ 178088 h 949444"/>
                <a:gd name="connsiteX211" fmla="*/ 653605 w 1055399"/>
                <a:gd name="connsiteY211" fmla="*/ 175801 h 949444"/>
                <a:gd name="connsiteX212" fmla="*/ 654379 w 1055399"/>
                <a:gd name="connsiteY212" fmla="*/ 173614 h 949444"/>
                <a:gd name="connsiteX213" fmla="*/ 658619 w 1055399"/>
                <a:gd name="connsiteY213" fmla="*/ 172437 h 949444"/>
                <a:gd name="connsiteX214" fmla="*/ 661884 w 1055399"/>
                <a:gd name="connsiteY214" fmla="*/ 170687 h 949444"/>
                <a:gd name="connsiteX215" fmla="*/ 665485 w 1055399"/>
                <a:gd name="connsiteY215" fmla="*/ 169712 h 949444"/>
                <a:gd name="connsiteX216" fmla="*/ 667100 w 1055399"/>
                <a:gd name="connsiteY216" fmla="*/ 166684 h 949444"/>
                <a:gd name="connsiteX217" fmla="*/ 667538 w 1055399"/>
                <a:gd name="connsiteY217" fmla="*/ 161807 h 949444"/>
                <a:gd name="connsiteX218" fmla="*/ 665485 w 1055399"/>
                <a:gd name="connsiteY218" fmla="*/ 159317 h 949444"/>
                <a:gd name="connsiteX219" fmla="*/ 663196 w 1055399"/>
                <a:gd name="connsiteY219" fmla="*/ 158779 h 949444"/>
                <a:gd name="connsiteX220" fmla="*/ 661984 w 1055399"/>
                <a:gd name="connsiteY220" fmla="*/ 156391 h 949444"/>
                <a:gd name="connsiteX221" fmla="*/ 664172 w 1055399"/>
                <a:gd name="connsiteY221" fmla="*/ 154540 h 949444"/>
                <a:gd name="connsiteX222" fmla="*/ 664273 w 1055399"/>
                <a:gd name="connsiteY222" fmla="*/ 150739 h 949444"/>
                <a:gd name="connsiteX223" fmla="*/ 664071 w 1055399"/>
                <a:gd name="connsiteY223" fmla="*/ 145626 h 949444"/>
                <a:gd name="connsiteX224" fmla="*/ 662759 w 1055399"/>
                <a:gd name="connsiteY224" fmla="*/ 142161 h 949444"/>
                <a:gd name="connsiteX225" fmla="*/ 665047 w 1055399"/>
                <a:gd name="connsiteY225" fmla="*/ 137048 h 949444"/>
                <a:gd name="connsiteX226" fmla="*/ 669624 w 1055399"/>
                <a:gd name="connsiteY226" fmla="*/ 135063 h 949444"/>
                <a:gd name="connsiteX227" fmla="*/ 672990 w 1055399"/>
                <a:gd name="connsiteY227" fmla="*/ 133045 h 949444"/>
                <a:gd name="connsiteX228" fmla="*/ 675177 w 1055399"/>
                <a:gd name="connsiteY228" fmla="*/ 130455 h 949444"/>
                <a:gd name="connsiteX229" fmla="*/ 673764 w 1055399"/>
                <a:gd name="connsiteY229" fmla="*/ 126216 h 949444"/>
                <a:gd name="connsiteX230" fmla="*/ 671475 w 1055399"/>
                <a:gd name="connsiteY230" fmla="*/ 125341 h 949444"/>
                <a:gd name="connsiteX231" fmla="*/ 668009 w 1055399"/>
                <a:gd name="connsiteY231" fmla="*/ 125543 h 949444"/>
                <a:gd name="connsiteX232" fmla="*/ 663230 w 1055399"/>
                <a:gd name="connsiteY232" fmla="*/ 125005 h 949444"/>
                <a:gd name="connsiteX233" fmla="*/ 660302 w 1055399"/>
                <a:gd name="connsiteY233" fmla="*/ 123491 h 949444"/>
                <a:gd name="connsiteX234" fmla="*/ 657037 w 1055399"/>
                <a:gd name="connsiteY234" fmla="*/ 122179 h 949444"/>
                <a:gd name="connsiteX235" fmla="*/ 655388 w 1055399"/>
                <a:gd name="connsiteY235" fmla="*/ 120565 h 949444"/>
                <a:gd name="connsiteX236" fmla="*/ 654076 w 1055399"/>
                <a:gd name="connsiteY236" fmla="*/ 116763 h 949444"/>
                <a:gd name="connsiteX237" fmla="*/ 652225 w 1055399"/>
                <a:gd name="connsiteY237" fmla="*/ 111986 h 949444"/>
                <a:gd name="connsiteX238" fmla="*/ 650037 w 1055399"/>
                <a:gd name="connsiteY238" fmla="*/ 107210 h 949444"/>
                <a:gd name="connsiteX239" fmla="*/ 648186 w 1055399"/>
                <a:gd name="connsiteY239" fmla="*/ 101995 h 949444"/>
                <a:gd name="connsiteX240" fmla="*/ 646537 w 1055399"/>
                <a:gd name="connsiteY240" fmla="*/ 96781 h 949444"/>
                <a:gd name="connsiteX241" fmla="*/ 645898 w 1055399"/>
                <a:gd name="connsiteY241" fmla="*/ 93955 h 949444"/>
                <a:gd name="connsiteX242" fmla="*/ 645258 w 1055399"/>
                <a:gd name="connsiteY242" fmla="*/ 92341 h 949444"/>
                <a:gd name="connsiteX243" fmla="*/ 642970 w 1055399"/>
                <a:gd name="connsiteY243" fmla="*/ 89515 h 949444"/>
                <a:gd name="connsiteX244" fmla="*/ 641119 w 1055399"/>
                <a:gd name="connsiteY244" fmla="*/ 88001 h 949444"/>
                <a:gd name="connsiteX245" fmla="*/ 638729 w 1055399"/>
                <a:gd name="connsiteY245" fmla="*/ 86488 h 949444"/>
                <a:gd name="connsiteX246" fmla="*/ 636542 w 1055399"/>
                <a:gd name="connsiteY246" fmla="*/ 85714 h 949444"/>
                <a:gd name="connsiteX247" fmla="*/ 634253 w 1055399"/>
                <a:gd name="connsiteY247" fmla="*/ 84940 h 949444"/>
                <a:gd name="connsiteX248" fmla="*/ 632234 w 1055399"/>
                <a:gd name="connsiteY248" fmla="*/ 83124 h 949444"/>
                <a:gd name="connsiteX249" fmla="*/ 628767 w 1055399"/>
                <a:gd name="connsiteY249" fmla="*/ 83124 h 949444"/>
                <a:gd name="connsiteX250" fmla="*/ 626479 w 1055399"/>
                <a:gd name="connsiteY250" fmla="*/ 83124 h 949444"/>
                <a:gd name="connsiteX251" fmla="*/ 623989 w 1055399"/>
                <a:gd name="connsiteY251" fmla="*/ 83224 h 949444"/>
                <a:gd name="connsiteX252" fmla="*/ 620286 w 1055399"/>
                <a:gd name="connsiteY252" fmla="*/ 83561 h 949444"/>
                <a:gd name="connsiteX253" fmla="*/ 613657 w 1055399"/>
                <a:gd name="connsiteY253" fmla="*/ 83763 h 949444"/>
                <a:gd name="connsiteX254" fmla="*/ 611906 w 1055399"/>
                <a:gd name="connsiteY254" fmla="*/ 83864 h 949444"/>
                <a:gd name="connsiteX255" fmla="*/ 609315 w 1055399"/>
                <a:gd name="connsiteY255" fmla="*/ 83426 h 949444"/>
                <a:gd name="connsiteX256" fmla="*/ 605950 w 1055399"/>
                <a:gd name="connsiteY256" fmla="*/ 81912 h 949444"/>
                <a:gd name="connsiteX257" fmla="*/ 600632 w 1055399"/>
                <a:gd name="connsiteY257" fmla="*/ 80836 h 949444"/>
                <a:gd name="connsiteX258" fmla="*/ 598243 w 1055399"/>
                <a:gd name="connsiteY258" fmla="*/ 78784 h 949444"/>
                <a:gd name="connsiteX259" fmla="*/ 596728 w 1055399"/>
                <a:gd name="connsiteY259" fmla="*/ 78784 h 949444"/>
                <a:gd name="connsiteX260" fmla="*/ 595752 w 1055399"/>
                <a:gd name="connsiteY260" fmla="*/ 80197 h 949444"/>
                <a:gd name="connsiteX261" fmla="*/ 592690 w 1055399"/>
                <a:gd name="connsiteY261" fmla="*/ 81711 h 949444"/>
                <a:gd name="connsiteX262" fmla="*/ 590738 w 1055399"/>
                <a:gd name="connsiteY262" fmla="*/ 80836 h 949444"/>
                <a:gd name="connsiteX263" fmla="*/ 590738 w 1055399"/>
                <a:gd name="connsiteY263" fmla="*/ 80399 h 949444"/>
                <a:gd name="connsiteX264" fmla="*/ 590940 w 1055399"/>
                <a:gd name="connsiteY264" fmla="*/ 79221 h 949444"/>
                <a:gd name="connsiteX265" fmla="*/ 590166 w 1055399"/>
                <a:gd name="connsiteY265" fmla="*/ 77169 h 949444"/>
                <a:gd name="connsiteX266" fmla="*/ 588853 w 1055399"/>
                <a:gd name="connsiteY266" fmla="*/ 75656 h 949444"/>
                <a:gd name="connsiteX267" fmla="*/ 588651 w 1055399"/>
                <a:gd name="connsiteY267" fmla="*/ 73805 h 949444"/>
                <a:gd name="connsiteX268" fmla="*/ 589190 w 1055399"/>
                <a:gd name="connsiteY268" fmla="*/ 72729 h 949444"/>
                <a:gd name="connsiteX269" fmla="*/ 589627 w 1055399"/>
                <a:gd name="connsiteY269" fmla="*/ 70240 h 949444"/>
                <a:gd name="connsiteX270" fmla="*/ 589392 w 1055399"/>
                <a:gd name="connsiteY270" fmla="*/ 67212 h 949444"/>
                <a:gd name="connsiteX271" fmla="*/ 588618 w 1055399"/>
                <a:gd name="connsiteY271" fmla="*/ 65463 h 949444"/>
                <a:gd name="connsiteX272" fmla="*/ 587204 w 1055399"/>
                <a:gd name="connsiteY272" fmla="*/ 64824 h 949444"/>
                <a:gd name="connsiteX273" fmla="*/ 584478 w 1055399"/>
                <a:gd name="connsiteY273" fmla="*/ 64824 h 949444"/>
                <a:gd name="connsiteX274" fmla="*/ 582964 w 1055399"/>
                <a:gd name="connsiteY274" fmla="*/ 66035 h 949444"/>
                <a:gd name="connsiteX275" fmla="*/ 582324 w 1055399"/>
                <a:gd name="connsiteY275" fmla="*/ 67548 h 949444"/>
                <a:gd name="connsiteX276" fmla="*/ 580574 w 1055399"/>
                <a:gd name="connsiteY276" fmla="*/ 69836 h 949444"/>
                <a:gd name="connsiteX277" fmla="*/ 578286 w 1055399"/>
                <a:gd name="connsiteY277" fmla="*/ 71484 h 949444"/>
                <a:gd name="connsiteX278" fmla="*/ 576199 w 1055399"/>
                <a:gd name="connsiteY278" fmla="*/ 72796 h 949444"/>
                <a:gd name="connsiteX279" fmla="*/ 573911 w 1055399"/>
                <a:gd name="connsiteY279" fmla="*/ 72460 h 949444"/>
                <a:gd name="connsiteX280" fmla="*/ 571420 w 1055399"/>
                <a:gd name="connsiteY280" fmla="*/ 70845 h 949444"/>
                <a:gd name="connsiteX281" fmla="*/ 569771 w 1055399"/>
                <a:gd name="connsiteY281" fmla="*/ 71383 h 949444"/>
                <a:gd name="connsiteX282" fmla="*/ 564117 w 1055399"/>
                <a:gd name="connsiteY282" fmla="*/ 72022 h 949444"/>
                <a:gd name="connsiteX283" fmla="*/ 560853 w 1055399"/>
                <a:gd name="connsiteY283" fmla="*/ 70172 h 949444"/>
                <a:gd name="connsiteX284" fmla="*/ 556410 w 1055399"/>
                <a:gd name="connsiteY284" fmla="*/ 69533 h 949444"/>
                <a:gd name="connsiteX285" fmla="*/ 556074 w 1055399"/>
                <a:gd name="connsiteY285" fmla="*/ 68221 h 949444"/>
                <a:gd name="connsiteX286" fmla="*/ 556174 w 1055399"/>
                <a:gd name="connsiteY286" fmla="*/ 66707 h 949444"/>
                <a:gd name="connsiteX287" fmla="*/ 556612 w 1055399"/>
                <a:gd name="connsiteY287" fmla="*/ 65530 h 949444"/>
                <a:gd name="connsiteX288" fmla="*/ 556511 w 1055399"/>
                <a:gd name="connsiteY288" fmla="*/ 63242 h 949444"/>
                <a:gd name="connsiteX289" fmla="*/ 556511 w 1055399"/>
                <a:gd name="connsiteY289" fmla="*/ 62368 h 949444"/>
                <a:gd name="connsiteX290" fmla="*/ 556242 w 1055399"/>
                <a:gd name="connsiteY290" fmla="*/ 59643 h 949444"/>
                <a:gd name="connsiteX291" fmla="*/ 556309 w 1055399"/>
                <a:gd name="connsiteY291" fmla="*/ 57793 h 949444"/>
                <a:gd name="connsiteX292" fmla="*/ 556410 w 1055399"/>
                <a:gd name="connsiteY292" fmla="*/ 55640 h 949444"/>
                <a:gd name="connsiteX293" fmla="*/ 556174 w 1055399"/>
                <a:gd name="connsiteY293" fmla="*/ 53252 h 949444"/>
                <a:gd name="connsiteX294" fmla="*/ 554660 w 1055399"/>
                <a:gd name="connsiteY294" fmla="*/ 51839 h 949444"/>
                <a:gd name="connsiteX295" fmla="*/ 552573 w 1055399"/>
                <a:gd name="connsiteY295" fmla="*/ 49349 h 949444"/>
                <a:gd name="connsiteX296" fmla="*/ 551934 w 1055399"/>
                <a:gd name="connsiteY296" fmla="*/ 46961 h 949444"/>
                <a:gd name="connsiteX297" fmla="*/ 553011 w 1055399"/>
                <a:gd name="connsiteY297" fmla="*/ 44471 h 949444"/>
                <a:gd name="connsiteX298" fmla="*/ 555737 w 1055399"/>
                <a:gd name="connsiteY298" fmla="*/ 40872 h 949444"/>
                <a:gd name="connsiteX299" fmla="*/ 556814 w 1055399"/>
                <a:gd name="connsiteY299" fmla="*/ 38484 h 949444"/>
                <a:gd name="connsiteX300" fmla="*/ 558025 w 1055399"/>
                <a:gd name="connsiteY300" fmla="*/ 34884 h 949444"/>
                <a:gd name="connsiteX301" fmla="*/ 557824 w 1055399"/>
                <a:gd name="connsiteY301" fmla="*/ 31520 h 949444"/>
                <a:gd name="connsiteX302" fmla="*/ 556612 w 1055399"/>
                <a:gd name="connsiteY302" fmla="*/ 29132 h 949444"/>
                <a:gd name="connsiteX303" fmla="*/ 555838 w 1055399"/>
                <a:gd name="connsiteY303" fmla="*/ 27181 h 949444"/>
                <a:gd name="connsiteX304" fmla="*/ 554324 w 1055399"/>
                <a:gd name="connsiteY304" fmla="*/ 25129 h 949444"/>
                <a:gd name="connsiteX305" fmla="*/ 552136 w 1055399"/>
                <a:gd name="connsiteY305" fmla="*/ 25230 h 949444"/>
                <a:gd name="connsiteX306" fmla="*/ 551059 w 1055399"/>
                <a:gd name="connsiteY306" fmla="*/ 25129 h 949444"/>
                <a:gd name="connsiteX307" fmla="*/ 549309 w 1055399"/>
                <a:gd name="connsiteY307" fmla="*/ 24254 h 949444"/>
                <a:gd name="connsiteX308" fmla="*/ 548670 w 1055399"/>
                <a:gd name="connsiteY308" fmla="*/ 21664 h 949444"/>
                <a:gd name="connsiteX309" fmla="*/ 546819 w 1055399"/>
                <a:gd name="connsiteY309" fmla="*/ 22303 h 949444"/>
                <a:gd name="connsiteX310" fmla="*/ 543790 w 1055399"/>
                <a:gd name="connsiteY310" fmla="*/ 21765 h 949444"/>
                <a:gd name="connsiteX311" fmla="*/ 542915 w 1055399"/>
                <a:gd name="connsiteY311" fmla="*/ 21328 h 949444"/>
                <a:gd name="connsiteX312" fmla="*/ 541299 w 1055399"/>
                <a:gd name="connsiteY312" fmla="*/ 20453 h 949444"/>
                <a:gd name="connsiteX313" fmla="*/ 541299 w 1055399"/>
                <a:gd name="connsiteY313" fmla="*/ 18838 h 949444"/>
                <a:gd name="connsiteX314" fmla="*/ 540862 w 1055399"/>
                <a:gd name="connsiteY314" fmla="*/ 16349 h 949444"/>
                <a:gd name="connsiteX315" fmla="*/ 540862 w 1055399"/>
                <a:gd name="connsiteY315" fmla="*/ 15037 h 949444"/>
                <a:gd name="connsiteX316" fmla="*/ 541030 w 1055399"/>
                <a:gd name="connsiteY316" fmla="*/ 13153 h 949444"/>
                <a:gd name="connsiteX317" fmla="*/ 540189 w 1055399"/>
                <a:gd name="connsiteY317" fmla="*/ 11269 h 949444"/>
                <a:gd name="connsiteX318" fmla="*/ 538674 w 1055399"/>
                <a:gd name="connsiteY318" fmla="*/ 9823 h 949444"/>
                <a:gd name="connsiteX319" fmla="*/ 536083 w 1055399"/>
                <a:gd name="connsiteY319" fmla="*/ 8881 h 949444"/>
                <a:gd name="connsiteX320" fmla="*/ 534333 w 1055399"/>
                <a:gd name="connsiteY320" fmla="*/ 9318 h 949444"/>
                <a:gd name="connsiteX321" fmla="*/ 533895 w 1055399"/>
                <a:gd name="connsiteY321" fmla="*/ 9890 h 949444"/>
                <a:gd name="connsiteX322" fmla="*/ 533458 w 1055399"/>
                <a:gd name="connsiteY322" fmla="*/ 10899 h 949444"/>
                <a:gd name="connsiteX323" fmla="*/ 533222 w 1055399"/>
                <a:gd name="connsiteY323" fmla="*/ 11976 h 949444"/>
                <a:gd name="connsiteX324" fmla="*/ 532785 w 1055399"/>
                <a:gd name="connsiteY324" fmla="*/ 12918 h 949444"/>
                <a:gd name="connsiteX325" fmla="*/ 532347 w 1055399"/>
                <a:gd name="connsiteY325" fmla="*/ 13927 h 949444"/>
                <a:gd name="connsiteX326" fmla="*/ 531539 w 1055399"/>
                <a:gd name="connsiteY326" fmla="*/ 14869 h 949444"/>
                <a:gd name="connsiteX327" fmla="*/ 530463 w 1055399"/>
                <a:gd name="connsiteY327" fmla="*/ 14936 h 949444"/>
                <a:gd name="connsiteX328" fmla="*/ 529285 w 1055399"/>
                <a:gd name="connsiteY328" fmla="*/ 12413 h 949444"/>
                <a:gd name="connsiteX329" fmla="*/ 527972 w 1055399"/>
                <a:gd name="connsiteY329" fmla="*/ 10967 h 949444"/>
                <a:gd name="connsiteX330" fmla="*/ 525212 w 1055399"/>
                <a:gd name="connsiteY330" fmla="*/ 10765 h 949444"/>
                <a:gd name="connsiteX331" fmla="*/ 523025 w 1055399"/>
                <a:gd name="connsiteY331" fmla="*/ 10765 h 949444"/>
                <a:gd name="connsiteX332" fmla="*/ 521275 w 1055399"/>
                <a:gd name="connsiteY332" fmla="*/ 11135 h 949444"/>
                <a:gd name="connsiteX333" fmla="*/ 520198 w 1055399"/>
                <a:gd name="connsiteY333" fmla="*/ 11875 h 949444"/>
                <a:gd name="connsiteX334" fmla="*/ 518751 w 1055399"/>
                <a:gd name="connsiteY334" fmla="*/ 13187 h 949444"/>
                <a:gd name="connsiteX335" fmla="*/ 516799 w 1055399"/>
                <a:gd name="connsiteY335" fmla="*/ 15272 h 949444"/>
                <a:gd name="connsiteX336" fmla="*/ 514274 w 1055399"/>
                <a:gd name="connsiteY336" fmla="*/ 17526 h 949444"/>
                <a:gd name="connsiteX337" fmla="*/ 512760 w 1055399"/>
                <a:gd name="connsiteY337" fmla="*/ 18468 h 949444"/>
                <a:gd name="connsiteX338" fmla="*/ 511010 w 1055399"/>
                <a:gd name="connsiteY338" fmla="*/ 19713 h 949444"/>
                <a:gd name="connsiteX339" fmla="*/ 509496 w 1055399"/>
                <a:gd name="connsiteY339" fmla="*/ 21395 h 949444"/>
                <a:gd name="connsiteX340" fmla="*/ 508486 w 1055399"/>
                <a:gd name="connsiteY340" fmla="*/ 22337 h 949444"/>
                <a:gd name="connsiteX341" fmla="*/ 507342 w 1055399"/>
                <a:gd name="connsiteY341" fmla="*/ 23581 h 949444"/>
                <a:gd name="connsiteX342" fmla="*/ 506601 w 1055399"/>
                <a:gd name="connsiteY342" fmla="*/ 24961 h 949444"/>
                <a:gd name="connsiteX343" fmla="*/ 507611 w 1055399"/>
                <a:gd name="connsiteY343" fmla="*/ 25903 h 949444"/>
                <a:gd name="connsiteX344" fmla="*/ 509563 w 1055399"/>
                <a:gd name="connsiteY344" fmla="*/ 26340 h 949444"/>
                <a:gd name="connsiteX345" fmla="*/ 511818 w 1055399"/>
                <a:gd name="connsiteY345" fmla="*/ 27921 h 949444"/>
                <a:gd name="connsiteX346" fmla="*/ 513063 w 1055399"/>
                <a:gd name="connsiteY346" fmla="*/ 29502 h 949444"/>
                <a:gd name="connsiteX347" fmla="*/ 513366 w 1055399"/>
                <a:gd name="connsiteY347" fmla="*/ 32261 h 949444"/>
                <a:gd name="connsiteX348" fmla="*/ 513063 w 1055399"/>
                <a:gd name="connsiteY348" fmla="*/ 34010 h 949444"/>
                <a:gd name="connsiteX349" fmla="*/ 511481 w 1055399"/>
                <a:gd name="connsiteY349" fmla="*/ 34514 h 949444"/>
                <a:gd name="connsiteX350" fmla="*/ 509024 w 1055399"/>
                <a:gd name="connsiteY350" fmla="*/ 32563 h 949444"/>
                <a:gd name="connsiteX351" fmla="*/ 503000 w 1055399"/>
                <a:gd name="connsiteY351" fmla="*/ 30309 h 949444"/>
                <a:gd name="connsiteX352" fmla="*/ 500106 w 1055399"/>
                <a:gd name="connsiteY352" fmla="*/ 30881 h 949444"/>
                <a:gd name="connsiteX353" fmla="*/ 497851 w 1055399"/>
                <a:gd name="connsiteY353" fmla="*/ 31890 h 949444"/>
                <a:gd name="connsiteX354" fmla="*/ 495967 w 1055399"/>
                <a:gd name="connsiteY354" fmla="*/ 32765 h 949444"/>
                <a:gd name="connsiteX355" fmla="*/ 494216 w 1055399"/>
                <a:gd name="connsiteY355" fmla="*/ 33135 h 949444"/>
                <a:gd name="connsiteX356" fmla="*/ 492332 w 1055399"/>
                <a:gd name="connsiteY356" fmla="*/ 31184 h 949444"/>
                <a:gd name="connsiteX357" fmla="*/ 490245 w 1055399"/>
                <a:gd name="connsiteY357" fmla="*/ 30679 h 949444"/>
                <a:gd name="connsiteX358" fmla="*/ 487620 w 1055399"/>
                <a:gd name="connsiteY358" fmla="*/ 30814 h 949444"/>
                <a:gd name="connsiteX359" fmla="*/ 486812 w 1055399"/>
                <a:gd name="connsiteY359" fmla="*/ 31251 h 949444"/>
                <a:gd name="connsiteX360" fmla="*/ 484860 w 1055399"/>
                <a:gd name="connsiteY360" fmla="*/ 33270 h 949444"/>
                <a:gd name="connsiteX361" fmla="*/ 483279 w 1055399"/>
                <a:gd name="connsiteY361" fmla="*/ 34783 h 949444"/>
                <a:gd name="connsiteX362" fmla="*/ 481327 w 1055399"/>
                <a:gd name="connsiteY362" fmla="*/ 36028 h 949444"/>
                <a:gd name="connsiteX363" fmla="*/ 478432 w 1055399"/>
                <a:gd name="connsiteY363" fmla="*/ 37475 h 949444"/>
                <a:gd name="connsiteX364" fmla="*/ 475605 w 1055399"/>
                <a:gd name="connsiteY364" fmla="*/ 38147 h 949444"/>
                <a:gd name="connsiteX365" fmla="*/ 469211 w 1055399"/>
                <a:gd name="connsiteY365" fmla="*/ 38147 h 949444"/>
                <a:gd name="connsiteX366" fmla="*/ 466687 w 1055399"/>
                <a:gd name="connsiteY366" fmla="*/ 39190 h 949444"/>
                <a:gd name="connsiteX367" fmla="*/ 465610 w 1055399"/>
                <a:gd name="connsiteY367" fmla="*/ 39594 h 949444"/>
                <a:gd name="connsiteX368" fmla="*/ 464870 w 1055399"/>
                <a:gd name="connsiteY368" fmla="*/ 40973 h 949444"/>
                <a:gd name="connsiteX369" fmla="*/ 465374 w 1055399"/>
                <a:gd name="connsiteY369" fmla="*/ 41915 h 949444"/>
                <a:gd name="connsiteX370" fmla="*/ 467125 w 1055399"/>
                <a:gd name="connsiteY370" fmla="*/ 44303 h 949444"/>
                <a:gd name="connsiteX371" fmla="*/ 470086 w 1055399"/>
                <a:gd name="connsiteY371" fmla="*/ 47566 h 949444"/>
                <a:gd name="connsiteX372" fmla="*/ 474730 w 1055399"/>
                <a:gd name="connsiteY372" fmla="*/ 50325 h 949444"/>
                <a:gd name="connsiteX373" fmla="*/ 478937 w 1055399"/>
                <a:gd name="connsiteY373" fmla="*/ 53521 h 949444"/>
                <a:gd name="connsiteX374" fmla="*/ 480250 w 1055399"/>
                <a:gd name="connsiteY374" fmla="*/ 58600 h 949444"/>
                <a:gd name="connsiteX375" fmla="*/ 480250 w 1055399"/>
                <a:gd name="connsiteY375" fmla="*/ 63949 h 949444"/>
                <a:gd name="connsiteX376" fmla="*/ 479106 w 1055399"/>
                <a:gd name="connsiteY376" fmla="*/ 68288 h 949444"/>
                <a:gd name="connsiteX377" fmla="*/ 477221 w 1055399"/>
                <a:gd name="connsiteY377" fmla="*/ 73200 h 949444"/>
                <a:gd name="connsiteX378" fmla="*/ 478231 w 1055399"/>
                <a:gd name="connsiteY378" fmla="*/ 77270 h 949444"/>
                <a:gd name="connsiteX379" fmla="*/ 478231 w 1055399"/>
                <a:gd name="connsiteY379" fmla="*/ 80735 h 949444"/>
                <a:gd name="connsiteX380" fmla="*/ 479408 w 1055399"/>
                <a:gd name="connsiteY380" fmla="*/ 83191 h 949444"/>
                <a:gd name="connsiteX381" fmla="*/ 481428 w 1055399"/>
                <a:gd name="connsiteY381" fmla="*/ 84503 h 949444"/>
                <a:gd name="connsiteX382" fmla="*/ 484053 w 1055399"/>
                <a:gd name="connsiteY382" fmla="*/ 86521 h 949444"/>
                <a:gd name="connsiteX383" fmla="*/ 486947 w 1055399"/>
                <a:gd name="connsiteY383" fmla="*/ 88842 h 949444"/>
                <a:gd name="connsiteX384" fmla="*/ 488663 w 1055399"/>
                <a:gd name="connsiteY384" fmla="*/ 91163 h 949444"/>
                <a:gd name="connsiteX385" fmla="*/ 488663 w 1055399"/>
                <a:gd name="connsiteY385" fmla="*/ 92307 h 949444"/>
                <a:gd name="connsiteX386" fmla="*/ 488394 w 1055399"/>
                <a:gd name="connsiteY386" fmla="*/ 96344 h 949444"/>
                <a:gd name="connsiteX387" fmla="*/ 487519 w 1055399"/>
                <a:gd name="connsiteY387" fmla="*/ 100986 h 949444"/>
                <a:gd name="connsiteX388" fmla="*/ 486947 w 1055399"/>
                <a:gd name="connsiteY388" fmla="*/ 104014 h 949444"/>
                <a:gd name="connsiteX389" fmla="*/ 485500 w 1055399"/>
                <a:gd name="connsiteY389" fmla="*/ 106470 h 949444"/>
                <a:gd name="connsiteX390" fmla="*/ 480149 w 1055399"/>
                <a:gd name="connsiteY390" fmla="*/ 108219 h 949444"/>
                <a:gd name="connsiteX391" fmla="*/ 478399 w 1055399"/>
                <a:gd name="connsiteY391" fmla="*/ 107781 h 949444"/>
                <a:gd name="connsiteX392" fmla="*/ 474764 w 1055399"/>
                <a:gd name="connsiteY392" fmla="*/ 106470 h 949444"/>
                <a:gd name="connsiteX393" fmla="*/ 472745 w 1055399"/>
                <a:gd name="connsiteY393" fmla="*/ 106738 h 949444"/>
                <a:gd name="connsiteX394" fmla="*/ 469110 w 1055399"/>
                <a:gd name="connsiteY394" fmla="*/ 108488 h 949444"/>
                <a:gd name="connsiteX395" fmla="*/ 465475 w 1055399"/>
                <a:gd name="connsiteY395" fmla="*/ 109497 h 949444"/>
                <a:gd name="connsiteX396" fmla="*/ 464163 w 1055399"/>
                <a:gd name="connsiteY396" fmla="*/ 111381 h 949444"/>
                <a:gd name="connsiteX397" fmla="*/ 463422 w 1055399"/>
                <a:gd name="connsiteY397" fmla="*/ 114408 h 949444"/>
                <a:gd name="connsiteX398" fmla="*/ 462850 w 1055399"/>
                <a:gd name="connsiteY398" fmla="*/ 116427 h 949444"/>
                <a:gd name="connsiteX399" fmla="*/ 461975 w 1055399"/>
                <a:gd name="connsiteY399" fmla="*/ 114408 h 949444"/>
                <a:gd name="connsiteX400" fmla="*/ 459653 w 1055399"/>
                <a:gd name="connsiteY400" fmla="*/ 114980 h 949444"/>
                <a:gd name="connsiteX401" fmla="*/ 458341 w 1055399"/>
                <a:gd name="connsiteY401" fmla="*/ 116561 h 949444"/>
                <a:gd name="connsiteX402" fmla="*/ 458206 w 1055399"/>
                <a:gd name="connsiteY402" fmla="*/ 118008 h 949444"/>
                <a:gd name="connsiteX403" fmla="*/ 459350 w 1055399"/>
                <a:gd name="connsiteY403" fmla="*/ 119892 h 949444"/>
                <a:gd name="connsiteX404" fmla="*/ 460797 w 1055399"/>
                <a:gd name="connsiteY404" fmla="*/ 122078 h 949444"/>
                <a:gd name="connsiteX405" fmla="*/ 462985 w 1055399"/>
                <a:gd name="connsiteY405" fmla="*/ 123525 h 949444"/>
                <a:gd name="connsiteX406" fmla="*/ 462413 w 1055399"/>
                <a:gd name="connsiteY406" fmla="*/ 125106 h 949444"/>
                <a:gd name="connsiteX407" fmla="*/ 458071 w 1055399"/>
                <a:gd name="connsiteY407" fmla="*/ 124971 h 949444"/>
                <a:gd name="connsiteX408" fmla="*/ 457196 w 1055399"/>
                <a:gd name="connsiteY408" fmla="*/ 123088 h 949444"/>
                <a:gd name="connsiteX409" fmla="*/ 454740 w 1055399"/>
                <a:gd name="connsiteY409" fmla="*/ 118008 h 949444"/>
                <a:gd name="connsiteX410" fmla="*/ 452283 w 1055399"/>
                <a:gd name="connsiteY410" fmla="*/ 118008 h 949444"/>
                <a:gd name="connsiteX411" fmla="*/ 450533 w 1055399"/>
                <a:gd name="connsiteY411" fmla="*/ 121035 h 949444"/>
                <a:gd name="connsiteX412" fmla="*/ 449523 w 1055399"/>
                <a:gd name="connsiteY412" fmla="*/ 124938 h 949444"/>
                <a:gd name="connsiteX413" fmla="*/ 446326 w 1055399"/>
                <a:gd name="connsiteY413" fmla="*/ 124635 h 949444"/>
                <a:gd name="connsiteX414" fmla="*/ 445013 w 1055399"/>
                <a:gd name="connsiteY414" fmla="*/ 125779 h 949444"/>
                <a:gd name="connsiteX415" fmla="*/ 444004 w 1055399"/>
                <a:gd name="connsiteY415" fmla="*/ 127528 h 949444"/>
                <a:gd name="connsiteX416" fmla="*/ 443129 w 1055399"/>
                <a:gd name="connsiteY416" fmla="*/ 129412 h 949444"/>
                <a:gd name="connsiteX417" fmla="*/ 442388 w 1055399"/>
                <a:gd name="connsiteY417" fmla="*/ 130993 h 949444"/>
                <a:gd name="connsiteX418" fmla="*/ 441379 w 1055399"/>
                <a:gd name="connsiteY418" fmla="*/ 133314 h 949444"/>
                <a:gd name="connsiteX419" fmla="*/ 438922 w 1055399"/>
                <a:gd name="connsiteY419" fmla="*/ 135198 h 949444"/>
                <a:gd name="connsiteX420" fmla="*/ 432124 w 1055399"/>
                <a:gd name="connsiteY420" fmla="*/ 134626 h 949444"/>
                <a:gd name="connsiteX421" fmla="*/ 428792 w 1055399"/>
                <a:gd name="connsiteY421" fmla="*/ 131598 h 949444"/>
                <a:gd name="connsiteX422" fmla="*/ 427782 w 1055399"/>
                <a:gd name="connsiteY422" fmla="*/ 130589 h 949444"/>
                <a:gd name="connsiteX423" fmla="*/ 425325 w 1055399"/>
                <a:gd name="connsiteY423" fmla="*/ 124938 h 949444"/>
                <a:gd name="connsiteX424" fmla="*/ 422633 w 1055399"/>
                <a:gd name="connsiteY424" fmla="*/ 122146 h 949444"/>
                <a:gd name="connsiteX425" fmla="*/ 424518 w 1055399"/>
                <a:gd name="connsiteY425" fmla="*/ 120800 h 949444"/>
                <a:gd name="connsiteX426" fmla="*/ 429398 w 1055399"/>
                <a:gd name="connsiteY426" fmla="*/ 118311 h 949444"/>
                <a:gd name="connsiteX427" fmla="*/ 431888 w 1055399"/>
                <a:gd name="connsiteY427" fmla="*/ 117436 h 949444"/>
                <a:gd name="connsiteX428" fmla="*/ 433739 w 1055399"/>
                <a:gd name="connsiteY428" fmla="*/ 115821 h 949444"/>
                <a:gd name="connsiteX429" fmla="*/ 434816 w 1055399"/>
                <a:gd name="connsiteY429" fmla="*/ 114408 h 949444"/>
                <a:gd name="connsiteX430" fmla="*/ 435893 w 1055399"/>
                <a:gd name="connsiteY430" fmla="*/ 112558 h 949444"/>
                <a:gd name="connsiteX431" fmla="*/ 436869 w 1055399"/>
                <a:gd name="connsiteY431" fmla="*/ 108118 h 949444"/>
                <a:gd name="connsiteX432" fmla="*/ 438182 w 1055399"/>
                <a:gd name="connsiteY432" fmla="*/ 105528 h 949444"/>
                <a:gd name="connsiteX433" fmla="*/ 438182 w 1055399"/>
                <a:gd name="connsiteY433" fmla="*/ 101491 h 949444"/>
                <a:gd name="connsiteX434" fmla="*/ 438182 w 1055399"/>
                <a:gd name="connsiteY434" fmla="*/ 99742 h 949444"/>
                <a:gd name="connsiteX435" fmla="*/ 438182 w 1055399"/>
                <a:gd name="connsiteY435" fmla="*/ 98329 h 949444"/>
                <a:gd name="connsiteX436" fmla="*/ 436835 w 1055399"/>
                <a:gd name="connsiteY436" fmla="*/ 97151 h 949444"/>
                <a:gd name="connsiteX437" fmla="*/ 434715 w 1055399"/>
                <a:gd name="connsiteY437" fmla="*/ 94527 h 949444"/>
                <a:gd name="connsiteX438" fmla="*/ 434715 w 1055399"/>
                <a:gd name="connsiteY438" fmla="*/ 91063 h 949444"/>
                <a:gd name="connsiteX439" fmla="*/ 434715 w 1055399"/>
                <a:gd name="connsiteY439" fmla="*/ 87598 h 949444"/>
                <a:gd name="connsiteX440" fmla="*/ 434715 w 1055399"/>
                <a:gd name="connsiteY440" fmla="*/ 84133 h 949444"/>
                <a:gd name="connsiteX441" fmla="*/ 434715 w 1055399"/>
                <a:gd name="connsiteY441" fmla="*/ 81105 h 949444"/>
                <a:gd name="connsiteX442" fmla="*/ 433369 w 1055399"/>
                <a:gd name="connsiteY442" fmla="*/ 79255 h 949444"/>
                <a:gd name="connsiteX443" fmla="*/ 432124 w 1055399"/>
                <a:gd name="connsiteY443" fmla="*/ 76328 h 949444"/>
                <a:gd name="connsiteX444" fmla="*/ 430946 w 1055399"/>
                <a:gd name="connsiteY444" fmla="*/ 76328 h 949444"/>
                <a:gd name="connsiteX445" fmla="*/ 428186 w 1055399"/>
                <a:gd name="connsiteY445" fmla="*/ 79255 h 949444"/>
                <a:gd name="connsiteX446" fmla="*/ 426200 w 1055399"/>
                <a:gd name="connsiteY446" fmla="*/ 81139 h 949444"/>
                <a:gd name="connsiteX447" fmla="*/ 425561 w 1055399"/>
                <a:gd name="connsiteY447" fmla="*/ 83426 h 949444"/>
                <a:gd name="connsiteX448" fmla="*/ 423474 w 1055399"/>
                <a:gd name="connsiteY448" fmla="*/ 86992 h 949444"/>
                <a:gd name="connsiteX449" fmla="*/ 421624 w 1055399"/>
                <a:gd name="connsiteY449" fmla="*/ 89717 h 949444"/>
                <a:gd name="connsiteX450" fmla="*/ 420782 w 1055399"/>
                <a:gd name="connsiteY450" fmla="*/ 90524 h 949444"/>
                <a:gd name="connsiteX451" fmla="*/ 419335 w 1055399"/>
                <a:gd name="connsiteY451" fmla="*/ 90827 h 949444"/>
                <a:gd name="connsiteX452" fmla="*/ 422599 w 1055399"/>
                <a:gd name="connsiteY452" fmla="*/ 92307 h 949444"/>
                <a:gd name="connsiteX453" fmla="*/ 422599 w 1055399"/>
                <a:gd name="connsiteY453" fmla="*/ 94595 h 949444"/>
                <a:gd name="connsiteX454" fmla="*/ 421287 w 1055399"/>
                <a:gd name="connsiteY454" fmla="*/ 96546 h 949444"/>
                <a:gd name="connsiteX455" fmla="*/ 416710 w 1055399"/>
                <a:gd name="connsiteY455" fmla="*/ 98497 h 949444"/>
                <a:gd name="connsiteX456" fmla="*/ 413244 w 1055399"/>
                <a:gd name="connsiteY456" fmla="*/ 100986 h 949444"/>
                <a:gd name="connsiteX457" fmla="*/ 411628 w 1055399"/>
                <a:gd name="connsiteY457" fmla="*/ 102063 h 949444"/>
                <a:gd name="connsiteX458" fmla="*/ 410316 w 1055399"/>
                <a:gd name="connsiteY458" fmla="*/ 105090 h 949444"/>
                <a:gd name="connsiteX459" fmla="*/ 409340 w 1055399"/>
                <a:gd name="connsiteY459" fmla="*/ 108992 h 949444"/>
                <a:gd name="connsiteX460" fmla="*/ 411191 w 1055399"/>
                <a:gd name="connsiteY460" fmla="*/ 113231 h 949444"/>
                <a:gd name="connsiteX461" fmla="*/ 414657 w 1055399"/>
                <a:gd name="connsiteY461" fmla="*/ 115619 h 949444"/>
                <a:gd name="connsiteX462" fmla="*/ 417383 w 1055399"/>
                <a:gd name="connsiteY462" fmla="*/ 119522 h 949444"/>
                <a:gd name="connsiteX463" fmla="*/ 417383 w 1055399"/>
                <a:gd name="connsiteY463" fmla="*/ 120598 h 949444"/>
                <a:gd name="connsiteX464" fmla="*/ 415970 w 1055399"/>
                <a:gd name="connsiteY464" fmla="*/ 122011 h 949444"/>
                <a:gd name="connsiteX465" fmla="*/ 412369 w 1055399"/>
                <a:gd name="connsiteY465" fmla="*/ 125173 h 949444"/>
                <a:gd name="connsiteX466" fmla="*/ 409340 w 1055399"/>
                <a:gd name="connsiteY466" fmla="*/ 127561 h 949444"/>
                <a:gd name="connsiteX467" fmla="*/ 407590 w 1055399"/>
                <a:gd name="connsiteY467" fmla="*/ 130925 h 949444"/>
                <a:gd name="connsiteX468" fmla="*/ 406075 w 1055399"/>
                <a:gd name="connsiteY468" fmla="*/ 132137 h 949444"/>
                <a:gd name="connsiteX469" fmla="*/ 400522 w 1055399"/>
                <a:gd name="connsiteY469" fmla="*/ 132137 h 949444"/>
                <a:gd name="connsiteX470" fmla="*/ 395407 w 1055399"/>
                <a:gd name="connsiteY470" fmla="*/ 129849 h 949444"/>
                <a:gd name="connsiteX471" fmla="*/ 394330 w 1055399"/>
                <a:gd name="connsiteY471" fmla="*/ 125711 h 949444"/>
                <a:gd name="connsiteX472" fmla="*/ 393354 w 1055399"/>
                <a:gd name="connsiteY472" fmla="*/ 122684 h 949444"/>
                <a:gd name="connsiteX473" fmla="*/ 391301 w 1055399"/>
                <a:gd name="connsiteY473" fmla="*/ 120060 h 949444"/>
                <a:gd name="connsiteX474" fmla="*/ 388911 w 1055399"/>
                <a:gd name="connsiteY474" fmla="*/ 119959 h 949444"/>
                <a:gd name="connsiteX475" fmla="*/ 386724 w 1055399"/>
                <a:gd name="connsiteY475" fmla="*/ 120834 h 949444"/>
                <a:gd name="connsiteX476" fmla="*/ 385209 w 1055399"/>
                <a:gd name="connsiteY476" fmla="*/ 122886 h 949444"/>
                <a:gd name="connsiteX477" fmla="*/ 384570 w 1055399"/>
                <a:gd name="connsiteY477" fmla="*/ 125711 h 949444"/>
                <a:gd name="connsiteX478" fmla="*/ 383594 w 1055399"/>
                <a:gd name="connsiteY478" fmla="*/ 126788 h 949444"/>
                <a:gd name="connsiteX479" fmla="*/ 380329 w 1055399"/>
                <a:gd name="connsiteY479" fmla="*/ 126889 h 949444"/>
                <a:gd name="connsiteX480" fmla="*/ 377940 w 1055399"/>
                <a:gd name="connsiteY480" fmla="*/ 126014 h 949444"/>
                <a:gd name="connsiteX481" fmla="*/ 375752 w 1055399"/>
                <a:gd name="connsiteY481" fmla="*/ 124938 h 949444"/>
                <a:gd name="connsiteX482" fmla="*/ 373060 w 1055399"/>
                <a:gd name="connsiteY482" fmla="*/ 124938 h 949444"/>
                <a:gd name="connsiteX483" fmla="*/ 371411 w 1055399"/>
                <a:gd name="connsiteY483" fmla="*/ 124063 h 949444"/>
                <a:gd name="connsiteX484" fmla="*/ 367507 w 1055399"/>
                <a:gd name="connsiteY484" fmla="*/ 124164 h 949444"/>
                <a:gd name="connsiteX485" fmla="*/ 365118 w 1055399"/>
                <a:gd name="connsiteY485" fmla="*/ 124803 h 949444"/>
                <a:gd name="connsiteX486" fmla="*/ 363367 w 1055399"/>
                <a:gd name="connsiteY486" fmla="*/ 126754 h 949444"/>
                <a:gd name="connsiteX487" fmla="*/ 361180 w 1055399"/>
                <a:gd name="connsiteY487" fmla="*/ 129344 h 949444"/>
                <a:gd name="connsiteX488" fmla="*/ 359329 w 1055399"/>
                <a:gd name="connsiteY488" fmla="*/ 132507 h 949444"/>
                <a:gd name="connsiteX489" fmla="*/ 357579 w 1055399"/>
                <a:gd name="connsiteY489" fmla="*/ 135669 h 949444"/>
                <a:gd name="connsiteX490" fmla="*/ 355728 w 1055399"/>
                <a:gd name="connsiteY490" fmla="*/ 140681 h 949444"/>
                <a:gd name="connsiteX491" fmla="*/ 354853 w 1055399"/>
                <a:gd name="connsiteY491" fmla="*/ 146871 h 949444"/>
                <a:gd name="connsiteX492" fmla="*/ 354314 w 1055399"/>
                <a:gd name="connsiteY492" fmla="*/ 151210 h 949444"/>
                <a:gd name="connsiteX493" fmla="*/ 355189 w 1055399"/>
                <a:gd name="connsiteY493" fmla="*/ 155213 h 949444"/>
                <a:gd name="connsiteX494" fmla="*/ 357781 w 1055399"/>
                <a:gd name="connsiteY494" fmla="*/ 157938 h 949444"/>
                <a:gd name="connsiteX495" fmla="*/ 360372 w 1055399"/>
                <a:gd name="connsiteY495" fmla="*/ 160528 h 949444"/>
                <a:gd name="connsiteX496" fmla="*/ 362661 w 1055399"/>
                <a:gd name="connsiteY496" fmla="*/ 161302 h 949444"/>
                <a:gd name="connsiteX497" fmla="*/ 367440 w 1055399"/>
                <a:gd name="connsiteY497" fmla="*/ 165978 h 949444"/>
                <a:gd name="connsiteX498" fmla="*/ 366363 w 1055399"/>
                <a:gd name="connsiteY498" fmla="*/ 168266 h 949444"/>
                <a:gd name="connsiteX499" fmla="*/ 366901 w 1055399"/>
                <a:gd name="connsiteY499" fmla="*/ 170990 h 949444"/>
                <a:gd name="connsiteX500" fmla="*/ 366800 w 1055399"/>
                <a:gd name="connsiteY500" fmla="*/ 173580 h 949444"/>
                <a:gd name="connsiteX501" fmla="*/ 365824 w 1055399"/>
                <a:gd name="connsiteY501" fmla="*/ 175868 h 949444"/>
                <a:gd name="connsiteX502" fmla="*/ 362358 w 1055399"/>
                <a:gd name="connsiteY502" fmla="*/ 178694 h 949444"/>
                <a:gd name="connsiteX503" fmla="*/ 357242 w 1055399"/>
                <a:gd name="connsiteY503" fmla="*/ 180107 h 949444"/>
                <a:gd name="connsiteX504" fmla="*/ 355627 w 1055399"/>
                <a:gd name="connsiteY504" fmla="*/ 180107 h 949444"/>
                <a:gd name="connsiteX505" fmla="*/ 352800 w 1055399"/>
                <a:gd name="connsiteY505" fmla="*/ 180880 h 949444"/>
                <a:gd name="connsiteX506" fmla="*/ 351050 w 1055399"/>
                <a:gd name="connsiteY506" fmla="*/ 179568 h 949444"/>
                <a:gd name="connsiteX507" fmla="*/ 349737 w 1055399"/>
                <a:gd name="connsiteY507" fmla="*/ 179333 h 949444"/>
                <a:gd name="connsiteX508" fmla="*/ 347247 w 1055399"/>
                <a:gd name="connsiteY508" fmla="*/ 180847 h 949444"/>
                <a:gd name="connsiteX509" fmla="*/ 344622 w 1055399"/>
                <a:gd name="connsiteY509" fmla="*/ 183437 h 949444"/>
                <a:gd name="connsiteX510" fmla="*/ 342131 w 1055399"/>
                <a:gd name="connsiteY510" fmla="*/ 184648 h 949444"/>
                <a:gd name="connsiteX511" fmla="*/ 337992 w 1055399"/>
                <a:gd name="connsiteY511" fmla="*/ 185724 h 949444"/>
                <a:gd name="connsiteX512" fmla="*/ 334963 w 1055399"/>
                <a:gd name="connsiteY512" fmla="*/ 185724 h 949444"/>
                <a:gd name="connsiteX513" fmla="*/ 329208 w 1055399"/>
                <a:gd name="connsiteY513" fmla="*/ 183773 h 949444"/>
                <a:gd name="connsiteX514" fmla="*/ 324530 w 1055399"/>
                <a:gd name="connsiteY514" fmla="*/ 179871 h 949444"/>
                <a:gd name="connsiteX515" fmla="*/ 321939 w 1055399"/>
                <a:gd name="connsiteY515" fmla="*/ 178256 h 949444"/>
                <a:gd name="connsiteX516" fmla="*/ 318237 w 1055399"/>
                <a:gd name="connsiteY516" fmla="*/ 178357 h 949444"/>
                <a:gd name="connsiteX517" fmla="*/ 313761 w 1055399"/>
                <a:gd name="connsiteY517" fmla="*/ 179804 h 949444"/>
                <a:gd name="connsiteX518" fmla="*/ 312179 w 1055399"/>
                <a:gd name="connsiteY518" fmla="*/ 183134 h 949444"/>
                <a:gd name="connsiteX519" fmla="*/ 308409 w 1055399"/>
                <a:gd name="connsiteY519" fmla="*/ 184715 h 949444"/>
                <a:gd name="connsiteX520" fmla="*/ 306390 w 1055399"/>
                <a:gd name="connsiteY520" fmla="*/ 189627 h 949444"/>
                <a:gd name="connsiteX521" fmla="*/ 306087 w 1055399"/>
                <a:gd name="connsiteY521" fmla="*/ 193832 h 949444"/>
                <a:gd name="connsiteX522" fmla="*/ 306087 w 1055399"/>
                <a:gd name="connsiteY522" fmla="*/ 196994 h 949444"/>
                <a:gd name="connsiteX523" fmla="*/ 304337 w 1055399"/>
                <a:gd name="connsiteY523" fmla="*/ 200459 h 949444"/>
                <a:gd name="connsiteX524" fmla="*/ 301308 w 1055399"/>
                <a:gd name="connsiteY524" fmla="*/ 204226 h 949444"/>
                <a:gd name="connsiteX525" fmla="*/ 297977 w 1055399"/>
                <a:gd name="connsiteY525" fmla="*/ 204798 h 949444"/>
                <a:gd name="connsiteX526" fmla="*/ 293198 w 1055399"/>
                <a:gd name="connsiteY526" fmla="*/ 204798 h 949444"/>
                <a:gd name="connsiteX527" fmla="*/ 288856 w 1055399"/>
                <a:gd name="connsiteY527" fmla="*/ 202780 h 949444"/>
                <a:gd name="connsiteX528" fmla="*/ 286669 w 1055399"/>
                <a:gd name="connsiteY528" fmla="*/ 200324 h 949444"/>
                <a:gd name="connsiteX529" fmla="*/ 287409 w 1055399"/>
                <a:gd name="connsiteY529" fmla="*/ 198743 h 949444"/>
                <a:gd name="connsiteX530" fmla="*/ 291178 w 1055399"/>
                <a:gd name="connsiteY530" fmla="*/ 196725 h 949444"/>
                <a:gd name="connsiteX531" fmla="*/ 293770 w 1055399"/>
                <a:gd name="connsiteY531" fmla="*/ 193966 h 949444"/>
                <a:gd name="connsiteX532" fmla="*/ 296227 w 1055399"/>
                <a:gd name="connsiteY532" fmla="*/ 190939 h 949444"/>
                <a:gd name="connsiteX533" fmla="*/ 297977 w 1055399"/>
                <a:gd name="connsiteY533" fmla="*/ 188752 h 949444"/>
                <a:gd name="connsiteX534" fmla="*/ 299424 w 1055399"/>
                <a:gd name="connsiteY534" fmla="*/ 185724 h 949444"/>
                <a:gd name="connsiteX535" fmla="*/ 299424 w 1055399"/>
                <a:gd name="connsiteY535" fmla="*/ 183706 h 949444"/>
                <a:gd name="connsiteX536" fmla="*/ 298852 w 1055399"/>
                <a:gd name="connsiteY536" fmla="*/ 180376 h 949444"/>
                <a:gd name="connsiteX537" fmla="*/ 294948 w 1055399"/>
                <a:gd name="connsiteY537" fmla="*/ 174590 h 949444"/>
                <a:gd name="connsiteX538" fmla="*/ 293803 w 1055399"/>
                <a:gd name="connsiteY538" fmla="*/ 170822 h 949444"/>
                <a:gd name="connsiteX539" fmla="*/ 291212 w 1055399"/>
                <a:gd name="connsiteY539" fmla="*/ 167357 h 949444"/>
                <a:gd name="connsiteX540" fmla="*/ 288183 w 1055399"/>
                <a:gd name="connsiteY540" fmla="*/ 167223 h 949444"/>
                <a:gd name="connsiteX541" fmla="*/ 286736 w 1055399"/>
                <a:gd name="connsiteY541" fmla="*/ 168232 h 949444"/>
                <a:gd name="connsiteX542" fmla="*/ 283707 w 1055399"/>
                <a:gd name="connsiteY542" fmla="*/ 169241 h 949444"/>
                <a:gd name="connsiteX543" fmla="*/ 282967 w 1055399"/>
                <a:gd name="connsiteY543" fmla="*/ 169375 h 949444"/>
                <a:gd name="connsiteX544" fmla="*/ 277178 w 1055399"/>
                <a:gd name="connsiteY544" fmla="*/ 167492 h 949444"/>
                <a:gd name="connsiteX545" fmla="*/ 275159 w 1055399"/>
                <a:gd name="connsiteY545" fmla="*/ 165743 h 949444"/>
                <a:gd name="connsiteX546" fmla="*/ 272702 w 1055399"/>
                <a:gd name="connsiteY546" fmla="*/ 167626 h 949444"/>
                <a:gd name="connsiteX547" fmla="*/ 270817 w 1055399"/>
                <a:gd name="connsiteY547" fmla="*/ 171259 h 949444"/>
                <a:gd name="connsiteX548" fmla="*/ 269640 w 1055399"/>
                <a:gd name="connsiteY548" fmla="*/ 172706 h 949444"/>
                <a:gd name="connsiteX549" fmla="*/ 269640 w 1055399"/>
                <a:gd name="connsiteY549" fmla="*/ 174455 h 949444"/>
                <a:gd name="connsiteX550" fmla="*/ 268495 w 1055399"/>
                <a:gd name="connsiteY550" fmla="*/ 177920 h 949444"/>
                <a:gd name="connsiteX551" fmla="*/ 265904 w 1055399"/>
                <a:gd name="connsiteY551" fmla="*/ 178929 h 949444"/>
                <a:gd name="connsiteX552" fmla="*/ 262269 w 1055399"/>
                <a:gd name="connsiteY552" fmla="*/ 177785 h 949444"/>
                <a:gd name="connsiteX553" fmla="*/ 260519 w 1055399"/>
                <a:gd name="connsiteY553" fmla="*/ 176474 h 949444"/>
                <a:gd name="connsiteX554" fmla="*/ 258062 w 1055399"/>
                <a:gd name="connsiteY554" fmla="*/ 173009 h 949444"/>
                <a:gd name="connsiteX555" fmla="*/ 258062 w 1055399"/>
                <a:gd name="connsiteY555" fmla="*/ 170687 h 949444"/>
                <a:gd name="connsiteX556" fmla="*/ 259072 w 1055399"/>
                <a:gd name="connsiteY556" fmla="*/ 166651 h 949444"/>
                <a:gd name="connsiteX557" fmla="*/ 260654 w 1055399"/>
                <a:gd name="connsiteY557" fmla="*/ 163186 h 949444"/>
                <a:gd name="connsiteX558" fmla="*/ 260788 w 1055399"/>
                <a:gd name="connsiteY558" fmla="*/ 156391 h 949444"/>
                <a:gd name="connsiteX559" fmla="*/ 258904 w 1055399"/>
                <a:gd name="connsiteY559" fmla="*/ 153330 h 949444"/>
                <a:gd name="connsiteX560" fmla="*/ 253115 w 1055399"/>
                <a:gd name="connsiteY560" fmla="*/ 148990 h 949444"/>
                <a:gd name="connsiteX561" fmla="*/ 253687 w 1055399"/>
                <a:gd name="connsiteY561" fmla="*/ 146400 h 949444"/>
                <a:gd name="connsiteX562" fmla="*/ 256884 w 1055399"/>
                <a:gd name="connsiteY562" fmla="*/ 143204 h 949444"/>
                <a:gd name="connsiteX563" fmla="*/ 255303 w 1055399"/>
                <a:gd name="connsiteY563" fmla="*/ 142026 h 949444"/>
                <a:gd name="connsiteX564" fmla="*/ 252543 w 1055399"/>
                <a:gd name="connsiteY564" fmla="*/ 142464 h 949444"/>
                <a:gd name="connsiteX565" fmla="*/ 249514 w 1055399"/>
                <a:gd name="connsiteY565" fmla="*/ 143776 h 949444"/>
                <a:gd name="connsiteX566" fmla="*/ 247932 w 1055399"/>
                <a:gd name="connsiteY566" fmla="*/ 146669 h 949444"/>
                <a:gd name="connsiteX567" fmla="*/ 246788 w 1055399"/>
                <a:gd name="connsiteY567" fmla="*/ 148553 h 949444"/>
                <a:gd name="connsiteX568" fmla="*/ 245475 w 1055399"/>
                <a:gd name="connsiteY568" fmla="*/ 150302 h 949444"/>
                <a:gd name="connsiteX569" fmla="*/ 242716 w 1055399"/>
                <a:gd name="connsiteY569" fmla="*/ 150167 h 949444"/>
                <a:gd name="connsiteX570" fmla="*/ 237499 w 1055399"/>
                <a:gd name="connsiteY570" fmla="*/ 150739 h 949444"/>
                <a:gd name="connsiteX571" fmla="*/ 235749 w 1055399"/>
                <a:gd name="connsiteY571" fmla="*/ 151883 h 949444"/>
                <a:gd name="connsiteX572" fmla="*/ 234874 w 1055399"/>
                <a:gd name="connsiteY572" fmla="*/ 156222 h 949444"/>
                <a:gd name="connsiteX573" fmla="*/ 234874 w 1055399"/>
                <a:gd name="connsiteY573" fmla="*/ 160562 h 949444"/>
                <a:gd name="connsiteX574" fmla="*/ 234874 w 1055399"/>
                <a:gd name="connsiteY574" fmla="*/ 164902 h 949444"/>
                <a:gd name="connsiteX575" fmla="*/ 235615 w 1055399"/>
                <a:gd name="connsiteY575" fmla="*/ 166920 h 949444"/>
                <a:gd name="connsiteX576" fmla="*/ 235480 w 1055399"/>
                <a:gd name="connsiteY576" fmla="*/ 168064 h 949444"/>
                <a:gd name="connsiteX577" fmla="*/ 235177 w 1055399"/>
                <a:gd name="connsiteY577" fmla="*/ 169073 h 949444"/>
                <a:gd name="connsiteX578" fmla="*/ 233158 w 1055399"/>
                <a:gd name="connsiteY578" fmla="*/ 168636 h 949444"/>
                <a:gd name="connsiteX579" fmla="*/ 231845 w 1055399"/>
                <a:gd name="connsiteY579" fmla="*/ 168266 h 949444"/>
                <a:gd name="connsiteX580" fmla="*/ 230600 w 1055399"/>
                <a:gd name="connsiteY580" fmla="*/ 169510 h 949444"/>
                <a:gd name="connsiteX581" fmla="*/ 230163 w 1055399"/>
                <a:gd name="connsiteY581" fmla="*/ 170822 h 949444"/>
                <a:gd name="connsiteX582" fmla="*/ 229658 w 1055399"/>
                <a:gd name="connsiteY582" fmla="*/ 171461 h 949444"/>
                <a:gd name="connsiteX583" fmla="*/ 227134 w 1055399"/>
                <a:gd name="connsiteY583" fmla="*/ 171461 h 949444"/>
                <a:gd name="connsiteX584" fmla="*/ 225889 w 1055399"/>
                <a:gd name="connsiteY584" fmla="*/ 170385 h 949444"/>
                <a:gd name="connsiteX585" fmla="*/ 224239 w 1055399"/>
                <a:gd name="connsiteY585" fmla="*/ 168871 h 949444"/>
                <a:gd name="connsiteX586" fmla="*/ 222860 w 1055399"/>
                <a:gd name="connsiteY586" fmla="*/ 166752 h 949444"/>
                <a:gd name="connsiteX587" fmla="*/ 221985 w 1055399"/>
                <a:gd name="connsiteY587" fmla="*/ 165877 h 949444"/>
                <a:gd name="connsiteX588" fmla="*/ 221177 w 1055399"/>
                <a:gd name="connsiteY588" fmla="*/ 163993 h 949444"/>
                <a:gd name="connsiteX589" fmla="*/ 221177 w 1055399"/>
                <a:gd name="connsiteY589" fmla="*/ 161672 h 949444"/>
                <a:gd name="connsiteX590" fmla="*/ 220167 w 1055399"/>
                <a:gd name="connsiteY590" fmla="*/ 160865 h 949444"/>
                <a:gd name="connsiteX591" fmla="*/ 217710 w 1055399"/>
                <a:gd name="connsiteY591" fmla="*/ 158981 h 949444"/>
                <a:gd name="connsiteX592" fmla="*/ 216331 w 1055399"/>
                <a:gd name="connsiteY592" fmla="*/ 158779 h 949444"/>
                <a:gd name="connsiteX593" fmla="*/ 215186 w 1055399"/>
                <a:gd name="connsiteY593" fmla="*/ 159721 h 949444"/>
                <a:gd name="connsiteX594" fmla="*/ 214244 w 1055399"/>
                <a:gd name="connsiteY594" fmla="*/ 161538 h 949444"/>
                <a:gd name="connsiteX595" fmla="*/ 213302 w 1055399"/>
                <a:gd name="connsiteY595" fmla="*/ 163421 h 949444"/>
                <a:gd name="connsiteX596" fmla="*/ 211787 w 1055399"/>
                <a:gd name="connsiteY596" fmla="*/ 165877 h 949444"/>
                <a:gd name="connsiteX597" fmla="*/ 210037 w 1055399"/>
                <a:gd name="connsiteY597" fmla="*/ 165877 h 949444"/>
                <a:gd name="connsiteX598" fmla="*/ 207513 w 1055399"/>
                <a:gd name="connsiteY598" fmla="*/ 163354 h 949444"/>
                <a:gd name="connsiteX599" fmla="*/ 204383 w 1055399"/>
                <a:gd name="connsiteY599" fmla="*/ 161470 h 949444"/>
                <a:gd name="connsiteX600" fmla="*/ 201354 w 1055399"/>
                <a:gd name="connsiteY600" fmla="*/ 160091 h 949444"/>
                <a:gd name="connsiteX601" fmla="*/ 198090 w 1055399"/>
                <a:gd name="connsiteY601" fmla="*/ 158005 h 949444"/>
                <a:gd name="connsiteX602" fmla="*/ 194758 w 1055399"/>
                <a:gd name="connsiteY602" fmla="*/ 154675 h 949444"/>
                <a:gd name="connsiteX603" fmla="*/ 192873 w 1055399"/>
                <a:gd name="connsiteY603" fmla="*/ 151648 h 949444"/>
                <a:gd name="connsiteX604" fmla="*/ 191628 w 1055399"/>
                <a:gd name="connsiteY604" fmla="*/ 149629 h 949444"/>
                <a:gd name="connsiteX605" fmla="*/ 191628 w 1055399"/>
                <a:gd name="connsiteY605" fmla="*/ 148115 h 949444"/>
                <a:gd name="connsiteX606" fmla="*/ 191561 w 1055399"/>
                <a:gd name="connsiteY606" fmla="*/ 145794 h 949444"/>
                <a:gd name="connsiteX607" fmla="*/ 189609 w 1055399"/>
                <a:gd name="connsiteY607" fmla="*/ 144280 h 949444"/>
                <a:gd name="connsiteX608" fmla="*/ 186412 w 1055399"/>
                <a:gd name="connsiteY608" fmla="*/ 142094 h 949444"/>
                <a:gd name="connsiteX609" fmla="*/ 182340 w 1055399"/>
                <a:gd name="connsiteY609" fmla="*/ 136140 h 949444"/>
                <a:gd name="connsiteX610" fmla="*/ 181397 w 1055399"/>
                <a:gd name="connsiteY610" fmla="*/ 130993 h 949444"/>
                <a:gd name="connsiteX611" fmla="*/ 175306 w 1055399"/>
                <a:gd name="connsiteY611" fmla="*/ 124702 h 949444"/>
                <a:gd name="connsiteX612" fmla="*/ 171402 w 1055399"/>
                <a:gd name="connsiteY612" fmla="*/ 121002 h 949444"/>
                <a:gd name="connsiteX613" fmla="*/ 164233 w 1055399"/>
                <a:gd name="connsiteY613" fmla="*/ 117974 h 949444"/>
                <a:gd name="connsiteX614" fmla="*/ 159892 w 1055399"/>
                <a:gd name="connsiteY614" fmla="*/ 116898 h 949444"/>
                <a:gd name="connsiteX615" fmla="*/ 157267 w 1055399"/>
                <a:gd name="connsiteY615" fmla="*/ 115148 h 949444"/>
                <a:gd name="connsiteX616" fmla="*/ 153565 w 1055399"/>
                <a:gd name="connsiteY616" fmla="*/ 113197 h 949444"/>
                <a:gd name="connsiteX617" fmla="*/ 151613 w 1055399"/>
                <a:gd name="connsiteY617" fmla="*/ 111246 h 949444"/>
                <a:gd name="connsiteX618" fmla="*/ 148988 w 1055399"/>
                <a:gd name="connsiteY618" fmla="*/ 109497 h 949444"/>
                <a:gd name="connsiteX619" fmla="*/ 145286 w 1055399"/>
                <a:gd name="connsiteY619" fmla="*/ 107748 h 949444"/>
                <a:gd name="connsiteX620" fmla="*/ 145286 w 1055399"/>
                <a:gd name="connsiteY620" fmla="*/ 104720 h 949444"/>
                <a:gd name="connsiteX621" fmla="*/ 146161 w 1055399"/>
                <a:gd name="connsiteY621" fmla="*/ 102971 h 949444"/>
                <a:gd name="connsiteX622" fmla="*/ 143771 w 1055399"/>
                <a:gd name="connsiteY622" fmla="*/ 98631 h 949444"/>
                <a:gd name="connsiteX623" fmla="*/ 140507 w 1055399"/>
                <a:gd name="connsiteY623" fmla="*/ 96243 h 949444"/>
                <a:gd name="connsiteX624" fmla="*/ 137478 w 1055399"/>
                <a:gd name="connsiteY624" fmla="*/ 89852 h 949444"/>
                <a:gd name="connsiteX625" fmla="*/ 138555 w 1055399"/>
                <a:gd name="connsiteY625" fmla="*/ 82787 h 949444"/>
                <a:gd name="connsiteX626" fmla="*/ 139867 w 1055399"/>
                <a:gd name="connsiteY626" fmla="*/ 74545 h 949444"/>
                <a:gd name="connsiteX627" fmla="*/ 137478 w 1055399"/>
                <a:gd name="connsiteY627" fmla="*/ 66506 h 949444"/>
                <a:gd name="connsiteX628" fmla="*/ 132463 w 1055399"/>
                <a:gd name="connsiteY628" fmla="*/ 61291 h 949444"/>
                <a:gd name="connsiteX629" fmla="*/ 129838 w 1055399"/>
                <a:gd name="connsiteY629" fmla="*/ 54765 h 949444"/>
                <a:gd name="connsiteX630" fmla="*/ 127449 w 1055399"/>
                <a:gd name="connsiteY630" fmla="*/ 51502 h 949444"/>
                <a:gd name="connsiteX631" fmla="*/ 126372 w 1055399"/>
                <a:gd name="connsiteY631" fmla="*/ 47163 h 949444"/>
                <a:gd name="connsiteX632" fmla="*/ 129401 w 1055399"/>
                <a:gd name="connsiteY632" fmla="*/ 44774 h 949444"/>
                <a:gd name="connsiteX633" fmla="*/ 130713 w 1055399"/>
                <a:gd name="connsiteY633" fmla="*/ 42184 h 949444"/>
                <a:gd name="connsiteX634" fmla="*/ 128526 w 1055399"/>
                <a:gd name="connsiteY634" fmla="*/ 38921 h 949444"/>
                <a:gd name="connsiteX635" fmla="*/ 126338 w 1055399"/>
                <a:gd name="connsiteY635" fmla="*/ 33270 h 949444"/>
                <a:gd name="connsiteX636" fmla="*/ 121761 w 1055399"/>
                <a:gd name="connsiteY636" fmla="*/ 28829 h 949444"/>
                <a:gd name="connsiteX637" fmla="*/ 118295 w 1055399"/>
                <a:gd name="connsiteY637" fmla="*/ 25903 h 949444"/>
                <a:gd name="connsiteX638" fmla="*/ 113953 w 1055399"/>
                <a:gd name="connsiteY638" fmla="*/ 25903 h 949444"/>
                <a:gd name="connsiteX639" fmla="*/ 110924 w 1055399"/>
                <a:gd name="connsiteY639" fmla="*/ 23581 h 949444"/>
                <a:gd name="connsiteX640" fmla="*/ 109343 w 1055399"/>
                <a:gd name="connsiteY640" fmla="*/ 22707 h 949444"/>
                <a:gd name="connsiteX641" fmla="*/ 108602 w 1055399"/>
                <a:gd name="connsiteY641" fmla="*/ 20083 h 949444"/>
                <a:gd name="connsiteX642" fmla="*/ 107727 w 1055399"/>
                <a:gd name="connsiteY642" fmla="*/ 17896 h 949444"/>
                <a:gd name="connsiteX643" fmla="*/ 104463 w 1055399"/>
                <a:gd name="connsiteY643" fmla="*/ 17896 h 949444"/>
                <a:gd name="connsiteX644" fmla="*/ 99179 w 1055399"/>
                <a:gd name="connsiteY644" fmla="*/ 17896 h 949444"/>
                <a:gd name="connsiteX645" fmla="*/ 99179 w 1055399"/>
                <a:gd name="connsiteY645" fmla="*/ 14566 h 949444"/>
                <a:gd name="connsiteX646" fmla="*/ 99179 w 1055399"/>
                <a:gd name="connsiteY646" fmla="*/ 11101 h 949444"/>
                <a:gd name="connsiteX647" fmla="*/ 96722 w 1055399"/>
                <a:gd name="connsiteY647" fmla="*/ 9520 h 949444"/>
                <a:gd name="connsiteX648" fmla="*/ 94972 w 1055399"/>
                <a:gd name="connsiteY648" fmla="*/ 7199 h 949444"/>
                <a:gd name="connsiteX649" fmla="*/ 90631 w 1055399"/>
                <a:gd name="connsiteY649" fmla="*/ 6459 h 949444"/>
                <a:gd name="connsiteX650" fmla="*/ 88309 w 1055399"/>
                <a:gd name="connsiteY650" fmla="*/ 6627 h 949444"/>
                <a:gd name="connsiteX651" fmla="*/ 85549 w 1055399"/>
                <a:gd name="connsiteY651" fmla="*/ 6728 h 949444"/>
                <a:gd name="connsiteX652" fmla="*/ 79188 w 1055399"/>
                <a:gd name="connsiteY652" fmla="*/ 6728 h 949444"/>
                <a:gd name="connsiteX653" fmla="*/ 74409 w 1055399"/>
                <a:gd name="connsiteY653" fmla="*/ 7603 h 949444"/>
                <a:gd name="connsiteX654" fmla="*/ 72222 w 1055399"/>
                <a:gd name="connsiteY654" fmla="*/ 9352 h 949444"/>
                <a:gd name="connsiteX655" fmla="*/ 68318 w 1055399"/>
                <a:gd name="connsiteY655" fmla="*/ 10529 h 949444"/>
                <a:gd name="connsiteX656" fmla="*/ 63976 w 1055399"/>
                <a:gd name="connsiteY656" fmla="*/ 12110 h 949444"/>
                <a:gd name="connsiteX657" fmla="*/ 62226 w 1055399"/>
                <a:gd name="connsiteY657" fmla="*/ 13691 h 949444"/>
                <a:gd name="connsiteX658" fmla="*/ 59197 w 1055399"/>
                <a:gd name="connsiteY658" fmla="*/ 14129 h 949444"/>
                <a:gd name="connsiteX659" fmla="*/ 54553 w 1055399"/>
                <a:gd name="connsiteY659" fmla="*/ 11673 h 949444"/>
                <a:gd name="connsiteX660" fmla="*/ 54553 w 1055399"/>
                <a:gd name="connsiteY660" fmla="*/ 9486 h 949444"/>
                <a:gd name="connsiteX661" fmla="*/ 56741 w 1055399"/>
                <a:gd name="connsiteY661" fmla="*/ 6459 h 949444"/>
                <a:gd name="connsiteX662" fmla="*/ 56875 w 1055399"/>
                <a:gd name="connsiteY662" fmla="*/ 3263 h 949444"/>
                <a:gd name="connsiteX663" fmla="*/ 54553 w 1055399"/>
                <a:gd name="connsiteY663" fmla="*/ 807 h 949444"/>
                <a:gd name="connsiteX664" fmla="*/ 53106 w 1055399"/>
                <a:gd name="connsiteY664" fmla="*/ 67 h 949444"/>
                <a:gd name="connsiteX665" fmla="*/ 49034 w 1055399"/>
                <a:gd name="connsiteY665" fmla="*/ 67 h 949444"/>
                <a:gd name="connsiteX666" fmla="*/ 42976 w 1055399"/>
                <a:gd name="connsiteY666" fmla="*/ 0 h 949444"/>
                <a:gd name="connsiteX667" fmla="*/ 40048 w 1055399"/>
                <a:gd name="connsiteY667" fmla="*/ 2388 h 949444"/>
                <a:gd name="connsiteX668" fmla="*/ 40048 w 1055399"/>
                <a:gd name="connsiteY668" fmla="*/ 4138 h 949444"/>
                <a:gd name="connsiteX669" fmla="*/ 40048 w 1055399"/>
                <a:gd name="connsiteY669" fmla="*/ 5887 h 949444"/>
                <a:gd name="connsiteX670" fmla="*/ 40048 w 1055399"/>
                <a:gd name="connsiteY670" fmla="*/ 7636 h 949444"/>
                <a:gd name="connsiteX671" fmla="*/ 38971 w 1055399"/>
                <a:gd name="connsiteY671" fmla="*/ 9587 h 949444"/>
                <a:gd name="connsiteX672" fmla="*/ 36144 w 1055399"/>
                <a:gd name="connsiteY672" fmla="*/ 10126 h 949444"/>
                <a:gd name="connsiteX673" fmla="*/ 27899 w 1055399"/>
                <a:gd name="connsiteY673" fmla="*/ 10226 h 949444"/>
                <a:gd name="connsiteX674" fmla="*/ 23557 w 1055399"/>
                <a:gd name="connsiteY674" fmla="*/ 10226 h 949444"/>
                <a:gd name="connsiteX675" fmla="*/ 20966 w 1055399"/>
                <a:gd name="connsiteY675" fmla="*/ 9789 h 949444"/>
                <a:gd name="connsiteX676" fmla="*/ 17499 w 1055399"/>
                <a:gd name="connsiteY676" fmla="*/ 10428 h 949444"/>
                <a:gd name="connsiteX677" fmla="*/ 14033 w 1055399"/>
                <a:gd name="connsiteY677" fmla="*/ 12615 h 949444"/>
                <a:gd name="connsiteX678" fmla="*/ 14033 w 1055399"/>
                <a:gd name="connsiteY678" fmla="*/ 12817 h 949444"/>
                <a:gd name="connsiteX679" fmla="*/ 15110 w 1055399"/>
                <a:gd name="connsiteY679" fmla="*/ 16282 h 949444"/>
                <a:gd name="connsiteX680" fmla="*/ 15312 w 1055399"/>
                <a:gd name="connsiteY680" fmla="*/ 17358 h 949444"/>
                <a:gd name="connsiteX681" fmla="*/ 17499 w 1055399"/>
                <a:gd name="connsiteY681" fmla="*/ 22370 h 949444"/>
                <a:gd name="connsiteX682" fmla="*/ 17499 w 1055399"/>
                <a:gd name="connsiteY682" fmla="*/ 24994 h 949444"/>
                <a:gd name="connsiteX683" fmla="*/ 18374 w 1055399"/>
                <a:gd name="connsiteY683" fmla="*/ 27383 h 949444"/>
                <a:gd name="connsiteX684" fmla="*/ 18172 w 1055399"/>
                <a:gd name="connsiteY684" fmla="*/ 30646 h 949444"/>
                <a:gd name="connsiteX685" fmla="*/ 17735 w 1055399"/>
                <a:gd name="connsiteY685" fmla="*/ 34346 h 949444"/>
                <a:gd name="connsiteX686" fmla="*/ 16220 w 1055399"/>
                <a:gd name="connsiteY686" fmla="*/ 37374 h 949444"/>
                <a:gd name="connsiteX687" fmla="*/ 14033 w 1055399"/>
                <a:gd name="connsiteY687" fmla="*/ 39762 h 949444"/>
                <a:gd name="connsiteX688" fmla="*/ 14033 w 1055399"/>
                <a:gd name="connsiteY688" fmla="*/ 42352 h 949444"/>
                <a:gd name="connsiteX689" fmla="*/ 15547 w 1055399"/>
                <a:gd name="connsiteY689" fmla="*/ 43664 h 949444"/>
                <a:gd name="connsiteX690" fmla="*/ 22076 w 1055399"/>
                <a:gd name="connsiteY690" fmla="*/ 47802 h 949444"/>
                <a:gd name="connsiteX691" fmla="*/ 21437 w 1055399"/>
                <a:gd name="connsiteY691" fmla="*/ 51502 h 949444"/>
                <a:gd name="connsiteX692" fmla="*/ 20999 w 1055399"/>
                <a:gd name="connsiteY692" fmla="*/ 55203 h 949444"/>
                <a:gd name="connsiteX693" fmla="*/ 21437 w 1055399"/>
                <a:gd name="connsiteY693" fmla="*/ 57793 h 949444"/>
                <a:gd name="connsiteX694" fmla="*/ 30557 w 1055399"/>
                <a:gd name="connsiteY694" fmla="*/ 58432 h 949444"/>
                <a:gd name="connsiteX695" fmla="*/ 35134 w 1055399"/>
                <a:gd name="connsiteY695" fmla="*/ 58230 h 949444"/>
                <a:gd name="connsiteX696" fmla="*/ 40586 w 1055399"/>
                <a:gd name="connsiteY696" fmla="*/ 57793 h 949444"/>
                <a:gd name="connsiteX697" fmla="*/ 42538 w 1055399"/>
                <a:gd name="connsiteY697" fmla="*/ 60181 h 949444"/>
                <a:gd name="connsiteX698" fmla="*/ 43851 w 1055399"/>
                <a:gd name="connsiteY698" fmla="*/ 61493 h 949444"/>
                <a:gd name="connsiteX699" fmla="*/ 42774 w 1055399"/>
                <a:gd name="connsiteY699" fmla="*/ 64958 h 949444"/>
                <a:gd name="connsiteX700" fmla="*/ 41461 w 1055399"/>
                <a:gd name="connsiteY700" fmla="*/ 66035 h 949444"/>
                <a:gd name="connsiteX701" fmla="*/ 37557 w 1055399"/>
                <a:gd name="connsiteY701" fmla="*/ 72325 h 949444"/>
                <a:gd name="connsiteX702" fmla="*/ 30389 w 1055399"/>
                <a:gd name="connsiteY702" fmla="*/ 78414 h 949444"/>
                <a:gd name="connsiteX703" fmla="*/ 24533 w 1055399"/>
                <a:gd name="connsiteY703" fmla="*/ 86891 h 949444"/>
                <a:gd name="connsiteX704" fmla="*/ 18004 w 1055399"/>
                <a:gd name="connsiteY704" fmla="*/ 91029 h 949444"/>
                <a:gd name="connsiteX705" fmla="*/ 15817 w 1055399"/>
                <a:gd name="connsiteY705" fmla="*/ 94931 h 949444"/>
                <a:gd name="connsiteX706" fmla="*/ 16389 w 1055399"/>
                <a:gd name="connsiteY706" fmla="*/ 97118 h 949444"/>
                <a:gd name="connsiteX707" fmla="*/ 16961 w 1055399"/>
                <a:gd name="connsiteY707" fmla="*/ 99304 h 949444"/>
                <a:gd name="connsiteX708" fmla="*/ 19485 w 1055399"/>
                <a:gd name="connsiteY708" fmla="*/ 101121 h 949444"/>
                <a:gd name="connsiteX709" fmla="*/ 19552 w 1055399"/>
                <a:gd name="connsiteY709" fmla="*/ 102567 h 949444"/>
                <a:gd name="connsiteX710" fmla="*/ 19418 w 1055399"/>
                <a:gd name="connsiteY710" fmla="*/ 104687 h 949444"/>
                <a:gd name="connsiteX711" fmla="*/ 18273 w 1055399"/>
                <a:gd name="connsiteY711" fmla="*/ 107445 h 949444"/>
                <a:gd name="connsiteX712" fmla="*/ 17196 w 1055399"/>
                <a:gd name="connsiteY712" fmla="*/ 109026 h 949444"/>
                <a:gd name="connsiteX713" fmla="*/ 15312 w 1055399"/>
                <a:gd name="connsiteY713" fmla="*/ 110473 h 949444"/>
                <a:gd name="connsiteX714" fmla="*/ 12619 w 1055399"/>
                <a:gd name="connsiteY714" fmla="*/ 111179 h 949444"/>
                <a:gd name="connsiteX715" fmla="*/ 9489 w 1055399"/>
                <a:gd name="connsiteY715" fmla="*/ 111314 h 949444"/>
                <a:gd name="connsiteX716" fmla="*/ 6023 w 1055399"/>
                <a:gd name="connsiteY716" fmla="*/ 111314 h 949444"/>
                <a:gd name="connsiteX717" fmla="*/ 3331 w 1055399"/>
                <a:gd name="connsiteY717" fmla="*/ 111953 h 949444"/>
                <a:gd name="connsiteX718" fmla="*/ 1513 w 1055399"/>
                <a:gd name="connsiteY718" fmla="*/ 113904 h 949444"/>
                <a:gd name="connsiteX719" fmla="*/ 436 w 1055399"/>
                <a:gd name="connsiteY719" fmla="*/ 115418 h 949444"/>
                <a:gd name="connsiteX720" fmla="*/ 66 w 1055399"/>
                <a:gd name="connsiteY720" fmla="*/ 116931 h 949444"/>
                <a:gd name="connsiteX721" fmla="*/ 1143 w 1055399"/>
                <a:gd name="connsiteY721" fmla="*/ 119757 h 949444"/>
                <a:gd name="connsiteX722" fmla="*/ 2960 w 1055399"/>
                <a:gd name="connsiteY722" fmla="*/ 123155 h 949444"/>
                <a:gd name="connsiteX723" fmla="*/ 4273 w 1055399"/>
                <a:gd name="connsiteY723" fmla="*/ 124736 h 949444"/>
                <a:gd name="connsiteX724" fmla="*/ 3634 w 1055399"/>
                <a:gd name="connsiteY724" fmla="*/ 127057 h 949444"/>
                <a:gd name="connsiteX725" fmla="*/ 2826 w 1055399"/>
                <a:gd name="connsiteY725" fmla="*/ 129143 h 949444"/>
                <a:gd name="connsiteX726" fmla="*/ 1816 w 1055399"/>
                <a:gd name="connsiteY726" fmla="*/ 131161 h 949444"/>
                <a:gd name="connsiteX727" fmla="*/ 2018 w 1055399"/>
                <a:gd name="connsiteY727" fmla="*/ 133045 h 949444"/>
                <a:gd name="connsiteX728" fmla="*/ 3095 w 1055399"/>
                <a:gd name="connsiteY728" fmla="*/ 135299 h 949444"/>
                <a:gd name="connsiteX729" fmla="*/ 4845 w 1055399"/>
                <a:gd name="connsiteY729" fmla="*/ 137384 h 949444"/>
                <a:gd name="connsiteX730" fmla="*/ 9927 w 1055399"/>
                <a:gd name="connsiteY730" fmla="*/ 141791 h 949444"/>
                <a:gd name="connsiteX731" fmla="*/ 12014 w 1055399"/>
                <a:gd name="connsiteY731" fmla="*/ 143540 h 949444"/>
                <a:gd name="connsiteX732" fmla="*/ 15413 w 1055399"/>
                <a:gd name="connsiteY732" fmla="*/ 146736 h 949444"/>
                <a:gd name="connsiteX733" fmla="*/ 20562 w 1055399"/>
                <a:gd name="connsiteY733" fmla="*/ 151479 h 949444"/>
                <a:gd name="connsiteX734" fmla="*/ 25240 w 1055399"/>
                <a:gd name="connsiteY734" fmla="*/ 156592 h 949444"/>
                <a:gd name="connsiteX735" fmla="*/ 30355 w 1055399"/>
                <a:gd name="connsiteY735" fmla="*/ 161033 h 949444"/>
                <a:gd name="connsiteX736" fmla="*/ 34495 w 1055399"/>
                <a:gd name="connsiteY736" fmla="*/ 165810 h 949444"/>
                <a:gd name="connsiteX737" fmla="*/ 39812 w 1055399"/>
                <a:gd name="connsiteY737" fmla="*/ 169073 h 949444"/>
                <a:gd name="connsiteX738" fmla="*/ 44490 w 1055399"/>
                <a:gd name="connsiteY738" fmla="*/ 171898 h 949444"/>
                <a:gd name="connsiteX739" fmla="*/ 47856 w 1055399"/>
                <a:gd name="connsiteY739" fmla="*/ 173648 h 949444"/>
                <a:gd name="connsiteX740" fmla="*/ 48495 w 1055399"/>
                <a:gd name="connsiteY740" fmla="*/ 174522 h 949444"/>
                <a:gd name="connsiteX741" fmla="*/ 50111 w 1055399"/>
                <a:gd name="connsiteY741" fmla="*/ 177113 h 949444"/>
                <a:gd name="connsiteX742" fmla="*/ 54789 w 1055399"/>
                <a:gd name="connsiteY742" fmla="*/ 177214 h 949444"/>
                <a:gd name="connsiteX743" fmla="*/ 60644 w 1055399"/>
                <a:gd name="connsiteY743" fmla="*/ 178526 h 949444"/>
                <a:gd name="connsiteX744" fmla="*/ 61856 w 1055399"/>
                <a:gd name="connsiteY744" fmla="*/ 179938 h 949444"/>
                <a:gd name="connsiteX745" fmla="*/ 66534 w 1055399"/>
                <a:gd name="connsiteY745" fmla="*/ 183639 h 949444"/>
                <a:gd name="connsiteX746" fmla="*/ 69799 w 1055399"/>
                <a:gd name="connsiteY746" fmla="*/ 187238 h 949444"/>
                <a:gd name="connsiteX747" fmla="*/ 72390 w 1055399"/>
                <a:gd name="connsiteY747" fmla="*/ 189088 h 949444"/>
                <a:gd name="connsiteX748" fmla="*/ 72827 w 1055399"/>
                <a:gd name="connsiteY748" fmla="*/ 195715 h 949444"/>
                <a:gd name="connsiteX749" fmla="*/ 73265 w 1055399"/>
                <a:gd name="connsiteY749" fmla="*/ 200929 h 949444"/>
                <a:gd name="connsiteX750" fmla="*/ 74140 w 1055399"/>
                <a:gd name="connsiteY750" fmla="*/ 206816 h 949444"/>
                <a:gd name="connsiteX751" fmla="*/ 77068 w 1055399"/>
                <a:gd name="connsiteY751" fmla="*/ 211694 h 949444"/>
                <a:gd name="connsiteX752" fmla="*/ 77943 w 1055399"/>
                <a:gd name="connsiteY752" fmla="*/ 217144 h 949444"/>
                <a:gd name="connsiteX753" fmla="*/ 79794 w 1055399"/>
                <a:gd name="connsiteY753" fmla="*/ 220945 h 949444"/>
                <a:gd name="connsiteX754" fmla="*/ 85111 w 1055399"/>
                <a:gd name="connsiteY754" fmla="*/ 227572 h 949444"/>
                <a:gd name="connsiteX755" fmla="*/ 88813 w 1055399"/>
                <a:gd name="connsiteY755" fmla="*/ 231272 h 949444"/>
                <a:gd name="connsiteX756" fmla="*/ 89352 w 1055399"/>
                <a:gd name="connsiteY756" fmla="*/ 232584 h 949444"/>
                <a:gd name="connsiteX757" fmla="*/ 89453 w 1055399"/>
                <a:gd name="connsiteY757" fmla="*/ 236386 h 949444"/>
                <a:gd name="connsiteX758" fmla="*/ 88813 w 1055399"/>
                <a:gd name="connsiteY758" fmla="*/ 239312 h 949444"/>
                <a:gd name="connsiteX759" fmla="*/ 87938 w 1055399"/>
                <a:gd name="connsiteY759" fmla="*/ 242037 h 949444"/>
                <a:gd name="connsiteX760" fmla="*/ 86626 w 1055399"/>
                <a:gd name="connsiteY760" fmla="*/ 243114 h 949444"/>
                <a:gd name="connsiteX761" fmla="*/ 84472 w 1055399"/>
                <a:gd name="connsiteY761" fmla="*/ 244190 h 949444"/>
                <a:gd name="connsiteX762" fmla="*/ 83698 w 1055399"/>
                <a:gd name="connsiteY762" fmla="*/ 245065 h 949444"/>
                <a:gd name="connsiteX763" fmla="*/ 85111 w 1055399"/>
                <a:gd name="connsiteY763" fmla="*/ 247117 h 949444"/>
                <a:gd name="connsiteX764" fmla="*/ 85885 w 1055399"/>
                <a:gd name="connsiteY764" fmla="*/ 248092 h 949444"/>
                <a:gd name="connsiteX765" fmla="*/ 87736 w 1055399"/>
                <a:gd name="connsiteY765" fmla="*/ 250817 h 949444"/>
                <a:gd name="connsiteX766" fmla="*/ 88376 w 1055399"/>
                <a:gd name="connsiteY766" fmla="*/ 252331 h 949444"/>
                <a:gd name="connsiteX767" fmla="*/ 89991 w 1055399"/>
                <a:gd name="connsiteY767" fmla="*/ 254618 h 949444"/>
                <a:gd name="connsiteX768" fmla="*/ 89116 w 1055399"/>
                <a:gd name="connsiteY768" fmla="*/ 258487 h 949444"/>
                <a:gd name="connsiteX769" fmla="*/ 92717 w 1055399"/>
                <a:gd name="connsiteY769" fmla="*/ 260505 h 949444"/>
                <a:gd name="connsiteX770" fmla="*/ 93155 w 1055399"/>
                <a:gd name="connsiteY770" fmla="*/ 260505 h 949444"/>
                <a:gd name="connsiteX771" fmla="*/ 94938 w 1055399"/>
                <a:gd name="connsiteY771" fmla="*/ 263533 h 949444"/>
                <a:gd name="connsiteX772" fmla="*/ 97496 w 1055399"/>
                <a:gd name="connsiteY772" fmla="*/ 265719 h 949444"/>
                <a:gd name="connsiteX773" fmla="*/ 97496 w 1055399"/>
                <a:gd name="connsiteY773" fmla="*/ 266594 h 949444"/>
                <a:gd name="connsiteX774" fmla="*/ 97496 w 1055399"/>
                <a:gd name="connsiteY774" fmla="*/ 269958 h 949444"/>
                <a:gd name="connsiteX775" fmla="*/ 97496 w 1055399"/>
                <a:gd name="connsiteY775" fmla="*/ 273558 h 949444"/>
                <a:gd name="connsiteX776" fmla="*/ 99347 w 1055399"/>
                <a:gd name="connsiteY776" fmla="*/ 276383 h 949444"/>
                <a:gd name="connsiteX777" fmla="*/ 102511 w 1055399"/>
                <a:gd name="connsiteY777" fmla="*/ 279983 h 949444"/>
                <a:gd name="connsiteX778" fmla="*/ 105674 w 1055399"/>
                <a:gd name="connsiteY778" fmla="*/ 284019 h 949444"/>
                <a:gd name="connsiteX779" fmla="*/ 106751 w 1055399"/>
                <a:gd name="connsiteY779" fmla="*/ 285230 h 949444"/>
                <a:gd name="connsiteX780" fmla="*/ 110117 w 1055399"/>
                <a:gd name="connsiteY780" fmla="*/ 287518 h 949444"/>
                <a:gd name="connsiteX781" fmla="*/ 114357 w 1055399"/>
                <a:gd name="connsiteY781" fmla="*/ 291858 h 949444"/>
                <a:gd name="connsiteX782" fmla="*/ 119674 w 1055399"/>
                <a:gd name="connsiteY782" fmla="*/ 295558 h 949444"/>
                <a:gd name="connsiteX783" fmla="*/ 122266 w 1055399"/>
                <a:gd name="connsiteY783" fmla="*/ 299595 h 949444"/>
                <a:gd name="connsiteX784" fmla="*/ 125968 w 1055399"/>
                <a:gd name="connsiteY784" fmla="*/ 304472 h 949444"/>
                <a:gd name="connsiteX785" fmla="*/ 127045 w 1055399"/>
                <a:gd name="connsiteY785" fmla="*/ 306323 h 949444"/>
                <a:gd name="connsiteX786" fmla="*/ 127045 w 1055399"/>
                <a:gd name="connsiteY786" fmla="*/ 308374 h 949444"/>
                <a:gd name="connsiteX787" fmla="*/ 126708 w 1055399"/>
                <a:gd name="connsiteY787" fmla="*/ 309686 h 949444"/>
                <a:gd name="connsiteX788" fmla="*/ 126372 w 1055399"/>
                <a:gd name="connsiteY788" fmla="*/ 311099 h 949444"/>
                <a:gd name="connsiteX789" fmla="*/ 124184 w 1055399"/>
                <a:gd name="connsiteY789" fmla="*/ 313151 h 949444"/>
                <a:gd name="connsiteX790" fmla="*/ 123208 w 1055399"/>
                <a:gd name="connsiteY790" fmla="*/ 313690 h 949444"/>
                <a:gd name="connsiteX791" fmla="*/ 121795 w 1055399"/>
                <a:gd name="connsiteY791" fmla="*/ 314564 h 949444"/>
                <a:gd name="connsiteX792" fmla="*/ 120381 w 1055399"/>
                <a:gd name="connsiteY792" fmla="*/ 315775 h 949444"/>
                <a:gd name="connsiteX793" fmla="*/ 119069 w 1055399"/>
                <a:gd name="connsiteY793" fmla="*/ 317625 h 949444"/>
                <a:gd name="connsiteX794" fmla="*/ 117319 w 1055399"/>
                <a:gd name="connsiteY794" fmla="*/ 318164 h 949444"/>
                <a:gd name="connsiteX795" fmla="*/ 114391 w 1055399"/>
                <a:gd name="connsiteY795" fmla="*/ 317625 h 949444"/>
                <a:gd name="connsiteX796" fmla="*/ 113516 w 1055399"/>
                <a:gd name="connsiteY796" fmla="*/ 316448 h 949444"/>
                <a:gd name="connsiteX797" fmla="*/ 110924 w 1055399"/>
                <a:gd name="connsiteY797" fmla="*/ 314598 h 949444"/>
                <a:gd name="connsiteX798" fmla="*/ 108198 w 1055399"/>
                <a:gd name="connsiteY798" fmla="*/ 312546 h 949444"/>
                <a:gd name="connsiteX799" fmla="*/ 106583 w 1055399"/>
                <a:gd name="connsiteY799" fmla="*/ 311772 h 949444"/>
                <a:gd name="connsiteX800" fmla="*/ 103655 w 1055399"/>
                <a:gd name="connsiteY800" fmla="*/ 312008 h 949444"/>
                <a:gd name="connsiteX801" fmla="*/ 102578 w 1055399"/>
                <a:gd name="connsiteY801" fmla="*/ 312781 h 949444"/>
                <a:gd name="connsiteX802" fmla="*/ 101804 w 1055399"/>
                <a:gd name="connsiteY802" fmla="*/ 314093 h 949444"/>
                <a:gd name="connsiteX803" fmla="*/ 102241 w 1055399"/>
                <a:gd name="connsiteY803" fmla="*/ 318231 h 949444"/>
                <a:gd name="connsiteX804" fmla="*/ 100189 w 1055399"/>
                <a:gd name="connsiteY804" fmla="*/ 321393 h 949444"/>
                <a:gd name="connsiteX805" fmla="*/ 98876 w 1055399"/>
                <a:gd name="connsiteY805" fmla="*/ 324320 h 949444"/>
                <a:gd name="connsiteX806" fmla="*/ 98237 w 1055399"/>
                <a:gd name="connsiteY806" fmla="*/ 328054 h 949444"/>
                <a:gd name="connsiteX807" fmla="*/ 102679 w 1055399"/>
                <a:gd name="connsiteY807" fmla="*/ 331922 h 949444"/>
                <a:gd name="connsiteX808" fmla="*/ 103554 w 1055399"/>
                <a:gd name="connsiteY808" fmla="*/ 331922 h 949444"/>
                <a:gd name="connsiteX809" fmla="*/ 104732 w 1055399"/>
                <a:gd name="connsiteY809" fmla="*/ 332696 h 949444"/>
                <a:gd name="connsiteX810" fmla="*/ 107996 w 1055399"/>
                <a:gd name="connsiteY810" fmla="*/ 334883 h 949444"/>
                <a:gd name="connsiteX811" fmla="*/ 107996 w 1055399"/>
                <a:gd name="connsiteY811" fmla="*/ 335320 h 949444"/>
                <a:gd name="connsiteX812" fmla="*/ 109477 w 1055399"/>
                <a:gd name="connsiteY812" fmla="*/ 339558 h 949444"/>
                <a:gd name="connsiteX813" fmla="*/ 109645 w 1055399"/>
                <a:gd name="connsiteY813" fmla="*/ 341510 h 949444"/>
                <a:gd name="connsiteX814" fmla="*/ 109645 w 1055399"/>
                <a:gd name="connsiteY814" fmla="*/ 343259 h 949444"/>
                <a:gd name="connsiteX815" fmla="*/ 109881 w 1055399"/>
                <a:gd name="connsiteY815" fmla="*/ 345109 h 949444"/>
                <a:gd name="connsiteX816" fmla="*/ 111833 w 1055399"/>
                <a:gd name="connsiteY816" fmla="*/ 347834 h 949444"/>
                <a:gd name="connsiteX817" fmla="*/ 114559 w 1055399"/>
                <a:gd name="connsiteY817" fmla="*/ 348910 h 949444"/>
                <a:gd name="connsiteX818" fmla="*/ 114896 w 1055399"/>
                <a:gd name="connsiteY818" fmla="*/ 352375 h 949444"/>
                <a:gd name="connsiteX819" fmla="*/ 114896 w 1055399"/>
                <a:gd name="connsiteY819" fmla="*/ 355436 h 949444"/>
                <a:gd name="connsiteX820" fmla="*/ 114896 w 1055399"/>
                <a:gd name="connsiteY820" fmla="*/ 356849 h 949444"/>
                <a:gd name="connsiteX821" fmla="*/ 113583 w 1055399"/>
                <a:gd name="connsiteY821" fmla="*/ 358800 h 949444"/>
                <a:gd name="connsiteX822" fmla="*/ 112506 w 1055399"/>
                <a:gd name="connsiteY822" fmla="*/ 359877 h 949444"/>
                <a:gd name="connsiteX823" fmla="*/ 112271 w 1055399"/>
                <a:gd name="connsiteY823" fmla="*/ 361929 h 949444"/>
                <a:gd name="connsiteX824" fmla="*/ 112910 w 1055399"/>
                <a:gd name="connsiteY824" fmla="*/ 362904 h 949444"/>
                <a:gd name="connsiteX825" fmla="*/ 114088 w 1055399"/>
                <a:gd name="connsiteY825" fmla="*/ 363981 h 949444"/>
                <a:gd name="connsiteX826" fmla="*/ 117689 w 1055399"/>
                <a:gd name="connsiteY826" fmla="*/ 366605 h 949444"/>
                <a:gd name="connsiteX827" fmla="*/ 120079 w 1055399"/>
                <a:gd name="connsiteY827" fmla="*/ 368119 h 949444"/>
                <a:gd name="connsiteX828" fmla="*/ 121593 w 1055399"/>
                <a:gd name="connsiteY828" fmla="*/ 370507 h 949444"/>
                <a:gd name="connsiteX829" fmla="*/ 122569 w 1055399"/>
                <a:gd name="connsiteY829" fmla="*/ 372693 h 949444"/>
                <a:gd name="connsiteX830" fmla="*/ 124420 w 1055399"/>
                <a:gd name="connsiteY830" fmla="*/ 374443 h 949444"/>
                <a:gd name="connsiteX831" fmla="*/ 127583 w 1055399"/>
                <a:gd name="connsiteY831" fmla="*/ 377369 h 949444"/>
                <a:gd name="connsiteX832" fmla="*/ 127920 w 1055399"/>
                <a:gd name="connsiteY832" fmla="*/ 381272 h 949444"/>
                <a:gd name="connsiteX833" fmla="*/ 127482 w 1055399"/>
                <a:gd name="connsiteY833" fmla="*/ 383223 h 949444"/>
                <a:gd name="connsiteX834" fmla="*/ 126170 w 1055399"/>
                <a:gd name="connsiteY834" fmla="*/ 385712 h 949444"/>
                <a:gd name="connsiteX835" fmla="*/ 125194 w 1055399"/>
                <a:gd name="connsiteY835" fmla="*/ 387461 h 949444"/>
                <a:gd name="connsiteX836" fmla="*/ 123040 w 1055399"/>
                <a:gd name="connsiteY836" fmla="*/ 388437 h 949444"/>
                <a:gd name="connsiteX837" fmla="*/ 122064 w 1055399"/>
                <a:gd name="connsiteY837" fmla="*/ 388975 h 949444"/>
                <a:gd name="connsiteX838" fmla="*/ 120550 w 1055399"/>
                <a:gd name="connsiteY838" fmla="*/ 389951 h 949444"/>
                <a:gd name="connsiteX839" fmla="*/ 119910 w 1055399"/>
                <a:gd name="connsiteY839" fmla="*/ 392003 h 949444"/>
                <a:gd name="connsiteX840" fmla="*/ 121526 w 1055399"/>
                <a:gd name="connsiteY840" fmla="*/ 394627 h 949444"/>
                <a:gd name="connsiteX841" fmla="*/ 124016 w 1055399"/>
                <a:gd name="connsiteY841" fmla="*/ 396914 h 949444"/>
                <a:gd name="connsiteX842" fmla="*/ 124218 w 1055399"/>
                <a:gd name="connsiteY842" fmla="*/ 400278 h 949444"/>
                <a:gd name="connsiteX843" fmla="*/ 124117 w 1055399"/>
                <a:gd name="connsiteY843" fmla="*/ 403743 h 949444"/>
                <a:gd name="connsiteX844" fmla="*/ 123242 w 1055399"/>
                <a:gd name="connsiteY844" fmla="*/ 406905 h 949444"/>
                <a:gd name="connsiteX845" fmla="*/ 122805 w 1055399"/>
                <a:gd name="connsiteY845" fmla="*/ 411346 h 949444"/>
                <a:gd name="connsiteX846" fmla="*/ 126170 w 1055399"/>
                <a:gd name="connsiteY846" fmla="*/ 415584 h 949444"/>
                <a:gd name="connsiteX847" fmla="*/ 125833 w 1055399"/>
                <a:gd name="connsiteY847" fmla="*/ 417871 h 949444"/>
                <a:gd name="connsiteX848" fmla="*/ 125396 w 1055399"/>
                <a:gd name="connsiteY848" fmla="*/ 422547 h 949444"/>
                <a:gd name="connsiteX849" fmla="*/ 125396 w 1055399"/>
                <a:gd name="connsiteY849" fmla="*/ 426450 h 949444"/>
                <a:gd name="connsiteX850" fmla="*/ 124420 w 1055399"/>
                <a:gd name="connsiteY850" fmla="*/ 429175 h 949444"/>
                <a:gd name="connsiteX851" fmla="*/ 122905 w 1055399"/>
                <a:gd name="connsiteY851" fmla="*/ 431025 h 949444"/>
                <a:gd name="connsiteX852" fmla="*/ 121828 w 1055399"/>
                <a:gd name="connsiteY852" fmla="*/ 434187 h 949444"/>
                <a:gd name="connsiteX853" fmla="*/ 121828 w 1055399"/>
                <a:gd name="connsiteY853" fmla="*/ 437113 h 949444"/>
                <a:gd name="connsiteX854" fmla="*/ 122703 w 1055399"/>
                <a:gd name="connsiteY854" fmla="*/ 442866 h 949444"/>
                <a:gd name="connsiteX855" fmla="*/ 123780 w 1055399"/>
                <a:gd name="connsiteY855" fmla="*/ 447205 h 949444"/>
                <a:gd name="connsiteX856" fmla="*/ 126372 w 1055399"/>
                <a:gd name="connsiteY856" fmla="*/ 455144 h 949444"/>
                <a:gd name="connsiteX857" fmla="*/ 127247 w 1055399"/>
                <a:gd name="connsiteY857" fmla="*/ 460156 h 949444"/>
                <a:gd name="connsiteX858" fmla="*/ 128122 w 1055399"/>
                <a:gd name="connsiteY858" fmla="*/ 468398 h 949444"/>
                <a:gd name="connsiteX859" fmla="*/ 128357 w 1055399"/>
                <a:gd name="connsiteY859" fmla="*/ 480778 h 949444"/>
                <a:gd name="connsiteX860" fmla="*/ 124656 w 1055399"/>
                <a:gd name="connsiteY860" fmla="*/ 486631 h 949444"/>
                <a:gd name="connsiteX861" fmla="*/ 121828 w 1055399"/>
                <a:gd name="connsiteY861" fmla="*/ 491206 h 949444"/>
                <a:gd name="connsiteX862" fmla="*/ 120079 w 1055399"/>
                <a:gd name="connsiteY862" fmla="*/ 495781 h 949444"/>
                <a:gd name="connsiteX863" fmla="*/ 117891 w 1055399"/>
                <a:gd name="connsiteY863" fmla="*/ 498405 h 949444"/>
                <a:gd name="connsiteX864" fmla="*/ 116915 w 1055399"/>
                <a:gd name="connsiteY864" fmla="*/ 499044 h 949444"/>
                <a:gd name="connsiteX865" fmla="*/ 114828 w 1055399"/>
                <a:gd name="connsiteY865" fmla="*/ 501399 h 949444"/>
                <a:gd name="connsiteX866" fmla="*/ 114828 w 1055399"/>
                <a:gd name="connsiteY866" fmla="*/ 504864 h 949444"/>
                <a:gd name="connsiteX867" fmla="*/ 115703 w 1055399"/>
                <a:gd name="connsiteY867" fmla="*/ 510952 h 949444"/>
                <a:gd name="connsiteX868" fmla="*/ 116141 w 1055399"/>
                <a:gd name="connsiteY868" fmla="*/ 513240 h 949444"/>
                <a:gd name="connsiteX869" fmla="*/ 118530 w 1055399"/>
                <a:gd name="connsiteY869" fmla="*/ 516167 h 949444"/>
                <a:gd name="connsiteX870" fmla="*/ 120920 w 1055399"/>
                <a:gd name="connsiteY870" fmla="*/ 516167 h 949444"/>
                <a:gd name="connsiteX871" fmla="*/ 121997 w 1055399"/>
                <a:gd name="connsiteY871" fmla="*/ 519194 h 949444"/>
                <a:gd name="connsiteX872" fmla="*/ 122199 w 1055399"/>
                <a:gd name="connsiteY872" fmla="*/ 523971 h 949444"/>
                <a:gd name="connsiteX873" fmla="*/ 121997 w 1055399"/>
                <a:gd name="connsiteY873" fmla="*/ 529185 h 949444"/>
                <a:gd name="connsiteX874" fmla="*/ 122636 w 1055399"/>
                <a:gd name="connsiteY874" fmla="*/ 532011 h 949444"/>
                <a:gd name="connsiteX875" fmla="*/ 122838 w 1055399"/>
                <a:gd name="connsiteY875" fmla="*/ 539613 h 949444"/>
                <a:gd name="connsiteX876" fmla="*/ 123713 w 1055399"/>
                <a:gd name="connsiteY876" fmla="*/ 545467 h 949444"/>
                <a:gd name="connsiteX877" fmla="*/ 122838 w 1055399"/>
                <a:gd name="connsiteY877" fmla="*/ 549806 h 949444"/>
                <a:gd name="connsiteX878" fmla="*/ 124353 w 1055399"/>
                <a:gd name="connsiteY878" fmla="*/ 554583 h 949444"/>
                <a:gd name="connsiteX879" fmla="*/ 123377 w 1055399"/>
                <a:gd name="connsiteY879" fmla="*/ 557846 h 949444"/>
                <a:gd name="connsiteX880" fmla="*/ 126978 w 1055399"/>
                <a:gd name="connsiteY880" fmla="*/ 562085 h 949444"/>
                <a:gd name="connsiteX881" fmla="*/ 127314 w 1055399"/>
                <a:gd name="connsiteY881" fmla="*/ 565785 h 949444"/>
                <a:gd name="connsiteX882" fmla="*/ 127954 w 1055399"/>
                <a:gd name="connsiteY882" fmla="*/ 575339 h 949444"/>
                <a:gd name="connsiteX883" fmla="*/ 127516 w 1055399"/>
                <a:gd name="connsiteY883" fmla="*/ 577963 h 949444"/>
                <a:gd name="connsiteX884" fmla="*/ 126641 w 1055399"/>
                <a:gd name="connsiteY884" fmla="*/ 580990 h 949444"/>
                <a:gd name="connsiteX885" fmla="*/ 125127 w 1055399"/>
                <a:gd name="connsiteY885" fmla="*/ 587718 h 949444"/>
                <a:gd name="connsiteX886" fmla="*/ 122535 w 1055399"/>
                <a:gd name="connsiteY886" fmla="*/ 593470 h 949444"/>
                <a:gd name="connsiteX887" fmla="*/ 120415 w 1055399"/>
                <a:gd name="connsiteY887" fmla="*/ 600198 h 949444"/>
                <a:gd name="connsiteX888" fmla="*/ 118295 w 1055399"/>
                <a:gd name="connsiteY888" fmla="*/ 603798 h 949444"/>
                <a:gd name="connsiteX889" fmla="*/ 118295 w 1055399"/>
                <a:gd name="connsiteY889" fmla="*/ 607397 h 949444"/>
                <a:gd name="connsiteX890" fmla="*/ 119170 w 1055399"/>
                <a:gd name="connsiteY890" fmla="*/ 611535 h 949444"/>
                <a:gd name="connsiteX891" fmla="*/ 119506 w 1055399"/>
                <a:gd name="connsiteY891" fmla="*/ 615336 h 949444"/>
                <a:gd name="connsiteX892" fmla="*/ 120045 w 1055399"/>
                <a:gd name="connsiteY892" fmla="*/ 618599 h 949444"/>
                <a:gd name="connsiteX893" fmla="*/ 120045 w 1055399"/>
                <a:gd name="connsiteY893" fmla="*/ 626538 h 949444"/>
                <a:gd name="connsiteX894" fmla="*/ 120381 w 1055399"/>
                <a:gd name="connsiteY894" fmla="*/ 629263 h 949444"/>
                <a:gd name="connsiteX895" fmla="*/ 119304 w 1055399"/>
                <a:gd name="connsiteY895" fmla="*/ 633165 h 949444"/>
                <a:gd name="connsiteX896" fmla="*/ 118766 w 1055399"/>
                <a:gd name="connsiteY896" fmla="*/ 635991 h 949444"/>
                <a:gd name="connsiteX897" fmla="*/ 118429 w 1055399"/>
                <a:gd name="connsiteY897" fmla="*/ 641642 h 949444"/>
                <a:gd name="connsiteX898" fmla="*/ 119304 w 1055399"/>
                <a:gd name="connsiteY898" fmla="*/ 646083 h 949444"/>
                <a:gd name="connsiteX899" fmla="*/ 120819 w 1055399"/>
                <a:gd name="connsiteY899" fmla="*/ 654997 h 949444"/>
                <a:gd name="connsiteX900" fmla="*/ 125833 w 1055399"/>
                <a:gd name="connsiteY900" fmla="*/ 662062 h 949444"/>
                <a:gd name="connsiteX901" fmla="*/ 129636 w 1055399"/>
                <a:gd name="connsiteY901" fmla="*/ 666502 h 949444"/>
                <a:gd name="connsiteX902" fmla="*/ 134516 w 1055399"/>
                <a:gd name="connsiteY902" fmla="*/ 672894 h 949444"/>
                <a:gd name="connsiteX903" fmla="*/ 140608 w 1055399"/>
                <a:gd name="connsiteY903" fmla="*/ 672557 h 949444"/>
                <a:gd name="connsiteX904" fmla="*/ 141819 w 1055399"/>
                <a:gd name="connsiteY904" fmla="*/ 667881 h 949444"/>
                <a:gd name="connsiteX905" fmla="*/ 142694 w 1055399"/>
                <a:gd name="connsiteY905" fmla="*/ 659942 h 949444"/>
                <a:gd name="connsiteX906" fmla="*/ 142694 w 1055399"/>
                <a:gd name="connsiteY906" fmla="*/ 656040 h 949444"/>
                <a:gd name="connsiteX907" fmla="*/ 140944 w 1055399"/>
                <a:gd name="connsiteY907" fmla="*/ 649951 h 949444"/>
                <a:gd name="connsiteX908" fmla="*/ 140944 w 1055399"/>
                <a:gd name="connsiteY908" fmla="*/ 647361 h 949444"/>
                <a:gd name="connsiteX909" fmla="*/ 141718 w 1055399"/>
                <a:gd name="connsiteY909" fmla="*/ 643123 h 949444"/>
                <a:gd name="connsiteX910" fmla="*/ 142257 w 1055399"/>
                <a:gd name="connsiteY910" fmla="*/ 640936 h 949444"/>
                <a:gd name="connsiteX911" fmla="*/ 143132 w 1055399"/>
                <a:gd name="connsiteY911" fmla="*/ 639086 h 949444"/>
                <a:gd name="connsiteX912" fmla="*/ 145622 w 1055399"/>
                <a:gd name="connsiteY912" fmla="*/ 637471 h 949444"/>
                <a:gd name="connsiteX913" fmla="*/ 149762 w 1055399"/>
                <a:gd name="connsiteY913" fmla="*/ 637236 h 949444"/>
                <a:gd name="connsiteX914" fmla="*/ 153127 w 1055399"/>
                <a:gd name="connsiteY914" fmla="*/ 636361 h 949444"/>
                <a:gd name="connsiteX915" fmla="*/ 154541 w 1055399"/>
                <a:gd name="connsiteY915" fmla="*/ 635486 h 949444"/>
                <a:gd name="connsiteX916" fmla="*/ 157132 w 1055399"/>
                <a:gd name="connsiteY916" fmla="*/ 632862 h 949444"/>
                <a:gd name="connsiteX917" fmla="*/ 159858 w 1055399"/>
                <a:gd name="connsiteY917" fmla="*/ 629936 h 949444"/>
                <a:gd name="connsiteX918" fmla="*/ 161474 w 1055399"/>
                <a:gd name="connsiteY918" fmla="*/ 627447 h 949444"/>
                <a:gd name="connsiteX919" fmla="*/ 164200 w 1055399"/>
                <a:gd name="connsiteY919" fmla="*/ 623746 h 949444"/>
                <a:gd name="connsiteX920" fmla="*/ 165714 w 1055399"/>
                <a:gd name="connsiteY920" fmla="*/ 619507 h 949444"/>
                <a:gd name="connsiteX921" fmla="*/ 167228 w 1055399"/>
                <a:gd name="connsiteY921" fmla="*/ 617893 h 949444"/>
                <a:gd name="connsiteX922" fmla="*/ 170594 w 1055399"/>
                <a:gd name="connsiteY922" fmla="*/ 614731 h 949444"/>
                <a:gd name="connsiteX923" fmla="*/ 170931 w 1055399"/>
                <a:gd name="connsiteY923" fmla="*/ 611131 h 949444"/>
                <a:gd name="connsiteX924" fmla="*/ 171806 w 1055399"/>
                <a:gd name="connsiteY924" fmla="*/ 609718 h 949444"/>
                <a:gd name="connsiteX925" fmla="*/ 173421 w 1055399"/>
                <a:gd name="connsiteY925" fmla="*/ 607330 h 949444"/>
                <a:gd name="connsiteX926" fmla="*/ 174397 w 1055399"/>
                <a:gd name="connsiteY926" fmla="*/ 606253 h 949444"/>
                <a:gd name="connsiteX927" fmla="*/ 176349 w 1055399"/>
                <a:gd name="connsiteY927" fmla="*/ 605480 h 949444"/>
                <a:gd name="connsiteX928" fmla="*/ 180152 w 1055399"/>
                <a:gd name="connsiteY928" fmla="*/ 605042 h 949444"/>
                <a:gd name="connsiteX929" fmla="*/ 182104 w 1055399"/>
                <a:gd name="connsiteY929" fmla="*/ 605244 h 949444"/>
                <a:gd name="connsiteX930" fmla="*/ 184056 w 1055399"/>
                <a:gd name="connsiteY930" fmla="*/ 607969 h 949444"/>
                <a:gd name="connsiteX931" fmla="*/ 183181 w 1055399"/>
                <a:gd name="connsiteY931" fmla="*/ 609382 h 949444"/>
                <a:gd name="connsiteX932" fmla="*/ 181969 w 1055399"/>
                <a:gd name="connsiteY932" fmla="*/ 611770 h 949444"/>
                <a:gd name="connsiteX933" fmla="*/ 181330 w 1055399"/>
                <a:gd name="connsiteY933" fmla="*/ 614495 h 949444"/>
                <a:gd name="connsiteX934" fmla="*/ 181767 w 1055399"/>
                <a:gd name="connsiteY934" fmla="*/ 618532 h 949444"/>
                <a:gd name="connsiteX935" fmla="*/ 182743 w 1055399"/>
                <a:gd name="connsiteY935" fmla="*/ 621156 h 949444"/>
                <a:gd name="connsiteX936" fmla="*/ 184359 w 1055399"/>
                <a:gd name="connsiteY936" fmla="*/ 624520 h 949444"/>
                <a:gd name="connsiteX937" fmla="*/ 187623 w 1055399"/>
                <a:gd name="connsiteY937" fmla="*/ 627682 h 949444"/>
                <a:gd name="connsiteX938" fmla="*/ 189575 w 1055399"/>
                <a:gd name="connsiteY938" fmla="*/ 631382 h 949444"/>
                <a:gd name="connsiteX939" fmla="*/ 193378 w 1055399"/>
                <a:gd name="connsiteY939" fmla="*/ 634309 h 949444"/>
                <a:gd name="connsiteX940" fmla="*/ 198696 w 1055399"/>
                <a:gd name="connsiteY940" fmla="*/ 633973 h 949444"/>
                <a:gd name="connsiteX941" fmla="*/ 200648 w 1055399"/>
                <a:gd name="connsiteY941" fmla="*/ 636563 h 949444"/>
                <a:gd name="connsiteX942" fmla="*/ 201825 w 1055399"/>
                <a:gd name="connsiteY942" fmla="*/ 640902 h 949444"/>
                <a:gd name="connsiteX943" fmla="*/ 204989 w 1055399"/>
                <a:gd name="connsiteY943" fmla="*/ 648942 h 949444"/>
                <a:gd name="connsiteX944" fmla="*/ 208893 w 1055399"/>
                <a:gd name="connsiteY944" fmla="*/ 655569 h 949444"/>
                <a:gd name="connsiteX945" fmla="*/ 208994 w 1055399"/>
                <a:gd name="connsiteY945" fmla="*/ 658630 h 949444"/>
                <a:gd name="connsiteX946" fmla="*/ 210205 w 1055399"/>
                <a:gd name="connsiteY946" fmla="*/ 662432 h 949444"/>
                <a:gd name="connsiteX947" fmla="*/ 213234 w 1055399"/>
                <a:gd name="connsiteY947" fmla="*/ 666435 h 949444"/>
                <a:gd name="connsiteX948" fmla="*/ 215287 w 1055399"/>
                <a:gd name="connsiteY948" fmla="*/ 667511 h 949444"/>
                <a:gd name="connsiteX949" fmla="*/ 218215 w 1055399"/>
                <a:gd name="connsiteY949" fmla="*/ 669563 h 949444"/>
                <a:gd name="connsiteX950" fmla="*/ 218855 w 1055399"/>
                <a:gd name="connsiteY950" fmla="*/ 671178 h 949444"/>
                <a:gd name="connsiteX951" fmla="*/ 219191 w 1055399"/>
                <a:gd name="connsiteY951" fmla="*/ 673264 h 949444"/>
                <a:gd name="connsiteX952" fmla="*/ 218855 w 1055399"/>
                <a:gd name="connsiteY952" fmla="*/ 677065 h 949444"/>
                <a:gd name="connsiteX953" fmla="*/ 218081 w 1055399"/>
                <a:gd name="connsiteY953" fmla="*/ 679117 h 949444"/>
                <a:gd name="connsiteX954" fmla="*/ 215893 w 1055399"/>
                <a:gd name="connsiteY954" fmla="*/ 681943 h 949444"/>
                <a:gd name="connsiteX955" fmla="*/ 214379 w 1055399"/>
                <a:gd name="connsiteY955" fmla="*/ 682716 h 949444"/>
                <a:gd name="connsiteX956" fmla="*/ 211787 w 1055399"/>
                <a:gd name="connsiteY956" fmla="*/ 683356 h 949444"/>
                <a:gd name="connsiteX957" fmla="*/ 206234 w 1055399"/>
                <a:gd name="connsiteY957" fmla="*/ 684331 h 949444"/>
                <a:gd name="connsiteX958" fmla="*/ 204383 w 1055399"/>
                <a:gd name="connsiteY958" fmla="*/ 684768 h 949444"/>
                <a:gd name="connsiteX959" fmla="*/ 202532 w 1055399"/>
                <a:gd name="connsiteY959" fmla="*/ 685643 h 949444"/>
                <a:gd name="connsiteX960" fmla="*/ 202532 w 1055399"/>
                <a:gd name="connsiteY960" fmla="*/ 688570 h 949444"/>
                <a:gd name="connsiteX961" fmla="*/ 204047 w 1055399"/>
                <a:gd name="connsiteY961" fmla="*/ 692606 h 949444"/>
                <a:gd name="connsiteX962" fmla="*/ 205124 w 1055399"/>
                <a:gd name="connsiteY962" fmla="*/ 696509 h 949444"/>
                <a:gd name="connsiteX963" fmla="*/ 207311 w 1055399"/>
                <a:gd name="connsiteY963" fmla="*/ 700646 h 949444"/>
                <a:gd name="connsiteX964" fmla="*/ 210138 w 1055399"/>
                <a:gd name="connsiteY964" fmla="*/ 703573 h 949444"/>
                <a:gd name="connsiteX965" fmla="*/ 212965 w 1055399"/>
                <a:gd name="connsiteY965" fmla="*/ 708350 h 949444"/>
                <a:gd name="connsiteX966" fmla="*/ 214816 w 1055399"/>
                <a:gd name="connsiteY966" fmla="*/ 712689 h 949444"/>
                <a:gd name="connsiteX967" fmla="*/ 217408 w 1055399"/>
                <a:gd name="connsiteY967" fmla="*/ 717466 h 949444"/>
                <a:gd name="connsiteX968" fmla="*/ 221749 w 1055399"/>
                <a:gd name="connsiteY968" fmla="*/ 723454 h 949444"/>
                <a:gd name="connsiteX969" fmla="*/ 226326 w 1055399"/>
                <a:gd name="connsiteY969" fmla="*/ 726482 h 949444"/>
                <a:gd name="connsiteX970" fmla="*/ 232417 w 1055399"/>
                <a:gd name="connsiteY970" fmla="*/ 727121 h 949444"/>
                <a:gd name="connsiteX971" fmla="*/ 236321 w 1055399"/>
                <a:gd name="connsiteY971" fmla="*/ 726145 h 949444"/>
                <a:gd name="connsiteX972" fmla="*/ 240124 w 1055399"/>
                <a:gd name="connsiteY972" fmla="*/ 721806 h 949444"/>
                <a:gd name="connsiteX973" fmla="*/ 241874 w 1055399"/>
                <a:gd name="connsiteY973" fmla="*/ 719215 h 949444"/>
                <a:gd name="connsiteX974" fmla="*/ 243187 w 1055399"/>
                <a:gd name="connsiteY974" fmla="*/ 718576 h 949444"/>
                <a:gd name="connsiteX975" fmla="*/ 245576 w 1055399"/>
                <a:gd name="connsiteY975" fmla="*/ 718778 h 949444"/>
                <a:gd name="connsiteX976" fmla="*/ 246216 w 1055399"/>
                <a:gd name="connsiteY976" fmla="*/ 720628 h 949444"/>
                <a:gd name="connsiteX977" fmla="*/ 250019 w 1055399"/>
                <a:gd name="connsiteY977" fmla="*/ 722916 h 949444"/>
                <a:gd name="connsiteX978" fmla="*/ 254259 w 1055399"/>
                <a:gd name="connsiteY978" fmla="*/ 724362 h 949444"/>
                <a:gd name="connsiteX979" fmla="*/ 257154 w 1055399"/>
                <a:gd name="connsiteY979" fmla="*/ 719888 h 949444"/>
                <a:gd name="connsiteX980" fmla="*/ 258298 w 1055399"/>
                <a:gd name="connsiteY980" fmla="*/ 719316 h 949444"/>
                <a:gd name="connsiteX981" fmla="*/ 261495 w 1055399"/>
                <a:gd name="connsiteY981" fmla="*/ 718307 h 949444"/>
                <a:gd name="connsiteX982" fmla="*/ 263817 w 1055399"/>
                <a:gd name="connsiteY982" fmla="*/ 719182 h 949444"/>
                <a:gd name="connsiteX983" fmla="*/ 267014 w 1055399"/>
                <a:gd name="connsiteY983" fmla="*/ 722209 h 949444"/>
                <a:gd name="connsiteX984" fmla="*/ 267452 w 1055399"/>
                <a:gd name="connsiteY984" fmla="*/ 727289 h 949444"/>
                <a:gd name="connsiteX985" fmla="*/ 269337 w 1055399"/>
                <a:gd name="connsiteY985" fmla="*/ 733815 h 949444"/>
                <a:gd name="connsiteX986" fmla="*/ 271524 w 1055399"/>
                <a:gd name="connsiteY986" fmla="*/ 739904 h 949444"/>
                <a:gd name="connsiteX987" fmla="*/ 274553 w 1055399"/>
                <a:gd name="connsiteY987" fmla="*/ 744546 h 949444"/>
                <a:gd name="connsiteX988" fmla="*/ 279029 w 1055399"/>
                <a:gd name="connsiteY988" fmla="*/ 751072 h 949444"/>
                <a:gd name="connsiteX989" fmla="*/ 279904 w 1055399"/>
                <a:gd name="connsiteY989" fmla="*/ 753965 h 949444"/>
                <a:gd name="connsiteX990" fmla="*/ 279904 w 1055399"/>
                <a:gd name="connsiteY990" fmla="*/ 760323 h 949444"/>
                <a:gd name="connsiteX991" fmla="*/ 280644 w 1055399"/>
                <a:gd name="connsiteY991" fmla="*/ 766546 h 949444"/>
                <a:gd name="connsiteX992" fmla="*/ 280342 w 1055399"/>
                <a:gd name="connsiteY992" fmla="*/ 770449 h 949444"/>
                <a:gd name="connsiteX993" fmla="*/ 285121 w 1055399"/>
                <a:gd name="connsiteY993" fmla="*/ 775091 h 949444"/>
                <a:gd name="connsiteX994" fmla="*/ 287712 w 1055399"/>
                <a:gd name="connsiteY994" fmla="*/ 775091 h 949444"/>
                <a:gd name="connsiteX995" fmla="*/ 292356 w 1055399"/>
                <a:gd name="connsiteY995" fmla="*/ 774788 h 949444"/>
                <a:gd name="connsiteX996" fmla="*/ 293803 w 1055399"/>
                <a:gd name="connsiteY996" fmla="*/ 780440 h 949444"/>
                <a:gd name="connsiteX997" fmla="*/ 294376 w 1055399"/>
                <a:gd name="connsiteY997" fmla="*/ 785956 h 949444"/>
                <a:gd name="connsiteX998" fmla="*/ 297001 w 1055399"/>
                <a:gd name="connsiteY998" fmla="*/ 797831 h 949444"/>
                <a:gd name="connsiteX999" fmla="*/ 298448 w 1055399"/>
                <a:gd name="connsiteY999" fmla="*/ 801161 h 949444"/>
                <a:gd name="connsiteX1000" fmla="*/ 300635 w 1055399"/>
                <a:gd name="connsiteY1000" fmla="*/ 804492 h 949444"/>
                <a:gd name="connsiteX1001" fmla="*/ 306424 w 1055399"/>
                <a:gd name="connsiteY1001" fmla="*/ 806948 h 949444"/>
                <a:gd name="connsiteX1002" fmla="*/ 306491 w 1055399"/>
                <a:gd name="connsiteY1002" fmla="*/ 809134 h 949444"/>
                <a:gd name="connsiteX1003" fmla="*/ 305986 w 1055399"/>
                <a:gd name="connsiteY1003" fmla="*/ 815088 h 949444"/>
                <a:gd name="connsiteX1004" fmla="*/ 305986 w 1055399"/>
                <a:gd name="connsiteY1004" fmla="*/ 817679 h 949444"/>
                <a:gd name="connsiteX1005" fmla="*/ 306727 w 1055399"/>
                <a:gd name="connsiteY1005" fmla="*/ 819697 h 949444"/>
                <a:gd name="connsiteX1006" fmla="*/ 309116 w 1055399"/>
                <a:gd name="connsiteY1006" fmla="*/ 825651 h 949444"/>
                <a:gd name="connsiteX1007" fmla="*/ 311506 w 1055399"/>
                <a:gd name="connsiteY1007" fmla="*/ 830428 h 949444"/>
                <a:gd name="connsiteX1008" fmla="*/ 314131 w 1055399"/>
                <a:gd name="connsiteY1008" fmla="*/ 834330 h 949444"/>
                <a:gd name="connsiteX1009" fmla="*/ 319919 w 1055399"/>
                <a:gd name="connsiteY1009" fmla="*/ 836517 h 949444"/>
                <a:gd name="connsiteX1010" fmla="*/ 322679 w 1055399"/>
                <a:gd name="connsiteY1010" fmla="*/ 837391 h 949444"/>
                <a:gd name="connsiteX1011" fmla="*/ 325001 w 1055399"/>
                <a:gd name="connsiteY1011" fmla="*/ 838569 h 949444"/>
                <a:gd name="connsiteX1012" fmla="*/ 328198 w 1055399"/>
                <a:gd name="connsiteY1012" fmla="*/ 842908 h 949444"/>
                <a:gd name="connsiteX1013" fmla="*/ 329073 w 1055399"/>
                <a:gd name="connsiteY1013" fmla="*/ 849132 h 949444"/>
                <a:gd name="connsiteX1014" fmla="*/ 328939 w 1055399"/>
                <a:gd name="connsiteY1014" fmla="*/ 850713 h 949444"/>
                <a:gd name="connsiteX1015" fmla="*/ 328501 w 1055399"/>
                <a:gd name="connsiteY1015" fmla="*/ 854178 h 949444"/>
                <a:gd name="connsiteX1016" fmla="*/ 327626 w 1055399"/>
                <a:gd name="connsiteY1016" fmla="*/ 856499 h 949444"/>
                <a:gd name="connsiteX1017" fmla="*/ 328064 w 1055399"/>
                <a:gd name="connsiteY1017" fmla="*/ 858955 h 949444"/>
                <a:gd name="connsiteX1018" fmla="*/ 331530 w 1055399"/>
                <a:gd name="connsiteY1018" fmla="*/ 859695 h 949444"/>
                <a:gd name="connsiteX1019" fmla="*/ 338934 w 1055399"/>
                <a:gd name="connsiteY1019" fmla="*/ 855490 h 949444"/>
                <a:gd name="connsiteX1020" fmla="*/ 340819 w 1055399"/>
                <a:gd name="connsiteY1020" fmla="*/ 855927 h 949444"/>
                <a:gd name="connsiteX1021" fmla="*/ 338362 w 1055399"/>
                <a:gd name="connsiteY1021" fmla="*/ 863328 h 949444"/>
                <a:gd name="connsiteX1022" fmla="*/ 337050 w 1055399"/>
                <a:gd name="connsiteY1022" fmla="*/ 865783 h 949444"/>
                <a:gd name="connsiteX1023" fmla="*/ 334727 w 1055399"/>
                <a:gd name="connsiteY1023" fmla="*/ 868104 h 949444"/>
                <a:gd name="connsiteX1024" fmla="*/ 330958 w 1055399"/>
                <a:gd name="connsiteY1024" fmla="*/ 870291 h 949444"/>
                <a:gd name="connsiteX1025" fmla="*/ 326919 w 1055399"/>
                <a:gd name="connsiteY1025" fmla="*/ 871300 h 949444"/>
                <a:gd name="connsiteX1026" fmla="*/ 324732 w 1055399"/>
                <a:gd name="connsiteY1026" fmla="*/ 873319 h 949444"/>
                <a:gd name="connsiteX1027" fmla="*/ 324867 w 1055399"/>
                <a:gd name="connsiteY1027" fmla="*/ 876952 h 949444"/>
                <a:gd name="connsiteX1028" fmla="*/ 326617 w 1055399"/>
                <a:gd name="connsiteY1028" fmla="*/ 881728 h 949444"/>
                <a:gd name="connsiteX1029" fmla="*/ 333011 w 1055399"/>
                <a:gd name="connsiteY1029" fmla="*/ 885799 h 949444"/>
                <a:gd name="connsiteX1030" fmla="*/ 339977 w 1055399"/>
                <a:gd name="connsiteY1030" fmla="*/ 888995 h 949444"/>
                <a:gd name="connsiteX1031" fmla="*/ 343309 w 1055399"/>
                <a:gd name="connsiteY1031" fmla="*/ 892190 h 949444"/>
                <a:gd name="connsiteX1032" fmla="*/ 344184 w 1055399"/>
                <a:gd name="connsiteY1032" fmla="*/ 894209 h 949444"/>
                <a:gd name="connsiteX1033" fmla="*/ 347382 w 1055399"/>
                <a:gd name="connsiteY1033" fmla="*/ 898986 h 949444"/>
                <a:gd name="connsiteX1034" fmla="*/ 351285 w 1055399"/>
                <a:gd name="connsiteY1034" fmla="*/ 905512 h 949444"/>
                <a:gd name="connsiteX1035" fmla="*/ 349401 w 1055399"/>
                <a:gd name="connsiteY1035" fmla="*/ 908707 h 949444"/>
                <a:gd name="connsiteX1036" fmla="*/ 343040 w 1055399"/>
                <a:gd name="connsiteY1036" fmla="*/ 910019 h 949444"/>
                <a:gd name="connsiteX1037" fmla="*/ 339843 w 1055399"/>
                <a:gd name="connsiteY1037" fmla="*/ 910154 h 949444"/>
                <a:gd name="connsiteX1038" fmla="*/ 338833 w 1055399"/>
                <a:gd name="connsiteY1038" fmla="*/ 915671 h 949444"/>
                <a:gd name="connsiteX1039" fmla="*/ 340146 w 1055399"/>
                <a:gd name="connsiteY1039" fmla="*/ 920582 h 949444"/>
                <a:gd name="connsiteX1040" fmla="*/ 345228 w 1055399"/>
                <a:gd name="connsiteY1040" fmla="*/ 922903 h 949444"/>
                <a:gd name="connsiteX1041" fmla="*/ 350444 w 1055399"/>
                <a:gd name="connsiteY1041" fmla="*/ 922903 h 949444"/>
                <a:gd name="connsiteX1042" fmla="*/ 353069 w 1055399"/>
                <a:gd name="connsiteY1042" fmla="*/ 920448 h 949444"/>
                <a:gd name="connsiteX1043" fmla="*/ 355526 w 1055399"/>
                <a:gd name="connsiteY1043" fmla="*/ 918698 h 949444"/>
                <a:gd name="connsiteX1044" fmla="*/ 357545 w 1055399"/>
                <a:gd name="connsiteY1044" fmla="*/ 917252 h 949444"/>
                <a:gd name="connsiteX1045" fmla="*/ 358992 w 1055399"/>
                <a:gd name="connsiteY1045" fmla="*/ 919876 h 949444"/>
                <a:gd name="connsiteX1046" fmla="*/ 359564 w 1055399"/>
                <a:gd name="connsiteY1046" fmla="*/ 924955 h 949444"/>
                <a:gd name="connsiteX1047" fmla="*/ 361012 w 1055399"/>
                <a:gd name="connsiteY1047" fmla="*/ 929867 h 949444"/>
                <a:gd name="connsiteX1048" fmla="*/ 364041 w 1055399"/>
                <a:gd name="connsiteY1048" fmla="*/ 932188 h 949444"/>
                <a:gd name="connsiteX1049" fmla="*/ 365185 w 1055399"/>
                <a:gd name="connsiteY1049" fmla="*/ 934375 h 949444"/>
                <a:gd name="connsiteX1050" fmla="*/ 365185 w 1055399"/>
                <a:gd name="connsiteY1050" fmla="*/ 939454 h 949444"/>
                <a:gd name="connsiteX1051" fmla="*/ 365488 w 1055399"/>
                <a:gd name="connsiteY1051" fmla="*/ 942784 h 949444"/>
                <a:gd name="connsiteX1052" fmla="*/ 365925 w 1055399"/>
                <a:gd name="connsiteY1052" fmla="*/ 946989 h 949444"/>
                <a:gd name="connsiteX1053" fmla="*/ 368954 w 1055399"/>
                <a:gd name="connsiteY1053" fmla="*/ 948873 h 949444"/>
                <a:gd name="connsiteX1054" fmla="*/ 375483 w 1055399"/>
                <a:gd name="connsiteY1054" fmla="*/ 949445 h 949444"/>
                <a:gd name="connsiteX1055" fmla="*/ 382012 w 1055399"/>
                <a:gd name="connsiteY1055" fmla="*/ 946418 h 949444"/>
                <a:gd name="connsiteX1056" fmla="*/ 386522 w 1055399"/>
                <a:gd name="connsiteY1056" fmla="*/ 944029 h 949444"/>
                <a:gd name="connsiteX1057" fmla="*/ 393623 w 1055399"/>
                <a:gd name="connsiteY1057" fmla="*/ 940329 h 949444"/>
                <a:gd name="connsiteX1058" fmla="*/ 399109 w 1055399"/>
                <a:gd name="connsiteY1058" fmla="*/ 940329 h 949444"/>
                <a:gd name="connsiteX1059" fmla="*/ 403753 w 1055399"/>
                <a:gd name="connsiteY1059" fmla="*/ 937133 h 949444"/>
                <a:gd name="connsiteX1060" fmla="*/ 408094 w 1055399"/>
                <a:gd name="connsiteY1060" fmla="*/ 932928 h 949444"/>
                <a:gd name="connsiteX1061" fmla="*/ 410551 w 1055399"/>
                <a:gd name="connsiteY1061" fmla="*/ 931616 h 949444"/>
                <a:gd name="connsiteX1062" fmla="*/ 412570 w 1055399"/>
                <a:gd name="connsiteY1062" fmla="*/ 929160 h 949444"/>
                <a:gd name="connsiteX1063" fmla="*/ 414893 w 1055399"/>
                <a:gd name="connsiteY1063" fmla="*/ 928017 h 949444"/>
                <a:gd name="connsiteX1064" fmla="*/ 420412 w 1055399"/>
                <a:gd name="connsiteY1064" fmla="*/ 927075 h 949444"/>
                <a:gd name="connsiteX1065" fmla="*/ 425763 w 1055399"/>
                <a:gd name="connsiteY1065" fmla="*/ 926436 h 949444"/>
                <a:gd name="connsiteX1066" fmla="*/ 428657 w 1055399"/>
                <a:gd name="connsiteY1066" fmla="*/ 926436 h 949444"/>
                <a:gd name="connsiteX1067" fmla="*/ 432427 w 1055399"/>
                <a:gd name="connsiteY1067" fmla="*/ 922971 h 949444"/>
                <a:gd name="connsiteX1068" fmla="*/ 438215 w 1055399"/>
                <a:gd name="connsiteY1068" fmla="*/ 917757 h 949444"/>
                <a:gd name="connsiteX1069" fmla="*/ 441984 w 1055399"/>
                <a:gd name="connsiteY1069" fmla="*/ 913989 h 949444"/>
                <a:gd name="connsiteX1070" fmla="*/ 446898 w 1055399"/>
                <a:gd name="connsiteY1070" fmla="*/ 912845 h 949444"/>
                <a:gd name="connsiteX1071" fmla="*/ 448211 w 1055399"/>
                <a:gd name="connsiteY1071" fmla="*/ 914864 h 949444"/>
                <a:gd name="connsiteX1072" fmla="*/ 445182 w 1055399"/>
                <a:gd name="connsiteY1072" fmla="*/ 920650 h 949444"/>
                <a:gd name="connsiteX1073" fmla="*/ 445182 w 1055399"/>
                <a:gd name="connsiteY1073" fmla="*/ 923845 h 949444"/>
                <a:gd name="connsiteX1074" fmla="*/ 449254 w 1055399"/>
                <a:gd name="connsiteY1074" fmla="*/ 926436 h 949444"/>
                <a:gd name="connsiteX1075" fmla="*/ 453023 w 1055399"/>
                <a:gd name="connsiteY1075" fmla="*/ 926436 h 949444"/>
                <a:gd name="connsiteX1076" fmla="*/ 455345 w 1055399"/>
                <a:gd name="connsiteY1076" fmla="*/ 924686 h 949444"/>
                <a:gd name="connsiteX1077" fmla="*/ 459115 w 1055399"/>
                <a:gd name="connsiteY1077" fmla="*/ 922668 h 949444"/>
                <a:gd name="connsiteX1078" fmla="*/ 464399 w 1055399"/>
                <a:gd name="connsiteY1078" fmla="*/ 921154 h 949444"/>
                <a:gd name="connsiteX1079" fmla="*/ 468168 w 1055399"/>
                <a:gd name="connsiteY1079" fmla="*/ 920010 h 949444"/>
                <a:gd name="connsiteX1080" fmla="*/ 470759 w 1055399"/>
                <a:gd name="connsiteY1080" fmla="*/ 918564 h 949444"/>
                <a:gd name="connsiteX1081" fmla="*/ 474461 w 1055399"/>
                <a:gd name="connsiteY1081" fmla="*/ 918564 h 949444"/>
                <a:gd name="connsiteX1082" fmla="*/ 478735 w 1055399"/>
                <a:gd name="connsiteY1082" fmla="*/ 918429 h 949444"/>
                <a:gd name="connsiteX1083" fmla="*/ 482000 w 1055399"/>
                <a:gd name="connsiteY1083" fmla="*/ 917286 h 949444"/>
                <a:gd name="connsiteX1084" fmla="*/ 484255 w 1055399"/>
                <a:gd name="connsiteY1084" fmla="*/ 915536 h 949444"/>
                <a:gd name="connsiteX1085" fmla="*/ 485837 w 1055399"/>
                <a:gd name="connsiteY1085" fmla="*/ 911836 h 949444"/>
                <a:gd name="connsiteX1086" fmla="*/ 486409 w 1055399"/>
                <a:gd name="connsiteY1086" fmla="*/ 907126 h 949444"/>
                <a:gd name="connsiteX1087" fmla="*/ 484793 w 1055399"/>
                <a:gd name="connsiteY1087" fmla="*/ 901408 h 949444"/>
                <a:gd name="connsiteX1088" fmla="*/ 483111 w 1055399"/>
                <a:gd name="connsiteY1088" fmla="*/ 897875 h 949444"/>
                <a:gd name="connsiteX1089" fmla="*/ 484961 w 1055399"/>
                <a:gd name="connsiteY1089" fmla="*/ 897102 h 949444"/>
                <a:gd name="connsiteX1090" fmla="*/ 487149 w 1055399"/>
                <a:gd name="connsiteY1090" fmla="*/ 896866 h 949444"/>
                <a:gd name="connsiteX1091" fmla="*/ 489538 w 1055399"/>
                <a:gd name="connsiteY1091" fmla="*/ 896866 h 949444"/>
                <a:gd name="connsiteX1092" fmla="*/ 490750 w 1055399"/>
                <a:gd name="connsiteY1092" fmla="*/ 894579 h 949444"/>
                <a:gd name="connsiteX1093" fmla="*/ 491389 w 1055399"/>
                <a:gd name="connsiteY1093" fmla="*/ 891316 h 949444"/>
                <a:gd name="connsiteX1094" fmla="*/ 491389 w 1055399"/>
                <a:gd name="connsiteY1094" fmla="*/ 888927 h 949444"/>
                <a:gd name="connsiteX1095" fmla="*/ 489740 w 1055399"/>
                <a:gd name="connsiteY1095" fmla="*/ 887414 h 949444"/>
                <a:gd name="connsiteX1096" fmla="*/ 487452 w 1055399"/>
                <a:gd name="connsiteY1096" fmla="*/ 884588 h 949444"/>
                <a:gd name="connsiteX1097" fmla="*/ 485399 w 1055399"/>
                <a:gd name="connsiteY1097" fmla="*/ 881762 h 949444"/>
                <a:gd name="connsiteX1098" fmla="*/ 483750 w 1055399"/>
                <a:gd name="connsiteY1098" fmla="*/ 878163 h 949444"/>
                <a:gd name="connsiteX1099" fmla="*/ 483413 w 1055399"/>
                <a:gd name="connsiteY1099" fmla="*/ 876414 h 949444"/>
                <a:gd name="connsiteX1100" fmla="*/ 483413 w 1055399"/>
                <a:gd name="connsiteY1100" fmla="*/ 869887 h 949444"/>
                <a:gd name="connsiteX1101" fmla="*/ 484288 w 1055399"/>
                <a:gd name="connsiteY1101" fmla="*/ 866086 h 949444"/>
                <a:gd name="connsiteX1102" fmla="*/ 482639 w 1055399"/>
                <a:gd name="connsiteY1102" fmla="*/ 859997 h 949444"/>
                <a:gd name="connsiteX1103" fmla="*/ 481865 w 1055399"/>
                <a:gd name="connsiteY1103" fmla="*/ 857710 h 949444"/>
                <a:gd name="connsiteX1104" fmla="*/ 479375 w 1055399"/>
                <a:gd name="connsiteY1104" fmla="*/ 854884 h 949444"/>
                <a:gd name="connsiteX1105" fmla="*/ 478500 w 1055399"/>
                <a:gd name="connsiteY1105" fmla="*/ 852933 h 949444"/>
                <a:gd name="connsiteX1106" fmla="*/ 477961 w 1055399"/>
                <a:gd name="connsiteY1106" fmla="*/ 848358 h 949444"/>
                <a:gd name="connsiteX1107" fmla="*/ 480351 w 1055399"/>
                <a:gd name="connsiteY1107" fmla="*/ 844321 h 949444"/>
                <a:gd name="connsiteX1108" fmla="*/ 481663 w 1055399"/>
                <a:gd name="connsiteY1108" fmla="*/ 841596 h 949444"/>
                <a:gd name="connsiteX1109" fmla="*/ 482639 w 1055399"/>
                <a:gd name="connsiteY1109" fmla="*/ 837694 h 949444"/>
                <a:gd name="connsiteX1110" fmla="*/ 483413 w 1055399"/>
                <a:gd name="connsiteY1110" fmla="*/ 831942 h 949444"/>
                <a:gd name="connsiteX1111" fmla="*/ 483413 w 1055399"/>
                <a:gd name="connsiteY1111" fmla="*/ 829890 h 949444"/>
                <a:gd name="connsiteX1112" fmla="*/ 484288 w 1055399"/>
                <a:gd name="connsiteY1112" fmla="*/ 824575 h 949444"/>
                <a:gd name="connsiteX1113" fmla="*/ 482976 w 1055399"/>
                <a:gd name="connsiteY1113" fmla="*/ 819899 h 949444"/>
                <a:gd name="connsiteX1114" fmla="*/ 483312 w 1055399"/>
                <a:gd name="connsiteY1114" fmla="*/ 816097 h 949444"/>
                <a:gd name="connsiteX1115" fmla="*/ 483111 w 1055399"/>
                <a:gd name="connsiteY1115" fmla="*/ 814147 h 949444"/>
                <a:gd name="connsiteX1116" fmla="*/ 480183 w 1055399"/>
                <a:gd name="connsiteY1116" fmla="*/ 810883 h 949444"/>
                <a:gd name="connsiteX1117" fmla="*/ 478668 w 1055399"/>
                <a:gd name="connsiteY1117" fmla="*/ 810009 h 949444"/>
                <a:gd name="connsiteX1118" fmla="*/ 478668 w 1055399"/>
                <a:gd name="connsiteY1118" fmla="*/ 807721 h 949444"/>
                <a:gd name="connsiteX1119" fmla="*/ 480620 w 1055399"/>
                <a:gd name="connsiteY1119" fmla="*/ 804559 h 949444"/>
                <a:gd name="connsiteX1120" fmla="*/ 483346 w 1055399"/>
                <a:gd name="connsiteY1120" fmla="*/ 802070 h 949444"/>
                <a:gd name="connsiteX1121" fmla="*/ 485197 w 1055399"/>
                <a:gd name="connsiteY1121" fmla="*/ 799782 h 949444"/>
                <a:gd name="connsiteX1122" fmla="*/ 485534 w 1055399"/>
                <a:gd name="connsiteY1122" fmla="*/ 795645 h 949444"/>
                <a:gd name="connsiteX1123" fmla="*/ 485971 w 1055399"/>
                <a:gd name="connsiteY1123" fmla="*/ 791742 h 949444"/>
                <a:gd name="connsiteX1124" fmla="*/ 487586 w 1055399"/>
                <a:gd name="connsiteY1124" fmla="*/ 791406 h 949444"/>
                <a:gd name="connsiteX1125" fmla="*/ 489640 w 1055399"/>
                <a:gd name="connsiteY1125" fmla="*/ 792819 h 949444"/>
                <a:gd name="connsiteX1126" fmla="*/ 490514 w 1055399"/>
                <a:gd name="connsiteY1126" fmla="*/ 795746 h 949444"/>
                <a:gd name="connsiteX1127" fmla="*/ 491289 w 1055399"/>
                <a:gd name="connsiteY1127" fmla="*/ 799547 h 949444"/>
                <a:gd name="connsiteX1128" fmla="*/ 492938 w 1055399"/>
                <a:gd name="connsiteY1128" fmla="*/ 801061 h 949444"/>
                <a:gd name="connsiteX1129" fmla="*/ 496942 w 1055399"/>
                <a:gd name="connsiteY1129" fmla="*/ 799850 h 949444"/>
                <a:gd name="connsiteX1130" fmla="*/ 499567 w 1055399"/>
                <a:gd name="connsiteY1130" fmla="*/ 795409 h 949444"/>
                <a:gd name="connsiteX1131" fmla="*/ 503034 w 1055399"/>
                <a:gd name="connsiteY1131" fmla="*/ 793794 h 949444"/>
                <a:gd name="connsiteX1132" fmla="*/ 508486 w 1055399"/>
                <a:gd name="connsiteY1132" fmla="*/ 788782 h 949444"/>
                <a:gd name="connsiteX1133" fmla="*/ 510976 w 1055399"/>
                <a:gd name="connsiteY1133" fmla="*/ 786057 h 949444"/>
                <a:gd name="connsiteX1134" fmla="*/ 514342 w 1055399"/>
                <a:gd name="connsiteY1134" fmla="*/ 781718 h 949444"/>
                <a:gd name="connsiteX1135" fmla="*/ 516092 w 1055399"/>
                <a:gd name="connsiteY1135" fmla="*/ 778993 h 949444"/>
                <a:gd name="connsiteX1136" fmla="*/ 519356 w 1055399"/>
                <a:gd name="connsiteY1136" fmla="*/ 776605 h 949444"/>
                <a:gd name="connsiteX1137" fmla="*/ 521847 w 1055399"/>
                <a:gd name="connsiteY1137" fmla="*/ 775629 h 949444"/>
                <a:gd name="connsiteX1138" fmla="*/ 524236 w 1055399"/>
                <a:gd name="connsiteY1138" fmla="*/ 774990 h 949444"/>
                <a:gd name="connsiteX1139" fmla="*/ 525111 w 1055399"/>
                <a:gd name="connsiteY1139" fmla="*/ 773913 h 949444"/>
                <a:gd name="connsiteX1140" fmla="*/ 527265 w 1055399"/>
                <a:gd name="connsiteY1140" fmla="*/ 769675 h 949444"/>
                <a:gd name="connsiteX1141" fmla="*/ 528780 w 1055399"/>
                <a:gd name="connsiteY1141" fmla="*/ 767085 h 949444"/>
                <a:gd name="connsiteX1142" fmla="*/ 530294 w 1055399"/>
                <a:gd name="connsiteY1142" fmla="*/ 764696 h 949444"/>
                <a:gd name="connsiteX1143" fmla="*/ 532246 w 1055399"/>
                <a:gd name="connsiteY1143" fmla="*/ 762745 h 949444"/>
                <a:gd name="connsiteX1144" fmla="*/ 534636 w 1055399"/>
                <a:gd name="connsiteY1144" fmla="*/ 760256 h 949444"/>
                <a:gd name="connsiteX1145" fmla="*/ 536823 w 1055399"/>
                <a:gd name="connsiteY1145" fmla="*/ 758506 h 949444"/>
                <a:gd name="connsiteX1146" fmla="*/ 538237 w 1055399"/>
                <a:gd name="connsiteY1146" fmla="*/ 757531 h 949444"/>
                <a:gd name="connsiteX1147" fmla="*/ 539650 w 1055399"/>
                <a:gd name="connsiteY1147" fmla="*/ 757094 h 949444"/>
                <a:gd name="connsiteX1148" fmla="*/ 542713 w 1055399"/>
                <a:gd name="connsiteY1148" fmla="*/ 755142 h 949444"/>
                <a:gd name="connsiteX1149" fmla="*/ 546415 w 1055399"/>
                <a:gd name="connsiteY1149" fmla="*/ 751139 h 949444"/>
                <a:gd name="connsiteX1150" fmla="*/ 548367 w 1055399"/>
                <a:gd name="connsiteY1150" fmla="*/ 747775 h 949444"/>
                <a:gd name="connsiteX1151" fmla="*/ 549242 w 1055399"/>
                <a:gd name="connsiteY1151" fmla="*/ 745488 h 949444"/>
                <a:gd name="connsiteX1152" fmla="*/ 549780 w 1055399"/>
                <a:gd name="connsiteY1152" fmla="*/ 742225 h 949444"/>
                <a:gd name="connsiteX1153" fmla="*/ 550117 w 1055399"/>
                <a:gd name="connsiteY1153" fmla="*/ 739635 h 949444"/>
                <a:gd name="connsiteX1154" fmla="*/ 551093 w 1055399"/>
                <a:gd name="connsiteY1154" fmla="*/ 738659 h 949444"/>
                <a:gd name="connsiteX1155" fmla="*/ 553280 w 1055399"/>
                <a:gd name="connsiteY1155" fmla="*/ 736910 h 949444"/>
                <a:gd name="connsiteX1156" fmla="*/ 554357 w 1055399"/>
                <a:gd name="connsiteY1156" fmla="*/ 735497 h 949444"/>
                <a:gd name="connsiteX1157" fmla="*/ 554458 w 1055399"/>
                <a:gd name="connsiteY1157" fmla="*/ 734421 h 949444"/>
                <a:gd name="connsiteX1158" fmla="*/ 552607 w 1055399"/>
                <a:gd name="connsiteY1158" fmla="*/ 731595 h 949444"/>
                <a:gd name="connsiteX1159" fmla="*/ 551732 w 1055399"/>
                <a:gd name="connsiteY1159" fmla="*/ 731057 h 949444"/>
                <a:gd name="connsiteX1160" fmla="*/ 549982 w 1055399"/>
                <a:gd name="connsiteY1160" fmla="*/ 730283 h 949444"/>
                <a:gd name="connsiteX1161" fmla="*/ 547492 w 1055399"/>
                <a:gd name="connsiteY1161" fmla="*/ 728231 h 949444"/>
                <a:gd name="connsiteX1162" fmla="*/ 544328 w 1055399"/>
                <a:gd name="connsiteY1162" fmla="*/ 725741 h 949444"/>
                <a:gd name="connsiteX1163" fmla="*/ 542477 w 1055399"/>
                <a:gd name="connsiteY1163" fmla="*/ 724329 h 949444"/>
                <a:gd name="connsiteX1164" fmla="*/ 542376 w 1055399"/>
                <a:gd name="connsiteY1164" fmla="*/ 722277 h 949444"/>
                <a:gd name="connsiteX1165" fmla="*/ 542915 w 1055399"/>
                <a:gd name="connsiteY1165" fmla="*/ 720426 h 949444"/>
                <a:gd name="connsiteX1166" fmla="*/ 543689 w 1055399"/>
                <a:gd name="connsiteY1166" fmla="*/ 718812 h 949444"/>
                <a:gd name="connsiteX1167" fmla="*/ 544766 w 1055399"/>
                <a:gd name="connsiteY1167" fmla="*/ 716861 h 949444"/>
                <a:gd name="connsiteX1168" fmla="*/ 546381 w 1055399"/>
                <a:gd name="connsiteY1168" fmla="*/ 714371 h 949444"/>
                <a:gd name="connsiteX1169" fmla="*/ 548871 w 1055399"/>
                <a:gd name="connsiteY1169" fmla="*/ 712420 h 949444"/>
                <a:gd name="connsiteX1170" fmla="*/ 550184 w 1055399"/>
                <a:gd name="connsiteY1170" fmla="*/ 711445 h 949444"/>
                <a:gd name="connsiteX1171" fmla="*/ 553448 w 1055399"/>
                <a:gd name="connsiteY1171" fmla="*/ 709493 h 949444"/>
                <a:gd name="connsiteX1172" fmla="*/ 556276 w 1055399"/>
                <a:gd name="connsiteY1172" fmla="*/ 707307 h 949444"/>
                <a:gd name="connsiteX1173" fmla="*/ 557050 w 1055399"/>
                <a:gd name="connsiteY1173" fmla="*/ 705793 h 949444"/>
                <a:gd name="connsiteX1174" fmla="*/ 559338 w 1055399"/>
                <a:gd name="connsiteY1174" fmla="*/ 704212 h 949444"/>
                <a:gd name="connsiteX1175" fmla="*/ 561391 w 1055399"/>
                <a:gd name="connsiteY1175" fmla="*/ 702194 h 949444"/>
                <a:gd name="connsiteX1176" fmla="*/ 562569 w 1055399"/>
                <a:gd name="connsiteY1176" fmla="*/ 702194 h 949444"/>
                <a:gd name="connsiteX1177" fmla="*/ 565396 w 1055399"/>
                <a:gd name="connsiteY1177" fmla="*/ 701958 h 949444"/>
                <a:gd name="connsiteX1178" fmla="*/ 569199 w 1055399"/>
                <a:gd name="connsiteY1178" fmla="*/ 705221 h 949444"/>
                <a:gd name="connsiteX1179" fmla="*/ 569973 w 1055399"/>
                <a:gd name="connsiteY1179" fmla="*/ 705558 h 949444"/>
                <a:gd name="connsiteX1180" fmla="*/ 572564 w 1055399"/>
                <a:gd name="connsiteY1180" fmla="*/ 706533 h 949444"/>
                <a:gd name="connsiteX1181" fmla="*/ 575055 w 1055399"/>
                <a:gd name="connsiteY1181" fmla="*/ 706533 h 949444"/>
                <a:gd name="connsiteX1182" fmla="*/ 578555 w 1055399"/>
                <a:gd name="connsiteY1182" fmla="*/ 704347 h 949444"/>
                <a:gd name="connsiteX1183" fmla="*/ 581920 w 1055399"/>
                <a:gd name="connsiteY1183" fmla="*/ 701420 h 949444"/>
                <a:gd name="connsiteX1184" fmla="*/ 584310 w 1055399"/>
                <a:gd name="connsiteY1184" fmla="*/ 698695 h 949444"/>
                <a:gd name="connsiteX1185" fmla="*/ 585723 w 1055399"/>
                <a:gd name="connsiteY1185" fmla="*/ 696408 h 949444"/>
                <a:gd name="connsiteX1186" fmla="*/ 586800 w 1055399"/>
                <a:gd name="connsiteY1186" fmla="*/ 694019 h 949444"/>
                <a:gd name="connsiteX1187" fmla="*/ 587002 w 1055399"/>
                <a:gd name="connsiteY1187" fmla="*/ 690218 h 949444"/>
                <a:gd name="connsiteX1188" fmla="*/ 587103 w 1055399"/>
                <a:gd name="connsiteY1188" fmla="*/ 687493 h 949444"/>
                <a:gd name="connsiteX1189" fmla="*/ 586666 w 1055399"/>
                <a:gd name="connsiteY1189" fmla="*/ 684903 h 949444"/>
                <a:gd name="connsiteX1190" fmla="*/ 585016 w 1055399"/>
                <a:gd name="connsiteY1190" fmla="*/ 681976 h 949444"/>
                <a:gd name="connsiteX1191" fmla="*/ 583502 w 1055399"/>
                <a:gd name="connsiteY1191" fmla="*/ 679050 h 949444"/>
                <a:gd name="connsiteX1192" fmla="*/ 581315 w 1055399"/>
                <a:gd name="connsiteY1192" fmla="*/ 677738 h 949444"/>
                <a:gd name="connsiteX1193" fmla="*/ 579363 w 1055399"/>
                <a:gd name="connsiteY1193" fmla="*/ 675989 h 949444"/>
                <a:gd name="connsiteX1194" fmla="*/ 579026 w 1055399"/>
                <a:gd name="connsiteY1194" fmla="*/ 673802 h 949444"/>
                <a:gd name="connsiteX1195" fmla="*/ 580002 w 1055399"/>
                <a:gd name="connsiteY1195" fmla="*/ 671178 h 949444"/>
                <a:gd name="connsiteX1196" fmla="*/ 582190 w 1055399"/>
                <a:gd name="connsiteY1196" fmla="*/ 667040 h 949444"/>
                <a:gd name="connsiteX1197" fmla="*/ 582829 w 1055399"/>
                <a:gd name="connsiteY1197" fmla="*/ 664551 h 949444"/>
                <a:gd name="connsiteX1198" fmla="*/ 584141 w 1055399"/>
                <a:gd name="connsiteY1198" fmla="*/ 662062 h 949444"/>
                <a:gd name="connsiteX1199" fmla="*/ 584478 w 1055399"/>
                <a:gd name="connsiteY1199" fmla="*/ 659774 h 949444"/>
                <a:gd name="connsiteX1200" fmla="*/ 585892 w 1055399"/>
                <a:gd name="connsiteY1200" fmla="*/ 657588 h 949444"/>
                <a:gd name="connsiteX1201" fmla="*/ 586666 w 1055399"/>
                <a:gd name="connsiteY1201" fmla="*/ 657487 h 949444"/>
                <a:gd name="connsiteX1202" fmla="*/ 588954 w 1055399"/>
                <a:gd name="connsiteY1202" fmla="*/ 657386 h 949444"/>
                <a:gd name="connsiteX1203" fmla="*/ 590469 w 1055399"/>
                <a:gd name="connsiteY1203" fmla="*/ 660110 h 949444"/>
                <a:gd name="connsiteX1204" fmla="*/ 591445 w 1055399"/>
                <a:gd name="connsiteY1204" fmla="*/ 661422 h 949444"/>
                <a:gd name="connsiteX1205" fmla="*/ 593834 w 1055399"/>
                <a:gd name="connsiteY1205" fmla="*/ 662129 h 949444"/>
                <a:gd name="connsiteX1206" fmla="*/ 597637 w 1055399"/>
                <a:gd name="connsiteY1206" fmla="*/ 662196 h 949444"/>
                <a:gd name="connsiteX1207" fmla="*/ 599050 w 1055399"/>
                <a:gd name="connsiteY1207" fmla="*/ 662196 h 949444"/>
                <a:gd name="connsiteX1208" fmla="*/ 601642 w 1055399"/>
                <a:gd name="connsiteY1208" fmla="*/ 662533 h 949444"/>
                <a:gd name="connsiteX1209" fmla="*/ 604570 w 1055399"/>
                <a:gd name="connsiteY1209" fmla="*/ 662196 h 949444"/>
                <a:gd name="connsiteX1210" fmla="*/ 608608 w 1055399"/>
                <a:gd name="connsiteY1210" fmla="*/ 661994 h 949444"/>
                <a:gd name="connsiteX1211" fmla="*/ 610123 w 1055399"/>
                <a:gd name="connsiteY1211" fmla="*/ 659539 h 949444"/>
                <a:gd name="connsiteX1212" fmla="*/ 612613 w 1055399"/>
                <a:gd name="connsiteY1212" fmla="*/ 658731 h 949444"/>
                <a:gd name="connsiteX1213" fmla="*/ 614666 w 1055399"/>
                <a:gd name="connsiteY1213" fmla="*/ 658731 h 949444"/>
                <a:gd name="connsiteX1214" fmla="*/ 619008 w 1055399"/>
                <a:gd name="connsiteY1214" fmla="*/ 661355 h 949444"/>
                <a:gd name="connsiteX1215" fmla="*/ 623013 w 1055399"/>
                <a:gd name="connsiteY1215" fmla="*/ 663004 h 949444"/>
                <a:gd name="connsiteX1216" fmla="*/ 630518 w 1055399"/>
                <a:gd name="connsiteY1216" fmla="*/ 661591 h 949444"/>
                <a:gd name="connsiteX1217" fmla="*/ 636710 w 1055399"/>
                <a:gd name="connsiteY1217" fmla="*/ 660951 h 949444"/>
                <a:gd name="connsiteX1218" fmla="*/ 641051 w 1055399"/>
                <a:gd name="connsiteY1218" fmla="*/ 660077 h 949444"/>
                <a:gd name="connsiteX1219" fmla="*/ 644316 w 1055399"/>
                <a:gd name="connsiteY1219" fmla="*/ 663340 h 949444"/>
                <a:gd name="connsiteX1220" fmla="*/ 643676 w 1055399"/>
                <a:gd name="connsiteY1220" fmla="*/ 667478 h 949444"/>
                <a:gd name="connsiteX1221" fmla="*/ 642263 w 1055399"/>
                <a:gd name="connsiteY1221" fmla="*/ 668554 h 949444"/>
                <a:gd name="connsiteX1222" fmla="*/ 639335 w 1055399"/>
                <a:gd name="connsiteY1222" fmla="*/ 670842 h 949444"/>
                <a:gd name="connsiteX1223" fmla="*/ 635869 w 1055399"/>
                <a:gd name="connsiteY1223" fmla="*/ 671380 h 949444"/>
                <a:gd name="connsiteX1224" fmla="*/ 633244 w 1055399"/>
                <a:gd name="connsiteY1224" fmla="*/ 672692 h 949444"/>
                <a:gd name="connsiteX1225" fmla="*/ 631393 w 1055399"/>
                <a:gd name="connsiteY1225" fmla="*/ 674105 h 949444"/>
                <a:gd name="connsiteX1226" fmla="*/ 629239 w 1055399"/>
                <a:gd name="connsiteY1226" fmla="*/ 676291 h 949444"/>
                <a:gd name="connsiteX1227" fmla="*/ 627287 w 1055399"/>
                <a:gd name="connsiteY1227" fmla="*/ 678242 h 949444"/>
                <a:gd name="connsiteX1228" fmla="*/ 624796 w 1055399"/>
                <a:gd name="connsiteY1228" fmla="*/ 680429 h 949444"/>
                <a:gd name="connsiteX1229" fmla="*/ 623820 w 1055399"/>
                <a:gd name="connsiteY1229" fmla="*/ 681640 h 949444"/>
                <a:gd name="connsiteX1230" fmla="*/ 623618 w 1055399"/>
                <a:gd name="connsiteY1230" fmla="*/ 685441 h 949444"/>
                <a:gd name="connsiteX1231" fmla="*/ 623820 w 1055399"/>
                <a:gd name="connsiteY1231" fmla="*/ 691295 h 949444"/>
                <a:gd name="connsiteX1232" fmla="*/ 624022 w 1055399"/>
                <a:gd name="connsiteY1232" fmla="*/ 693044 h 949444"/>
                <a:gd name="connsiteX1233" fmla="*/ 625974 w 1055399"/>
                <a:gd name="connsiteY1233" fmla="*/ 695769 h 949444"/>
                <a:gd name="connsiteX1234" fmla="*/ 632066 w 1055399"/>
                <a:gd name="connsiteY1234" fmla="*/ 698493 h 949444"/>
                <a:gd name="connsiteX1235" fmla="*/ 635431 w 1055399"/>
                <a:gd name="connsiteY1235" fmla="*/ 698493 h 949444"/>
                <a:gd name="connsiteX1236" fmla="*/ 637922 w 1055399"/>
                <a:gd name="connsiteY1236" fmla="*/ 700007 h 949444"/>
                <a:gd name="connsiteX1237" fmla="*/ 640950 w 1055399"/>
                <a:gd name="connsiteY1237" fmla="*/ 704044 h 949444"/>
                <a:gd name="connsiteX1238" fmla="*/ 642465 w 1055399"/>
                <a:gd name="connsiteY1238" fmla="*/ 708484 h 949444"/>
                <a:gd name="connsiteX1239" fmla="*/ 640143 w 1055399"/>
                <a:gd name="connsiteY1239" fmla="*/ 709964 h 949444"/>
                <a:gd name="connsiteX1240" fmla="*/ 638999 w 1055399"/>
                <a:gd name="connsiteY1240" fmla="*/ 712992 h 949444"/>
                <a:gd name="connsiteX1241" fmla="*/ 638561 w 1055399"/>
                <a:gd name="connsiteY1241" fmla="*/ 714741 h 949444"/>
                <a:gd name="connsiteX1242" fmla="*/ 640748 w 1055399"/>
                <a:gd name="connsiteY1242" fmla="*/ 715313 h 949444"/>
                <a:gd name="connsiteX1243" fmla="*/ 643071 w 1055399"/>
                <a:gd name="connsiteY1243" fmla="*/ 716188 h 949444"/>
                <a:gd name="connsiteX1244" fmla="*/ 643777 w 1055399"/>
                <a:gd name="connsiteY1244" fmla="*/ 718206 h 949444"/>
                <a:gd name="connsiteX1245" fmla="*/ 643643 w 1055399"/>
                <a:gd name="connsiteY1245" fmla="*/ 722983 h 949444"/>
                <a:gd name="connsiteX1246" fmla="*/ 639873 w 1055399"/>
                <a:gd name="connsiteY1246" fmla="*/ 726313 h 949444"/>
                <a:gd name="connsiteX1247" fmla="*/ 637417 w 1055399"/>
                <a:gd name="connsiteY1247" fmla="*/ 727188 h 949444"/>
                <a:gd name="connsiteX1248" fmla="*/ 635095 w 1055399"/>
                <a:gd name="connsiteY1248" fmla="*/ 728937 h 949444"/>
                <a:gd name="connsiteX1249" fmla="*/ 630316 w 1055399"/>
                <a:gd name="connsiteY1249" fmla="*/ 732402 h 949444"/>
                <a:gd name="connsiteX1250" fmla="*/ 630181 w 1055399"/>
                <a:gd name="connsiteY1250" fmla="*/ 734858 h 949444"/>
                <a:gd name="connsiteX1251" fmla="*/ 630316 w 1055399"/>
                <a:gd name="connsiteY1251" fmla="*/ 736607 h 949444"/>
                <a:gd name="connsiteX1252" fmla="*/ 634085 w 1055399"/>
                <a:gd name="connsiteY1252" fmla="*/ 739500 h 949444"/>
                <a:gd name="connsiteX1253" fmla="*/ 636542 w 1055399"/>
                <a:gd name="connsiteY1253" fmla="*/ 741081 h 949444"/>
                <a:gd name="connsiteX1254" fmla="*/ 638864 w 1055399"/>
                <a:gd name="connsiteY1254" fmla="*/ 741384 h 949444"/>
                <a:gd name="connsiteX1255" fmla="*/ 642499 w 1055399"/>
                <a:gd name="connsiteY1255" fmla="*/ 743268 h 949444"/>
                <a:gd name="connsiteX1256" fmla="*/ 644821 w 1055399"/>
                <a:gd name="connsiteY1256" fmla="*/ 746295 h 949444"/>
                <a:gd name="connsiteX1257" fmla="*/ 645965 w 1055399"/>
                <a:gd name="connsiteY1257" fmla="*/ 748482 h 949444"/>
                <a:gd name="connsiteX1258" fmla="*/ 646537 w 1055399"/>
                <a:gd name="connsiteY1258" fmla="*/ 750500 h 949444"/>
                <a:gd name="connsiteX1259" fmla="*/ 646672 w 1055399"/>
                <a:gd name="connsiteY1259" fmla="*/ 751947 h 949444"/>
                <a:gd name="connsiteX1260" fmla="*/ 649128 w 1055399"/>
                <a:gd name="connsiteY1260" fmla="*/ 753090 h 949444"/>
                <a:gd name="connsiteX1261" fmla="*/ 654076 w 1055399"/>
                <a:gd name="connsiteY1261" fmla="*/ 752519 h 949444"/>
                <a:gd name="connsiteX1262" fmla="*/ 655523 w 1055399"/>
                <a:gd name="connsiteY1262" fmla="*/ 751341 h 949444"/>
                <a:gd name="connsiteX1263" fmla="*/ 660302 w 1055399"/>
                <a:gd name="connsiteY1263" fmla="*/ 751039 h 949444"/>
                <a:gd name="connsiteX1264" fmla="*/ 663364 w 1055399"/>
                <a:gd name="connsiteY1264" fmla="*/ 752216 h 949444"/>
                <a:gd name="connsiteX1265" fmla="*/ 666999 w 1055399"/>
                <a:gd name="connsiteY1265" fmla="*/ 752922 h 949444"/>
                <a:gd name="connsiteX1266" fmla="*/ 672081 w 1055399"/>
                <a:gd name="connsiteY1266" fmla="*/ 750298 h 949444"/>
                <a:gd name="connsiteX1267" fmla="*/ 673663 w 1055399"/>
                <a:gd name="connsiteY1267" fmla="*/ 747271 h 949444"/>
                <a:gd name="connsiteX1268" fmla="*/ 674100 w 1055399"/>
                <a:gd name="connsiteY1268" fmla="*/ 744815 h 949444"/>
                <a:gd name="connsiteX1269" fmla="*/ 676288 w 1055399"/>
                <a:gd name="connsiteY1269" fmla="*/ 744512 h 949444"/>
                <a:gd name="connsiteX1270" fmla="*/ 678307 w 1055399"/>
                <a:gd name="connsiteY1270" fmla="*/ 744512 h 949444"/>
                <a:gd name="connsiteX1271" fmla="*/ 680629 w 1055399"/>
                <a:gd name="connsiteY1271" fmla="*/ 745387 h 949444"/>
                <a:gd name="connsiteX1272" fmla="*/ 682379 w 1055399"/>
                <a:gd name="connsiteY1272" fmla="*/ 745690 h 949444"/>
                <a:gd name="connsiteX1273" fmla="*/ 684701 w 1055399"/>
                <a:gd name="connsiteY1273" fmla="*/ 745118 h 949444"/>
                <a:gd name="connsiteX1274" fmla="*/ 686283 w 1055399"/>
                <a:gd name="connsiteY1274" fmla="*/ 742797 h 949444"/>
                <a:gd name="connsiteX1275" fmla="*/ 687158 w 1055399"/>
                <a:gd name="connsiteY1275" fmla="*/ 740476 h 949444"/>
                <a:gd name="connsiteX1276" fmla="*/ 688168 w 1055399"/>
                <a:gd name="connsiteY1276" fmla="*/ 738895 h 949444"/>
                <a:gd name="connsiteX1277" fmla="*/ 690053 w 1055399"/>
                <a:gd name="connsiteY1277" fmla="*/ 736876 h 949444"/>
                <a:gd name="connsiteX1278" fmla="*/ 690928 w 1055399"/>
                <a:gd name="connsiteY1278" fmla="*/ 734992 h 949444"/>
                <a:gd name="connsiteX1279" fmla="*/ 692677 w 1055399"/>
                <a:gd name="connsiteY1279" fmla="*/ 732369 h 949444"/>
                <a:gd name="connsiteX1280" fmla="*/ 694259 w 1055399"/>
                <a:gd name="connsiteY1280" fmla="*/ 729778 h 949444"/>
                <a:gd name="connsiteX1281" fmla="*/ 695000 w 1055399"/>
                <a:gd name="connsiteY1281" fmla="*/ 727894 h 949444"/>
                <a:gd name="connsiteX1282" fmla="*/ 696884 w 1055399"/>
                <a:gd name="connsiteY1282" fmla="*/ 725439 h 949444"/>
                <a:gd name="connsiteX1283" fmla="*/ 699072 w 1055399"/>
                <a:gd name="connsiteY1283" fmla="*/ 722546 h 949444"/>
                <a:gd name="connsiteX1284" fmla="*/ 701529 w 1055399"/>
                <a:gd name="connsiteY1284" fmla="*/ 720225 h 949444"/>
                <a:gd name="connsiteX1285" fmla="*/ 704423 w 1055399"/>
                <a:gd name="connsiteY1285" fmla="*/ 721974 h 949444"/>
                <a:gd name="connsiteX1286" fmla="*/ 707048 w 1055399"/>
                <a:gd name="connsiteY1286" fmla="*/ 725001 h 949444"/>
                <a:gd name="connsiteX1287" fmla="*/ 707923 w 1055399"/>
                <a:gd name="connsiteY1287" fmla="*/ 727760 h 949444"/>
                <a:gd name="connsiteX1288" fmla="*/ 708630 w 1055399"/>
                <a:gd name="connsiteY1288" fmla="*/ 731225 h 949444"/>
                <a:gd name="connsiteX1289" fmla="*/ 710077 w 1055399"/>
                <a:gd name="connsiteY1289" fmla="*/ 732671 h 949444"/>
                <a:gd name="connsiteX1290" fmla="*/ 713409 w 1055399"/>
                <a:gd name="connsiteY1290" fmla="*/ 734690 h 949444"/>
                <a:gd name="connsiteX1291" fmla="*/ 715866 w 1055399"/>
                <a:gd name="connsiteY1291" fmla="*/ 736271 h 949444"/>
                <a:gd name="connsiteX1292" fmla="*/ 718760 w 1055399"/>
                <a:gd name="connsiteY1292" fmla="*/ 736977 h 949444"/>
                <a:gd name="connsiteX1293" fmla="*/ 720947 w 1055399"/>
                <a:gd name="connsiteY1293" fmla="*/ 737852 h 949444"/>
                <a:gd name="connsiteX1294" fmla="*/ 724145 w 1055399"/>
                <a:gd name="connsiteY1294" fmla="*/ 738726 h 949444"/>
                <a:gd name="connsiteX1295" fmla="*/ 726837 w 1055399"/>
                <a:gd name="connsiteY1295" fmla="*/ 741485 h 949444"/>
                <a:gd name="connsiteX1296" fmla="*/ 726904 w 1055399"/>
                <a:gd name="connsiteY1296" fmla="*/ 745387 h 949444"/>
                <a:gd name="connsiteX1297" fmla="*/ 726904 w 1055399"/>
                <a:gd name="connsiteY1297" fmla="*/ 748314 h 949444"/>
                <a:gd name="connsiteX1298" fmla="*/ 725322 w 1055399"/>
                <a:gd name="connsiteY1298" fmla="*/ 750332 h 949444"/>
                <a:gd name="connsiteX1299" fmla="*/ 723572 w 1055399"/>
                <a:gd name="connsiteY1299" fmla="*/ 751779 h 949444"/>
                <a:gd name="connsiteX1300" fmla="*/ 723135 w 1055399"/>
                <a:gd name="connsiteY1300" fmla="*/ 754537 h 949444"/>
                <a:gd name="connsiteX1301" fmla="*/ 722832 w 1055399"/>
                <a:gd name="connsiteY1301" fmla="*/ 757733 h 949444"/>
                <a:gd name="connsiteX1302" fmla="*/ 725895 w 1055399"/>
                <a:gd name="connsiteY1302" fmla="*/ 757867 h 949444"/>
                <a:gd name="connsiteX1303" fmla="*/ 731246 w 1055399"/>
                <a:gd name="connsiteY1303" fmla="*/ 757867 h 949444"/>
                <a:gd name="connsiteX1304" fmla="*/ 732121 w 1055399"/>
                <a:gd name="connsiteY1304" fmla="*/ 759886 h 949444"/>
                <a:gd name="connsiteX1305" fmla="*/ 732121 w 1055399"/>
                <a:gd name="connsiteY1305" fmla="*/ 760458 h 949444"/>
                <a:gd name="connsiteX1306" fmla="*/ 732121 w 1055399"/>
                <a:gd name="connsiteY1306" fmla="*/ 763923 h 949444"/>
                <a:gd name="connsiteX1307" fmla="*/ 729967 w 1055399"/>
                <a:gd name="connsiteY1307" fmla="*/ 765234 h 949444"/>
                <a:gd name="connsiteX1308" fmla="*/ 725188 w 1055399"/>
                <a:gd name="connsiteY1308" fmla="*/ 766681 h 949444"/>
                <a:gd name="connsiteX1309" fmla="*/ 723875 w 1055399"/>
                <a:gd name="connsiteY1309" fmla="*/ 770146 h 949444"/>
                <a:gd name="connsiteX1310" fmla="*/ 724010 w 1055399"/>
                <a:gd name="connsiteY1310" fmla="*/ 771592 h 949444"/>
                <a:gd name="connsiteX1311" fmla="*/ 726803 w 1055399"/>
                <a:gd name="connsiteY1311" fmla="*/ 773173 h 949444"/>
                <a:gd name="connsiteX1312" fmla="*/ 726904 w 1055399"/>
                <a:gd name="connsiteY1312" fmla="*/ 773476 h 949444"/>
                <a:gd name="connsiteX1313" fmla="*/ 726904 w 1055399"/>
                <a:gd name="connsiteY1313" fmla="*/ 773476 h 949444"/>
                <a:gd name="connsiteX1314" fmla="*/ 731246 w 1055399"/>
                <a:gd name="connsiteY1314" fmla="*/ 773476 h 949444"/>
                <a:gd name="connsiteX1315" fmla="*/ 736765 w 1055399"/>
                <a:gd name="connsiteY1315" fmla="*/ 768262 h 949444"/>
                <a:gd name="connsiteX1316" fmla="*/ 741679 w 1055399"/>
                <a:gd name="connsiteY1316" fmla="*/ 768262 h 949444"/>
                <a:gd name="connsiteX1317" fmla="*/ 744876 w 1055399"/>
                <a:gd name="connsiteY1317" fmla="*/ 766244 h 949444"/>
                <a:gd name="connsiteX1318" fmla="*/ 747198 w 1055399"/>
                <a:gd name="connsiteY1318" fmla="*/ 767993 h 949444"/>
                <a:gd name="connsiteX1319" fmla="*/ 748948 w 1055399"/>
                <a:gd name="connsiteY1319" fmla="*/ 772063 h 949444"/>
                <a:gd name="connsiteX1320" fmla="*/ 751842 w 1055399"/>
                <a:gd name="connsiteY1320" fmla="*/ 773510 h 949444"/>
                <a:gd name="connsiteX1321" fmla="*/ 758439 w 1055399"/>
                <a:gd name="connsiteY1321" fmla="*/ 776975 h 949444"/>
                <a:gd name="connsiteX1322" fmla="*/ 762578 w 1055399"/>
                <a:gd name="connsiteY1322" fmla="*/ 776975 h 949444"/>
                <a:gd name="connsiteX1323" fmla="*/ 771261 w 1055399"/>
                <a:gd name="connsiteY1323" fmla="*/ 776975 h 949444"/>
                <a:gd name="connsiteX1324" fmla="*/ 773852 w 1055399"/>
                <a:gd name="connsiteY1324" fmla="*/ 772938 h 949444"/>
                <a:gd name="connsiteX1325" fmla="*/ 775804 w 1055399"/>
                <a:gd name="connsiteY1325" fmla="*/ 770011 h 949444"/>
                <a:gd name="connsiteX1326" fmla="*/ 785160 w 1055399"/>
                <a:gd name="connsiteY1326" fmla="*/ 770011 h 949444"/>
                <a:gd name="connsiteX1327" fmla="*/ 790141 w 1055399"/>
                <a:gd name="connsiteY1327" fmla="*/ 770449 h 949444"/>
                <a:gd name="connsiteX1328" fmla="*/ 801449 w 1055399"/>
                <a:gd name="connsiteY1328" fmla="*/ 771693 h 949444"/>
                <a:gd name="connsiteX1329" fmla="*/ 804377 w 1055399"/>
                <a:gd name="connsiteY1329" fmla="*/ 769574 h 949444"/>
                <a:gd name="connsiteX1330" fmla="*/ 806867 w 1055399"/>
                <a:gd name="connsiteY1330" fmla="*/ 766244 h 949444"/>
                <a:gd name="connsiteX1331" fmla="*/ 806867 w 1055399"/>
                <a:gd name="connsiteY1331" fmla="*/ 765672 h 949444"/>
                <a:gd name="connsiteX1332" fmla="*/ 812286 w 1055399"/>
                <a:gd name="connsiteY1332" fmla="*/ 766984 h 949444"/>
                <a:gd name="connsiteX1333" fmla="*/ 814473 w 1055399"/>
                <a:gd name="connsiteY1333" fmla="*/ 771424 h 949444"/>
                <a:gd name="connsiteX1334" fmla="*/ 817940 w 1055399"/>
                <a:gd name="connsiteY1334" fmla="*/ 773274 h 949444"/>
                <a:gd name="connsiteX1335" fmla="*/ 821844 w 1055399"/>
                <a:gd name="connsiteY1335" fmla="*/ 771424 h 949444"/>
                <a:gd name="connsiteX1336" fmla="*/ 823796 w 1055399"/>
                <a:gd name="connsiteY1336" fmla="*/ 768935 h 949444"/>
                <a:gd name="connsiteX1337" fmla="*/ 825546 w 1055399"/>
                <a:gd name="connsiteY1337" fmla="*/ 765672 h 949444"/>
                <a:gd name="connsiteX1338" fmla="*/ 826858 w 1055399"/>
                <a:gd name="connsiteY1338" fmla="*/ 764158 h 949444"/>
                <a:gd name="connsiteX1339" fmla="*/ 826858 w 1055399"/>
                <a:gd name="connsiteY1339" fmla="*/ 761770 h 949444"/>
                <a:gd name="connsiteX1340" fmla="*/ 827161 w 1055399"/>
                <a:gd name="connsiteY1340" fmla="*/ 759818 h 949444"/>
                <a:gd name="connsiteX1341" fmla="*/ 827296 w 1055399"/>
                <a:gd name="connsiteY1341" fmla="*/ 758506 h 949444"/>
                <a:gd name="connsiteX1342" fmla="*/ 827431 w 1055399"/>
                <a:gd name="connsiteY1342" fmla="*/ 755243 h 949444"/>
                <a:gd name="connsiteX1343" fmla="*/ 827733 w 1055399"/>
                <a:gd name="connsiteY1343" fmla="*/ 752418 h 949444"/>
                <a:gd name="connsiteX1344" fmla="*/ 827733 w 1055399"/>
                <a:gd name="connsiteY1344" fmla="*/ 750029 h 949444"/>
                <a:gd name="connsiteX1345" fmla="*/ 825781 w 1055399"/>
                <a:gd name="connsiteY1345" fmla="*/ 748280 h 949444"/>
                <a:gd name="connsiteX1346" fmla="*/ 825142 w 1055399"/>
                <a:gd name="connsiteY1346" fmla="*/ 745892 h 949444"/>
                <a:gd name="connsiteX1347" fmla="*/ 823628 w 1055399"/>
                <a:gd name="connsiteY1347" fmla="*/ 744849 h 949444"/>
                <a:gd name="connsiteX1348" fmla="*/ 820800 w 1055399"/>
                <a:gd name="connsiteY1348" fmla="*/ 742797 h 949444"/>
                <a:gd name="connsiteX1349" fmla="*/ 820800 w 1055399"/>
                <a:gd name="connsiteY1349" fmla="*/ 740778 h 949444"/>
                <a:gd name="connsiteX1350" fmla="*/ 821608 w 1055399"/>
                <a:gd name="connsiteY1350" fmla="*/ 739365 h 949444"/>
                <a:gd name="connsiteX1351" fmla="*/ 822416 w 1055399"/>
                <a:gd name="connsiteY1351" fmla="*/ 738491 h 949444"/>
                <a:gd name="connsiteX1352" fmla="*/ 822921 w 1055399"/>
                <a:gd name="connsiteY1352" fmla="*/ 736540 h 949444"/>
                <a:gd name="connsiteX1353" fmla="*/ 822921 w 1055399"/>
                <a:gd name="connsiteY1353" fmla="*/ 734421 h 949444"/>
                <a:gd name="connsiteX1354" fmla="*/ 821945 w 1055399"/>
                <a:gd name="connsiteY1354" fmla="*/ 732503 h 949444"/>
                <a:gd name="connsiteX1355" fmla="*/ 819656 w 1055399"/>
                <a:gd name="connsiteY1355" fmla="*/ 731460 h 949444"/>
                <a:gd name="connsiteX1356" fmla="*/ 816897 w 1055399"/>
                <a:gd name="connsiteY1356" fmla="*/ 730014 h 949444"/>
                <a:gd name="connsiteX1357" fmla="*/ 814709 w 1055399"/>
                <a:gd name="connsiteY1357" fmla="*/ 730014 h 949444"/>
                <a:gd name="connsiteX1358" fmla="*/ 813094 w 1055399"/>
                <a:gd name="connsiteY1358" fmla="*/ 728601 h 949444"/>
                <a:gd name="connsiteX1359" fmla="*/ 811882 w 1055399"/>
                <a:gd name="connsiteY1359" fmla="*/ 728264 h 949444"/>
                <a:gd name="connsiteX1360" fmla="*/ 807742 w 1055399"/>
                <a:gd name="connsiteY1360" fmla="*/ 728264 h 949444"/>
                <a:gd name="connsiteX1361" fmla="*/ 806228 w 1055399"/>
                <a:gd name="connsiteY1361" fmla="*/ 728567 h 949444"/>
                <a:gd name="connsiteX1362" fmla="*/ 804916 w 1055399"/>
                <a:gd name="connsiteY1362" fmla="*/ 730081 h 949444"/>
                <a:gd name="connsiteX1363" fmla="*/ 802089 w 1055399"/>
                <a:gd name="connsiteY1363" fmla="*/ 731090 h 949444"/>
                <a:gd name="connsiteX1364" fmla="*/ 800069 w 1055399"/>
                <a:gd name="connsiteY1364" fmla="*/ 732335 h 949444"/>
                <a:gd name="connsiteX1365" fmla="*/ 797747 w 1055399"/>
                <a:gd name="connsiteY1365" fmla="*/ 733781 h 949444"/>
                <a:gd name="connsiteX1366" fmla="*/ 794281 w 1055399"/>
                <a:gd name="connsiteY1366" fmla="*/ 734656 h 949444"/>
                <a:gd name="connsiteX1367" fmla="*/ 788324 w 1055399"/>
                <a:gd name="connsiteY1367" fmla="*/ 735228 h 949444"/>
                <a:gd name="connsiteX1368" fmla="*/ 785127 w 1055399"/>
                <a:gd name="connsiteY1368" fmla="*/ 735228 h 949444"/>
                <a:gd name="connsiteX1369" fmla="*/ 783982 w 1055399"/>
                <a:gd name="connsiteY1369" fmla="*/ 733916 h 949444"/>
                <a:gd name="connsiteX1370" fmla="*/ 783848 w 1055399"/>
                <a:gd name="connsiteY1370" fmla="*/ 730888 h 949444"/>
                <a:gd name="connsiteX1371" fmla="*/ 784588 w 1055399"/>
                <a:gd name="connsiteY1371" fmla="*/ 729307 h 949444"/>
                <a:gd name="connsiteX1372" fmla="*/ 785598 w 1055399"/>
                <a:gd name="connsiteY1372" fmla="*/ 727121 h 949444"/>
                <a:gd name="connsiteX1373" fmla="*/ 784454 w 1055399"/>
                <a:gd name="connsiteY1373" fmla="*/ 724093 h 949444"/>
                <a:gd name="connsiteX1374" fmla="*/ 784151 w 1055399"/>
                <a:gd name="connsiteY1374" fmla="*/ 719316 h 949444"/>
                <a:gd name="connsiteX1375" fmla="*/ 783141 w 1055399"/>
                <a:gd name="connsiteY1375" fmla="*/ 715246 h 949444"/>
                <a:gd name="connsiteX1376" fmla="*/ 780381 w 1055399"/>
                <a:gd name="connsiteY1376" fmla="*/ 712353 h 949444"/>
                <a:gd name="connsiteX1377" fmla="*/ 779069 w 1055399"/>
                <a:gd name="connsiteY1377" fmla="*/ 710536 h 949444"/>
                <a:gd name="connsiteX1378" fmla="*/ 778194 w 1055399"/>
                <a:gd name="connsiteY1378" fmla="*/ 709157 h 949444"/>
                <a:gd name="connsiteX1379" fmla="*/ 777453 w 1055399"/>
                <a:gd name="connsiteY1379" fmla="*/ 709157 h 949444"/>
                <a:gd name="connsiteX1380" fmla="*/ 773684 w 1055399"/>
                <a:gd name="connsiteY1380" fmla="*/ 709090 h 949444"/>
                <a:gd name="connsiteX1381" fmla="*/ 768771 w 1055399"/>
                <a:gd name="connsiteY1381" fmla="*/ 711175 h 949444"/>
                <a:gd name="connsiteX1382" fmla="*/ 766751 w 1055399"/>
                <a:gd name="connsiteY1382" fmla="*/ 712487 h 949444"/>
                <a:gd name="connsiteX1383" fmla="*/ 764564 w 1055399"/>
                <a:gd name="connsiteY1383" fmla="*/ 710301 h 949444"/>
                <a:gd name="connsiteX1384" fmla="*/ 763823 w 1055399"/>
                <a:gd name="connsiteY1384" fmla="*/ 708821 h 949444"/>
                <a:gd name="connsiteX1385" fmla="*/ 762006 w 1055399"/>
                <a:gd name="connsiteY1385" fmla="*/ 707172 h 949444"/>
                <a:gd name="connsiteX1386" fmla="*/ 762444 w 1055399"/>
                <a:gd name="connsiteY1386" fmla="*/ 704414 h 949444"/>
                <a:gd name="connsiteX1387" fmla="*/ 762376 w 1055399"/>
                <a:gd name="connsiteY1387" fmla="*/ 701084 h 949444"/>
                <a:gd name="connsiteX1388" fmla="*/ 763386 w 1055399"/>
                <a:gd name="connsiteY1388" fmla="*/ 695096 h 949444"/>
                <a:gd name="connsiteX1389" fmla="*/ 763386 w 1055399"/>
                <a:gd name="connsiteY1389" fmla="*/ 692606 h 949444"/>
                <a:gd name="connsiteX1390" fmla="*/ 760121 w 1055399"/>
                <a:gd name="connsiteY1390" fmla="*/ 689680 h 949444"/>
                <a:gd name="connsiteX1391" fmla="*/ 758607 w 1055399"/>
                <a:gd name="connsiteY1391" fmla="*/ 687931 h 949444"/>
                <a:gd name="connsiteX1392" fmla="*/ 758943 w 1055399"/>
                <a:gd name="connsiteY1392" fmla="*/ 685643 h 949444"/>
                <a:gd name="connsiteX1393" fmla="*/ 760693 w 1055399"/>
                <a:gd name="connsiteY1393" fmla="*/ 683692 h 949444"/>
                <a:gd name="connsiteX1394" fmla="*/ 762006 w 1055399"/>
                <a:gd name="connsiteY1394" fmla="*/ 681842 h 949444"/>
                <a:gd name="connsiteX1395" fmla="*/ 763083 w 1055399"/>
                <a:gd name="connsiteY1395" fmla="*/ 679655 h 949444"/>
                <a:gd name="connsiteX1396" fmla="*/ 764295 w 1055399"/>
                <a:gd name="connsiteY1396" fmla="*/ 678680 h 949444"/>
                <a:gd name="connsiteX1397" fmla="*/ 767021 w 1055399"/>
                <a:gd name="connsiteY1397" fmla="*/ 675753 h 949444"/>
                <a:gd name="connsiteX1398" fmla="*/ 768097 w 1055399"/>
                <a:gd name="connsiteY1398" fmla="*/ 674677 h 949444"/>
                <a:gd name="connsiteX1399" fmla="*/ 768973 w 1055399"/>
                <a:gd name="connsiteY1399" fmla="*/ 674037 h 949444"/>
                <a:gd name="connsiteX1400" fmla="*/ 770487 w 1055399"/>
                <a:gd name="connsiteY1400" fmla="*/ 672725 h 949444"/>
                <a:gd name="connsiteX1401" fmla="*/ 772001 w 1055399"/>
                <a:gd name="connsiteY1401" fmla="*/ 671851 h 949444"/>
                <a:gd name="connsiteX1402" fmla="*/ 775030 w 1055399"/>
                <a:gd name="connsiteY1402" fmla="*/ 670875 h 949444"/>
                <a:gd name="connsiteX1403" fmla="*/ 778194 w 1055399"/>
                <a:gd name="connsiteY1403" fmla="*/ 670875 h 949444"/>
                <a:gd name="connsiteX1404" fmla="*/ 780785 w 1055399"/>
                <a:gd name="connsiteY1404" fmla="*/ 672490 h 949444"/>
                <a:gd name="connsiteX1405" fmla="*/ 782973 w 1055399"/>
                <a:gd name="connsiteY1405" fmla="*/ 673365 h 949444"/>
                <a:gd name="connsiteX1406" fmla="*/ 786574 w 1055399"/>
                <a:gd name="connsiteY1406" fmla="*/ 673466 h 949444"/>
                <a:gd name="connsiteX1407" fmla="*/ 788324 w 1055399"/>
                <a:gd name="connsiteY1407" fmla="*/ 673129 h 949444"/>
                <a:gd name="connsiteX1408" fmla="*/ 789939 w 1055399"/>
                <a:gd name="connsiteY1408" fmla="*/ 670303 h 949444"/>
                <a:gd name="connsiteX1409" fmla="*/ 789502 w 1055399"/>
                <a:gd name="connsiteY1409" fmla="*/ 664215 h 949444"/>
                <a:gd name="connsiteX1410" fmla="*/ 789502 w 1055399"/>
                <a:gd name="connsiteY1410" fmla="*/ 663037 h 949444"/>
                <a:gd name="connsiteX1411" fmla="*/ 790915 w 1055399"/>
                <a:gd name="connsiteY1411" fmla="*/ 660750 h 949444"/>
                <a:gd name="connsiteX1412" fmla="*/ 793002 w 1055399"/>
                <a:gd name="connsiteY1412" fmla="*/ 658630 h 949444"/>
                <a:gd name="connsiteX1413" fmla="*/ 795290 w 1055399"/>
                <a:gd name="connsiteY1413" fmla="*/ 655199 h 949444"/>
                <a:gd name="connsiteX1414" fmla="*/ 797343 w 1055399"/>
                <a:gd name="connsiteY1414" fmla="*/ 655199 h 949444"/>
                <a:gd name="connsiteX1415" fmla="*/ 799834 w 1055399"/>
                <a:gd name="connsiteY1415" fmla="*/ 656074 h 949444"/>
                <a:gd name="connsiteX1416" fmla="*/ 800608 w 1055399"/>
                <a:gd name="connsiteY1416" fmla="*/ 658799 h 949444"/>
                <a:gd name="connsiteX1417" fmla="*/ 801920 w 1055399"/>
                <a:gd name="connsiteY1417" fmla="*/ 661624 h 949444"/>
                <a:gd name="connsiteX1418" fmla="*/ 805387 w 1055399"/>
                <a:gd name="connsiteY1418" fmla="*/ 664988 h 949444"/>
                <a:gd name="connsiteX1419" fmla="*/ 807440 w 1055399"/>
                <a:gd name="connsiteY1419" fmla="*/ 667713 h 949444"/>
                <a:gd name="connsiteX1420" fmla="*/ 809930 w 1055399"/>
                <a:gd name="connsiteY1420" fmla="*/ 670202 h 949444"/>
                <a:gd name="connsiteX1421" fmla="*/ 812656 w 1055399"/>
                <a:gd name="connsiteY1421" fmla="*/ 670404 h 949444"/>
                <a:gd name="connsiteX1422" fmla="*/ 814171 w 1055399"/>
                <a:gd name="connsiteY1422" fmla="*/ 670068 h 949444"/>
                <a:gd name="connsiteX1423" fmla="*/ 815584 w 1055399"/>
                <a:gd name="connsiteY1423" fmla="*/ 669866 h 949444"/>
                <a:gd name="connsiteX1424" fmla="*/ 818209 w 1055399"/>
                <a:gd name="connsiteY1424" fmla="*/ 671178 h 949444"/>
                <a:gd name="connsiteX1425" fmla="*/ 820262 w 1055399"/>
                <a:gd name="connsiteY1425" fmla="*/ 675316 h 949444"/>
                <a:gd name="connsiteX1426" fmla="*/ 821036 w 1055399"/>
                <a:gd name="connsiteY1426" fmla="*/ 677166 h 949444"/>
                <a:gd name="connsiteX1427" fmla="*/ 822113 w 1055399"/>
                <a:gd name="connsiteY1427" fmla="*/ 679453 h 949444"/>
                <a:gd name="connsiteX1428" fmla="*/ 824166 w 1055399"/>
                <a:gd name="connsiteY1428" fmla="*/ 679117 h 949444"/>
                <a:gd name="connsiteX1429" fmla="*/ 825377 w 1055399"/>
                <a:gd name="connsiteY1429" fmla="*/ 680328 h 949444"/>
                <a:gd name="connsiteX1430" fmla="*/ 826152 w 1055399"/>
                <a:gd name="connsiteY1430" fmla="*/ 681943 h 949444"/>
                <a:gd name="connsiteX1431" fmla="*/ 827128 w 1055399"/>
                <a:gd name="connsiteY1431" fmla="*/ 683591 h 949444"/>
                <a:gd name="connsiteX1432" fmla="*/ 828979 w 1055399"/>
                <a:gd name="connsiteY1432" fmla="*/ 685206 h 949444"/>
                <a:gd name="connsiteX1433" fmla="*/ 830628 w 1055399"/>
                <a:gd name="connsiteY1433" fmla="*/ 685979 h 949444"/>
                <a:gd name="connsiteX1434" fmla="*/ 832479 w 1055399"/>
                <a:gd name="connsiteY1434" fmla="*/ 686619 h 949444"/>
                <a:gd name="connsiteX1435" fmla="*/ 834229 w 1055399"/>
                <a:gd name="connsiteY1435" fmla="*/ 686854 h 949444"/>
                <a:gd name="connsiteX1436" fmla="*/ 835642 w 1055399"/>
                <a:gd name="connsiteY1436" fmla="*/ 685374 h 949444"/>
                <a:gd name="connsiteX1437" fmla="*/ 835205 w 1055399"/>
                <a:gd name="connsiteY1437" fmla="*/ 686047 h 949444"/>
                <a:gd name="connsiteX1438" fmla="*/ 833017 w 1055399"/>
                <a:gd name="connsiteY1438" fmla="*/ 680429 h 949444"/>
                <a:gd name="connsiteX1439" fmla="*/ 833017 w 1055399"/>
                <a:gd name="connsiteY1439" fmla="*/ 675215 h 949444"/>
                <a:gd name="connsiteX1440" fmla="*/ 831906 w 1055399"/>
                <a:gd name="connsiteY1440" fmla="*/ 672826 h 949444"/>
                <a:gd name="connsiteX1441" fmla="*/ 831301 w 1055399"/>
                <a:gd name="connsiteY1441" fmla="*/ 669496 h 949444"/>
                <a:gd name="connsiteX1442" fmla="*/ 831301 w 1055399"/>
                <a:gd name="connsiteY1442" fmla="*/ 668251 h 949444"/>
                <a:gd name="connsiteX1443" fmla="*/ 829113 w 1055399"/>
                <a:gd name="connsiteY1443" fmla="*/ 663172 h 949444"/>
                <a:gd name="connsiteX1444" fmla="*/ 828238 w 1055399"/>
                <a:gd name="connsiteY1444" fmla="*/ 658967 h 949444"/>
                <a:gd name="connsiteX1445" fmla="*/ 825411 w 1055399"/>
                <a:gd name="connsiteY1445" fmla="*/ 656646 h 949444"/>
                <a:gd name="connsiteX1446" fmla="*/ 824334 w 1055399"/>
                <a:gd name="connsiteY1446" fmla="*/ 651297 h 949444"/>
                <a:gd name="connsiteX1447" fmla="*/ 824334 w 1055399"/>
                <a:gd name="connsiteY1447" fmla="*/ 647395 h 949444"/>
                <a:gd name="connsiteX1448" fmla="*/ 821877 w 1055399"/>
                <a:gd name="connsiteY1448" fmla="*/ 644939 h 949444"/>
                <a:gd name="connsiteX1449" fmla="*/ 817805 w 1055399"/>
                <a:gd name="connsiteY1449" fmla="*/ 640734 h 949444"/>
                <a:gd name="connsiteX1450" fmla="*/ 811848 w 1055399"/>
                <a:gd name="connsiteY1450" fmla="*/ 641743 h 949444"/>
                <a:gd name="connsiteX1451" fmla="*/ 806060 w 1055399"/>
                <a:gd name="connsiteY1451" fmla="*/ 639725 h 949444"/>
                <a:gd name="connsiteX1452" fmla="*/ 801584 w 1055399"/>
                <a:gd name="connsiteY1452" fmla="*/ 634511 h 949444"/>
                <a:gd name="connsiteX1453" fmla="*/ 798252 w 1055399"/>
                <a:gd name="connsiteY1453" fmla="*/ 632761 h 949444"/>
                <a:gd name="connsiteX1454" fmla="*/ 790276 w 1055399"/>
                <a:gd name="connsiteY1454" fmla="*/ 634073 h 949444"/>
                <a:gd name="connsiteX1455" fmla="*/ 783478 w 1055399"/>
                <a:gd name="connsiteY1455" fmla="*/ 636664 h 949444"/>
                <a:gd name="connsiteX1456" fmla="*/ 778396 w 1055399"/>
                <a:gd name="connsiteY1456" fmla="*/ 636226 h 949444"/>
                <a:gd name="connsiteX1457" fmla="*/ 773920 w 1055399"/>
                <a:gd name="connsiteY1457" fmla="*/ 630272 h 949444"/>
                <a:gd name="connsiteX1458" fmla="*/ 773920 w 1055399"/>
                <a:gd name="connsiteY1458" fmla="*/ 624755 h 949444"/>
                <a:gd name="connsiteX1459" fmla="*/ 773920 w 1055399"/>
                <a:gd name="connsiteY1459" fmla="*/ 619541 h 949444"/>
                <a:gd name="connsiteX1460" fmla="*/ 771093 w 1055399"/>
                <a:gd name="connsiteY1460" fmla="*/ 614529 h 949444"/>
                <a:gd name="connsiteX1461" fmla="*/ 769141 w 1055399"/>
                <a:gd name="connsiteY1461" fmla="*/ 610829 h 949444"/>
                <a:gd name="connsiteX1462" fmla="*/ 770218 w 1055399"/>
                <a:gd name="connsiteY1462" fmla="*/ 608205 h 949444"/>
                <a:gd name="connsiteX1463" fmla="*/ 771295 w 1055399"/>
                <a:gd name="connsiteY1463" fmla="*/ 605177 h 949444"/>
                <a:gd name="connsiteX1464" fmla="*/ 773247 w 1055399"/>
                <a:gd name="connsiteY1464" fmla="*/ 602553 h 949444"/>
                <a:gd name="connsiteX1465" fmla="*/ 773684 w 1055399"/>
                <a:gd name="connsiteY1465" fmla="*/ 599290 h 949444"/>
                <a:gd name="connsiteX1466" fmla="*/ 774122 w 1055399"/>
                <a:gd name="connsiteY1466" fmla="*/ 596666 h 949444"/>
                <a:gd name="connsiteX1467" fmla="*/ 776511 w 1055399"/>
                <a:gd name="connsiteY1467" fmla="*/ 593841 h 949444"/>
                <a:gd name="connsiteX1468" fmla="*/ 774357 w 1055399"/>
                <a:gd name="connsiteY1468" fmla="*/ 588862 h 949444"/>
                <a:gd name="connsiteX1469" fmla="*/ 769141 w 1055399"/>
                <a:gd name="connsiteY1469" fmla="*/ 589938 h 949444"/>
                <a:gd name="connsiteX1470" fmla="*/ 765876 w 1055399"/>
                <a:gd name="connsiteY1470" fmla="*/ 591688 h 949444"/>
                <a:gd name="connsiteX1471" fmla="*/ 760660 w 1055399"/>
                <a:gd name="connsiteY1471" fmla="*/ 594278 h 949444"/>
                <a:gd name="connsiteX1472" fmla="*/ 757395 w 1055399"/>
                <a:gd name="connsiteY1472" fmla="*/ 594278 h 949444"/>
                <a:gd name="connsiteX1473" fmla="*/ 750429 w 1055399"/>
                <a:gd name="connsiteY1473" fmla="*/ 593201 h 949444"/>
                <a:gd name="connsiteX1474" fmla="*/ 746962 w 1055399"/>
                <a:gd name="connsiteY1474" fmla="*/ 590376 h 949444"/>
                <a:gd name="connsiteX1475" fmla="*/ 744573 w 1055399"/>
                <a:gd name="connsiteY1475" fmla="*/ 586911 h 949444"/>
                <a:gd name="connsiteX1476" fmla="*/ 745650 w 1055399"/>
                <a:gd name="connsiteY1476" fmla="*/ 582773 h 949444"/>
                <a:gd name="connsiteX1477" fmla="*/ 746087 w 1055399"/>
                <a:gd name="connsiteY1477" fmla="*/ 580385 h 949444"/>
                <a:gd name="connsiteX1478" fmla="*/ 744573 w 1055399"/>
                <a:gd name="connsiteY1478" fmla="*/ 578871 h 949444"/>
                <a:gd name="connsiteX1479" fmla="*/ 740433 w 1055399"/>
                <a:gd name="connsiteY1479" fmla="*/ 573657 h 949444"/>
                <a:gd name="connsiteX1480" fmla="*/ 739356 w 1055399"/>
                <a:gd name="connsiteY1480" fmla="*/ 570595 h 949444"/>
                <a:gd name="connsiteX1481" fmla="*/ 740669 w 1055399"/>
                <a:gd name="connsiteY1481" fmla="*/ 563868 h 949444"/>
                <a:gd name="connsiteX1482" fmla="*/ 739356 w 1055399"/>
                <a:gd name="connsiteY1482" fmla="*/ 558653 h 949444"/>
                <a:gd name="connsiteX1483" fmla="*/ 743496 w 1055399"/>
                <a:gd name="connsiteY1483" fmla="*/ 556366 h 949444"/>
                <a:gd name="connsiteX1484" fmla="*/ 748477 w 1055399"/>
                <a:gd name="connsiteY1484" fmla="*/ 550815 h 949444"/>
                <a:gd name="connsiteX1485" fmla="*/ 754333 w 1055399"/>
                <a:gd name="connsiteY1485" fmla="*/ 547351 h 949444"/>
                <a:gd name="connsiteX1486" fmla="*/ 759785 w 1055399"/>
                <a:gd name="connsiteY1486" fmla="*/ 545601 h 949444"/>
                <a:gd name="connsiteX1487" fmla="*/ 762612 w 1055399"/>
                <a:gd name="connsiteY1487" fmla="*/ 542775 h 949444"/>
                <a:gd name="connsiteX1488" fmla="*/ 764564 w 1055399"/>
                <a:gd name="connsiteY1488" fmla="*/ 536149 h 949444"/>
                <a:gd name="connsiteX1489" fmla="*/ 765439 w 1055399"/>
                <a:gd name="connsiteY1489" fmla="*/ 531708 h 949444"/>
                <a:gd name="connsiteX1490" fmla="*/ 767828 w 1055399"/>
                <a:gd name="connsiteY1490" fmla="*/ 531708 h 949444"/>
                <a:gd name="connsiteX1491" fmla="*/ 770891 w 1055399"/>
                <a:gd name="connsiteY1491" fmla="*/ 531708 h 949444"/>
                <a:gd name="connsiteX1492" fmla="*/ 773920 w 1055399"/>
                <a:gd name="connsiteY1492" fmla="*/ 529959 h 949444"/>
                <a:gd name="connsiteX1493" fmla="*/ 775232 w 1055399"/>
                <a:gd name="connsiteY1493" fmla="*/ 526931 h 949444"/>
                <a:gd name="connsiteX1494" fmla="*/ 776545 w 1055399"/>
                <a:gd name="connsiteY1494" fmla="*/ 522592 h 949444"/>
                <a:gd name="connsiteX1495" fmla="*/ 777420 w 1055399"/>
                <a:gd name="connsiteY1495" fmla="*/ 518690 h 949444"/>
                <a:gd name="connsiteX1496" fmla="*/ 777857 w 1055399"/>
                <a:gd name="connsiteY1496" fmla="*/ 515662 h 949444"/>
                <a:gd name="connsiteX1497" fmla="*/ 778732 w 1055399"/>
                <a:gd name="connsiteY1497" fmla="*/ 512399 h 949444"/>
                <a:gd name="connsiteX1498" fmla="*/ 777655 w 1055399"/>
                <a:gd name="connsiteY1498" fmla="*/ 508934 h 949444"/>
                <a:gd name="connsiteX1499" fmla="*/ 775030 w 1055399"/>
                <a:gd name="connsiteY1499" fmla="*/ 503922 h 949444"/>
                <a:gd name="connsiteX1500" fmla="*/ 768703 w 1055399"/>
                <a:gd name="connsiteY1500" fmla="*/ 501533 h 949444"/>
                <a:gd name="connsiteX1501" fmla="*/ 763285 w 1055399"/>
                <a:gd name="connsiteY1501" fmla="*/ 498270 h 949444"/>
                <a:gd name="connsiteX1502" fmla="*/ 760895 w 1055399"/>
                <a:gd name="connsiteY1502" fmla="*/ 494133 h 949444"/>
                <a:gd name="connsiteX1503" fmla="*/ 760660 w 1055399"/>
                <a:gd name="connsiteY1503" fmla="*/ 489692 h 949444"/>
                <a:gd name="connsiteX1504" fmla="*/ 761299 w 1055399"/>
                <a:gd name="connsiteY1504" fmla="*/ 486530 h 949444"/>
                <a:gd name="connsiteX1505" fmla="*/ 766078 w 1055399"/>
                <a:gd name="connsiteY1505" fmla="*/ 486530 h 949444"/>
                <a:gd name="connsiteX1506" fmla="*/ 770420 w 1055399"/>
                <a:gd name="connsiteY1506" fmla="*/ 488717 h 949444"/>
                <a:gd name="connsiteX1507" fmla="*/ 771295 w 1055399"/>
                <a:gd name="connsiteY1507" fmla="*/ 485454 h 949444"/>
                <a:gd name="connsiteX1508" fmla="*/ 768670 w 1055399"/>
                <a:gd name="connsiteY1508" fmla="*/ 481316 h 949444"/>
                <a:gd name="connsiteX1509" fmla="*/ 771497 w 1055399"/>
                <a:gd name="connsiteY1509" fmla="*/ 480239 h 949444"/>
                <a:gd name="connsiteX1510" fmla="*/ 775199 w 1055399"/>
                <a:gd name="connsiteY1510" fmla="*/ 480239 h 949444"/>
                <a:gd name="connsiteX1511" fmla="*/ 777386 w 1055399"/>
                <a:gd name="connsiteY1511" fmla="*/ 480239 h 949444"/>
                <a:gd name="connsiteX1512" fmla="*/ 780651 w 1055399"/>
                <a:gd name="connsiteY1512" fmla="*/ 474151 h 949444"/>
                <a:gd name="connsiteX1513" fmla="*/ 784353 w 1055399"/>
                <a:gd name="connsiteY1513" fmla="*/ 468937 h 949444"/>
                <a:gd name="connsiteX1514" fmla="*/ 787180 w 1055399"/>
                <a:gd name="connsiteY1514" fmla="*/ 464597 h 949444"/>
                <a:gd name="connsiteX1515" fmla="*/ 790209 w 1055399"/>
                <a:gd name="connsiteY1515" fmla="*/ 462410 h 949444"/>
                <a:gd name="connsiteX1516" fmla="*/ 793473 w 1055399"/>
                <a:gd name="connsiteY1516" fmla="*/ 464799 h 949444"/>
                <a:gd name="connsiteX1517" fmla="*/ 796738 w 1055399"/>
                <a:gd name="connsiteY1517" fmla="*/ 467826 h 949444"/>
                <a:gd name="connsiteX1518" fmla="*/ 800641 w 1055399"/>
                <a:gd name="connsiteY1518" fmla="*/ 468466 h 949444"/>
                <a:gd name="connsiteX1519" fmla="*/ 804343 w 1055399"/>
                <a:gd name="connsiteY1519" fmla="*/ 470652 h 949444"/>
                <a:gd name="connsiteX1520" fmla="*/ 806733 w 1055399"/>
                <a:gd name="connsiteY1520" fmla="*/ 471729 h 949444"/>
                <a:gd name="connsiteX1521" fmla="*/ 810199 w 1055399"/>
                <a:gd name="connsiteY1521" fmla="*/ 473478 h 949444"/>
                <a:gd name="connsiteX1522" fmla="*/ 812387 w 1055399"/>
                <a:gd name="connsiteY1522" fmla="*/ 476741 h 949444"/>
                <a:gd name="connsiteX1523" fmla="*/ 814574 w 1055399"/>
                <a:gd name="connsiteY1523" fmla="*/ 479567 h 949444"/>
                <a:gd name="connsiteX1524" fmla="*/ 818276 w 1055399"/>
                <a:gd name="connsiteY1524" fmla="*/ 479567 h 949444"/>
                <a:gd name="connsiteX1525" fmla="*/ 821103 w 1055399"/>
                <a:gd name="connsiteY1525" fmla="*/ 481955 h 949444"/>
                <a:gd name="connsiteX1526" fmla="*/ 825007 w 1055399"/>
                <a:gd name="connsiteY1526" fmla="*/ 485218 h 949444"/>
                <a:gd name="connsiteX1527" fmla="*/ 826959 w 1055399"/>
                <a:gd name="connsiteY1527" fmla="*/ 488986 h 949444"/>
                <a:gd name="connsiteX1528" fmla="*/ 830426 w 1055399"/>
                <a:gd name="connsiteY1528" fmla="*/ 492316 h 949444"/>
                <a:gd name="connsiteX1529" fmla="*/ 834801 w 1055399"/>
                <a:gd name="connsiteY1529" fmla="*/ 492451 h 949444"/>
                <a:gd name="connsiteX1530" fmla="*/ 837358 w 1055399"/>
                <a:gd name="connsiteY1530" fmla="*/ 492316 h 949444"/>
                <a:gd name="connsiteX1531" fmla="*/ 840118 w 1055399"/>
                <a:gd name="connsiteY1531" fmla="*/ 490735 h 949444"/>
                <a:gd name="connsiteX1532" fmla="*/ 841565 w 1055399"/>
                <a:gd name="connsiteY1532" fmla="*/ 488717 h 949444"/>
                <a:gd name="connsiteX1533" fmla="*/ 842878 w 1055399"/>
                <a:gd name="connsiteY1533" fmla="*/ 488212 h 949444"/>
                <a:gd name="connsiteX1534" fmla="*/ 844628 w 1055399"/>
                <a:gd name="connsiteY1534" fmla="*/ 488279 h 949444"/>
                <a:gd name="connsiteX1535" fmla="*/ 847825 w 1055399"/>
                <a:gd name="connsiteY1535" fmla="*/ 488279 h 949444"/>
                <a:gd name="connsiteX1536" fmla="*/ 848700 w 1055399"/>
                <a:gd name="connsiteY1536" fmla="*/ 487707 h 949444"/>
                <a:gd name="connsiteX1537" fmla="*/ 850450 w 1055399"/>
                <a:gd name="connsiteY1537" fmla="*/ 485084 h 949444"/>
                <a:gd name="connsiteX1538" fmla="*/ 851628 w 1055399"/>
                <a:gd name="connsiteY1538" fmla="*/ 483334 h 949444"/>
                <a:gd name="connsiteX1539" fmla="*/ 852638 w 1055399"/>
                <a:gd name="connsiteY1539" fmla="*/ 482090 h 949444"/>
                <a:gd name="connsiteX1540" fmla="*/ 855667 w 1055399"/>
                <a:gd name="connsiteY1540" fmla="*/ 481282 h 949444"/>
                <a:gd name="connsiteX1541" fmla="*/ 860008 w 1055399"/>
                <a:gd name="connsiteY1541" fmla="*/ 481282 h 949444"/>
                <a:gd name="connsiteX1542" fmla="*/ 861455 w 1055399"/>
                <a:gd name="connsiteY1542" fmla="*/ 480576 h 949444"/>
                <a:gd name="connsiteX1543" fmla="*/ 863912 w 1055399"/>
                <a:gd name="connsiteY1543" fmla="*/ 481888 h 949444"/>
                <a:gd name="connsiteX1544" fmla="*/ 870441 w 1055399"/>
                <a:gd name="connsiteY1544" fmla="*/ 485958 h 949444"/>
                <a:gd name="connsiteX1545" fmla="*/ 871148 w 1055399"/>
                <a:gd name="connsiteY1545" fmla="*/ 489726 h 949444"/>
                <a:gd name="connsiteX1546" fmla="*/ 870778 w 1055399"/>
                <a:gd name="connsiteY1546" fmla="*/ 495512 h 949444"/>
                <a:gd name="connsiteX1547" fmla="*/ 871282 w 1055399"/>
                <a:gd name="connsiteY1547" fmla="*/ 500154 h 949444"/>
                <a:gd name="connsiteX1548" fmla="*/ 871282 w 1055399"/>
                <a:gd name="connsiteY1548" fmla="*/ 503047 h 949444"/>
                <a:gd name="connsiteX1549" fmla="*/ 874311 w 1055399"/>
                <a:gd name="connsiteY1549" fmla="*/ 505234 h 949444"/>
                <a:gd name="connsiteX1550" fmla="*/ 875186 w 1055399"/>
                <a:gd name="connsiteY1550" fmla="*/ 508429 h 949444"/>
                <a:gd name="connsiteX1551" fmla="*/ 880100 w 1055399"/>
                <a:gd name="connsiteY1551" fmla="*/ 511625 h 949444"/>
                <a:gd name="connsiteX1552" fmla="*/ 882557 w 1055399"/>
                <a:gd name="connsiteY1552" fmla="*/ 512130 h 949444"/>
                <a:gd name="connsiteX1553" fmla="*/ 887470 w 1055399"/>
                <a:gd name="connsiteY1553" fmla="*/ 512634 h 949444"/>
                <a:gd name="connsiteX1554" fmla="*/ 891239 w 1055399"/>
                <a:gd name="connsiteY1554" fmla="*/ 512634 h 949444"/>
                <a:gd name="connsiteX1555" fmla="*/ 896591 w 1055399"/>
                <a:gd name="connsiteY1555" fmla="*/ 512634 h 949444"/>
                <a:gd name="connsiteX1556" fmla="*/ 901673 w 1055399"/>
                <a:gd name="connsiteY1556" fmla="*/ 512634 h 949444"/>
                <a:gd name="connsiteX1557" fmla="*/ 904432 w 1055399"/>
                <a:gd name="connsiteY1557" fmla="*/ 510448 h 949444"/>
                <a:gd name="connsiteX1558" fmla="*/ 906620 w 1055399"/>
                <a:gd name="connsiteY1558" fmla="*/ 509439 h 949444"/>
                <a:gd name="connsiteX1559" fmla="*/ 909951 w 1055399"/>
                <a:gd name="connsiteY1559" fmla="*/ 508295 h 949444"/>
                <a:gd name="connsiteX1560" fmla="*/ 914731 w 1055399"/>
                <a:gd name="connsiteY1560" fmla="*/ 505839 h 949444"/>
                <a:gd name="connsiteX1561" fmla="*/ 917995 w 1055399"/>
                <a:gd name="connsiteY1561" fmla="*/ 503081 h 949444"/>
                <a:gd name="connsiteX1562" fmla="*/ 919947 w 1055399"/>
                <a:gd name="connsiteY1562" fmla="*/ 499616 h 949444"/>
                <a:gd name="connsiteX1563" fmla="*/ 919947 w 1055399"/>
                <a:gd name="connsiteY1563" fmla="*/ 497867 h 949444"/>
                <a:gd name="connsiteX1564" fmla="*/ 920822 w 1055399"/>
                <a:gd name="connsiteY1564" fmla="*/ 495276 h 949444"/>
                <a:gd name="connsiteX1565" fmla="*/ 922707 w 1055399"/>
                <a:gd name="connsiteY1565" fmla="*/ 492955 h 949444"/>
                <a:gd name="connsiteX1566" fmla="*/ 924591 w 1055399"/>
                <a:gd name="connsiteY1566" fmla="*/ 491071 h 949444"/>
                <a:gd name="connsiteX1567" fmla="*/ 928058 w 1055399"/>
                <a:gd name="connsiteY1567" fmla="*/ 486732 h 949444"/>
                <a:gd name="connsiteX1568" fmla="*/ 929808 w 1055399"/>
                <a:gd name="connsiteY1568" fmla="*/ 480509 h 949444"/>
                <a:gd name="connsiteX1569" fmla="*/ 932870 w 1055399"/>
                <a:gd name="connsiteY1569" fmla="*/ 474992 h 949444"/>
                <a:gd name="connsiteX1570" fmla="*/ 936337 w 1055399"/>
                <a:gd name="connsiteY1570" fmla="*/ 472973 h 949444"/>
                <a:gd name="connsiteX1571" fmla="*/ 937918 w 1055399"/>
                <a:gd name="connsiteY1571" fmla="*/ 469643 h 949444"/>
                <a:gd name="connsiteX1572" fmla="*/ 939366 w 1055399"/>
                <a:gd name="connsiteY1572" fmla="*/ 465303 h 949444"/>
                <a:gd name="connsiteX1573" fmla="*/ 940375 w 1055399"/>
                <a:gd name="connsiteY1573" fmla="*/ 462478 h 949444"/>
                <a:gd name="connsiteX1574" fmla="*/ 942394 w 1055399"/>
                <a:gd name="connsiteY1574" fmla="*/ 458340 h 949444"/>
                <a:gd name="connsiteX1575" fmla="*/ 943976 w 1055399"/>
                <a:gd name="connsiteY1575" fmla="*/ 456894 h 949444"/>
                <a:gd name="connsiteX1576" fmla="*/ 945558 w 1055399"/>
                <a:gd name="connsiteY1576" fmla="*/ 455010 h 949444"/>
                <a:gd name="connsiteX1577" fmla="*/ 946871 w 1055399"/>
                <a:gd name="connsiteY1577" fmla="*/ 451679 h 949444"/>
                <a:gd name="connsiteX1578" fmla="*/ 948318 w 1055399"/>
                <a:gd name="connsiteY1578" fmla="*/ 450098 h 949444"/>
                <a:gd name="connsiteX1579" fmla="*/ 951212 w 1055399"/>
                <a:gd name="connsiteY1579" fmla="*/ 450098 h 949444"/>
                <a:gd name="connsiteX1580" fmla="*/ 951212 w 1055399"/>
                <a:gd name="connsiteY1580" fmla="*/ 449224 h 949444"/>
                <a:gd name="connsiteX1581" fmla="*/ 952962 w 1055399"/>
                <a:gd name="connsiteY1581" fmla="*/ 446902 h 949444"/>
                <a:gd name="connsiteX1582" fmla="*/ 952962 w 1055399"/>
                <a:gd name="connsiteY1582" fmla="*/ 445759 h 949444"/>
                <a:gd name="connsiteX1583" fmla="*/ 952962 w 1055399"/>
                <a:gd name="connsiteY1583" fmla="*/ 442866 h 949444"/>
                <a:gd name="connsiteX1584" fmla="*/ 950068 w 1055399"/>
                <a:gd name="connsiteY1584" fmla="*/ 439233 h 949444"/>
                <a:gd name="connsiteX1585" fmla="*/ 947308 w 1055399"/>
                <a:gd name="connsiteY1585" fmla="*/ 436912 h 949444"/>
                <a:gd name="connsiteX1586" fmla="*/ 948452 w 1055399"/>
                <a:gd name="connsiteY1586" fmla="*/ 433884 h 949444"/>
                <a:gd name="connsiteX1587" fmla="*/ 950472 w 1055399"/>
                <a:gd name="connsiteY1587" fmla="*/ 430688 h 949444"/>
                <a:gd name="connsiteX1588" fmla="*/ 952726 w 1055399"/>
                <a:gd name="connsiteY1588" fmla="*/ 429107 h 949444"/>
                <a:gd name="connsiteX1589" fmla="*/ 954678 w 1055399"/>
                <a:gd name="connsiteY1589" fmla="*/ 427661 h 949444"/>
                <a:gd name="connsiteX1590" fmla="*/ 954678 w 1055399"/>
                <a:gd name="connsiteY1590" fmla="*/ 424902 h 949444"/>
                <a:gd name="connsiteX1591" fmla="*/ 953534 w 1055399"/>
                <a:gd name="connsiteY1591" fmla="*/ 423018 h 949444"/>
                <a:gd name="connsiteX1592" fmla="*/ 954678 w 1055399"/>
                <a:gd name="connsiteY1592" fmla="*/ 421067 h 949444"/>
                <a:gd name="connsiteX1593" fmla="*/ 955823 w 1055399"/>
                <a:gd name="connsiteY1593" fmla="*/ 418813 h 949444"/>
                <a:gd name="connsiteX1594" fmla="*/ 959020 w 1055399"/>
                <a:gd name="connsiteY1594" fmla="*/ 418813 h 949444"/>
                <a:gd name="connsiteX1595" fmla="*/ 960770 w 1055399"/>
                <a:gd name="connsiteY1595" fmla="*/ 418813 h 949444"/>
                <a:gd name="connsiteX1596" fmla="*/ 964102 w 1055399"/>
                <a:gd name="connsiteY1596" fmla="*/ 418813 h 949444"/>
                <a:gd name="connsiteX1597" fmla="*/ 965986 w 1055399"/>
                <a:gd name="connsiteY1597" fmla="*/ 420697 h 949444"/>
                <a:gd name="connsiteX1598" fmla="*/ 967434 w 1055399"/>
                <a:gd name="connsiteY1598" fmla="*/ 421841 h 949444"/>
                <a:gd name="connsiteX1599" fmla="*/ 970631 w 1055399"/>
                <a:gd name="connsiteY1599" fmla="*/ 422985 h 949444"/>
                <a:gd name="connsiteX1600" fmla="*/ 973390 w 1055399"/>
                <a:gd name="connsiteY1600" fmla="*/ 422850 h 949444"/>
                <a:gd name="connsiteX1601" fmla="*/ 976150 w 1055399"/>
                <a:gd name="connsiteY1601" fmla="*/ 420226 h 949444"/>
                <a:gd name="connsiteX1602" fmla="*/ 978035 w 1055399"/>
                <a:gd name="connsiteY1602" fmla="*/ 419654 h 949444"/>
                <a:gd name="connsiteX1603" fmla="*/ 979179 w 1055399"/>
                <a:gd name="connsiteY1603" fmla="*/ 420092 h 949444"/>
                <a:gd name="connsiteX1604" fmla="*/ 979886 w 1055399"/>
                <a:gd name="connsiteY1604" fmla="*/ 423119 h 949444"/>
                <a:gd name="connsiteX1605" fmla="*/ 982511 w 1055399"/>
                <a:gd name="connsiteY1605" fmla="*/ 426450 h 949444"/>
                <a:gd name="connsiteX1606" fmla="*/ 984261 w 1055399"/>
                <a:gd name="connsiteY1606" fmla="*/ 427459 h 949444"/>
                <a:gd name="connsiteX1607" fmla="*/ 986852 w 1055399"/>
                <a:gd name="connsiteY1607" fmla="*/ 427459 h 949444"/>
                <a:gd name="connsiteX1608" fmla="*/ 989174 w 1055399"/>
                <a:gd name="connsiteY1608" fmla="*/ 426450 h 949444"/>
                <a:gd name="connsiteX1609" fmla="*/ 991194 w 1055399"/>
                <a:gd name="connsiteY1609" fmla="*/ 424700 h 949444"/>
                <a:gd name="connsiteX1610" fmla="*/ 992776 w 1055399"/>
                <a:gd name="connsiteY1610" fmla="*/ 424263 h 949444"/>
                <a:gd name="connsiteX1611" fmla="*/ 994795 w 1055399"/>
                <a:gd name="connsiteY1611" fmla="*/ 422682 h 949444"/>
                <a:gd name="connsiteX1612" fmla="*/ 995804 w 1055399"/>
                <a:gd name="connsiteY1612" fmla="*/ 421235 h 949444"/>
                <a:gd name="connsiteX1613" fmla="*/ 999708 w 1055399"/>
                <a:gd name="connsiteY1613" fmla="*/ 416728 h 949444"/>
                <a:gd name="connsiteX1614" fmla="*/ 996814 w 1055399"/>
                <a:gd name="connsiteY1614" fmla="*/ 412960 h 949444"/>
                <a:gd name="connsiteX1615" fmla="*/ 995939 w 1055399"/>
                <a:gd name="connsiteY1615" fmla="*/ 409630 h 949444"/>
                <a:gd name="connsiteX1616" fmla="*/ 997083 w 1055399"/>
                <a:gd name="connsiteY1616" fmla="*/ 406434 h 949444"/>
                <a:gd name="connsiteX1617" fmla="*/ 999675 w 1055399"/>
                <a:gd name="connsiteY1617" fmla="*/ 403676 h 949444"/>
                <a:gd name="connsiteX1618" fmla="*/ 1001997 w 1055399"/>
                <a:gd name="connsiteY1618" fmla="*/ 402801 h 949444"/>
                <a:gd name="connsiteX1619" fmla="*/ 1005026 w 1055399"/>
                <a:gd name="connsiteY1619" fmla="*/ 399774 h 949444"/>
                <a:gd name="connsiteX1620" fmla="*/ 1007348 w 1055399"/>
                <a:gd name="connsiteY1620" fmla="*/ 396006 h 949444"/>
                <a:gd name="connsiteX1621" fmla="*/ 1004891 w 1055399"/>
                <a:gd name="connsiteY1621" fmla="*/ 394257 h 949444"/>
                <a:gd name="connsiteX1622" fmla="*/ 1004319 w 1055399"/>
                <a:gd name="connsiteY1622" fmla="*/ 391935 h 949444"/>
                <a:gd name="connsiteX1623" fmla="*/ 1005463 w 1055399"/>
                <a:gd name="connsiteY1623" fmla="*/ 389917 h 949444"/>
                <a:gd name="connsiteX1624" fmla="*/ 1008795 w 1055399"/>
                <a:gd name="connsiteY1624" fmla="*/ 388336 h 949444"/>
                <a:gd name="connsiteX1625" fmla="*/ 1011824 w 1055399"/>
                <a:gd name="connsiteY1625" fmla="*/ 384871 h 949444"/>
                <a:gd name="connsiteX1626" fmla="*/ 1008627 w 1055399"/>
                <a:gd name="connsiteY1626" fmla="*/ 381238 h 949444"/>
                <a:gd name="connsiteX1627" fmla="*/ 1007483 w 1055399"/>
                <a:gd name="connsiteY1627" fmla="*/ 379354 h 949444"/>
                <a:gd name="connsiteX1628" fmla="*/ 1008492 w 1055399"/>
                <a:gd name="connsiteY1628" fmla="*/ 376158 h 949444"/>
                <a:gd name="connsiteX1629" fmla="*/ 1013709 w 1055399"/>
                <a:gd name="connsiteY1629" fmla="*/ 374140 h 949444"/>
                <a:gd name="connsiteX1630" fmla="*/ 1017613 w 1055399"/>
                <a:gd name="connsiteY1630" fmla="*/ 371953 h 949444"/>
                <a:gd name="connsiteX1631" fmla="*/ 1020069 w 1055399"/>
                <a:gd name="connsiteY1631" fmla="*/ 368186 h 949444"/>
                <a:gd name="connsiteX1632" fmla="*/ 1021079 w 1055399"/>
                <a:gd name="connsiteY1632" fmla="*/ 364721 h 949444"/>
                <a:gd name="connsiteX1633" fmla="*/ 1022661 w 1055399"/>
                <a:gd name="connsiteY1633" fmla="*/ 361391 h 949444"/>
                <a:gd name="connsiteX1634" fmla="*/ 1023805 w 1055399"/>
                <a:gd name="connsiteY1634" fmla="*/ 358060 h 949444"/>
                <a:gd name="connsiteX1635" fmla="*/ 1023805 w 1055399"/>
                <a:gd name="connsiteY1635" fmla="*/ 355167 h 949444"/>
                <a:gd name="connsiteX1636" fmla="*/ 1023805 w 1055399"/>
                <a:gd name="connsiteY1636" fmla="*/ 352409 h 949444"/>
                <a:gd name="connsiteX1637" fmla="*/ 1023939 w 1055399"/>
                <a:gd name="connsiteY1637" fmla="*/ 350660 h 949444"/>
                <a:gd name="connsiteX1638" fmla="*/ 1025993 w 1055399"/>
                <a:gd name="connsiteY1638" fmla="*/ 348473 h 949444"/>
                <a:gd name="connsiteX1639" fmla="*/ 1028315 w 1055399"/>
                <a:gd name="connsiteY1639" fmla="*/ 348473 h 949444"/>
                <a:gd name="connsiteX1640" fmla="*/ 1031074 w 1055399"/>
                <a:gd name="connsiteY1640" fmla="*/ 348473 h 949444"/>
                <a:gd name="connsiteX1641" fmla="*/ 1035113 w 1055399"/>
                <a:gd name="connsiteY1641" fmla="*/ 347767 h 949444"/>
                <a:gd name="connsiteX1642" fmla="*/ 1037570 w 1055399"/>
                <a:gd name="connsiteY1642" fmla="*/ 345311 h 949444"/>
                <a:gd name="connsiteX1643" fmla="*/ 1040531 w 1055399"/>
                <a:gd name="connsiteY1643" fmla="*/ 342115 h 949444"/>
                <a:gd name="connsiteX1644" fmla="*/ 1041474 w 1055399"/>
                <a:gd name="connsiteY1644" fmla="*/ 338919 h 949444"/>
                <a:gd name="connsiteX1645" fmla="*/ 1041474 w 1055399"/>
                <a:gd name="connsiteY1645" fmla="*/ 337910 h 949444"/>
                <a:gd name="connsiteX1646" fmla="*/ 1042180 w 1055399"/>
                <a:gd name="connsiteY1646" fmla="*/ 336464 h 949444"/>
                <a:gd name="connsiteX1647" fmla="*/ 1045647 w 1055399"/>
                <a:gd name="connsiteY1647" fmla="*/ 335454 h 949444"/>
                <a:gd name="connsiteX1648" fmla="*/ 1047229 w 1055399"/>
                <a:gd name="connsiteY1648" fmla="*/ 335454 h 949444"/>
                <a:gd name="connsiteX1649" fmla="*/ 1051570 w 1055399"/>
                <a:gd name="connsiteY1649" fmla="*/ 333705 h 949444"/>
                <a:gd name="connsiteX1650" fmla="*/ 1053758 w 1055399"/>
                <a:gd name="connsiteY1650" fmla="*/ 332259 h 949444"/>
                <a:gd name="connsiteX1651" fmla="*/ 1055339 w 1055399"/>
                <a:gd name="connsiteY1651" fmla="*/ 329803 h 949444"/>
                <a:gd name="connsiteX1652" fmla="*/ 1055339 w 1055399"/>
                <a:gd name="connsiteY1652" fmla="*/ 327616 h 949444"/>
                <a:gd name="connsiteX1653" fmla="*/ 1055339 w 1055399"/>
                <a:gd name="connsiteY1653" fmla="*/ 323849 h 949444"/>
                <a:gd name="connsiteX1654" fmla="*/ 1054161 w 1055399"/>
                <a:gd name="connsiteY1654" fmla="*/ 318904 h 949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</a:cxnLst>
              <a:rect l="l" t="t" r="r" b="b"/>
              <a:pathLst>
                <a:path w="1055399" h="949444">
                  <a:moveTo>
                    <a:pt x="1054161" y="318904"/>
                  </a:moveTo>
                  <a:lnTo>
                    <a:pt x="1050089" y="315843"/>
                  </a:lnTo>
                  <a:lnTo>
                    <a:pt x="1043728" y="312647"/>
                  </a:lnTo>
                  <a:lnTo>
                    <a:pt x="1040700" y="311200"/>
                  </a:lnTo>
                  <a:lnTo>
                    <a:pt x="1037065" y="309316"/>
                  </a:lnTo>
                  <a:cubicBezTo>
                    <a:pt x="1037065" y="309316"/>
                    <a:pt x="1037199" y="306255"/>
                    <a:pt x="1036190" y="306121"/>
                  </a:cubicBezTo>
                  <a:cubicBezTo>
                    <a:pt x="1035180" y="305986"/>
                    <a:pt x="1032858" y="303665"/>
                    <a:pt x="1032858" y="303665"/>
                  </a:cubicBezTo>
                  <a:cubicBezTo>
                    <a:pt x="1032858" y="303665"/>
                    <a:pt x="1031613" y="302790"/>
                    <a:pt x="1031478" y="302219"/>
                  </a:cubicBezTo>
                  <a:cubicBezTo>
                    <a:pt x="1031344" y="301647"/>
                    <a:pt x="1031411" y="298316"/>
                    <a:pt x="1031411" y="298316"/>
                  </a:cubicBezTo>
                  <a:lnTo>
                    <a:pt x="1031411" y="292396"/>
                  </a:lnTo>
                  <a:lnTo>
                    <a:pt x="1031276" y="290949"/>
                  </a:lnTo>
                  <a:cubicBezTo>
                    <a:pt x="1031276" y="290949"/>
                    <a:pt x="1035315" y="290815"/>
                    <a:pt x="1036190" y="290949"/>
                  </a:cubicBezTo>
                  <a:cubicBezTo>
                    <a:pt x="1037065" y="291084"/>
                    <a:pt x="1038815" y="294582"/>
                    <a:pt x="1038815" y="294582"/>
                  </a:cubicBezTo>
                  <a:lnTo>
                    <a:pt x="1040397" y="293708"/>
                  </a:lnTo>
                  <a:cubicBezTo>
                    <a:pt x="1040397" y="293708"/>
                    <a:pt x="1041103" y="288494"/>
                    <a:pt x="1041103" y="287922"/>
                  </a:cubicBezTo>
                  <a:cubicBezTo>
                    <a:pt x="1041103" y="287350"/>
                    <a:pt x="1041238" y="285601"/>
                    <a:pt x="1041406" y="285163"/>
                  </a:cubicBezTo>
                  <a:cubicBezTo>
                    <a:pt x="1041541" y="284726"/>
                    <a:pt x="1042854" y="284591"/>
                    <a:pt x="1042854" y="284591"/>
                  </a:cubicBezTo>
                  <a:lnTo>
                    <a:pt x="1044435" y="284591"/>
                  </a:lnTo>
                  <a:lnTo>
                    <a:pt x="1046185" y="284591"/>
                  </a:lnTo>
                  <a:lnTo>
                    <a:pt x="1047060" y="282842"/>
                  </a:lnTo>
                  <a:lnTo>
                    <a:pt x="1047060" y="281967"/>
                  </a:lnTo>
                  <a:lnTo>
                    <a:pt x="1047363" y="278502"/>
                  </a:lnTo>
                  <a:cubicBezTo>
                    <a:pt x="1047363" y="278502"/>
                    <a:pt x="1046623" y="278940"/>
                    <a:pt x="1046219" y="278502"/>
                  </a:cubicBezTo>
                  <a:cubicBezTo>
                    <a:pt x="1045781" y="278065"/>
                    <a:pt x="1043897" y="276047"/>
                    <a:pt x="1043897" y="276047"/>
                  </a:cubicBezTo>
                  <a:lnTo>
                    <a:pt x="1042147" y="275038"/>
                  </a:lnTo>
                  <a:cubicBezTo>
                    <a:pt x="1042147" y="275038"/>
                    <a:pt x="1040834" y="273894"/>
                    <a:pt x="1040834" y="273457"/>
                  </a:cubicBezTo>
                  <a:cubicBezTo>
                    <a:pt x="1040834" y="273019"/>
                    <a:pt x="1041406" y="271438"/>
                    <a:pt x="1041406" y="271438"/>
                  </a:cubicBezTo>
                  <a:lnTo>
                    <a:pt x="1041709" y="269689"/>
                  </a:lnTo>
                  <a:lnTo>
                    <a:pt x="1042147" y="267805"/>
                  </a:lnTo>
                  <a:lnTo>
                    <a:pt x="1044469" y="265417"/>
                  </a:lnTo>
                  <a:lnTo>
                    <a:pt x="1046219" y="263735"/>
                  </a:lnTo>
                  <a:cubicBezTo>
                    <a:pt x="1046219" y="263735"/>
                    <a:pt x="1039353" y="263634"/>
                    <a:pt x="1039051" y="263735"/>
                  </a:cubicBezTo>
                  <a:cubicBezTo>
                    <a:pt x="1038714" y="263836"/>
                    <a:pt x="1037536" y="263634"/>
                    <a:pt x="1036223" y="263735"/>
                  </a:cubicBezTo>
                  <a:cubicBezTo>
                    <a:pt x="1034911" y="263836"/>
                    <a:pt x="1034709" y="263735"/>
                    <a:pt x="1034709" y="263735"/>
                  </a:cubicBezTo>
                  <a:cubicBezTo>
                    <a:pt x="1034709" y="263735"/>
                    <a:pt x="1033296" y="262423"/>
                    <a:pt x="1033194" y="261884"/>
                  </a:cubicBezTo>
                  <a:cubicBezTo>
                    <a:pt x="1033094" y="261346"/>
                    <a:pt x="1031882" y="260270"/>
                    <a:pt x="1031445" y="260135"/>
                  </a:cubicBezTo>
                  <a:cubicBezTo>
                    <a:pt x="1031007" y="260034"/>
                    <a:pt x="1030031" y="259160"/>
                    <a:pt x="1029594" y="259059"/>
                  </a:cubicBezTo>
                  <a:cubicBezTo>
                    <a:pt x="1029156" y="258958"/>
                    <a:pt x="1028180" y="259059"/>
                    <a:pt x="1028180" y="259059"/>
                  </a:cubicBezTo>
                  <a:lnTo>
                    <a:pt x="1026868" y="259934"/>
                  </a:lnTo>
                  <a:cubicBezTo>
                    <a:pt x="1026868" y="259934"/>
                    <a:pt x="1025656" y="260909"/>
                    <a:pt x="1025218" y="261145"/>
                  </a:cubicBezTo>
                  <a:cubicBezTo>
                    <a:pt x="1024781" y="261346"/>
                    <a:pt x="1023805" y="262019"/>
                    <a:pt x="1023267" y="262120"/>
                  </a:cubicBezTo>
                  <a:cubicBezTo>
                    <a:pt x="1022728" y="262221"/>
                    <a:pt x="1021853" y="262457"/>
                    <a:pt x="1021415" y="262457"/>
                  </a:cubicBezTo>
                  <a:cubicBezTo>
                    <a:pt x="1020978" y="262457"/>
                    <a:pt x="1020204" y="262793"/>
                    <a:pt x="1019766" y="262894"/>
                  </a:cubicBezTo>
                  <a:cubicBezTo>
                    <a:pt x="1019329" y="262995"/>
                    <a:pt x="1017815" y="263331"/>
                    <a:pt x="1016939" y="263768"/>
                  </a:cubicBezTo>
                  <a:cubicBezTo>
                    <a:pt x="1016064" y="264206"/>
                    <a:pt x="1015189" y="263768"/>
                    <a:pt x="1015189" y="263768"/>
                  </a:cubicBezTo>
                  <a:cubicBezTo>
                    <a:pt x="1015189" y="263768"/>
                    <a:pt x="1013002" y="263230"/>
                    <a:pt x="1012362" y="262995"/>
                  </a:cubicBezTo>
                  <a:cubicBezTo>
                    <a:pt x="1011723" y="262793"/>
                    <a:pt x="1010074" y="262995"/>
                    <a:pt x="1010074" y="262995"/>
                  </a:cubicBezTo>
                  <a:cubicBezTo>
                    <a:pt x="1010074" y="262995"/>
                    <a:pt x="1008862" y="262894"/>
                    <a:pt x="1008425" y="262894"/>
                  </a:cubicBezTo>
                  <a:cubicBezTo>
                    <a:pt x="1007987" y="262894"/>
                    <a:pt x="1006136" y="263768"/>
                    <a:pt x="1006136" y="263768"/>
                  </a:cubicBezTo>
                  <a:cubicBezTo>
                    <a:pt x="1006136" y="263768"/>
                    <a:pt x="1004824" y="264744"/>
                    <a:pt x="1004521" y="264845"/>
                  </a:cubicBezTo>
                  <a:cubicBezTo>
                    <a:pt x="1004184" y="264946"/>
                    <a:pt x="1003444" y="267031"/>
                    <a:pt x="1003309" y="267334"/>
                  </a:cubicBezTo>
                  <a:cubicBezTo>
                    <a:pt x="1003208" y="267671"/>
                    <a:pt x="1003410" y="268545"/>
                    <a:pt x="1003410" y="269285"/>
                  </a:cubicBezTo>
                  <a:cubicBezTo>
                    <a:pt x="1003410" y="270025"/>
                    <a:pt x="1003410" y="271337"/>
                    <a:pt x="1003074" y="272111"/>
                  </a:cubicBezTo>
                  <a:cubicBezTo>
                    <a:pt x="1002737" y="272885"/>
                    <a:pt x="1001761" y="273860"/>
                    <a:pt x="1001324" y="274163"/>
                  </a:cubicBezTo>
                  <a:cubicBezTo>
                    <a:pt x="1000886" y="274499"/>
                    <a:pt x="1000684" y="275240"/>
                    <a:pt x="999372" y="275677"/>
                  </a:cubicBezTo>
                  <a:cubicBezTo>
                    <a:pt x="998059" y="276114"/>
                    <a:pt x="997420" y="275677"/>
                    <a:pt x="997083" y="275677"/>
                  </a:cubicBezTo>
                  <a:cubicBezTo>
                    <a:pt x="996747" y="275677"/>
                    <a:pt x="994997" y="273490"/>
                    <a:pt x="994997" y="273490"/>
                  </a:cubicBezTo>
                  <a:cubicBezTo>
                    <a:pt x="994997" y="273490"/>
                    <a:pt x="993280" y="270564"/>
                    <a:pt x="992809" y="270227"/>
                  </a:cubicBezTo>
                  <a:cubicBezTo>
                    <a:pt x="992372" y="269891"/>
                    <a:pt x="991396" y="268377"/>
                    <a:pt x="991093" y="267738"/>
                  </a:cubicBezTo>
                  <a:cubicBezTo>
                    <a:pt x="990756" y="267099"/>
                    <a:pt x="988804" y="266325"/>
                    <a:pt x="988804" y="266325"/>
                  </a:cubicBezTo>
                  <a:lnTo>
                    <a:pt x="987290" y="263701"/>
                  </a:lnTo>
                  <a:lnTo>
                    <a:pt x="984362" y="262826"/>
                  </a:lnTo>
                  <a:cubicBezTo>
                    <a:pt x="984362" y="262826"/>
                    <a:pt x="979886" y="261649"/>
                    <a:pt x="979785" y="260875"/>
                  </a:cubicBezTo>
                  <a:cubicBezTo>
                    <a:pt x="979684" y="260102"/>
                    <a:pt x="979246" y="257949"/>
                    <a:pt x="979246" y="257949"/>
                  </a:cubicBezTo>
                  <a:lnTo>
                    <a:pt x="979347" y="255762"/>
                  </a:lnTo>
                  <a:lnTo>
                    <a:pt x="978708" y="254013"/>
                  </a:lnTo>
                  <a:lnTo>
                    <a:pt x="978607" y="250851"/>
                  </a:lnTo>
                  <a:lnTo>
                    <a:pt x="975780" y="248563"/>
                  </a:lnTo>
                  <a:cubicBezTo>
                    <a:pt x="975780" y="248563"/>
                    <a:pt x="975443" y="247487"/>
                    <a:pt x="975780" y="247150"/>
                  </a:cubicBezTo>
                  <a:cubicBezTo>
                    <a:pt x="976116" y="246814"/>
                    <a:pt x="973491" y="245401"/>
                    <a:pt x="973491" y="245401"/>
                  </a:cubicBezTo>
                  <a:lnTo>
                    <a:pt x="970765" y="244190"/>
                  </a:lnTo>
                  <a:cubicBezTo>
                    <a:pt x="970765" y="244190"/>
                    <a:pt x="967703" y="244089"/>
                    <a:pt x="966727" y="244089"/>
                  </a:cubicBezTo>
                  <a:cubicBezTo>
                    <a:pt x="965751" y="244089"/>
                    <a:pt x="963698" y="244425"/>
                    <a:pt x="963361" y="244527"/>
                  </a:cubicBezTo>
                  <a:cubicBezTo>
                    <a:pt x="963025" y="244627"/>
                    <a:pt x="962284" y="246478"/>
                    <a:pt x="961948" y="247016"/>
                  </a:cubicBezTo>
                  <a:cubicBezTo>
                    <a:pt x="961611" y="247554"/>
                    <a:pt x="959154" y="247991"/>
                    <a:pt x="959154" y="247991"/>
                  </a:cubicBezTo>
                  <a:lnTo>
                    <a:pt x="955688" y="247991"/>
                  </a:lnTo>
                  <a:lnTo>
                    <a:pt x="953400" y="247991"/>
                  </a:lnTo>
                  <a:lnTo>
                    <a:pt x="951649" y="245704"/>
                  </a:lnTo>
                  <a:cubicBezTo>
                    <a:pt x="951649" y="245704"/>
                    <a:pt x="950573" y="243215"/>
                    <a:pt x="950236" y="242676"/>
                  </a:cubicBezTo>
                  <a:cubicBezTo>
                    <a:pt x="949899" y="242138"/>
                    <a:pt x="949597" y="241802"/>
                    <a:pt x="949361" y="241465"/>
                  </a:cubicBezTo>
                  <a:cubicBezTo>
                    <a:pt x="949125" y="241129"/>
                    <a:pt x="948385" y="240591"/>
                    <a:pt x="948385" y="240591"/>
                  </a:cubicBezTo>
                  <a:lnTo>
                    <a:pt x="947847" y="239615"/>
                  </a:lnTo>
                  <a:cubicBezTo>
                    <a:pt x="947847" y="239615"/>
                    <a:pt x="947308" y="238539"/>
                    <a:pt x="948284" y="235713"/>
                  </a:cubicBezTo>
                  <a:cubicBezTo>
                    <a:pt x="949260" y="232887"/>
                    <a:pt x="949697" y="233964"/>
                    <a:pt x="950000" y="233762"/>
                  </a:cubicBezTo>
                  <a:cubicBezTo>
                    <a:pt x="950337" y="233560"/>
                    <a:pt x="950640" y="232012"/>
                    <a:pt x="950438" y="231474"/>
                  </a:cubicBezTo>
                  <a:cubicBezTo>
                    <a:pt x="950236" y="230936"/>
                    <a:pt x="949563" y="228750"/>
                    <a:pt x="949125" y="228447"/>
                  </a:cubicBezTo>
                  <a:cubicBezTo>
                    <a:pt x="948688" y="228110"/>
                    <a:pt x="946197" y="228447"/>
                    <a:pt x="945760" y="228447"/>
                  </a:cubicBezTo>
                  <a:cubicBezTo>
                    <a:pt x="945322" y="228447"/>
                    <a:pt x="943034" y="228346"/>
                    <a:pt x="941519" y="228548"/>
                  </a:cubicBezTo>
                  <a:cubicBezTo>
                    <a:pt x="940005" y="228783"/>
                    <a:pt x="940745" y="229086"/>
                    <a:pt x="940544" y="229624"/>
                  </a:cubicBezTo>
                  <a:cubicBezTo>
                    <a:pt x="940342" y="230162"/>
                    <a:pt x="939904" y="231037"/>
                    <a:pt x="939231" y="231912"/>
                  </a:cubicBezTo>
                  <a:cubicBezTo>
                    <a:pt x="938558" y="232786"/>
                    <a:pt x="938019" y="232450"/>
                    <a:pt x="937481" y="232887"/>
                  </a:cubicBezTo>
                  <a:cubicBezTo>
                    <a:pt x="936942" y="233324"/>
                    <a:pt x="936942" y="233762"/>
                    <a:pt x="936741" y="234199"/>
                  </a:cubicBezTo>
                  <a:cubicBezTo>
                    <a:pt x="936505" y="234636"/>
                    <a:pt x="935664" y="234973"/>
                    <a:pt x="935664" y="234973"/>
                  </a:cubicBezTo>
                  <a:cubicBezTo>
                    <a:pt x="935664" y="234973"/>
                    <a:pt x="935664" y="237260"/>
                    <a:pt x="935664" y="237698"/>
                  </a:cubicBezTo>
                  <a:cubicBezTo>
                    <a:pt x="935664" y="238135"/>
                    <a:pt x="935933" y="238337"/>
                    <a:pt x="935933" y="239548"/>
                  </a:cubicBezTo>
                  <a:cubicBezTo>
                    <a:pt x="935933" y="240759"/>
                    <a:pt x="935664" y="240523"/>
                    <a:pt x="934789" y="241499"/>
                  </a:cubicBezTo>
                  <a:cubicBezTo>
                    <a:pt x="933913" y="242475"/>
                    <a:pt x="933712" y="241835"/>
                    <a:pt x="933274" y="241499"/>
                  </a:cubicBezTo>
                  <a:cubicBezTo>
                    <a:pt x="932837" y="241163"/>
                    <a:pt x="930447" y="240961"/>
                    <a:pt x="930010" y="240961"/>
                  </a:cubicBezTo>
                  <a:cubicBezTo>
                    <a:pt x="929572" y="240961"/>
                    <a:pt x="927822" y="240624"/>
                    <a:pt x="927418" y="240422"/>
                  </a:cubicBezTo>
                  <a:cubicBezTo>
                    <a:pt x="926981" y="240187"/>
                    <a:pt x="925231" y="238673"/>
                    <a:pt x="925130" y="238370"/>
                  </a:cubicBezTo>
                  <a:cubicBezTo>
                    <a:pt x="925029" y="238034"/>
                    <a:pt x="924894" y="235343"/>
                    <a:pt x="924894" y="235343"/>
                  </a:cubicBezTo>
                  <a:lnTo>
                    <a:pt x="924120" y="233156"/>
                  </a:lnTo>
                  <a:lnTo>
                    <a:pt x="918904" y="230566"/>
                  </a:lnTo>
                  <a:lnTo>
                    <a:pt x="916615" y="229489"/>
                  </a:lnTo>
                  <a:cubicBezTo>
                    <a:pt x="916615" y="229489"/>
                    <a:pt x="915303" y="227875"/>
                    <a:pt x="914327" y="226462"/>
                  </a:cubicBezTo>
                  <a:cubicBezTo>
                    <a:pt x="913351" y="225049"/>
                    <a:pt x="914428" y="223636"/>
                    <a:pt x="914428" y="223636"/>
                  </a:cubicBezTo>
                  <a:cubicBezTo>
                    <a:pt x="914428" y="223636"/>
                    <a:pt x="914966" y="222324"/>
                    <a:pt x="915303" y="221584"/>
                  </a:cubicBezTo>
                  <a:cubicBezTo>
                    <a:pt x="915639" y="220811"/>
                    <a:pt x="916278" y="219398"/>
                    <a:pt x="916278" y="219398"/>
                  </a:cubicBezTo>
                  <a:cubicBezTo>
                    <a:pt x="916278" y="219398"/>
                    <a:pt x="917355" y="218759"/>
                    <a:pt x="918029" y="217985"/>
                  </a:cubicBezTo>
                  <a:cubicBezTo>
                    <a:pt x="918668" y="217211"/>
                    <a:pt x="918365" y="214183"/>
                    <a:pt x="918365" y="214183"/>
                  </a:cubicBezTo>
                  <a:lnTo>
                    <a:pt x="919880" y="212569"/>
                  </a:lnTo>
                  <a:cubicBezTo>
                    <a:pt x="919880" y="212569"/>
                    <a:pt x="920418" y="209743"/>
                    <a:pt x="920418" y="209407"/>
                  </a:cubicBezTo>
                  <a:cubicBezTo>
                    <a:pt x="920418" y="209070"/>
                    <a:pt x="919005" y="207355"/>
                    <a:pt x="919005" y="207355"/>
                  </a:cubicBezTo>
                  <a:lnTo>
                    <a:pt x="917389" y="206480"/>
                  </a:lnTo>
                  <a:cubicBezTo>
                    <a:pt x="917389" y="206480"/>
                    <a:pt x="914663" y="206581"/>
                    <a:pt x="914226" y="206379"/>
                  </a:cubicBezTo>
                  <a:cubicBezTo>
                    <a:pt x="913788" y="206177"/>
                    <a:pt x="911836" y="207355"/>
                    <a:pt x="910961" y="207792"/>
                  </a:cubicBezTo>
                  <a:cubicBezTo>
                    <a:pt x="910086" y="208229"/>
                    <a:pt x="909783" y="209306"/>
                    <a:pt x="909783" y="209306"/>
                  </a:cubicBezTo>
                  <a:lnTo>
                    <a:pt x="907596" y="209642"/>
                  </a:lnTo>
                  <a:cubicBezTo>
                    <a:pt x="907596" y="209642"/>
                    <a:pt x="906519" y="209844"/>
                    <a:pt x="906081" y="209844"/>
                  </a:cubicBezTo>
                  <a:cubicBezTo>
                    <a:pt x="905644" y="209844"/>
                    <a:pt x="904028" y="209945"/>
                    <a:pt x="904028" y="209945"/>
                  </a:cubicBezTo>
                  <a:lnTo>
                    <a:pt x="902177" y="210382"/>
                  </a:lnTo>
                  <a:lnTo>
                    <a:pt x="899249" y="210483"/>
                  </a:lnTo>
                  <a:cubicBezTo>
                    <a:pt x="899249" y="210483"/>
                    <a:pt x="897735" y="210483"/>
                    <a:pt x="895345" y="209710"/>
                  </a:cubicBezTo>
                  <a:cubicBezTo>
                    <a:pt x="892956" y="208936"/>
                    <a:pt x="893494" y="209609"/>
                    <a:pt x="892855" y="209609"/>
                  </a:cubicBezTo>
                  <a:cubicBezTo>
                    <a:pt x="892216" y="209609"/>
                    <a:pt x="889692" y="209272"/>
                    <a:pt x="889692" y="209272"/>
                  </a:cubicBezTo>
                  <a:cubicBezTo>
                    <a:pt x="889692" y="209272"/>
                    <a:pt x="888513" y="208398"/>
                    <a:pt x="888513" y="207960"/>
                  </a:cubicBezTo>
                  <a:cubicBezTo>
                    <a:pt x="888513" y="207523"/>
                    <a:pt x="886999" y="204697"/>
                    <a:pt x="886999" y="204697"/>
                  </a:cubicBezTo>
                  <a:lnTo>
                    <a:pt x="883936" y="203520"/>
                  </a:lnTo>
                  <a:lnTo>
                    <a:pt x="881984" y="202881"/>
                  </a:lnTo>
                  <a:cubicBezTo>
                    <a:pt x="881984" y="202881"/>
                    <a:pt x="880335" y="203957"/>
                    <a:pt x="880033" y="204092"/>
                  </a:cubicBezTo>
                  <a:cubicBezTo>
                    <a:pt x="879696" y="204193"/>
                    <a:pt x="877744" y="205168"/>
                    <a:pt x="877407" y="205303"/>
                  </a:cubicBezTo>
                  <a:cubicBezTo>
                    <a:pt x="877105" y="205404"/>
                    <a:pt x="875557" y="206951"/>
                    <a:pt x="875119" y="206951"/>
                  </a:cubicBezTo>
                  <a:cubicBezTo>
                    <a:pt x="874681" y="206951"/>
                    <a:pt x="873706" y="207388"/>
                    <a:pt x="873706" y="207388"/>
                  </a:cubicBezTo>
                  <a:cubicBezTo>
                    <a:pt x="873706" y="207388"/>
                    <a:pt x="871955" y="207927"/>
                    <a:pt x="871215" y="207927"/>
                  </a:cubicBezTo>
                  <a:cubicBezTo>
                    <a:pt x="870475" y="207927"/>
                    <a:pt x="868052" y="208566"/>
                    <a:pt x="868052" y="208566"/>
                  </a:cubicBezTo>
                  <a:cubicBezTo>
                    <a:pt x="868052" y="208566"/>
                    <a:pt x="866200" y="210416"/>
                    <a:pt x="865763" y="210517"/>
                  </a:cubicBezTo>
                  <a:cubicBezTo>
                    <a:pt x="865326" y="210618"/>
                    <a:pt x="864451" y="212266"/>
                    <a:pt x="864249" y="212703"/>
                  </a:cubicBezTo>
                  <a:cubicBezTo>
                    <a:pt x="864047" y="213141"/>
                    <a:pt x="862835" y="213242"/>
                    <a:pt x="862499" y="213343"/>
                  </a:cubicBezTo>
                  <a:cubicBezTo>
                    <a:pt x="862162" y="213444"/>
                    <a:pt x="860984" y="214756"/>
                    <a:pt x="860311" y="214856"/>
                  </a:cubicBezTo>
                  <a:cubicBezTo>
                    <a:pt x="859671" y="214957"/>
                    <a:pt x="858460" y="215495"/>
                    <a:pt x="857585" y="215731"/>
                  </a:cubicBezTo>
                  <a:cubicBezTo>
                    <a:pt x="856710" y="215966"/>
                    <a:pt x="856508" y="216807"/>
                    <a:pt x="856508" y="216807"/>
                  </a:cubicBezTo>
                  <a:lnTo>
                    <a:pt x="854018" y="216807"/>
                  </a:lnTo>
                  <a:lnTo>
                    <a:pt x="852806" y="214756"/>
                  </a:lnTo>
                  <a:cubicBezTo>
                    <a:pt x="852806" y="214756"/>
                    <a:pt x="850518" y="212031"/>
                    <a:pt x="848667" y="211593"/>
                  </a:cubicBezTo>
                  <a:cubicBezTo>
                    <a:pt x="846816" y="211156"/>
                    <a:pt x="845503" y="211593"/>
                    <a:pt x="845503" y="211593"/>
                  </a:cubicBezTo>
                  <a:cubicBezTo>
                    <a:pt x="845503" y="211593"/>
                    <a:pt x="842777" y="210954"/>
                    <a:pt x="842339" y="210719"/>
                  </a:cubicBezTo>
                  <a:cubicBezTo>
                    <a:pt x="841902" y="210517"/>
                    <a:pt x="838435" y="208667"/>
                    <a:pt x="837998" y="208431"/>
                  </a:cubicBezTo>
                  <a:cubicBezTo>
                    <a:pt x="837561" y="208229"/>
                    <a:pt x="836584" y="207456"/>
                    <a:pt x="836147" y="207220"/>
                  </a:cubicBezTo>
                  <a:cubicBezTo>
                    <a:pt x="835709" y="207018"/>
                    <a:pt x="833556" y="206144"/>
                    <a:pt x="833118" y="205807"/>
                  </a:cubicBezTo>
                  <a:cubicBezTo>
                    <a:pt x="832681" y="205471"/>
                    <a:pt x="829652" y="204596"/>
                    <a:pt x="829214" y="204495"/>
                  </a:cubicBezTo>
                  <a:cubicBezTo>
                    <a:pt x="828777" y="204394"/>
                    <a:pt x="825950" y="203217"/>
                    <a:pt x="825950" y="203217"/>
                  </a:cubicBezTo>
                  <a:lnTo>
                    <a:pt x="824738" y="202208"/>
                  </a:lnTo>
                  <a:cubicBezTo>
                    <a:pt x="824738" y="202208"/>
                    <a:pt x="824637" y="199618"/>
                    <a:pt x="824637" y="199180"/>
                  </a:cubicBezTo>
                  <a:cubicBezTo>
                    <a:pt x="824637" y="198743"/>
                    <a:pt x="825613" y="197128"/>
                    <a:pt x="825613" y="197128"/>
                  </a:cubicBezTo>
                  <a:lnTo>
                    <a:pt x="827902" y="195715"/>
                  </a:lnTo>
                  <a:lnTo>
                    <a:pt x="828878" y="194639"/>
                  </a:lnTo>
                  <a:lnTo>
                    <a:pt x="828339" y="191712"/>
                  </a:lnTo>
                  <a:lnTo>
                    <a:pt x="827027" y="190198"/>
                  </a:lnTo>
                  <a:lnTo>
                    <a:pt x="820397" y="189660"/>
                  </a:lnTo>
                  <a:lnTo>
                    <a:pt x="817805" y="189223"/>
                  </a:lnTo>
                  <a:cubicBezTo>
                    <a:pt x="817805" y="189223"/>
                    <a:pt x="811949" y="190098"/>
                    <a:pt x="810401" y="190535"/>
                  </a:cubicBezTo>
                  <a:cubicBezTo>
                    <a:pt x="808887" y="190972"/>
                    <a:pt x="807574" y="192284"/>
                    <a:pt x="807574" y="192284"/>
                  </a:cubicBezTo>
                  <a:lnTo>
                    <a:pt x="805622" y="191847"/>
                  </a:lnTo>
                  <a:lnTo>
                    <a:pt x="802358" y="190098"/>
                  </a:lnTo>
                  <a:lnTo>
                    <a:pt x="800608" y="192486"/>
                  </a:lnTo>
                  <a:lnTo>
                    <a:pt x="798858" y="194437"/>
                  </a:lnTo>
                  <a:lnTo>
                    <a:pt x="796704" y="196826"/>
                  </a:lnTo>
                  <a:cubicBezTo>
                    <a:pt x="796704" y="196826"/>
                    <a:pt x="793877" y="199012"/>
                    <a:pt x="793002" y="199012"/>
                  </a:cubicBezTo>
                  <a:cubicBezTo>
                    <a:pt x="792127" y="199012"/>
                    <a:pt x="787987" y="201838"/>
                    <a:pt x="787987" y="201838"/>
                  </a:cubicBezTo>
                  <a:cubicBezTo>
                    <a:pt x="787987" y="201838"/>
                    <a:pt x="784285" y="202712"/>
                    <a:pt x="783410" y="202914"/>
                  </a:cubicBezTo>
                  <a:cubicBezTo>
                    <a:pt x="782535" y="203150"/>
                    <a:pt x="779944" y="203553"/>
                    <a:pt x="778429" y="202914"/>
                  </a:cubicBezTo>
                  <a:cubicBezTo>
                    <a:pt x="776915" y="202275"/>
                    <a:pt x="774290" y="202914"/>
                    <a:pt x="774290" y="202914"/>
                  </a:cubicBezTo>
                  <a:lnTo>
                    <a:pt x="770823" y="198777"/>
                  </a:lnTo>
                  <a:lnTo>
                    <a:pt x="767795" y="195951"/>
                  </a:lnTo>
                  <a:lnTo>
                    <a:pt x="762141" y="195951"/>
                  </a:lnTo>
                  <a:lnTo>
                    <a:pt x="761602" y="197801"/>
                  </a:lnTo>
                  <a:lnTo>
                    <a:pt x="759112" y="199550"/>
                  </a:lnTo>
                  <a:lnTo>
                    <a:pt x="757362" y="202174"/>
                  </a:lnTo>
                  <a:lnTo>
                    <a:pt x="754434" y="205202"/>
                  </a:lnTo>
                  <a:lnTo>
                    <a:pt x="751371" y="209878"/>
                  </a:lnTo>
                  <a:lnTo>
                    <a:pt x="747366" y="211392"/>
                  </a:lnTo>
                  <a:cubicBezTo>
                    <a:pt x="747366" y="211392"/>
                    <a:pt x="743025" y="208667"/>
                    <a:pt x="741073" y="207792"/>
                  </a:cubicBezTo>
                  <a:cubicBezTo>
                    <a:pt x="739121" y="206917"/>
                    <a:pt x="740097" y="207893"/>
                    <a:pt x="739558" y="208869"/>
                  </a:cubicBezTo>
                  <a:cubicBezTo>
                    <a:pt x="739020" y="209844"/>
                    <a:pt x="739121" y="209642"/>
                    <a:pt x="738919" y="210517"/>
                  </a:cubicBezTo>
                  <a:cubicBezTo>
                    <a:pt x="738717" y="211392"/>
                    <a:pt x="737741" y="212569"/>
                    <a:pt x="736630" y="213343"/>
                  </a:cubicBezTo>
                  <a:cubicBezTo>
                    <a:pt x="735553" y="214116"/>
                    <a:pt x="734779" y="213444"/>
                    <a:pt x="733366" y="213343"/>
                  </a:cubicBezTo>
                  <a:cubicBezTo>
                    <a:pt x="731952" y="213242"/>
                    <a:pt x="731851" y="212165"/>
                    <a:pt x="730236" y="211291"/>
                  </a:cubicBezTo>
                  <a:cubicBezTo>
                    <a:pt x="728587" y="210416"/>
                    <a:pt x="726871" y="210080"/>
                    <a:pt x="726534" y="210214"/>
                  </a:cubicBezTo>
                  <a:cubicBezTo>
                    <a:pt x="726197" y="210315"/>
                    <a:pt x="724044" y="210416"/>
                    <a:pt x="724044" y="210416"/>
                  </a:cubicBezTo>
                  <a:cubicBezTo>
                    <a:pt x="724044" y="210416"/>
                    <a:pt x="723068" y="212266"/>
                    <a:pt x="722630" y="212468"/>
                  </a:cubicBezTo>
                  <a:cubicBezTo>
                    <a:pt x="722193" y="212670"/>
                    <a:pt x="719803" y="212804"/>
                    <a:pt x="715664" y="212468"/>
                  </a:cubicBezTo>
                  <a:cubicBezTo>
                    <a:pt x="711524" y="212132"/>
                    <a:pt x="712298" y="211392"/>
                    <a:pt x="710885" y="210853"/>
                  </a:cubicBezTo>
                  <a:cubicBezTo>
                    <a:pt x="709471" y="210315"/>
                    <a:pt x="708697" y="209440"/>
                    <a:pt x="708159" y="209104"/>
                  </a:cubicBezTo>
                  <a:cubicBezTo>
                    <a:pt x="707620" y="208768"/>
                    <a:pt x="705870" y="207691"/>
                    <a:pt x="703380" y="207153"/>
                  </a:cubicBezTo>
                  <a:cubicBezTo>
                    <a:pt x="700889" y="206615"/>
                    <a:pt x="700788" y="208128"/>
                    <a:pt x="700452" y="208028"/>
                  </a:cubicBezTo>
                  <a:cubicBezTo>
                    <a:pt x="700115" y="207927"/>
                    <a:pt x="697524" y="208028"/>
                    <a:pt x="697524" y="208028"/>
                  </a:cubicBezTo>
                  <a:lnTo>
                    <a:pt x="693620" y="206177"/>
                  </a:lnTo>
                  <a:cubicBezTo>
                    <a:pt x="693620" y="206177"/>
                    <a:pt x="691870" y="204664"/>
                    <a:pt x="691432" y="203688"/>
                  </a:cubicBezTo>
                  <a:cubicBezTo>
                    <a:pt x="690995" y="202712"/>
                    <a:pt x="689480" y="201737"/>
                    <a:pt x="689480" y="201737"/>
                  </a:cubicBezTo>
                  <a:cubicBezTo>
                    <a:pt x="689480" y="201737"/>
                    <a:pt x="687528" y="200223"/>
                    <a:pt x="687192" y="199449"/>
                  </a:cubicBezTo>
                  <a:cubicBezTo>
                    <a:pt x="686855" y="198676"/>
                    <a:pt x="685004" y="198037"/>
                    <a:pt x="683826" y="197599"/>
                  </a:cubicBezTo>
                  <a:cubicBezTo>
                    <a:pt x="682615" y="197162"/>
                    <a:pt x="680797" y="196523"/>
                    <a:pt x="680360" y="196186"/>
                  </a:cubicBezTo>
                  <a:cubicBezTo>
                    <a:pt x="679922" y="195850"/>
                    <a:pt x="676557" y="195110"/>
                    <a:pt x="676119" y="194774"/>
                  </a:cubicBezTo>
                  <a:cubicBezTo>
                    <a:pt x="675682" y="194437"/>
                    <a:pt x="672216" y="192587"/>
                    <a:pt x="671879" y="192486"/>
                  </a:cubicBezTo>
                  <a:cubicBezTo>
                    <a:pt x="671542" y="192385"/>
                    <a:pt x="670028" y="191611"/>
                    <a:pt x="669590" y="191510"/>
                  </a:cubicBezTo>
                  <a:cubicBezTo>
                    <a:pt x="669153" y="191410"/>
                    <a:pt x="665451" y="189660"/>
                    <a:pt x="665114" y="189458"/>
                  </a:cubicBezTo>
                  <a:cubicBezTo>
                    <a:pt x="664778" y="189257"/>
                    <a:pt x="663061" y="187844"/>
                    <a:pt x="663061" y="187844"/>
                  </a:cubicBezTo>
                  <a:cubicBezTo>
                    <a:pt x="663061" y="187844"/>
                    <a:pt x="661009" y="186633"/>
                    <a:pt x="660571" y="186229"/>
                  </a:cubicBezTo>
                  <a:cubicBezTo>
                    <a:pt x="660134" y="185792"/>
                    <a:pt x="656869" y="182966"/>
                    <a:pt x="656869" y="182966"/>
                  </a:cubicBezTo>
                  <a:cubicBezTo>
                    <a:pt x="656869" y="182966"/>
                    <a:pt x="654682" y="180679"/>
                    <a:pt x="654379" y="179602"/>
                  </a:cubicBezTo>
                  <a:cubicBezTo>
                    <a:pt x="654042" y="178526"/>
                    <a:pt x="653941" y="178526"/>
                    <a:pt x="653941" y="178088"/>
                  </a:cubicBezTo>
                  <a:cubicBezTo>
                    <a:pt x="653941" y="177651"/>
                    <a:pt x="653605" y="175801"/>
                    <a:pt x="653605" y="175801"/>
                  </a:cubicBezTo>
                  <a:cubicBezTo>
                    <a:pt x="653605" y="175801"/>
                    <a:pt x="653840" y="173614"/>
                    <a:pt x="654379" y="173614"/>
                  </a:cubicBezTo>
                  <a:cubicBezTo>
                    <a:pt x="654917" y="173614"/>
                    <a:pt x="655153" y="173076"/>
                    <a:pt x="658619" y="172437"/>
                  </a:cubicBezTo>
                  <a:cubicBezTo>
                    <a:pt x="662086" y="171798"/>
                    <a:pt x="660134" y="171125"/>
                    <a:pt x="661884" y="170687"/>
                  </a:cubicBezTo>
                  <a:cubicBezTo>
                    <a:pt x="663634" y="170250"/>
                    <a:pt x="664071" y="170048"/>
                    <a:pt x="665485" y="169712"/>
                  </a:cubicBezTo>
                  <a:cubicBezTo>
                    <a:pt x="666898" y="169375"/>
                    <a:pt x="666898" y="167963"/>
                    <a:pt x="667100" y="166684"/>
                  </a:cubicBezTo>
                  <a:cubicBezTo>
                    <a:pt x="667302" y="165372"/>
                    <a:pt x="667538" y="162883"/>
                    <a:pt x="667538" y="161807"/>
                  </a:cubicBezTo>
                  <a:cubicBezTo>
                    <a:pt x="667538" y="160730"/>
                    <a:pt x="665485" y="159317"/>
                    <a:pt x="665485" y="159317"/>
                  </a:cubicBezTo>
                  <a:lnTo>
                    <a:pt x="663196" y="158779"/>
                  </a:lnTo>
                  <a:lnTo>
                    <a:pt x="661984" y="156391"/>
                  </a:lnTo>
                  <a:lnTo>
                    <a:pt x="664172" y="154540"/>
                  </a:lnTo>
                  <a:lnTo>
                    <a:pt x="664273" y="150739"/>
                  </a:lnTo>
                  <a:cubicBezTo>
                    <a:pt x="664273" y="150739"/>
                    <a:pt x="664071" y="146299"/>
                    <a:pt x="664071" y="145626"/>
                  </a:cubicBezTo>
                  <a:cubicBezTo>
                    <a:pt x="664071" y="144987"/>
                    <a:pt x="662759" y="142161"/>
                    <a:pt x="662759" y="142161"/>
                  </a:cubicBezTo>
                  <a:cubicBezTo>
                    <a:pt x="662759" y="142161"/>
                    <a:pt x="664374" y="137586"/>
                    <a:pt x="665047" y="137048"/>
                  </a:cubicBezTo>
                  <a:cubicBezTo>
                    <a:pt x="665687" y="136510"/>
                    <a:pt x="667437" y="135433"/>
                    <a:pt x="669624" y="135063"/>
                  </a:cubicBezTo>
                  <a:cubicBezTo>
                    <a:pt x="671812" y="134693"/>
                    <a:pt x="672014" y="133482"/>
                    <a:pt x="672990" y="133045"/>
                  </a:cubicBezTo>
                  <a:cubicBezTo>
                    <a:pt x="673966" y="132607"/>
                    <a:pt x="674504" y="131094"/>
                    <a:pt x="675177" y="130455"/>
                  </a:cubicBezTo>
                  <a:cubicBezTo>
                    <a:pt x="675816" y="129815"/>
                    <a:pt x="674538" y="127730"/>
                    <a:pt x="673764" y="126216"/>
                  </a:cubicBezTo>
                  <a:cubicBezTo>
                    <a:pt x="672990" y="124702"/>
                    <a:pt x="671475" y="125341"/>
                    <a:pt x="671475" y="125341"/>
                  </a:cubicBezTo>
                  <a:cubicBezTo>
                    <a:pt x="671475" y="125341"/>
                    <a:pt x="669086" y="125442"/>
                    <a:pt x="668009" y="125543"/>
                  </a:cubicBezTo>
                  <a:cubicBezTo>
                    <a:pt x="666932" y="125644"/>
                    <a:pt x="664206" y="125207"/>
                    <a:pt x="663230" y="125005"/>
                  </a:cubicBezTo>
                  <a:cubicBezTo>
                    <a:pt x="662254" y="124803"/>
                    <a:pt x="660840" y="123693"/>
                    <a:pt x="660302" y="123491"/>
                  </a:cubicBezTo>
                  <a:cubicBezTo>
                    <a:pt x="659763" y="123289"/>
                    <a:pt x="657811" y="122717"/>
                    <a:pt x="657037" y="122179"/>
                  </a:cubicBezTo>
                  <a:cubicBezTo>
                    <a:pt x="656263" y="121641"/>
                    <a:pt x="655388" y="120565"/>
                    <a:pt x="655388" y="120565"/>
                  </a:cubicBezTo>
                  <a:cubicBezTo>
                    <a:pt x="655388" y="120565"/>
                    <a:pt x="654311" y="117201"/>
                    <a:pt x="654076" y="116763"/>
                  </a:cubicBezTo>
                  <a:cubicBezTo>
                    <a:pt x="653874" y="116326"/>
                    <a:pt x="652763" y="113063"/>
                    <a:pt x="652225" y="111986"/>
                  </a:cubicBezTo>
                  <a:cubicBezTo>
                    <a:pt x="651686" y="110910"/>
                    <a:pt x="650037" y="107849"/>
                    <a:pt x="650037" y="107210"/>
                  </a:cubicBezTo>
                  <a:cubicBezTo>
                    <a:pt x="650037" y="106570"/>
                    <a:pt x="648388" y="102735"/>
                    <a:pt x="648186" y="101995"/>
                  </a:cubicBezTo>
                  <a:cubicBezTo>
                    <a:pt x="647984" y="101222"/>
                    <a:pt x="646672" y="98396"/>
                    <a:pt x="646537" y="96781"/>
                  </a:cubicBezTo>
                  <a:cubicBezTo>
                    <a:pt x="646436" y="95166"/>
                    <a:pt x="645898" y="94393"/>
                    <a:pt x="645898" y="93955"/>
                  </a:cubicBezTo>
                  <a:cubicBezTo>
                    <a:pt x="645898" y="93518"/>
                    <a:pt x="645359" y="92879"/>
                    <a:pt x="645258" y="92341"/>
                  </a:cubicBezTo>
                  <a:cubicBezTo>
                    <a:pt x="645157" y="91802"/>
                    <a:pt x="643205" y="89952"/>
                    <a:pt x="642970" y="89515"/>
                  </a:cubicBezTo>
                  <a:cubicBezTo>
                    <a:pt x="642768" y="89078"/>
                    <a:pt x="641119" y="88001"/>
                    <a:pt x="641119" y="88001"/>
                  </a:cubicBezTo>
                  <a:cubicBezTo>
                    <a:pt x="641119" y="88001"/>
                    <a:pt x="639066" y="86588"/>
                    <a:pt x="638729" y="86488"/>
                  </a:cubicBezTo>
                  <a:cubicBezTo>
                    <a:pt x="638393" y="86387"/>
                    <a:pt x="636542" y="85714"/>
                    <a:pt x="636542" y="85714"/>
                  </a:cubicBezTo>
                  <a:lnTo>
                    <a:pt x="634253" y="84940"/>
                  </a:lnTo>
                  <a:lnTo>
                    <a:pt x="632234" y="83124"/>
                  </a:lnTo>
                  <a:lnTo>
                    <a:pt x="628767" y="83124"/>
                  </a:lnTo>
                  <a:cubicBezTo>
                    <a:pt x="628767" y="83124"/>
                    <a:pt x="626916" y="83124"/>
                    <a:pt x="626479" y="83124"/>
                  </a:cubicBezTo>
                  <a:cubicBezTo>
                    <a:pt x="626041" y="83124"/>
                    <a:pt x="624426" y="83224"/>
                    <a:pt x="623989" y="83224"/>
                  </a:cubicBezTo>
                  <a:cubicBezTo>
                    <a:pt x="623551" y="83224"/>
                    <a:pt x="620926" y="83561"/>
                    <a:pt x="620286" y="83561"/>
                  </a:cubicBezTo>
                  <a:cubicBezTo>
                    <a:pt x="619647" y="83561"/>
                    <a:pt x="614094" y="83763"/>
                    <a:pt x="613657" y="83763"/>
                  </a:cubicBezTo>
                  <a:cubicBezTo>
                    <a:pt x="613219" y="83763"/>
                    <a:pt x="611906" y="83864"/>
                    <a:pt x="611906" y="83864"/>
                  </a:cubicBezTo>
                  <a:lnTo>
                    <a:pt x="609315" y="83426"/>
                  </a:lnTo>
                  <a:lnTo>
                    <a:pt x="605950" y="81912"/>
                  </a:lnTo>
                  <a:lnTo>
                    <a:pt x="600632" y="80836"/>
                  </a:lnTo>
                  <a:cubicBezTo>
                    <a:pt x="600632" y="80836"/>
                    <a:pt x="598882" y="79087"/>
                    <a:pt x="598243" y="78784"/>
                  </a:cubicBezTo>
                  <a:cubicBezTo>
                    <a:pt x="597570" y="78448"/>
                    <a:pt x="596728" y="78784"/>
                    <a:pt x="596728" y="78784"/>
                  </a:cubicBezTo>
                  <a:cubicBezTo>
                    <a:pt x="596728" y="78784"/>
                    <a:pt x="595752" y="79860"/>
                    <a:pt x="595752" y="80197"/>
                  </a:cubicBezTo>
                  <a:cubicBezTo>
                    <a:pt x="595752" y="80533"/>
                    <a:pt x="594002" y="81408"/>
                    <a:pt x="592690" y="81711"/>
                  </a:cubicBezTo>
                  <a:cubicBezTo>
                    <a:pt x="591377" y="82047"/>
                    <a:pt x="591512" y="81273"/>
                    <a:pt x="590738" y="80836"/>
                  </a:cubicBezTo>
                  <a:cubicBezTo>
                    <a:pt x="589964" y="80399"/>
                    <a:pt x="590738" y="80836"/>
                    <a:pt x="590738" y="80399"/>
                  </a:cubicBezTo>
                  <a:cubicBezTo>
                    <a:pt x="590738" y="79961"/>
                    <a:pt x="590940" y="79625"/>
                    <a:pt x="590940" y="79221"/>
                  </a:cubicBezTo>
                  <a:cubicBezTo>
                    <a:pt x="590940" y="78784"/>
                    <a:pt x="590166" y="77169"/>
                    <a:pt x="590166" y="77169"/>
                  </a:cubicBezTo>
                  <a:lnTo>
                    <a:pt x="588853" y="75656"/>
                  </a:lnTo>
                  <a:cubicBezTo>
                    <a:pt x="588853" y="75656"/>
                    <a:pt x="588517" y="74142"/>
                    <a:pt x="588651" y="73805"/>
                  </a:cubicBezTo>
                  <a:cubicBezTo>
                    <a:pt x="588752" y="73469"/>
                    <a:pt x="589190" y="72729"/>
                    <a:pt x="589190" y="72729"/>
                  </a:cubicBezTo>
                  <a:cubicBezTo>
                    <a:pt x="589190" y="72729"/>
                    <a:pt x="589526" y="71114"/>
                    <a:pt x="589627" y="70240"/>
                  </a:cubicBezTo>
                  <a:cubicBezTo>
                    <a:pt x="589728" y="69365"/>
                    <a:pt x="589627" y="67952"/>
                    <a:pt x="589392" y="67212"/>
                  </a:cubicBezTo>
                  <a:cubicBezTo>
                    <a:pt x="589190" y="66438"/>
                    <a:pt x="588618" y="65463"/>
                    <a:pt x="588618" y="65463"/>
                  </a:cubicBezTo>
                  <a:cubicBezTo>
                    <a:pt x="588618" y="65463"/>
                    <a:pt x="587742" y="65025"/>
                    <a:pt x="587204" y="64824"/>
                  </a:cubicBezTo>
                  <a:cubicBezTo>
                    <a:pt x="586666" y="64622"/>
                    <a:pt x="584478" y="64824"/>
                    <a:pt x="584478" y="64824"/>
                  </a:cubicBezTo>
                  <a:lnTo>
                    <a:pt x="582964" y="66035"/>
                  </a:lnTo>
                  <a:cubicBezTo>
                    <a:pt x="582964" y="66035"/>
                    <a:pt x="582627" y="67111"/>
                    <a:pt x="582324" y="67548"/>
                  </a:cubicBezTo>
                  <a:cubicBezTo>
                    <a:pt x="581988" y="67986"/>
                    <a:pt x="580574" y="69836"/>
                    <a:pt x="580574" y="69836"/>
                  </a:cubicBezTo>
                  <a:cubicBezTo>
                    <a:pt x="580574" y="69836"/>
                    <a:pt x="578925" y="70711"/>
                    <a:pt x="578286" y="71484"/>
                  </a:cubicBezTo>
                  <a:cubicBezTo>
                    <a:pt x="577646" y="72258"/>
                    <a:pt x="576973" y="72460"/>
                    <a:pt x="576199" y="72796"/>
                  </a:cubicBezTo>
                  <a:cubicBezTo>
                    <a:pt x="575425" y="73133"/>
                    <a:pt x="574247" y="72561"/>
                    <a:pt x="573911" y="72460"/>
                  </a:cubicBezTo>
                  <a:cubicBezTo>
                    <a:pt x="573574" y="72359"/>
                    <a:pt x="571420" y="70845"/>
                    <a:pt x="571420" y="70845"/>
                  </a:cubicBezTo>
                  <a:lnTo>
                    <a:pt x="569771" y="71383"/>
                  </a:lnTo>
                  <a:cubicBezTo>
                    <a:pt x="569771" y="71383"/>
                    <a:pt x="564554" y="72022"/>
                    <a:pt x="564117" y="72022"/>
                  </a:cubicBezTo>
                  <a:cubicBezTo>
                    <a:pt x="563680" y="72022"/>
                    <a:pt x="560853" y="70172"/>
                    <a:pt x="560853" y="70172"/>
                  </a:cubicBezTo>
                  <a:lnTo>
                    <a:pt x="556410" y="69533"/>
                  </a:lnTo>
                  <a:lnTo>
                    <a:pt x="556074" y="68221"/>
                  </a:lnTo>
                  <a:lnTo>
                    <a:pt x="556174" y="66707"/>
                  </a:lnTo>
                  <a:lnTo>
                    <a:pt x="556612" y="65530"/>
                  </a:lnTo>
                  <a:lnTo>
                    <a:pt x="556511" y="63242"/>
                  </a:lnTo>
                  <a:lnTo>
                    <a:pt x="556511" y="62368"/>
                  </a:lnTo>
                  <a:lnTo>
                    <a:pt x="556242" y="59643"/>
                  </a:lnTo>
                  <a:lnTo>
                    <a:pt x="556309" y="57793"/>
                  </a:lnTo>
                  <a:cubicBezTo>
                    <a:pt x="556309" y="57793"/>
                    <a:pt x="556410" y="56178"/>
                    <a:pt x="556410" y="55640"/>
                  </a:cubicBezTo>
                  <a:cubicBezTo>
                    <a:pt x="556410" y="55102"/>
                    <a:pt x="556174" y="53252"/>
                    <a:pt x="556174" y="53252"/>
                  </a:cubicBezTo>
                  <a:lnTo>
                    <a:pt x="554660" y="51839"/>
                  </a:lnTo>
                  <a:lnTo>
                    <a:pt x="552573" y="49349"/>
                  </a:lnTo>
                  <a:lnTo>
                    <a:pt x="551934" y="46961"/>
                  </a:lnTo>
                  <a:cubicBezTo>
                    <a:pt x="551934" y="46961"/>
                    <a:pt x="552708" y="45010"/>
                    <a:pt x="553011" y="44471"/>
                  </a:cubicBezTo>
                  <a:cubicBezTo>
                    <a:pt x="553348" y="43933"/>
                    <a:pt x="554862" y="41444"/>
                    <a:pt x="555737" y="40872"/>
                  </a:cubicBezTo>
                  <a:cubicBezTo>
                    <a:pt x="556612" y="40334"/>
                    <a:pt x="556612" y="38820"/>
                    <a:pt x="556814" y="38484"/>
                  </a:cubicBezTo>
                  <a:cubicBezTo>
                    <a:pt x="557050" y="38147"/>
                    <a:pt x="557790" y="36297"/>
                    <a:pt x="558025" y="34884"/>
                  </a:cubicBezTo>
                  <a:cubicBezTo>
                    <a:pt x="558228" y="33471"/>
                    <a:pt x="557824" y="32294"/>
                    <a:pt x="557824" y="31520"/>
                  </a:cubicBezTo>
                  <a:cubicBezTo>
                    <a:pt x="557824" y="30747"/>
                    <a:pt x="556612" y="29468"/>
                    <a:pt x="556612" y="29132"/>
                  </a:cubicBezTo>
                  <a:cubicBezTo>
                    <a:pt x="556612" y="28796"/>
                    <a:pt x="555973" y="27618"/>
                    <a:pt x="555838" y="27181"/>
                  </a:cubicBezTo>
                  <a:cubicBezTo>
                    <a:pt x="555737" y="26744"/>
                    <a:pt x="554660" y="25230"/>
                    <a:pt x="554324" y="25129"/>
                  </a:cubicBezTo>
                  <a:cubicBezTo>
                    <a:pt x="553987" y="25028"/>
                    <a:pt x="553011" y="25230"/>
                    <a:pt x="552136" y="25230"/>
                  </a:cubicBezTo>
                  <a:cubicBezTo>
                    <a:pt x="551261" y="25230"/>
                    <a:pt x="551059" y="25129"/>
                    <a:pt x="551059" y="25129"/>
                  </a:cubicBezTo>
                  <a:cubicBezTo>
                    <a:pt x="551059" y="25129"/>
                    <a:pt x="549444" y="24692"/>
                    <a:pt x="549309" y="24254"/>
                  </a:cubicBezTo>
                  <a:cubicBezTo>
                    <a:pt x="549208" y="23817"/>
                    <a:pt x="548670" y="21664"/>
                    <a:pt x="548670" y="21664"/>
                  </a:cubicBezTo>
                  <a:cubicBezTo>
                    <a:pt x="548670" y="21664"/>
                    <a:pt x="547155" y="22404"/>
                    <a:pt x="546819" y="22303"/>
                  </a:cubicBezTo>
                  <a:cubicBezTo>
                    <a:pt x="546482" y="22202"/>
                    <a:pt x="543790" y="21765"/>
                    <a:pt x="543790" y="21765"/>
                  </a:cubicBezTo>
                  <a:lnTo>
                    <a:pt x="542915" y="21328"/>
                  </a:lnTo>
                  <a:lnTo>
                    <a:pt x="541299" y="20453"/>
                  </a:lnTo>
                  <a:cubicBezTo>
                    <a:pt x="541299" y="20453"/>
                    <a:pt x="541198" y="19679"/>
                    <a:pt x="541299" y="18838"/>
                  </a:cubicBezTo>
                  <a:cubicBezTo>
                    <a:pt x="541400" y="17964"/>
                    <a:pt x="540862" y="16349"/>
                    <a:pt x="540862" y="16349"/>
                  </a:cubicBezTo>
                  <a:lnTo>
                    <a:pt x="540862" y="15037"/>
                  </a:lnTo>
                  <a:cubicBezTo>
                    <a:pt x="540862" y="15037"/>
                    <a:pt x="541030" y="13725"/>
                    <a:pt x="541030" y="13153"/>
                  </a:cubicBezTo>
                  <a:cubicBezTo>
                    <a:pt x="541030" y="12581"/>
                    <a:pt x="540559" y="11908"/>
                    <a:pt x="540189" y="11269"/>
                  </a:cubicBezTo>
                  <a:cubicBezTo>
                    <a:pt x="539818" y="10630"/>
                    <a:pt x="539179" y="10395"/>
                    <a:pt x="538674" y="9823"/>
                  </a:cubicBezTo>
                  <a:cubicBezTo>
                    <a:pt x="538169" y="9251"/>
                    <a:pt x="536587" y="8881"/>
                    <a:pt x="536083" y="8881"/>
                  </a:cubicBezTo>
                  <a:cubicBezTo>
                    <a:pt x="535578" y="8881"/>
                    <a:pt x="534333" y="9318"/>
                    <a:pt x="534333" y="9318"/>
                  </a:cubicBezTo>
                  <a:lnTo>
                    <a:pt x="533895" y="9890"/>
                  </a:lnTo>
                  <a:lnTo>
                    <a:pt x="533458" y="10899"/>
                  </a:lnTo>
                  <a:cubicBezTo>
                    <a:pt x="533458" y="10899"/>
                    <a:pt x="533222" y="11538"/>
                    <a:pt x="533222" y="11976"/>
                  </a:cubicBezTo>
                  <a:cubicBezTo>
                    <a:pt x="533222" y="12413"/>
                    <a:pt x="532785" y="12918"/>
                    <a:pt x="532785" y="12918"/>
                  </a:cubicBezTo>
                  <a:lnTo>
                    <a:pt x="532347" y="13927"/>
                  </a:lnTo>
                  <a:lnTo>
                    <a:pt x="531539" y="14869"/>
                  </a:lnTo>
                  <a:lnTo>
                    <a:pt x="530463" y="14936"/>
                  </a:lnTo>
                  <a:lnTo>
                    <a:pt x="529285" y="12413"/>
                  </a:lnTo>
                  <a:cubicBezTo>
                    <a:pt x="529285" y="12413"/>
                    <a:pt x="528847" y="11538"/>
                    <a:pt x="527972" y="10967"/>
                  </a:cubicBezTo>
                  <a:cubicBezTo>
                    <a:pt x="527097" y="10395"/>
                    <a:pt x="525717" y="10832"/>
                    <a:pt x="525212" y="10765"/>
                  </a:cubicBezTo>
                  <a:cubicBezTo>
                    <a:pt x="524708" y="10697"/>
                    <a:pt x="523631" y="10765"/>
                    <a:pt x="523025" y="10765"/>
                  </a:cubicBezTo>
                  <a:cubicBezTo>
                    <a:pt x="522453" y="10765"/>
                    <a:pt x="521578" y="11135"/>
                    <a:pt x="521275" y="11135"/>
                  </a:cubicBezTo>
                  <a:cubicBezTo>
                    <a:pt x="520972" y="11135"/>
                    <a:pt x="520467" y="11774"/>
                    <a:pt x="520198" y="11875"/>
                  </a:cubicBezTo>
                  <a:cubicBezTo>
                    <a:pt x="519895" y="11942"/>
                    <a:pt x="519188" y="12884"/>
                    <a:pt x="518751" y="13187"/>
                  </a:cubicBezTo>
                  <a:cubicBezTo>
                    <a:pt x="518313" y="13490"/>
                    <a:pt x="517169" y="14936"/>
                    <a:pt x="516799" y="15272"/>
                  </a:cubicBezTo>
                  <a:cubicBezTo>
                    <a:pt x="516428" y="15643"/>
                    <a:pt x="514847" y="17156"/>
                    <a:pt x="514274" y="17526"/>
                  </a:cubicBezTo>
                  <a:cubicBezTo>
                    <a:pt x="513702" y="17896"/>
                    <a:pt x="513265" y="18233"/>
                    <a:pt x="512760" y="18468"/>
                  </a:cubicBezTo>
                  <a:cubicBezTo>
                    <a:pt x="512255" y="18704"/>
                    <a:pt x="511313" y="19545"/>
                    <a:pt x="511010" y="19713"/>
                  </a:cubicBezTo>
                  <a:cubicBezTo>
                    <a:pt x="510707" y="19847"/>
                    <a:pt x="509496" y="21395"/>
                    <a:pt x="509496" y="21395"/>
                  </a:cubicBezTo>
                  <a:cubicBezTo>
                    <a:pt x="509496" y="21395"/>
                    <a:pt x="508688" y="22101"/>
                    <a:pt x="508486" y="22337"/>
                  </a:cubicBezTo>
                  <a:cubicBezTo>
                    <a:pt x="508284" y="22539"/>
                    <a:pt x="507544" y="23413"/>
                    <a:pt x="507342" y="23581"/>
                  </a:cubicBezTo>
                  <a:cubicBezTo>
                    <a:pt x="507106" y="23716"/>
                    <a:pt x="506601" y="24658"/>
                    <a:pt x="506601" y="24961"/>
                  </a:cubicBezTo>
                  <a:cubicBezTo>
                    <a:pt x="506601" y="25263"/>
                    <a:pt x="507173" y="25600"/>
                    <a:pt x="507611" y="25903"/>
                  </a:cubicBezTo>
                  <a:cubicBezTo>
                    <a:pt x="508048" y="26205"/>
                    <a:pt x="509125" y="26205"/>
                    <a:pt x="509563" y="26340"/>
                  </a:cubicBezTo>
                  <a:cubicBezTo>
                    <a:pt x="510000" y="26474"/>
                    <a:pt x="511380" y="27652"/>
                    <a:pt x="511818" y="27921"/>
                  </a:cubicBezTo>
                  <a:cubicBezTo>
                    <a:pt x="512255" y="28224"/>
                    <a:pt x="512827" y="29367"/>
                    <a:pt x="513063" y="29502"/>
                  </a:cubicBezTo>
                  <a:cubicBezTo>
                    <a:pt x="513265" y="29637"/>
                    <a:pt x="513366" y="32261"/>
                    <a:pt x="513366" y="32261"/>
                  </a:cubicBezTo>
                  <a:lnTo>
                    <a:pt x="513063" y="34010"/>
                  </a:lnTo>
                  <a:lnTo>
                    <a:pt x="511481" y="34514"/>
                  </a:lnTo>
                  <a:lnTo>
                    <a:pt x="509024" y="32563"/>
                  </a:lnTo>
                  <a:cubicBezTo>
                    <a:pt x="509024" y="32563"/>
                    <a:pt x="503572" y="30242"/>
                    <a:pt x="503000" y="30309"/>
                  </a:cubicBezTo>
                  <a:cubicBezTo>
                    <a:pt x="502428" y="30377"/>
                    <a:pt x="501048" y="30679"/>
                    <a:pt x="500106" y="30881"/>
                  </a:cubicBezTo>
                  <a:cubicBezTo>
                    <a:pt x="499164" y="31117"/>
                    <a:pt x="498289" y="31756"/>
                    <a:pt x="497851" y="31890"/>
                  </a:cubicBezTo>
                  <a:cubicBezTo>
                    <a:pt x="497414" y="32025"/>
                    <a:pt x="496269" y="32765"/>
                    <a:pt x="495967" y="32765"/>
                  </a:cubicBezTo>
                  <a:cubicBezTo>
                    <a:pt x="495664" y="32765"/>
                    <a:pt x="494216" y="33135"/>
                    <a:pt x="494216" y="33135"/>
                  </a:cubicBezTo>
                  <a:cubicBezTo>
                    <a:pt x="494216" y="33135"/>
                    <a:pt x="492534" y="31621"/>
                    <a:pt x="492332" y="31184"/>
                  </a:cubicBezTo>
                  <a:cubicBezTo>
                    <a:pt x="492130" y="30747"/>
                    <a:pt x="490245" y="30679"/>
                    <a:pt x="490245" y="30679"/>
                  </a:cubicBezTo>
                  <a:lnTo>
                    <a:pt x="487620" y="30814"/>
                  </a:lnTo>
                  <a:lnTo>
                    <a:pt x="486812" y="31251"/>
                  </a:lnTo>
                  <a:cubicBezTo>
                    <a:pt x="486812" y="31251"/>
                    <a:pt x="485500" y="32698"/>
                    <a:pt x="484860" y="33270"/>
                  </a:cubicBezTo>
                  <a:cubicBezTo>
                    <a:pt x="484221" y="33841"/>
                    <a:pt x="483783" y="34582"/>
                    <a:pt x="483279" y="34783"/>
                  </a:cubicBezTo>
                  <a:cubicBezTo>
                    <a:pt x="482774" y="35019"/>
                    <a:pt x="481327" y="36028"/>
                    <a:pt x="481327" y="36028"/>
                  </a:cubicBezTo>
                  <a:cubicBezTo>
                    <a:pt x="481327" y="36028"/>
                    <a:pt x="478634" y="37340"/>
                    <a:pt x="478432" y="37475"/>
                  </a:cubicBezTo>
                  <a:cubicBezTo>
                    <a:pt x="478231" y="37609"/>
                    <a:pt x="475605" y="38147"/>
                    <a:pt x="475605" y="38147"/>
                  </a:cubicBezTo>
                  <a:cubicBezTo>
                    <a:pt x="475605" y="38147"/>
                    <a:pt x="469514" y="38147"/>
                    <a:pt x="469211" y="38147"/>
                  </a:cubicBezTo>
                  <a:cubicBezTo>
                    <a:pt x="468908" y="38147"/>
                    <a:pt x="466687" y="39190"/>
                    <a:pt x="466687" y="39190"/>
                  </a:cubicBezTo>
                  <a:lnTo>
                    <a:pt x="465610" y="39594"/>
                  </a:lnTo>
                  <a:cubicBezTo>
                    <a:pt x="465610" y="39594"/>
                    <a:pt x="464870" y="40469"/>
                    <a:pt x="464870" y="40973"/>
                  </a:cubicBezTo>
                  <a:cubicBezTo>
                    <a:pt x="464870" y="41478"/>
                    <a:pt x="465374" y="41915"/>
                    <a:pt x="465374" y="41915"/>
                  </a:cubicBezTo>
                  <a:lnTo>
                    <a:pt x="467125" y="44303"/>
                  </a:lnTo>
                  <a:cubicBezTo>
                    <a:pt x="467125" y="44303"/>
                    <a:pt x="468942" y="46692"/>
                    <a:pt x="470086" y="47566"/>
                  </a:cubicBezTo>
                  <a:cubicBezTo>
                    <a:pt x="471230" y="48441"/>
                    <a:pt x="473115" y="49753"/>
                    <a:pt x="474730" y="50325"/>
                  </a:cubicBezTo>
                  <a:cubicBezTo>
                    <a:pt x="476312" y="50897"/>
                    <a:pt x="477928" y="52343"/>
                    <a:pt x="478937" y="53521"/>
                  </a:cubicBezTo>
                  <a:cubicBezTo>
                    <a:pt x="479947" y="54664"/>
                    <a:pt x="480082" y="57860"/>
                    <a:pt x="480250" y="58600"/>
                  </a:cubicBezTo>
                  <a:cubicBezTo>
                    <a:pt x="480384" y="59307"/>
                    <a:pt x="480250" y="63949"/>
                    <a:pt x="480250" y="63949"/>
                  </a:cubicBezTo>
                  <a:lnTo>
                    <a:pt x="479106" y="68288"/>
                  </a:lnTo>
                  <a:lnTo>
                    <a:pt x="477221" y="73200"/>
                  </a:lnTo>
                  <a:cubicBezTo>
                    <a:pt x="477221" y="73200"/>
                    <a:pt x="478231" y="76665"/>
                    <a:pt x="478231" y="77270"/>
                  </a:cubicBezTo>
                  <a:cubicBezTo>
                    <a:pt x="478231" y="77842"/>
                    <a:pt x="478231" y="80735"/>
                    <a:pt x="478231" y="80735"/>
                  </a:cubicBezTo>
                  <a:lnTo>
                    <a:pt x="479408" y="83191"/>
                  </a:lnTo>
                  <a:cubicBezTo>
                    <a:pt x="479408" y="83191"/>
                    <a:pt x="480283" y="84065"/>
                    <a:pt x="481428" y="84503"/>
                  </a:cubicBezTo>
                  <a:cubicBezTo>
                    <a:pt x="482572" y="84940"/>
                    <a:pt x="484053" y="86521"/>
                    <a:pt x="484053" y="86521"/>
                  </a:cubicBezTo>
                  <a:cubicBezTo>
                    <a:pt x="484053" y="86521"/>
                    <a:pt x="485500" y="87968"/>
                    <a:pt x="486947" y="88842"/>
                  </a:cubicBezTo>
                  <a:cubicBezTo>
                    <a:pt x="488394" y="89717"/>
                    <a:pt x="488663" y="91163"/>
                    <a:pt x="488663" y="91163"/>
                  </a:cubicBezTo>
                  <a:lnTo>
                    <a:pt x="488663" y="92307"/>
                  </a:lnTo>
                  <a:lnTo>
                    <a:pt x="488394" y="96344"/>
                  </a:lnTo>
                  <a:cubicBezTo>
                    <a:pt x="488394" y="96344"/>
                    <a:pt x="487822" y="99540"/>
                    <a:pt x="487519" y="100986"/>
                  </a:cubicBezTo>
                  <a:cubicBezTo>
                    <a:pt x="487216" y="102433"/>
                    <a:pt x="486947" y="103442"/>
                    <a:pt x="486947" y="104014"/>
                  </a:cubicBezTo>
                  <a:cubicBezTo>
                    <a:pt x="486947" y="104586"/>
                    <a:pt x="485500" y="106470"/>
                    <a:pt x="485500" y="106470"/>
                  </a:cubicBezTo>
                  <a:lnTo>
                    <a:pt x="480149" y="108219"/>
                  </a:lnTo>
                  <a:lnTo>
                    <a:pt x="478399" y="107781"/>
                  </a:lnTo>
                  <a:lnTo>
                    <a:pt x="474764" y="106470"/>
                  </a:lnTo>
                  <a:lnTo>
                    <a:pt x="472745" y="106738"/>
                  </a:lnTo>
                  <a:lnTo>
                    <a:pt x="469110" y="108488"/>
                  </a:lnTo>
                  <a:cubicBezTo>
                    <a:pt x="469110" y="108488"/>
                    <a:pt x="466081" y="109228"/>
                    <a:pt x="465475" y="109497"/>
                  </a:cubicBezTo>
                  <a:cubicBezTo>
                    <a:pt x="464870" y="109766"/>
                    <a:pt x="464163" y="111381"/>
                    <a:pt x="464163" y="111381"/>
                  </a:cubicBezTo>
                  <a:cubicBezTo>
                    <a:pt x="464163" y="111381"/>
                    <a:pt x="463422" y="113567"/>
                    <a:pt x="463422" y="114408"/>
                  </a:cubicBezTo>
                  <a:cubicBezTo>
                    <a:pt x="463422" y="115283"/>
                    <a:pt x="462850" y="116427"/>
                    <a:pt x="462850" y="116427"/>
                  </a:cubicBezTo>
                  <a:lnTo>
                    <a:pt x="461975" y="114408"/>
                  </a:lnTo>
                  <a:lnTo>
                    <a:pt x="459653" y="114980"/>
                  </a:lnTo>
                  <a:cubicBezTo>
                    <a:pt x="459653" y="114980"/>
                    <a:pt x="458341" y="115989"/>
                    <a:pt x="458341" y="116561"/>
                  </a:cubicBezTo>
                  <a:cubicBezTo>
                    <a:pt x="458341" y="117133"/>
                    <a:pt x="458206" y="118008"/>
                    <a:pt x="458206" y="118008"/>
                  </a:cubicBezTo>
                  <a:cubicBezTo>
                    <a:pt x="458206" y="118008"/>
                    <a:pt x="458947" y="119589"/>
                    <a:pt x="459350" y="119892"/>
                  </a:cubicBezTo>
                  <a:cubicBezTo>
                    <a:pt x="459788" y="120194"/>
                    <a:pt x="460797" y="122078"/>
                    <a:pt x="460797" y="122078"/>
                  </a:cubicBezTo>
                  <a:lnTo>
                    <a:pt x="462985" y="123525"/>
                  </a:lnTo>
                  <a:cubicBezTo>
                    <a:pt x="462985" y="123525"/>
                    <a:pt x="462413" y="124534"/>
                    <a:pt x="462413" y="125106"/>
                  </a:cubicBezTo>
                  <a:cubicBezTo>
                    <a:pt x="462413" y="125678"/>
                    <a:pt x="458509" y="125375"/>
                    <a:pt x="458071" y="124971"/>
                  </a:cubicBezTo>
                  <a:cubicBezTo>
                    <a:pt x="457634" y="124534"/>
                    <a:pt x="457196" y="123088"/>
                    <a:pt x="457196" y="123088"/>
                  </a:cubicBezTo>
                  <a:lnTo>
                    <a:pt x="454740" y="118008"/>
                  </a:lnTo>
                  <a:lnTo>
                    <a:pt x="452283" y="118008"/>
                  </a:lnTo>
                  <a:lnTo>
                    <a:pt x="450533" y="121035"/>
                  </a:lnTo>
                  <a:lnTo>
                    <a:pt x="449523" y="124938"/>
                  </a:lnTo>
                  <a:lnTo>
                    <a:pt x="446326" y="124635"/>
                  </a:lnTo>
                  <a:lnTo>
                    <a:pt x="445013" y="125779"/>
                  </a:lnTo>
                  <a:cubicBezTo>
                    <a:pt x="445013" y="125779"/>
                    <a:pt x="444138" y="127091"/>
                    <a:pt x="444004" y="127528"/>
                  </a:cubicBezTo>
                  <a:cubicBezTo>
                    <a:pt x="443869" y="127965"/>
                    <a:pt x="443263" y="128974"/>
                    <a:pt x="443129" y="129412"/>
                  </a:cubicBezTo>
                  <a:cubicBezTo>
                    <a:pt x="442994" y="129849"/>
                    <a:pt x="442388" y="130993"/>
                    <a:pt x="442388" y="130993"/>
                  </a:cubicBezTo>
                  <a:cubicBezTo>
                    <a:pt x="442388" y="130993"/>
                    <a:pt x="441816" y="132877"/>
                    <a:pt x="441379" y="133314"/>
                  </a:cubicBezTo>
                  <a:cubicBezTo>
                    <a:pt x="440941" y="133751"/>
                    <a:pt x="438922" y="135198"/>
                    <a:pt x="438922" y="135198"/>
                  </a:cubicBezTo>
                  <a:lnTo>
                    <a:pt x="432124" y="134626"/>
                  </a:lnTo>
                  <a:lnTo>
                    <a:pt x="428792" y="131598"/>
                  </a:lnTo>
                  <a:lnTo>
                    <a:pt x="427782" y="130589"/>
                  </a:lnTo>
                  <a:lnTo>
                    <a:pt x="425325" y="124938"/>
                  </a:lnTo>
                  <a:lnTo>
                    <a:pt x="422633" y="122146"/>
                  </a:lnTo>
                  <a:lnTo>
                    <a:pt x="424518" y="120800"/>
                  </a:lnTo>
                  <a:cubicBezTo>
                    <a:pt x="424518" y="120800"/>
                    <a:pt x="428321" y="118748"/>
                    <a:pt x="429398" y="118311"/>
                  </a:cubicBezTo>
                  <a:cubicBezTo>
                    <a:pt x="430475" y="117873"/>
                    <a:pt x="431888" y="117436"/>
                    <a:pt x="431888" y="117436"/>
                  </a:cubicBezTo>
                  <a:lnTo>
                    <a:pt x="433739" y="115821"/>
                  </a:lnTo>
                  <a:lnTo>
                    <a:pt x="434816" y="114408"/>
                  </a:lnTo>
                  <a:lnTo>
                    <a:pt x="435893" y="112558"/>
                  </a:lnTo>
                  <a:lnTo>
                    <a:pt x="436869" y="108118"/>
                  </a:lnTo>
                  <a:cubicBezTo>
                    <a:pt x="436869" y="108118"/>
                    <a:pt x="437845" y="105931"/>
                    <a:pt x="438182" y="105528"/>
                  </a:cubicBezTo>
                  <a:cubicBezTo>
                    <a:pt x="438518" y="105090"/>
                    <a:pt x="438182" y="101491"/>
                    <a:pt x="438182" y="101491"/>
                  </a:cubicBezTo>
                  <a:lnTo>
                    <a:pt x="438182" y="99742"/>
                  </a:lnTo>
                  <a:lnTo>
                    <a:pt x="438182" y="98329"/>
                  </a:lnTo>
                  <a:lnTo>
                    <a:pt x="436835" y="97151"/>
                  </a:lnTo>
                  <a:lnTo>
                    <a:pt x="434715" y="94527"/>
                  </a:lnTo>
                  <a:lnTo>
                    <a:pt x="434715" y="91063"/>
                  </a:lnTo>
                  <a:lnTo>
                    <a:pt x="434715" y="87598"/>
                  </a:lnTo>
                  <a:lnTo>
                    <a:pt x="434715" y="84133"/>
                  </a:lnTo>
                  <a:lnTo>
                    <a:pt x="434715" y="81105"/>
                  </a:lnTo>
                  <a:lnTo>
                    <a:pt x="433369" y="79255"/>
                  </a:lnTo>
                  <a:lnTo>
                    <a:pt x="432124" y="76328"/>
                  </a:lnTo>
                  <a:lnTo>
                    <a:pt x="430946" y="76328"/>
                  </a:lnTo>
                  <a:lnTo>
                    <a:pt x="428186" y="79255"/>
                  </a:lnTo>
                  <a:lnTo>
                    <a:pt x="426200" y="81139"/>
                  </a:lnTo>
                  <a:lnTo>
                    <a:pt x="425561" y="83426"/>
                  </a:lnTo>
                  <a:cubicBezTo>
                    <a:pt x="425561" y="83426"/>
                    <a:pt x="423676" y="86723"/>
                    <a:pt x="423474" y="86992"/>
                  </a:cubicBezTo>
                  <a:cubicBezTo>
                    <a:pt x="423273" y="87295"/>
                    <a:pt x="421624" y="89717"/>
                    <a:pt x="421624" y="89717"/>
                  </a:cubicBezTo>
                  <a:cubicBezTo>
                    <a:pt x="421624" y="89717"/>
                    <a:pt x="421287" y="90020"/>
                    <a:pt x="420782" y="90524"/>
                  </a:cubicBezTo>
                  <a:lnTo>
                    <a:pt x="419335" y="90827"/>
                  </a:lnTo>
                  <a:lnTo>
                    <a:pt x="422599" y="92307"/>
                  </a:lnTo>
                  <a:lnTo>
                    <a:pt x="422599" y="94595"/>
                  </a:lnTo>
                  <a:lnTo>
                    <a:pt x="421287" y="96546"/>
                  </a:lnTo>
                  <a:lnTo>
                    <a:pt x="416710" y="98497"/>
                  </a:lnTo>
                  <a:lnTo>
                    <a:pt x="413244" y="100986"/>
                  </a:lnTo>
                  <a:lnTo>
                    <a:pt x="411628" y="102063"/>
                  </a:lnTo>
                  <a:lnTo>
                    <a:pt x="410316" y="105090"/>
                  </a:lnTo>
                  <a:lnTo>
                    <a:pt x="409340" y="108992"/>
                  </a:lnTo>
                  <a:lnTo>
                    <a:pt x="411191" y="113231"/>
                  </a:lnTo>
                  <a:cubicBezTo>
                    <a:pt x="411191" y="113231"/>
                    <a:pt x="414354" y="115317"/>
                    <a:pt x="414657" y="115619"/>
                  </a:cubicBezTo>
                  <a:cubicBezTo>
                    <a:pt x="414993" y="115956"/>
                    <a:pt x="417383" y="119522"/>
                    <a:pt x="417383" y="119522"/>
                  </a:cubicBezTo>
                  <a:lnTo>
                    <a:pt x="417383" y="120598"/>
                  </a:lnTo>
                  <a:lnTo>
                    <a:pt x="415970" y="122011"/>
                  </a:lnTo>
                  <a:cubicBezTo>
                    <a:pt x="415970" y="122011"/>
                    <a:pt x="412806" y="125038"/>
                    <a:pt x="412369" y="125173"/>
                  </a:cubicBezTo>
                  <a:cubicBezTo>
                    <a:pt x="411931" y="125274"/>
                    <a:pt x="409441" y="127360"/>
                    <a:pt x="409340" y="127561"/>
                  </a:cubicBezTo>
                  <a:cubicBezTo>
                    <a:pt x="409239" y="127763"/>
                    <a:pt x="407825" y="130387"/>
                    <a:pt x="407590" y="130925"/>
                  </a:cubicBezTo>
                  <a:cubicBezTo>
                    <a:pt x="407354" y="131464"/>
                    <a:pt x="406075" y="132137"/>
                    <a:pt x="406075" y="132137"/>
                  </a:cubicBezTo>
                  <a:cubicBezTo>
                    <a:pt x="406075" y="132137"/>
                    <a:pt x="402912" y="133112"/>
                    <a:pt x="400522" y="132137"/>
                  </a:cubicBezTo>
                  <a:cubicBezTo>
                    <a:pt x="398133" y="131161"/>
                    <a:pt x="395844" y="131161"/>
                    <a:pt x="395407" y="129849"/>
                  </a:cubicBezTo>
                  <a:cubicBezTo>
                    <a:pt x="394969" y="128537"/>
                    <a:pt x="394969" y="127023"/>
                    <a:pt x="394330" y="125711"/>
                  </a:cubicBezTo>
                  <a:cubicBezTo>
                    <a:pt x="393690" y="124399"/>
                    <a:pt x="394666" y="123962"/>
                    <a:pt x="393354" y="122684"/>
                  </a:cubicBezTo>
                  <a:cubicBezTo>
                    <a:pt x="392041" y="121372"/>
                    <a:pt x="391301" y="120060"/>
                    <a:pt x="391301" y="120060"/>
                  </a:cubicBezTo>
                  <a:lnTo>
                    <a:pt x="388911" y="119959"/>
                  </a:lnTo>
                  <a:lnTo>
                    <a:pt x="386724" y="120834"/>
                  </a:lnTo>
                  <a:lnTo>
                    <a:pt x="385209" y="122886"/>
                  </a:lnTo>
                  <a:lnTo>
                    <a:pt x="384570" y="125711"/>
                  </a:lnTo>
                  <a:lnTo>
                    <a:pt x="383594" y="126788"/>
                  </a:lnTo>
                  <a:lnTo>
                    <a:pt x="380329" y="126889"/>
                  </a:lnTo>
                  <a:cubicBezTo>
                    <a:pt x="380329" y="126889"/>
                    <a:pt x="378815" y="126250"/>
                    <a:pt x="377940" y="126014"/>
                  </a:cubicBezTo>
                  <a:cubicBezTo>
                    <a:pt x="377065" y="125812"/>
                    <a:pt x="375752" y="124938"/>
                    <a:pt x="375752" y="124938"/>
                  </a:cubicBezTo>
                  <a:lnTo>
                    <a:pt x="373060" y="124938"/>
                  </a:lnTo>
                  <a:cubicBezTo>
                    <a:pt x="373060" y="124938"/>
                    <a:pt x="372421" y="124063"/>
                    <a:pt x="371411" y="124063"/>
                  </a:cubicBezTo>
                  <a:cubicBezTo>
                    <a:pt x="370435" y="124063"/>
                    <a:pt x="367507" y="124164"/>
                    <a:pt x="367507" y="124164"/>
                  </a:cubicBezTo>
                  <a:lnTo>
                    <a:pt x="365118" y="124803"/>
                  </a:lnTo>
                  <a:cubicBezTo>
                    <a:pt x="365118" y="124803"/>
                    <a:pt x="363805" y="126115"/>
                    <a:pt x="363367" y="126754"/>
                  </a:cubicBezTo>
                  <a:cubicBezTo>
                    <a:pt x="362930" y="127393"/>
                    <a:pt x="361180" y="129344"/>
                    <a:pt x="361180" y="129344"/>
                  </a:cubicBezTo>
                  <a:lnTo>
                    <a:pt x="359329" y="132507"/>
                  </a:lnTo>
                  <a:cubicBezTo>
                    <a:pt x="359329" y="132507"/>
                    <a:pt x="357814" y="135130"/>
                    <a:pt x="357579" y="135669"/>
                  </a:cubicBezTo>
                  <a:cubicBezTo>
                    <a:pt x="357377" y="136207"/>
                    <a:pt x="355728" y="140681"/>
                    <a:pt x="355728" y="140681"/>
                  </a:cubicBezTo>
                  <a:lnTo>
                    <a:pt x="354853" y="146871"/>
                  </a:lnTo>
                  <a:lnTo>
                    <a:pt x="354314" y="151210"/>
                  </a:lnTo>
                  <a:lnTo>
                    <a:pt x="355189" y="155213"/>
                  </a:lnTo>
                  <a:lnTo>
                    <a:pt x="357781" y="157938"/>
                  </a:lnTo>
                  <a:lnTo>
                    <a:pt x="360372" y="160528"/>
                  </a:lnTo>
                  <a:lnTo>
                    <a:pt x="362661" y="161302"/>
                  </a:lnTo>
                  <a:lnTo>
                    <a:pt x="367440" y="165978"/>
                  </a:lnTo>
                  <a:lnTo>
                    <a:pt x="366363" y="168266"/>
                  </a:lnTo>
                  <a:lnTo>
                    <a:pt x="366901" y="170990"/>
                  </a:lnTo>
                  <a:lnTo>
                    <a:pt x="366800" y="173580"/>
                  </a:lnTo>
                  <a:lnTo>
                    <a:pt x="365824" y="175868"/>
                  </a:lnTo>
                  <a:lnTo>
                    <a:pt x="362358" y="178694"/>
                  </a:lnTo>
                  <a:lnTo>
                    <a:pt x="357242" y="180107"/>
                  </a:lnTo>
                  <a:cubicBezTo>
                    <a:pt x="357242" y="180107"/>
                    <a:pt x="355930" y="179568"/>
                    <a:pt x="355627" y="180107"/>
                  </a:cubicBezTo>
                  <a:cubicBezTo>
                    <a:pt x="355290" y="180645"/>
                    <a:pt x="352800" y="180880"/>
                    <a:pt x="352800" y="180880"/>
                  </a:cubicBezTo>
                  <a:lnTo>
                    <a:pt x="351050" y="179568"/>
                  </a:lnTo>
                  <a:lnTo>
                    <a:pt x="349737" y="179333"/>
                  </a:lnTo>
                  <a:lnTo>
                    <a:pt x="347247" y="180847"/>
                  </a:lnTo>
                  <a:cubicBezTo>
                    <a:pt x="347247" y="180847"/>
                    <a:pt x="345194" y="183134"/>
                    <a:pt x="344622" y="183437"/>
                  </a:cubicBezTo>
                  <a:cubicBezTo>
                    <a:pt x="344083" y="183773"/>
                    <a:pt x="342333" y="184311"/>
                    <a:pt x="342131" y="184648"/>
                  </a:cubicBezTo>
                  <a:cubicBezTo>
                    <a:pt x="341929" y="184984"/>
                    <a:pt x="338328" y="185623"/>
                    <a:pt x="337992" y="185724"/>
                  </a:cubicBezTo>
                  <a:cubicBezTo>
                    <a:pt x="337655" y="185825"/>
                    <a:pt x="337218" y="186263"/>
                    <a:pt x="334963" y="185724"/>
                  </a:cubicBezTo>
                  <a:cubicBezTo>
                    <a:pt x="332674" y="185186"/>
                    <a:pt x="330722" y="184951"/>
                    <a:pt x="329208" y="183773"/>
                  </a:cubicBezTo>
                  <a:cubicBezTo>
                    <a:pt x="327694" y="182562"/>
                    <a:pt x="324530" y="179871"/>
                    <a:pt x="324530" y="179871"/>
                  </a:cubicBezTo>
                  <a:lnTo>
                    <a:pt x="321939" y="178256"/>
                  </a:lnTo>
                  <a:lnTo>
                    <a:pt x="318237" y="178357"/>
                  </a:lnTo>
                  <a:lnTo>
                    <a:pt x="313761" y="179804"/>
                  </a:lnTo>
                  <a:lnTo>
                    <a:pt x="312179" y="183134"/>
                  </a:lnTo>
                  <a:lnTo>
                    <a:pt x="308409" y="184715"/>
                  </a:lnTo>
                  <a:lnTo>
                    <a:pt x="306390" y="189627"/>
                  </a:lnTo>
                  <a:lnTo>
                    <a:pt x="306087" y="193832"/>
                  </a:lnTo>
                  <a:lnTo>
                    <a:pt x="306087" y="196994"/>
                  </a:lnTo>
                  <a:lnTo>
                    <a:pt x="304337" y="200459"/>
                  </a:lnTo>
                  <a:lnTo>
                    <a:pt x="301308" y="204226"/>
                  </a:lnTo>
                  <a:cubicBezTo>
                    <a:pt x="301308" y="204226"/>
                    <a:pt x="299727" y="204798"/>
                    <a:pt x="297977" y="204798"/>
                  </a:cubicBezTo>
                  <a:cubicBezTo>
                    <a:pt x="296227" y="204798"/>
                    <a:pt x="293635" y="205235"/>
                    <a:pt x="293198" y="204798"/>
                  </a:cubicBezTo>
                  <a:cubicBezTo>
                    <a:pt x="292760" y="204361"/>
                    <a:pt x="289294" y="203217"/>
                    <a:pt x="288856" y="202780"/>
                  </a:cubicBezTo>
                  <a:cubicBezTo>
                    <a:pt x="288419" y="202342"/>
                    <a:pt x="286669" y="200324"/>
                    <a:pt x="286669" y="200324"/>
                  </a:cubicBezTo>
                  <a:lnTo>
                    <a:pt x="287409" y="198743"/>
                  </a:lnTo>
                  <a:lnTo>
                    <a:pt x="291178" y="196725"/>
                  </a:lnTo>
                  <a:cubicBezTo>
                    <a:pt x="291178" y="196725"/>
                    <a:pt x="293198" y="194134"/>
                    <a:pt x="293770" y="193966"/>
                  </a:cubicBezTo>
                  <a:cubicBezTo>
                    <a:pt x="294342" y="193832"/>
                    <a:pt x="295520" y="191510"/>
                    <a:pt x="296227" y="190939"/>
                  </a:cubicBezTo>
                  <a:cubicBezTo>
                    <a:pt x="296933" y="190367"/>
                    <a:pt x="297808" y="189357"/>
                    <a:pt x="297977" y="188752"/>
                  </a:cubicBezTo>
                  <a:cubicBezTo>
                    <a:pt x="298111" y="188180"/>
                    <a:pt x="299424" y="185724"/>
                    <a:pt x="299424" y="185724"/>
                  </a:cubicBezTo>
                  <a:cubicBezTo>
                    <a:pt x="299424" y="185724"/>
                    <a:pt x="299727" y="184581"/>
                    <a:pt x="299424" y="183706"/>
                  </a:cubicBezTo>
                  <a:cubicBezTo>
                    <a:pt x="299121" y="182831"/>
                    <a:pt x="298986" y="180813"/>
                    <a:pt x="298852" y="180376"/>
                  </a:cubicBezTo>
                  <a:cubicBezTo>
                    <a:pt x="298717" y="179938"/>
                    <a:pt x="294948" y="175162"/>
                    <a:pt x="294948" y="174590"/>
                  </a:cubicBezTo>
                  <a:cubicBezTo>
                    <a:pt x="294948" y="174018"/>
                    <a:pt x="294207" y="171831"/>
                    <a:pt x="293803" y="170822"/>
                  </a:cubicBezTo>
                  <a:cubicBezTo>
                    <a:pt x="293366" y="169813"/>
                    <a:pt x="291919" y="167795"/>
                    <a:pt x="291212" y="167357"/>
                  </a:cubicBezTo>
                  <a:cubicBezTo>
                    <a:pt x="290472" y="166920"/>
                    <a:pt x="288318" y="166651"/>
                    <a:pt x="288183" y="167223"/>
                  </a:cubicBezTo>
                  <a:cubicBezTo>
                    <a:pt x="288048" y="167795"/>
                    <a:pt x="289193" y="168097"/>
                    <a:pt x="286736" y="168232"/>
                  </a:cubicBezTo>
                  <a:cubicBezTo>
                    <a:pt x="284279" y="168366"/>
                    <a:pt x="283707" y="169241"/>
                    <a:pt x="283707" y="169241"/>
                  </a:cubicBezTo>
                  <a:cubicBezTo>
                    <a:pt x="283707" y="169241"/>
                    <a:pt x="285019" y="169813"/>
                    <a:pt x="282967" y="169375"/>
                  </a:cubicBezTo>
                  <a:cubicBezTo>
                    <a:pt x="280947" y="168938"/>
                    <a:pt x="277178" y="167492"/>
                    <a:pt x="277178" y="167492"/>
                  </a:cubicBezTo>
                  <a:lnTo>
                    <a:pt x="275159" y="165743"/>
                  </a:lnTo>
                  <a:cubicBezTo>
                    <a:pt x="275159" y="165743"/>
                    <a:pt x="273577" y="167054"/>
                    <a:pt x="272702" y="167626"/>
                  </a:cubicBezTo>
                  <a:cubicBezTo>
                    <a:pt x="271827" y="168198"/>
                    <a:pt x="270817" y="171259"/>
                    <a:pt x="270817" y="171259"/>
                  </a:cubicBezTo>
                  <a:lnTo>
                    <a:pt x="269640" y="172706"/>
                  </a:lnTo>
                  <a:lnTo>
                    <a:pt x="269640" y="174455"/>
                  </a:lnTo>
                  <a:cubicBezTo>
                    <a:pt x="269640" y="174455"/>
                    <a:pt x="268899" y="177483"/>
                    <a:pt x="268495" y="177920"/>
                  </a:cubicBezTo>
                  <a:cubicBezTo>
                    <a:pt x="268058" y="178357"/>
                    <a:pt x="265904" y="178929"/>
                    <a:pt x="265904" y="178929"/>
                  </a:cubicBezTo>
                  <a:lnTo>
                    <a:pt x="262269" y="177785"/>
                  </a:lnTo>
                  <a:cubicBezTo>
                    <a:pt x="262269" y="177785"/>
                    <a:pt x="260957" y="176911"/>
                    <a:pt x="260519" y="176474"/>
                  </a:cubicBezTo>
                  <a:cubicBezTo>
                    <a:pt x="260082" y="176036"/>
                    <a:pt x="258197" y="173446"/>
                    <a:pt x="258062" y="173009"/>
                  </a:cubicBezTo>
                  <a:cubicBezTo>
                    <a:pt x="257928" y="172571"/>
                    <a:pt x="258062" y="171865"/>
                    <a:pt x="258062" y="170687"/>
                  </a:cubicBezTo>
                  <a:cubicBezTo>
                    <a:pt x="258062" y="169544"/>
                    <a:pt x="258197" y="168501"/>
                    <a:pt x="259072" y="166651"/>
                  </a:cubicBezTo>
                  <a:cubicBezTo>
                    <a:pt x="259947" y="164767"/>
                    <a:pt x="260519" y="163623"/>
                    <a:pt x="260654" y="163186"/>
                  </a:cubicBezTo>
                  <a:cubicBezTo>
                    <a:pt x="260788" y="162749"/>
                    <a:pt x="261529" y="157534"/>
                    <a:pt x="260788" y="156391"/>
                  </a:cubicBezTo>
                  <a:cubicBezTo>
                    <a:pt x="260048" y="155247"/>
                    <a:pt x="261932" y="155516"/>
                    <a:pt x="258904" y="153330"/>
                  </a:cubicBezTo>
                  <a:cubicBezTo>
                    <a:pt x="255875" y="151143"/>
                    <a:pt x="253115" y="148990"/>
                    <a:pt x="253115" y="148990"/>
                  </a:cubicBezTo>
                  <a:lnTo>
                    <a:pt x="253687" y="146400"/>
                  </a:lnTo>
                  <a:lnTo>
                    <a:pt x="256884" y="143204"/>
                  </a:lnTo>
                  <a:lnTo>
                    <a:pt x="255303" y="142026"/>
                  </a:lnTo>
                  <a:cubicBezTo>
                    <a:pt x="255303" y="142026"/>
                    <a:pt x="253115" y="142464"/>
                    <a:pt x="252543" y="142464"/>
                  </a:cubicBezTo>
                  <a:cubicBezTo>
                    <a:pt x="251971" y="142464"/>
                    <a:pt x="249514" y="143776"/>
                    <a:pt x="249514" y="143776"/>
                  </a:cubicBezTo>
                  <a:lnTo>
                    <a:pt x="247932" y="146669"/>
                  </a:lnTo>
                  <a:lnTo>
                    <a:pt x="246788" y="148553"/>
                  </a:lnTo>
                  <a:lnTo>
                    <a:pt x="245475" y="150302"/>
                  </a:lnTo>
                  <a:cubicBezTo>
                    <a:pt x="245475" y="150302"/>
                    <a:pt x="243288" y="149999"/>
                    <a:pt x="242716" y="150167"/>
                  </a:cubicBezTo>
                  <a:cubicBezTo>
                    <a:pt x="242144" y="150302"/>
                    <a:pt x="237499" y="150739"/>
                    <a:pt x="237499" y="150739"/>
                  </a:cubicBezTo>
                  <a:lnTo>
                    <a:pt x="235749" y="151883"/>
                  </a:lnTo>
                  <a:cubicBezTo>
                    <a:pt x="235749" y="151883"/>
                    <a:pt x="234874" y="155651"/>
                    <a:pt x="234874" y="156222"/>
                  </a:cubicBezTo>
                  <a:cubicBezTo>
                    <a:pt x="234874" y="156794"/>
                    <a:pt x="234874" y="160562"/>
                    <a:pt x="234874" y="160562"/>
                  </a:cubicBezTo>
                  <a:cubicBezTo>
                    <a:pt x="234874" y="160562"/>
                    <a:pt x="234134" y="164330"/>
                    <a:pt x="234874" y="164902"/>
                  </a:cubicBezTo>
                  <a:cubicBezTo>
                    <a:pt x="235615" y="165473"/>
                    <a:pt x="235615" y="166920"/>
                    <a:pt x="235615" y="166920"/>
                  </a:cubicBezTo>
                  <a:lnTo>
                    <a:pt x="235480" y="168064"/>
                  </a:lnTo>
                  <a:lnTo>
                    <a:pt x="235177" y="169073"/>
                  </a:lnTo>
                  <a:lnTo>
                    <a:pt x="233158" y="168636"/>
                  </a:lnTo>
                  <a:cubicBezTo>
                    <a:pt x="233158" y="168636"/>
                    <a:pt x="232148" y="168266"/>
                    <a:pt x="231845" y="168266"/>
                  </a:cubicBezTo>
                  <a:cubicBezTo>
                    <a:pt x="231543" y="168266"/>
                    <a:pt x="230600" y="169275"/>
                    <a:pt x="230600" y="169510"/>
                  </a:cubicBezTo>
                  <a:cubicBezTo>
                    <a:pt x="230600" y="169712"/>
                    <a:pt x="230163" y="170822"/>
                    <a:pt x="230163" y="170822"/>
                  </a:cubicBezTo>
                  <a:cubicBezTo>
                    <a:pt x="230163" y="170822"/>
                    <a:pt x="230364" y="171461"/>
                    <a:pt x="229658" y="171461"/>
                  </a:cubicBezTo>
                  <a:cubicBezTo>
                    <a:pt x="228917" y="171461"/>
                    <a:pt x="227638" y="171831"/>
                    <a:pt x="227134" y="171461"/>
                  </a:cubicBezTo>
                  <a:cubicBezTo>
                    <a:pt x="226629" y="171091"/>
                    <a:pt x="226696" y="171158"/>
                    <a:pt x="225889" y="170385"/>
                  </a:cubicBezTo>
                  <a:cubicBezTo>
                    <a:pt x="225081" y="169577"/>
                    <a:pt x="224744" y="169746"/>
                    <a:pt x="224239" y="168871"/>
                  </a:cubicBezTo>
                  <a:cubicBezTo>
                    <a:pt x="223735" y="167996"/>
                    <a:pt x="223230" y="167054"/>
                    <a:pt x="222860" y="166752"/>
                  </a:cubicBezTo>
                  <a:cubicBezTo>
                    <a:pt x="222489" y="166449"/>
                    <a:pt x="221985" y="165877"/>
                    <a:pt x="221985" y="165877"/>
                  </a:cubicBezTo>
                  <a:cubicBezTo>
                    <a:pt x="221985" y="165877"/>
                    <a:pt x="221177" y="164296"/>
                    <a:pt x="221177" y="163993"/>
                  </a:cubicBezTo>
                  <a:cubicBezTo>
                    <a:pt x="221177" y="163690"/>
                    <a:pt x="221547" y="161975"/>
                    <a:pt x="221177" y="161672"/>
                  </a:cubicBezTo>
                  <a:cubicBezTo>
                    <a:pt x="220807" y="161369"/>
                    <a:pt x="220874" y="161302"/>
                    <a:pt x="220167" y="160865"/>
                  </a:cubicBezTo>
                  <a:cubicBezTo>
                    <a:pt x="219460" y="160427"/>
                    <a:pt x="217980" y="159048"/>
                    <a:pt x="217710" y="158981"/>
                  </a:cubicBezTo>
                  <a:cubicBezTo>
                    <a:pt x="217408" y="158914"/>
                    <a:pt x="216768" y="158678"/>
                    <a:pt x="216331" y="158779"/>
                  </a:cubicBezTo>
                  <a:cubicBezTo>
                    <a:pt x="215893" y="158846"/>
                    <a:pt x="215456" y="158981"/>
                    <a:pt x="215186" y="159721"/>
                  </a:cubicBezTo>
                  <a:cubicBezTo>
                    <a:pt x="214883" y="160427"/>
                    <a:pt x="214984" y="160865"/>
                    <a:pt x="214244" y="161538"/>
                  </a:cubicBezTo>
                  <a:cubicBezTo>
                    <a:pt x="213503" y="162177"/>
                    <a:pt x="213672" y="162917"/>
                    <a:pt x="213302" y="163421"/>
                  </a:cubicBezTo>
                  <a:cubicBezTo>
                    <a:pt x="212931" y="163926"/>
                    <a:pt x="212359" y="165675"/>
                    <a:pt x="211787" y="165877"/>
                  </a:cubicBezTo>
                  <a:cubicBezTo>
                    <a:pt x="211215" y="166079"/>
                    <a:pt x="211350" y="167122"/>
                    <a:pt x="210037" y="165877"/>
                  </a:cubicBezTo>
                  <a:cubicBezTo>
                    <a:pt x="208725" y="164632"/>
                    <a:pt x="207513" y="163354"/>
                    <a:pt x="207513" y="163354"/>
                  </a:cubicBezTo>
                  <a:lnTo>
                    <a:pt x="204383" y="161470"/>
                  </a:lnTo>
                  <a:cubicBezTo>
                    <a:pt x="204383" y="161470"/>
                    <a:pt x="201994" y="160461"/>
                    <a:pt x="201354" y="160091"/>
                  </a:cubicBezTo>
                  <a:cubicBezTo>
                    <a:pt x="200715" y="159721"/>
                    <a:pt x="198662" y="158712"/>
                    <a:pt x="198090" y="158005"/>
                  </a:cubicBezTo>
                  <a:cubicBezTo>
                    <a:pt x="197518" y="157265"/>
                    <a:pt x="195195" y="155381"/>
                    <a:pt x="194758" y="154675"/>
                  </a:cubicBezTo>
                  <a:cubicBezTo>
                    <a:pt x="194321" y="153935"/>
                    <a:pt x="192941" y="151849"/>
                    <a:pt x="192873" y="151648"/>
                  </a:cubicBezTo>
                  <a:cubicBezTo>
                    <a:pt x="192806" y="151446"/>
                    <a:pt x="191628" y="149898"/>
                    <a:pt x="191628" y="149629"/>
                  </a:cubicBezTo>
                  <a:cubicBezTo>
                    <a:pt x="191628" y="149326"/>
                    <a:pt x="191493" y="149125"/>
                    <a:pt x="191628" y="148115"/>
                  </a:cubicBezTo>
                  <a:cubicBezTo>
                    <a:pt x="191763" y="147106"/>
                    <a:pt x="191493" y="146097"/>
                    <a:pt x="191561" y="145794"/>
                  </a:cubicBezTo>
                  <a:cubicBezTo>
                    <a:pt x="191628" y="145491"/>
                    <a:pt x="190114" y="144348"/>
                    <a:pt x="189609" y="144280"/>
                  </a:cubicBezTo>
                  <a:cubicBezTo>
                    <a:pt x="189104" y="144213"/>
                    <a:pt x="188162" y="143204"/>
                    <a:pt x="186412" y="142094"/>
                  </a:cubicBezTo>
                  <a:cubicBezTo>
                    <a:pt x="184662" y="141017"/>
                    <a:pt x="182340" y="136140"/>
                    <a:pt x="182340" y="136140"/>
                  </a:cubicBezTo>
                  <a:lnTo>
                    <a:pt x="181397" y="130993"/>
                  </a:lnTo>
                  <a:lnTo>
                    <a:pt x="175306" y="124702"/>
                  </a:lnTo>
                  <a:lnTo>
                    <a:pt x="171402" y="121002"/>
                  </a:lnTo>
                  <a:lnTo>
                    <a:pt x="164233" y="117974"/>
                  </a:lnTo>
                  <a:lnTo>
                    <a:pt x="159892" y="116898"/>
                  </a:lnTo>
                  <a:cubicBezTo>
                    <a:pt x="159892" y="116898"/>
                    <a:pt x="158377" y="115148"/>
                    <a:pt x="157267" y="115148"/>
                  </a:cubicBezTo>
                  <a:cubicBezTo>
                    <a:pt x="156190" y="115148"/>
                    <a:pt x="153565" y="113197"/>
                    <a:pt x="153565" y="113197"/>
                  </a:cubicBezTo>
                  <a:cubicBezTo>
                    <a:pt x="153565" y="113197"/>
                    <a:pt x="152252" y="111684"/>
                    <a:pt x="151613" y="111246"/>
                  </a:cubicBezTo>
                  <a:cubicBezTo>
                    <a:pt x="150973" y="110809"/>
                    <a:pt x="150300" y="109934"/>
                    <a:pt x="148988" y="109497"/>
                  </a:cubicBezTo>
                  <a:cubicBezTo>
                    <a:pt x="147675" y="109060"/>
                    <a:pt x="145286" y="107748"/>
                    <a:pt x="145286" y="107748"/>
                  </a:cubicBezTo>
                  <a:cubicBezTo>
                    <a:pt x="145286" y="107748"/>
                    <a:pt x="144848" y="105359"/>
                    <a:pt x="145286" y="104720"/>
                  </a:cubicBezTo>
                  <a:cubicBezTo>
                    <a:pt x="145723" y="104081"/>
                    <a:pt x="146800" y="105158"/>
                    <a:pt x="146161" y="102971"/>
                  </a:cubicBezTo>
                  <a:cubicBezTo>
                    <a:pt x="145521" y="100784"/>
                    <a:pt x="144411" y="99069"/>
                    <a:pt x="143771" y="98631"/>
                  </a:cubicBezTo>
                  <a:cubicBezTo>
                    <a:pt x="143132" y="98194"/>
                    <a:pt x="143132" y="100381"/>
                    <a:pt x="140507" y="96243"/>
                  </a:cubicBezTo>
                  <a:cubicBezTo>
                    <a:pt x="137882" y="92105"/>
                    <a:pt x="137478" y="89852"/>
                    <a:pt x="137478" y="89852"/>
                  </a:cubicBezTo>
                  <a:lnTo>
                    <a:pt x="138555" y="82787"/>
                  </a:lnTo>
                  <a:lnTo>
                    <a:pt x="139867" y="74545"/>
                  </a:lnTo>
                  <a:cubicBezTo>
                    <a:pt x="139867" y="74545"/>
                    <a:pt x="138790" y="67380"/>
                    <a:pt x="137478" y="66506"/>
                  </a:cubicBezTo>
                  <a:cubicBezTo>
                    <a:pt x="136165" y="65631"/>
                    <a:pt x="132901" y="62166"/>
                    <a:pt x="132463" y="61291"/>
                  </a:cubicBezTo>
                  <a:cubicBezTo>
                    <a:pt x="132026" y="60417"/>
                    <a:pt x="129838" y="54765"/>
                    <a:pt x="129838" y="54765"/>
                  </a:cubicBezTo>
                  <a:lnTo>
                    <a:pt x="127449" y="51502"/>
                  </a:lnTo>
                  <a:lnTo>
                    <a:pt x="126372" y="47163"/>
                  </a:lnTo>
                  <a:cubicBezTo>
                    <a:pt x="126372" y="47163"/>
                    <a:pt x="128761" y="45212"/>
                    <a:pt x="129401" y="44774"/>
                  </a:cubicBezTo>
                  <a:cubicBezTo>
                    <a:pt x="130040" y="44337"/>
                    <a:pt x="130713" y="43025"/>
                    <a:pt x="130713" y="42184"/>
                  </a:cubicBezTo>
                  <a:cubicBezTo>
                    <a:pt x="130713" y="41310"/>
                    <a:pt x="128526" y="38921"/>
                    <a:pt x="128526" y="38921"/>
                  </a:cubicBezTo>
                  <a:cubicBezTo>
                    <a:pt x="128526" y="38921"/>
                    <a:pt x="128088" y="35019"/>
                    <a:pt x="126338" y="33270"/>
                  </a:cubicBezTo>
                  <a:cubicBezTo>
                    <a:pt x="124588" y="31520"/>
                    <a:pt x="121761" y="28829"/>
                    <a:pt x="121761" y="28829"/>
                  </a:cubicBezTo>
                  <a:lnTo>
                    <a:pt x="118295" y="25903"/>
                  </a:lnTo>
                  <a:lnTo>
                    <a:pt x="113953" y="25903"/>
                  </a:lnTo>
                  <a:lnTo>
                    <a:pt x="110924" y="23581"/>
                  </a:lnTo>
                  <a:lnTo>
                    <a:pt x="109343" y="22707"/>
                  </a:lnTo>
                  <a:cubicBezTo>
                    <a:pt x="109343" y="22707"/>
                    <a:pt x="109208" y="21395"/>
                    <a:pt x="108602" y="20083"/>
                  </a:cubicBezTo>
                  <a:cubicBezTo>
                    <a:pt x="108030" y="18771"/>
                    <a:pt x="107727" y="17896"/>
                    <a:pt x="107727" y="17896"/>
                  </a:cubicBezTo>
                  <a:cubicBezTo>
                    <a:pt x="107727" y="17896"/>
                    <a:pt x="105910" y="18199"/>
                    <a:pt x="104463" y="17896"/>
                  </a:cubicBezTo>
                  <a:cubicBezTo>
                    <a:pt x="103016" y="17593"/>
                    <a:pt x="99179" y="17896"/>
                    <a:pt x="99179" y="17896"/>
                  </a:cubicBezTo>
                  <a:lnTo>
                    <a:pt x="99179" y="14566"/>
                  </a:lnTo>
                  <a:lnTo>
                    <a:pt x="99179" y="11101"/>
                  </a:lnTo>
                  <a:lnTo>
                    <a:pt x="96722" y="9520"/>
                  </a:lnTo>
                  <a:cubicBezTo>
                    <a:pt x="96722" y="9520"/>
                    <a:pt x="97160" y="7636"/>
                    <a:pt x="94972" y="7199"/>
                  </a:cubicBezTo>
                  <a:cubicBezTo>
                    <a:pt x="92785" y="6762"/>
                    <a:pt x="90631" y="6459"/>
                    <a:pt x="90631" y="6459"/>
                  </a:cubicBezTo>
                  <a:cubicBezTo>
                    <a:pt x="90631" y="6459"/>
                    <a:pt x="89756" y="6492"/>
                    <a:pt x="88309" y="6627"/>
                  </a:cubicBezTo>
                  <a:cubicBezTo>
                    <a:pt x="86861" y="6762"/>
                    <a:pt x="85549" y="6728"/>
                    <a:pt x="85549" y="6728"/>
                  </a:cubicBezTo>
                  <a:lnTo>
                    <a:pt x="79188" y="6728"/>
                  </a:lnTo>
                  <a:cubicBezTo>
                    <a:pt x="77741" y="7300"/>
                    <a:pt x="74409" y="7603"/>
                    <a:pt x="74409" y="7603"/>
                  </a:cubicBezTo>
                  <a:cubicBezTo>
                    <a:pt x="74409" y="7603"/>
                    <a:pt x="73097" y="8612"/>
                    <a:pt x="72222" y="9352"/>
                  </a:cubicBezTo>
                  <a:cubicBezTo>
                    <a:pt x="71347" y="10092"/>
                    <a:pt x="70774" y="9924"/>
                    <a:pt x="68318" y="10529"/>
                  </a:cubicBezTo>
                  <a:cubicBezTo>
                    <a:pt x="65861" y="11101"/>
                    <a:pt x="64246" y="11673"/>
                    <a:pt x="63976" y="12110"/>
                  </a:cubicBezTo>
                  <a:cubicBezTo>
                    <a:pt x="63673" y="12548"/>
                    <a:pt x="62967" y="13120"/>
                    <a:pt x="62226" y="13691"/>
                  </a:cubicBezTo>
                  <a:cubicBezTo>
                    <a:pt x="61486" y="14263"/>
                    <a:pt x="61654" y="15003"/>
                    <a:pt x="59197" y="14129"/>
                  </a:cubicBezTo>
                  <a:cubicBezTo>
                    <a:pt x="56741" y="13254"/>
                    <a:pt x="54553" y="11673"/>
                    <a:pt x="54553" y="11673"/>
                  </a:cubicBezTo>
                  <a:cubicBezTo>
                    <a:pt x="54553" y="11673"/>
                    <a:pt x="52803" y="11236"/>
                    <a:pt x="54553" y="9486"/>
                  </a:cubicBezTo>
                  <a:cubicBezTo>
                    <a:pt x="56303" y="7737"/>
                    <a:pt x="56572" y="7165"/>
                    <a:pt x="56741" y="6459"/>
                  </a:cubicBezTo>
                  <a:cubicBezTo>
                    <a:pt x="56875" y="5752"/>
                    <a:pt x="57313" y="3869"/>
                    <a:pt x="56875" y="3263"/>
                  </a:cubicBezTo>
                  <a:cubicBezTo>
                    <a:pt x="56438" y="2691"/>
                    <a:pt x="54553" y="807"/>
                    <a:pt x="54553" y="807"/>
                  </a:cubicBezTo>
                  <a:cubicBezTo>
                    <a:pt x="54553" y="807"/>
                    <a:pt x="53678" y="236"/>
                    <a:pt x="53106" y="67"/>
                  </a:cubicBezTo>
                  <a:cubicBezTo>
                    <a:pt x="52534" y="-67"/>
                    <a:pt x="49034" y="67"/>
                    <a:pt x="49034" y="67"/>
                  </a:cubicBezTo>
                  <a:lnTo>
                    <a:pt x="42976" y="0"/>
                  </a:lnTo>
                  <a:lnTo>
                    <a:pt x="40048" y="2388"/>
                  </a:lnTo>
                  <a:lnTo>
                    <a:pt x="40048" y="4138"/>
                  </a:lnTo>
                  <a:lnTo>
                    <a:pt x="40048" y="5887"/>
                  </a:lnTo>
                  <a:lnTo>
                    <a:pt x="40048" y="7636"/>
                  </a:lnTo>
                  <a:lnTo>
                    <a:pt x="38971" y="9587"/>
                  </a:lnTo>
                  <a:cubicBezTo>
                    <a:pt x="38971" y="9587"/>
                    <a:pt x="38331" y="10126"/>
                    <a:pt x="36144" y="10126"/>
                  </a:cubicBezTo>
                  <a:cubicBezTo>
                    <a:pt x="33956" y="10126"/>
                    <a:pt x="29615" y="10226"/>
                    <a:pt x="27899" y="10226"/>
                  </a:cubicBezTo>
                  <a:cubicBezTo>
                    <a:pt x="26148" y="10226"/>
                    <a:pt x="23557" y="10226"/>
                    <a:pt x="23557" y="10226"/>
                  </a:cubicBezTo>
                  <a:lnTo>
                    <a:pt x="20966" y="9789"/>
                  </a:lnTo>
                  <a:lnTo>
                    <a:pt x="17499" y="10428"/>
                  </a:lnTo>
                  <a:lnTo>
                    <a:pt x="14033" y="12615"/>
                  </a:lnTo>
                  <a:lnTo>
                    <a:pt x="14033" y="12817"/>
                  </a:lnTo>
                  <a:cubicBezTo>
                    <a:pt x="14033" y="12817"/>
                    <a:pt x="14470" y="15205"/>
                    <a:pt x="15110" y="16282"/>
                  </a:cubicBezTo>
                  <a:cubicBezTo>
                    <a:pt x="15749" y="17358"/>
                    <a:pt x="15312" y="17358"/>
                    <a:pt x="15312" y="17358"/>
                  </a:cubicBezTo>
                  <a:lnTo>
                    <a:pt x="17499" y="22370"/>
                  </a:lnTo>
                  <a:lnTo>
                    <a:pt x="17499" y="24994"/>
                  </a:lnTo>
                  <a:lnTo>
                    <a:pt x="18374" y="27383"/>
                  </a:lnTo>
                  <a:lnTo>
                    <a:pt x="18172" y="30646"/>
                  </a:lnTo>
                  <a:lnTo>
                    <a:pt x="17735" y="34346"/>
                  </a:lnTo>
                  <a:lnTo>
                    <a:pt x="16220" y="37374"/>
                  </a:lnTo>
                  <a:lnTo>
                    <a:pt x="14033" y="39762"/>
                  </a:lnTo>
                  <a:lnTo>
                    <a:pt x="14033" y="42352"/>
                  </a:lnTo>
                  <a:cubicBezTo>
                    <a:pt x="14033" y="42352"/>
                    <a:pt x="14908" y="43429"/>
                    <a:pt x="15547" y="43664"/>
                  </a:cubicBezTo>
                  <a:cubicBezTo>
                    <a:pt x="16187" y="43866"/>
                    <a:pt x="22076" y="47802"/>
                    <a:pt x="22076" y="47802"/>
                  </a:cubicBezTo>
                  <a:cubicBezTo>
                    <a:pt x="22076" y="47802"/>
                    <a:pt x="21437" y="50426"/>
                    <a:pt x="21437" y="51502"/>
                  </a:cubicBezTo>
                  <a:cubicBezTo>
                    <a:pt x="21437" y="52579"/>
                    <a:pt x="20798" y="54328"/>
                    <a:pt x="20999" y="55203"/>
                  </a:cubicBezTo>
                  <a:cubicBezTo>
                    <a:pt x="21201" y="56077"/>
                    <a:pt x="15345" y="57154"/>
                    <a:pt x="21437" y="57793"/>
                  </a:cubicBezTo>
                  <a:cubicBezTo>
                    <a:pt x="27528" y="58432"/>
                    <a:pt x="29043" y="58432"/>
                    <a:pt x="30557" y="58432"/>
                  </a:cubicBezTo>
                  <a:cubicBezTo>
                    <a:pt x="32072" y="58432"/>
                    <a:pt x="34259" y="58869"/>
                    <a:pt x="35134" y="58230"/>
                  </a:cubicBezTo>
                  <a:cubicBezTo>
                    <a:pt x="36009" y="57557"/>
                    <a:pt x="40586" y="57793"/>
                    <a:pt x="40586" y="57793"/>
                  </a:cubicBezTo>
                  <a:lnTo>
                    <a:pt x="42538" y="60181"/>
                  </a:lnTo>
                  <a:lnTo>
                    <a:pt x="43851" y="61493"/>
                  </a:lnTo>
                  <a:lnTo>
                    <a:pt x="42774" y="64958"/>
                  </a:lnTo>
                  <a:lnTo>
                    <a:pt x="41461" y="66035"/>
                  </a:lnTo>
                  <a:lnTo>
                    <a:pt x="37557" y="72325"/>
                  </a:lnTo>
                  <a:cubicBezTo>
                    <a:pt x="37557" y="72325"/>
                    <a:pt x="30591" y="77775"/>
                    <a:pt x="30389" y="78414"/>
                  </a:cubicBezTo>
                  <a:cubicBezTo>
                    <a:pt x="30187" y="79053"/>
                    <a:pt x="24533" y="86891"/>
                    <a:pt x="24533" y="86891"/>
                  </a:cubicBezTo>
                  <a:lnTo>
                    <a:pt x="18004" y="91029"/>
                  </a:lnTo>
                  <a:lnTo>
                    <a:pt x="15817" y="94931"/>
                  </a:lnTo>
                  <a:lnTo>
                    <a:pt x="16389" y="97118"/>
                  </a:lnTo>
                  <a:lnTo>
                    <a:pt x="16961" y="99304"/>
                  </a:lnTo>
                  <a:lnTo>
                    <a:pt x="19485" y="101121"/>
                  </a:lnTo>
                  <a:lnTo>
                    <a:pt x="19552" y="102567"/>
                  </a:lnTo>
                  <a:cubicBezTo>
                    <a:pt x="19552" y="102567"/>
                    <a:pt x="19485" y="103947"/>
                    <a:pt x="19418" y="104687"/>
                  </a:cubicBezTo>
                  <a:cubicBezTo>
                    <a:pt x="19350" y="105393"/>
                    <a:pt x="18341" y="107210"/>
                    <a:pt x="18273" y="107445"/>
                  </a:cubicBezTo>
                  <a:cubicBezTo>
                    <a:pt x="18206" y="107681"/>
                    <a:pt x="17769" y="108320"/>
                    <a:pt x="17196" y="109026"/>
                  </a:cubicBezTo>
                  <a:cubicBezTo>
                    <a:pt x="16624" y="109732"/>
                    <a:pt x="15379" y="110170"/>
                    <a:pt x="15312" y="110473"/>
                  </a:cubicBezTo>
                  <a:cubicBezTo>
                    <a:pt x="15244" y="110775"/>
                    <a:pt x="12619" y="111179"/>
                    <a:pt x="12619" y="111179"/>
                  </a:cubicBezTo>
                  <a:cubicBezTo>
                    <a:pt x="12619" y="111179"/>
                    <a:pt x="9792" y="111314"/>
                    <a:pt x="9489" y="111314"/>
                  </a:cubicBezTo>
                  <a:cubicBezTo>
                    <a:pt x="9187" y="111314"/>
                    <a:pt x="6292" y="111179"/>
                    <a:pt x="6023" y="111314"/>
                  </a:cubicBezTo>
                  <a:cubicBezTo>
                    <a:pt x="5720" y="111448"/>
                    <a:pt x="3566" y="111818"/>
                    <a:pt x="3331" y="111953"/>
                  </a:cubicBezTo>
                  <a:cubicBezTo>
                    <a:pt x="3129" y="112087"/>
                    <a:pt x="1513" y="113904"/>
                    <a:pt x="1513" y="113904"/>
                  </a:cubicBezTo>
                  <a:lnTo>
                    <a:pt x="436" y="115418"/>
                  </a:lnTo>
                  <a:cubicBezTo>
                    <a:pt x="436" y="115418"/>
                    <a:pt x="-203" y="116561"/>
                    <a:pt x="66" y="116931"/>
                  </a:cubicBezTo>
                  <a:cubicBezTo>
                    <a:pt x="369" y="117301"/>
                    <a:pt x="1143" y="119757"/>
                    <a:pt x="1143" y="119757"/>
                  </a:cubicBezTo>
                  <a:lnTo>
                    <a:pt x="2960" y="123155"/>
                  </a:lnTo>
                  <a:lnTo>
                    <a:pt x="4273" y="124736"/>
                  </a:lnTo>
                  <a:cubicBezTo>
                    <a:pt x="4273" y="124736"/>
                    <a:pt x="3903" y="126552"/>
                    <a:pt x="3634" y="127057"/>
                  </a:cubicBezTo>
                  <a:cubicBezTo>
                    <a:pt x="3331" y="127561"/>
                    <a:pt x="3129" y="128571"/>
                    <a:pt x="2826" y="129143"/>
                  </a:cubicBezTo>
                  <a:cubicBezTo>
                    <a:pt x="2557" y="129714"/>
                    <a:pt x="1816" y="131161"/>
                    <a:pt x="1816" y="131161"/>
                  </a:cubicBezTo>
                  <a:lnTo>
                    <a:pt x="2018" y="133045"/>
                  </a:lnTo>
                  <a:lnTo>
                    <a:pt x="3095" y="135299"/>
                  </a:lnTo>
                  <a:cubicBezTo>
                    <a:pt x="3095" y="135299"/>
                    <a:pt x="4610" y="136947"/>
                    <a:pt x="4845" y="137384"/>
                  </a:cubicBezTo>
                  <a:cubicBezTo>
                    <a:pt x="5047" y="137821"/>
                    <a:pt x="9759" y="141522"/>
                    <a:pt x="9927" y="141791"/>
                  </a:cubicBezTo>
                  <a:cubicBezTo>
                    <a:pt x="10062" y="142094"/>
                    <a:pt x="11879" y="143238"/>
                    <a:pt x="12014" y="143540"/>
                  </a:cubicBezTo>
                  <a:cubicBezTo>
                    <a:pt x="12148" y="143843"/>
                    <a:pt x="15043" y="146433"/>
                    <a:pt x="15413" y="146736"/>
                  </a:cubicBezTo>
                  <a:cubicBezTo>
                    <a:pt x="15783" y="147039"/>
                    <a:pt x="20562" y="151479"/>
                    <a:pt x="20562" y="151479"/>
                  </a:cubicBezTo>
                  <a:lnTo>
                    <a:pt x="25240" y="156592"/>
                  </a:lnTo>
                  <a:lnTo>
                    <a:pt x="30355" y="161033"/>
                  </a:lnTo>
                  <a:lnTo>
                    <a:pt x="34495" y="165810"/>
                  </a:lnTo>
                  <a:lnTo>
                    <a:pt x="39812" y="169073"/>
                  </a:lnTo>
                  <a:cubicBezTo>
                    <a:pt x="39812" y="169073"/>
                    <a:pt x="43615" y="171898"/>
                    <a:pt x="44490" y="171898"/>
                  </a:cubicBezTo>
                  <a:cubicBezTo>
                    <a:pt x="45365" y="171898"/>
                    <a:pt x="47856" y="173648"/>
                    <a:pt x="47856" y="173648"/>
                  </a:cubicBezTo>
                  <a:lnTo>
                    <a:pt x="48495" y="174522"/>
                  </a:lnTo>
                  <a:lnTo>
                    <a:pt x="50111" y="177113"/>
                  </a:lnTo>
                  <a:cubicBezTo>
                    <a:pt x="50111" y="177113"/>
                    <a:pt x="53375" y="177012"/>
                    <a:pt x="54789" y="177214"/>
                  </a:cubicBezTo>
                  <a:cubicBezTo>
                    <a:pt x="56202" y="177449"/>
                    <a:pt x="60342" y="178189"/>
                    <a:pt x="60644" y="178526"/>
                  </a:cubicBezTo>
                  <a:cubicBezTo>
                    <a:pt x="60981" y="178862"/>
                    <a:pt x="61519" y="179838"/>
                    <a:pt x="61856" y="179938"/>
                  </a:cubicBezTo>
                  <a:cubicBezTo>
                    <a:pt x="62193" y="180039"/>
                    <a:pt x="66534" y="183639"/>
                    <a:pt x="66534" y="183639"/>
                  </a:cubicBezTo>
                  <a:cubicBezTo>
                    <a:pt x="66534" y="183639"/>
                    <a:pt x="68385" y="186128"/>
                    <a:pt x="69799" y="187238"/>
                  </a:cubicBezTo>
                  <a:cubicBezTo>
                    <a:pt x="71212" y="188315"/>
                    <a:pt x="72390" y="189088"/>
                    <a:pt x="72390" y="189088"/>
                  </a:cubicBezTo>
                  <a:cubicBezTo>
                    <a:pt x="72390" y="189088"/>
                    <a:pt x="72827" y="195278"/>
                    <a:pt x="72827" y="195715"/>
                  </a:cubicBezTo>
                  <a:cubicBezTo>
                    <a:pt x="72827" y="196153"/>
                    <a:pt x="73164" y="200593"/>
                    <a:pt x="73265" y="200929"/>
                  </a:cubicBezTo>
                  <a:cubicBezTo>
                    <a:pt x="73366" y="201266"/>
                    <a:pt x="74140" y="206816"/>
                    <a:pt x="74140" y="206816"/>
                  </a:cubicBezTo>
                  <a:lnTo>
                    <a:pt x="77068" y="211694"/>
                  </a:lnTo>
                  <a:lnTo>
                    <a:pt x="77943" y="217144"/>
                  </a:lnTo>
                  <a:cubicBezTo>
                    <a:pt x="77943" y="217144"/>
                    <a:pt x="79794" y="220508"/>
                    <a:pt x="79794" y="220945"/>
                  </a:cubicBezTo>
                  <a:cubicBezTo>
                    <a:pt x="79794" y="221382"/>
                    <a:pt x="84472" y="227034"/>
                    <a:pt x="85111" y="227572"/>
                  </a:cubicBezTo>
                  <a:cubicBezTo>
                    <a:pt x="85751" y="228110"/>
                    <a:pt x="88813" y="231272"/>
                    <a:pt x="88813" y="231272"/>
                  </a:cubicBezTo>
                  <a:cubicBezTo>
                    <a:pt x="88813" y="231272"/>
                    <a:pt x="89352" y="232147"/>
                    <a:pt x="89352" y="232584"/>
                  </a:cubicBezTo>
                  <a:cubicBezTo>
                    <a:pt x="89352" y="233022"/>
                    <a:pt x="89453" y="235948"/>
                    <a:pt x="89453" y="236386"/>
                  </a:cubicBezTo>
                  <a:cubicBezTo>
                    <a:pt x="89453" y="236823"/>
                    <a:pt x="89116" y="238572"/>
                    <a:pt x="88813" y="239312"/>
                  </a:cubicBezTo>
                  <a:cubicBezTo>
                    <a:pt x="88477" y="240086"/>
                    <a:pt x="88275" y="241499"/>
                    <a:pt x="87938" y="242037"/>
                  </a:cubicBezTo>
                  <a:cubicBezTo>
                    <a:pt x="87602" y="242575"/>
                    <a:pt x="87400" y="242374"/>
                    <a:pt x="86626" y="243114"/>
                  </a:cubicBezTo>
                  <a:cubicBezTo>
                    <a:pt x="85852" y="243887"/>
                    <a:pt x="84674" y="243551"/>
                    <a:pt x="84472" y="244190"/>
                  </a:cubicBezTo>
                  <a:cubicBezTo>
                    <a:pt x="84236" y="244829"/>
                    <a:pt x="83698" y="245065"/>
                    <a:pt x="83698" y="245065"/>
                  </a:cubicBezTo>
                  <a:cubicBezTo>
                    <a:pt x="83698" y="245065"/>
                    <a:pt x="84573" y="246713"/>
                    <a:pt x="85111" y="247117"/>
                  </a:cubicBezTo>
                  <a:cubicBezTo>
                    <a:pt x="85650" y="247554"/>
                    <a:pt x="85111" y="247117"/>
                    <a:pt x="85885" y="248092"/>
                  </a:cubicBezTo>
                  <a:cubicBezTo>
                    <a:pt x="86659" y="249068"/>
                    <a:pt x="87736" y="250380"/>
                    <a:pt x="87736" y="250817"/>
                  </a:cubicBezTo>
                  <a:cubicBezTo>
                    <a:pt x="87736" y="251254"/>
                    <a:pt x="88275" y="251456"/>
                    <a:pt x="88376" y="252331"/>
                  </a:cubicBezTo>
                  <a:cubicBezTo>
                    <a:pt x="88477" y="253206"/>
                    <a:pt x="89688" y="254181"/>
                    <a:pt x="89991" y="254618"/>
                  </a:cubicBezTo>
                  <a:cubicBezTo>
                    <a:pt x="90328" y="255056"/>
                    <a:pt x="89116" y="258487"/>
                    <a:pt x="89116" y="258487"/>
                  </a:cubicBezTo>
                  <a:lnTo>
                    <a:pt x="92717" y="260505"/>
                  </a:lnTo>
                  <a:lnTo>
                    <a:pt x="93155" y="260505"/>
                  </a:lnTo>
                  <a:lnTo>
                    <a:pt x="94938" y="263533"/>
                  </a:lnTo>
                  <a:lnTo>
                    <a:pt x="97496" y="265719"/>
                  </a:lnTo>
                  <a:lnTo>
                    <a:pt x="97496" y="266594"/>
                  </a:lnTo>
                  <a:cubicBezTo>
                    <a:pt x="97496" y="266594"/>
                    <a:pt x="97496" y="268882"/>
                    <a:pt x="97496" y="269958"/>
                  </a:cubicBezTo>
                  <a:cubicBezTo>
                    <a:pt x="97496" y="271035"/>
                    <a:pt x="97496" y="273558"/>
                    <a:pt x="97496" y="273558"/>
                  </a:cubicBezTo>
                  <a:cubicBezTo>
                    <a:pt x="97496" y="273558"/>
                    <a:pt x="98809" y="275206"/>
                    <a:pt x="99347" y="276383"/>
                  </a:cubicBezTo>
                  <a:cubicBezTo>
                    <a:pt x="99886" y="277561"/>
                    <a:pt x="101400" y="278671"/>
                    <a:pt x="102511" y="279983"/>
                  </a:cubicBezTo>
                  <a:cubicBezTo>
                    <a:pt x="103588" y="281295"/>
                    <a:pt x="105674" y="284019"/>
                    <a:pt x="105674" y="284019"/>
                  </a:cubicBezTo>
                  <a:cubicBezTo>
                    <a:pt x="105674" y="284019"/>
                    <a:pt x="105439" y="284221"/>
                    <a:pt x="106751" y="285230"/>
                  </a:cubicBezTo>
                  <a:cubicBezTo>
                    <a:pt x="108064" y="286206"/>
                    <a:pt x="109343" y="286307"/>
                    <a:pt x="110117" y="287518"/>
                  </a:cubicBezTo>
                  <a:cubicBezTo>
                    <a:pt x="110891" y="288729"/>
                    <a:pt x="112944" y="290243"/>
                    <a:pt x="114357" y="291858"/>
                  </a:cubicBezTo>
                  <a:cubicBezTo>
                    <a:pt x="115771" y="293506"/>
                    <a:pt x="119473" y="295221"/>
                    <a:pt x="119674" y="295558"/>
                  </a:cubicBezTo>
                  <a:cubicBezTo>
                    <a:pt x="119877" y="295894"/>
                    <a:pt x="122266" y="299595"/>
                    <a:pt x="122266" y="299595"/>
                  </a:cubicBezTo>
                  <a:lnTo>
                    <a:pt x="125968" y="304472"/>
                  </a:lnTo>
                  <a:lnTo>
                    <a:pt x="127045" y="306323"/>
                  </a:lnTo>
                  <a:lnTo>
                    <a:pt x="127045" y="308374"/>
                  </a:lnTo>
                  <a:lnTo>
                    <a:pt x="126708" y="309686"/>
                  </a:lnTo>
                  <a:cubicBezTo>
                    <a:pt x="126708" y="309686"/>
                    <a:pt x="126608" y="310662"/>
                    <a:pt x="126372" y="311099"/>
                  </a:cubicBezTo>
                  <a:cubicBezTo>
                    <a:pt x="126170" y="311537"/>
                    <a:pt x="124184" y="313151"/>
                    <a:pt x="124184" y="313151"/>
                  </a:cubicBezTo>
                  <a:cubicBezTo>
                    <a:pt x="124184" y="313151"/>
                    <a:pt x="123747" y="313151"/>
                    <a:pt x="123208" y="313690"/>
                  </a:cubicBezTo>
                  <a:cubicBezTo>
                    <a:pt x="122670" y="314228"/>
                    <a:pt x="121997" y="314228"/>
                    <a:pt x="121795" y="314564"/>
                  </a:cubicBezTo>
                  <a:cubicBezTo>
                    <a:pt x="121593" y="314901"/>
                    <a:pt x="120381" y="315775"/>
                    <a:pt x="120381" y="315775"/>
                  </a:cubicBezTo>
                  <a:lnTo>
                    <a:pt x="119069" y="317625"/>
                  </a:lnTo>
                  <a:cubicBezTo>
                    <a:pt x="119069" y="317625"/>
                    <a:pt x="117655" y="318164"/>
                    <a:pt x="117319" y="318164"/>
                  </a:cubicBezTo>
                  <a:cubicBezTo>
                    <a:pt x="116982" y="318164"/>
                    <a:pt x="114391" y="317625"/>
                    <a:pt x="114391" y="317625"/>
                  </a:cubicBezTo>
                  <a:cubicBezTo>
                    <a:pt x="114391" y="317625"/>
                    <a:pt x="114189" y="316852"/>
                    <a:pt x="113516" y="316448"/>
                  </a:cubicBezTo>
                  <a:cubicBezTo>
                    <a:pt x="112876" y="316011"/>
                    <a:pt x="112001" y="314934"/>
                    <a:pt x="110924" y="314598"/>
                  </a:cubicBezTo>
                  <a:cubicBezTo>
                    <a:pt x="109847" y="314261"/>
                    <a:pt x="108198" y="312546"/>
                    <a:pt x="108198" y="312546"/>
                  </a:cubicBezTo>
                  <a:cubicBezTo>
                    <a:pt x="108198" y="312546"/>
                    <a:pt x="107121" y="311772"/>
                    <a:pt x="106583" y="311772"/>
                  </a:cubicBezTo>
                  <a:cubicBezTo>
                    <a:pt x="106044" y="311772"/>
                    <a:pt x="103655" y="312008"/>
                    <a:pt x="103655" y="312008"/>
                  </a:cubicBezTo>
                  <a:lnTo>
                    <a:pt x="102578" y="312781"/>
                  </a:lnTo>
                  <a:cubicBezTo>
                    <a:pt x="102578" y="312781"/>
                    <a:pt x="101939" y="313757"/>
                    <a:pt x="101804" y="314093"/>
                  </a:cubicBezTo>
                  <a:cubicBezTo>
                    <a:pt x="101703" y="314430"/>
                    <a:pt x="102241" y="318231"/>
                    <a:pt x="102241" y="318231"/>
                  </a:cubicBezTo>
                  <a:lnTo>
                    <a:pt x="100189" y="321393"/>
                  </a:lnTo>
                  <a:lnTo>
                    <a:pt x="98876" y="324320"/>
                  </a:lnTo>
                  <a:lnTo>
                    <a:pt x="98237" y="328054"/>
                  </a:lnTo>
                  <a:lnTo>
                    <a:pt x="102679" y="331922"/>
                  </a:lnTo>
                  <a:lnTo>
                    <a:pt x="103554" y="331922"/>
                  </a:lnTo>
                  <a:lnTo>
                    <a:pt x="104732" y="332696"/>
                  </a:lnTo>
                  <a:cubicBezTo>
                    <a:pt x="104732" y="332696"/>
                    <a:pt x="107996" y="334445"/>
                    <a:pt x="107996" y="334883"/>
                  </a:cubicBezTo>
                  <a:cubicBezTo>
                    <a:pt x="107996" y="335320"/>
                    <a:pt x="107357" y="333907"/>
                    <a:pt x="107996" y="335320"/>
                  </a:cubicBezTo>
                  <a:cubicBezTo>
                    <a:pt x="108636" y="336733"/>
                    <a:pt x="109477" y="339558"/>
                    <a:pt x="109477" y="339558"/>
                  </a:cubicBezTo>
                  <a:lnTo>
                    <a:pt x="109645" y="341510"/>
                  </a:lnTo>
                  <a:lnTo>
                    <a:pt x="109645" y="343259"/>
                  </a:lnTo>
                  <a:lnTo>
                    <a:pt x="109881" y="345109"/>
                  </a:lnTo>
                  <a:lnTo>
                    <a:pt x="111833" y="347834"/>
                  </a:lnTo>
                  <a:lnTo>
                    <a:pt x="114559" y="348910"/>
                  </a:lnTo>
                  <a:lnTo>
                    <a:pt x="114896" y="352375"/>
                  </a:lnTo>
                  <a:lnTo>
                    <a:pt x="114896" y="355436"/>
                  </a:lnTo>
                  <a:cubicBezTo>
                    <a:pt x="114896" y="355436"/>
                    <a:pt x="114997" y="356513"/>
                    <a:pt x="114896" y="356849"/>
                  </a:cubicBezTo>
                  <a:cubicBezTo>
                    <a:pt x="114795" y="357186"/>
                    <a:pt x="113583" y="358800"/>
                    <a:pt x="113583" y="358800"/>
                  </a:cubicBezTo>
                  <a:lnTo>
                    <a:pt x="112506" y="359877"/>
                  </a:lnTo>
                  <a:lnTo>
                    <a:pt x="112271" y="361929"/>
                  </a:lnTo>
                  <a:lnTo>
                    <a:pt x="112910" y="362904"/>
                  </a:lnTo>
                  <a:cubicBezTo>
                    <a:pt x="112910" y="362904"/>
                    <a:pt x="113785" y="363779"/>
                    <a:pt x="114088" y="363981"/>
                  </a:cubicBezTo>
                  <a:cubicBezTo>
                    <a:pt x="114424" y="364216"/>
                    <a:pt x="117554" y="366268"/>
                    <a:pt x="117689" y="366605"/>
                  </a:cubicBezTo>
                  <a:cubicBezTo>
                    <a:pt x="117790" y="366941"/>
                    <a:pt x="120079" y="368119"/>
                    <a:pt x="120079" y="368119"/>
                  </a:cubicBezTo>
                  <a:lnTo>
                    <a:pt x="121593" y="370507"/>
                  </a:lnTo>
                  <a:lnTo>
                    <a:pt x="122569" y="372693"/>
                  </a:lnTo>
                  <a:lnTo>
                    <a:pt x="124420" y="374443"/>
                  </a:lnTo>
                  <a:lnTo>
                    <a:pt x="127583" y="377369"/>
                  </a:lnTo>
                  <a:lnTo>
                    <a:pt x="127920" y="381272"/>
                  </a:lnTo>
                  <a:cubicBezTo>
                    <a:pt x="127920" y="381272"/>
                    <a:pt x="127920" y="382584"/>
                    <a:pt x="127482" y="383223"/>
                  </a:cubicBezTo>
                  <a:cubicBezTo>
                    <a:pt x="127045" y="383862"/>
                    <a:pt x="126506" y="385073"/>
                    <a:pt x="126170" y="385712"/>
                  </a:cubicBezTo>
                  <a:cubicBezTo>
                    <a:pt x="125833" y="386351"/>
                    <a:pt x="125968" y="387125"/>
                    <a:pt x="125194" y="387461"/>
                  </a:cubicBezTo>
                  <a:cubicBezTo>
                    <a:pt x="124420" y="387798"/>
                    <a:pt x="123040" y="388437"/>
                    <a:pt x="123040" y="388437"/>
                  </a:cubicBezTo>
                  <a:cubicBezTo>
                    <a:pt x="123040" y="388437"/>
                    <a:pt x="122603" y="388773"/>
                    <a:pt x="122064" y="388975"/>
                  </a:cubicBezTo>
                  <a:cubicBezTo>
                    <a:pt x="121526" y="389177"/>
                    <a:pt x="121088" y="389311"/>
                    <a:pt x="120550" y="389951"/>
                  </a:cubicBezTo>
                  <a:cubicBezTo>
                    <a:pt x="120011" y="390590"/>
                    <a:pt x="119574" y="391027"/>
                    <a:pt x="119910" y="392003"/>
                  </a:cubicBezTo>
                  <a:cubicBezTo>
                    <a:pt x="120247" y="392978"/>
                    <a:pt x="120550" y="393416"/>
                    <a:pt x="121526" y="394627"/>
                  </a:cubicBezTo>
                  <a:cubicBezTo>
                    <a:pt x="122502" y="395804"/>
                    <a:pt x="124016" y="396914"/>
                    <a:pt x="124016" y="396914"/>
                  </a:cubicBezTo>
                  <a:cubicBezTo>
                    <a:pt x="124016" y="396914"/>
                    <a:pt x="124218" y="399841"/>
                    <a:pt x="124218" y="400278"/>
                  </a:cubicBezTo>
                  <a:cubicBezTo>
                    <a:pt x="124218" y="400715"/>
                    <a:pt x="124117" y="403306"/>
                    <a:pt x="124117" y="403743"/>
                  </a:cubicBezTo>
                  <a:cubicBezTo>
                    <a:pt x="124117" y="404180"/>
                    <a:pt x="123242" y="406905"/>
                    <a:pt x="123242" y="406905"/>
                  </a:cubicBezTo>
                  <a:lnTo>
                    <a:pt x="122805" y="411346"/>
                  </a:lnTo>
                  <a:lnTo>
                    <a:pt x="126170" y="415584"/>
                  </a:lnTo>
                  <a:cubicBezTo>
                    <a:pt x="126170" y="415584"/>
                    <a:pt x="125968" y="417434"/>
                    <a:pt x="125833" y="417871"/>
                  </a:cubicBezTo>
                  <a:cubicBezTo>
                    <a:pt x="125732" y="418309"/>
                    <a:pt x="125396" y="422547"/>
                    <a:pt x="125396" y="422547"/>
                  </a:cubicBezTo>
                  <a:cubicBezTo>
                    <a:pt x="125396" y="422547"/>
                    <a:pt x="125598" y="425811"/>
                    <a:pt x="125396" y="426450"/>
                  </a:cubicBezTo>
                  <a:cubicBezTo>
                    <a:pt x="125160" y="427089"/>
                    <a:pt x="125396" y="428502"/>
                    <a:pt x="124420" y="429175"/>
                  </a:cubicBezTo>
                  <a:cubicBezTo>
                    <a:pt x="123444" y="429814"/>
                    <a:pt x="123242" y="430385"/>
                    <a:pt x="122905" y="431025"/>
                  </a:cubicBezTo>
                  <a:cubicBezTo>
                    <a:pt x="122569" y="431664"/>
                    <a:pt x="121828" y="433514"/>
                    <a:pt x="121828" y="434187"/>
                  </a:cubicBezTo>
                  <a:cubicBezTo>
                    <a:pt x="121828" y="434826"/>
                    <a:pt x="121828" y="437113"/>
                    <a:pt x="121828" y="437113"/>
                  </a:cubicBezTo>
                  <a:cubicBezTo>
                    <a:pt x="121828" y="437113"/>
                    <a:pt x="122703" y="442126"/>
                    <a:pt x="122703" y="442866"/>
                  </a:cubicBezTo>
                  <a:cubicBezTo>
                    <a:pt x="122703" y="443640"/>
                    <a:pt x="123780" y="445893"/>
                    <a:pt x="123780" y="447205"/>
                  </a:cubicBezTo>
                  <a:cubicBezTo>
                    <a:pt x="123780" y="448517"/>
                    <a:pt x="126170" y="454471"/>
                    <a:pt x="126372" y="455144"/>
                  </a:cubicBezTo>
                  <a:cubicBezTo>
                    <a:pt x="126608" y="455783"/>
                    <a:pt x="127247" y="460156"/>
                    <a:pt x="127247" y="460156"/>
                  </a:cubicBezTo>
                  <a:lnTo>
                    <a:pt x="128122" y="468398"/>
                  </a:lnTo>
                  <a:lnTo>
                    <a:pt x="128357" y="480778"/>
                  </a:lnTo>
                  <a:lnTo>
                    <a:pt x="124656" y="486631"/>
                  </a:lnTo>
                  <a:lnTo>
                    <a:pt x="121828" y="491206"/>
                  </a:lnTo>
                  <a:lnTo>
                    <a:pt x="120079" y="495781"/>
                  </a:lnTo>
                  <a:cubicBezTo>
                    <a:pt x="120079" y="495781"/>
                    <a:pt x="118564" y="497732"/>
                    <a:pt x="117891" y="498405"/>
                  </a:cubicBezTo>
                  <a:cubicBezTo>
                    <a:pt x="117251" y="499044"/>
                    <a:pt x="117992" y="497968"/>
                    <a:pt x="116915" y="499044"/>
                  </a:cubicBezTo>
                  <a:cubicBezTo>
                    <a:pt x="115838" y="500120"/>
                    <a:pt x="114828" y="501399"/>
                    <a:pt x="114828" y="501399"/>
                  </a:cubicBezTo>
                  <a:lnTo>
                    <a:pt x="114828" y="504864"/>
                  </a:lnTo>
                  <a:lnTo>
                    <a:pt x="115703" y="510952"/>
                  </a:lnTo>
                  <a:lnTo>
                    <a:pt x="116141" y="513240"/>
                  </a:lnTo>
                  <a:lnTo>
                    <a:pt x="118530" y="516167"/>
                  </a:lnTo>
                  <a:lnTo>
                    <a:pt x="120920" y="516167"/>
                  </a:lnTo>
                  <a:cubicBezTo>
                    <a:pt x="120920" y="516167"/>
                    <a:pt x="121795" y="518118"/>
                    <a:pt x="121997" y="519194"/>
                  </a:cubicBezTo>
                  <a:cubicBezTo>
                    <a:pt x="122199" y="520271"/>
                    <a:pt x="122434" y="523096"/>
                    <a:pt x="122199" y="523971"/>
                  </a:cubicBezTo>
                  <a:cubicBezTo>
                    <a:pt x="121997" y="524846"/>
                    <a:pt x="121997" y="529185"/>
                    <a:pt x="121997" y="529185"/>
                  </a:cubicBezTo>
                  <a:lnTo>
                    <a:pt x="122636" y="532011"/>
                  </a:lnTo>
                  <a:cubicBezTo>
                    <a:pt x="122636" y="532011"/>
                    <a:pt x="122838" y="538739"/>
                    <a:pt x="122838" y="539613"/>
                  </a:cubicBezTo>
                  <a:cubicBezTo>
                    <a:pt x="122838" y="540488"/>
                    <a:pt x="123713" y="545467"/>
                    <a:pt x="123713" y="545467"/>
                  </a:cubicBezTo>
                  <a:lnTo>
                    <a:pt x="122838" y="549806"/>
                  </a:lnTo>
                  <a:lnTo>
                    <a:pt x="124353" y="554583"/>
                  </a:lnTo>
                  <a:lnTo>
                    <a:pt x="123377" y="557846"/>
                  </a:lnTo>
                  <a:cubicBezTo>
                    <a:pt x="123814" y="557846"/>
                    <a:pt x="126978" y="562085"/>
                    <a:pt x="126978" y="562085"/>
                  </a:cubicBezTo>
                  <a:lnTo>
                    <a:pt x="127314" y="565785"/>
                  </a:lnTo>
                  <a:lnTo>
                    <a:pt x="127954" y="575339"/>
                  </a:lnTo>
                  <a:lnTo>
                    <a:pt x="127516" y="577963"/>
                  </a:lnTo>
                  <a:lnTo>
                    <a:pt x="126641" y="580990"/>
                  </a:lnTo>
                  <a:lnTo>
                    <a:pt x="125127" y="587718"/>
                  </a:lnTo>
                  <a:lnTo>
                    <a:pt x="122535" y="593470"/>
                  </a:lnTo>
                  <a:lnTo>
                    <a:pt x="120415" y="600198"/>
                  </a:lnTo>
                  <a:lnTo>
                    <a:pt x="118295" y="603798"/>
                  </a:lnTo>
                  <a:lnTo>
                    <a:pt x="118295" y="607397"/>
                  </a:lnTo>
                  <a:lnTo>
                    <a:pt x="119170" y="611535"/>
                  </a:lnTo>
                  <a:lnTo>
                    <a:pt x="119506" y="615336"/>
                  </a:lnTo>
                  <a:lnTo>
                    <a:pt x="120045" y="618599"/>
                  </a:lnTo>
                  <a:lnTo>
                    <a:pt x="120045" y="626538"/>
                  </a:lnTo>
                  <a:lnTo>
                    <a:pt x="120381" y="629263"/>
                  </a:lnTo>
                  <a:lnTo>
                    <a:pt x="119304" y="633165"/>
                  </a:lnTo>
                  <a:lnTo>
                    <a:pt x="118766" y="635991"/>
                  </a:lnTo>
                  <a:lnTo>
                    <a:pt x="118429" y="641642"/>
                  </a:lnTo>
                  <a:lnTo>
                    <a:pt x="119304" y="646083"/>
                  </a:lnTo>
                  <a:lnTo>
                    <a:pt x="120819" y="654997"/>
                  </a:lnTo>
                  <a:lnTo>
                    <a:pt x="125833" y="662062"/>
                  </a:lnTo>
                  <a:lnTo>
                    <a:pt x="129636" y="666502"/>
                  </a:lnTo>
                  <a:lnTo>
                    <a:pt x="134516" y="672894"/>
                  </a:lnTo>
                  <a:cubicBezTo>
                    <a:pt x="134516" y="672894"/>
                    <a:pt x="140507" y="672995"/>
                    <a:pt x="140608" y="672557"/>
                  </a:cubicBezTo>
                  <a:cubicBezTo>
                    <a:pt x="140709" y="672120"/>
                    <a:pt x="141819" y="668319"/>
                    <a:pt x="141819" y="667881"/>
                  </a:cubicBezTo>
                  <a:cubicBezTo>
                    <a:pt x="141819" y="667444"/>
                    <a:pt x="142694" y="661053"/>
                    <a:pt x="142694" y="659942"/>
                  </a:cubicBezTo>
                  <a:cubicBezTo>
                    <a:pt x="142694" y="658866"/>
                    <a:pt x="142694" y="656040"/>
                    <a:pt x="142694" y="656040"/>
                  </a:cubicBezTo>
                  <a:cubicBezTo>
                    <a:pt x="142694" y="656040"/>
                    <a:pt x="140944" y="651028"/>
                    <a:pt x="140944" y="649951"/>
                  </a:cubicBezTo>
                  <a:cubicBezTo>
                    <a:pt x="140944" y="648875"/>
                    <a:pt x="140944" y="647361"/>
                    <a:pt x="140944" y="647361"/>
                  </a:cubicBezTo>
                  <a:cubicBezTo>
                    <a:pt x="140944" y="647361"/>
                    <a:pt x="141584" y="643997"/>
                    <a:pt x="141718" y="643123"/>
                  </a:cubicBezTo>
                  <a:cubicBezTo>
                    <a:pt x="141819" y="642248"/>
                    <a:pt x="142257" y="641272"/>
                    <a:pt x="142257" y="640936"/>
                  </a:cubicBezTo>
                  <a:cubicBezTo>
                    <a:pt x="142257" y="640600"/>
                    <a:pt x="142896" y="639523"/>
                    <a:pt x="143132" y="639086"/>
                  </a:cubicBezTo>
                  <a:cubicBezTo>
                    <a:pt x="143334" y="638648"/>
                    <a:pt x="145084" y="637673"/>
                    <a:pt x="145622" y="637471"/>
                  </a:cubicBezTo>
                  <a:cubicBezTo>
                    <a:pt x="146161" y="637236"/>
                    <a:pt x="147911" y="637807"/>
                    <a:pt x="149762" y="637236"/>
                  </a:cubicBezTo>
                  <a:cubicBezTo>
                    <a:pt x="151613" y="636697"/>
                    <a:pt x="152791" y="636462"/>
                    <a:pt x="153127" y="636361"/>
                  </a:cubicBezTo>
                  <a:cubicBezTo>
                    <a:pt x="153464" y="636260"/>
                    <a:pt x="153228" y="636361"/>
                    <a:pt x="154541" y="635486"/>
                  </a:cubicBezTo>
                  <a:cubicBezTo>
                    <a:pt x="155853" y="634612"/>
                    <a:pt x="156829" y="633199"/>
                    <a:pt x="157132" y="632862"/>
                  </a:cubicBezTo>
                  <a:cubicBezTo>
                    <a:pt x="157469" y="632526"/>
                    <a:pt x="159421" y="630474"/>
                    <a:pt x="159858" y="629936"/>
                  </a:cubicBezTo>
                  <a:cubicBezTo>
                    <a:pt x="160296" y="629397"/>
                    <a:pt x="161474" y="627447"/>
                    <a:pt x="161474" y="627447"/>
                  </a:cubicBezTo>
                  <a:cubicBezTo>
                    <a:pt x="161474" y="627447"/>
                    <a:pt x="163863" y="624284"/>
                    <a:pt x="164200" y="623746"/>
                  </a:cubicBezTo>
                  <a:cubicBezTo>
                    <a:pt x="164536" y="623208"/>
                    <a:pt x="165714" y="619507"/>
                    <a:pt x="165714" y="619507"/>
                  </a:cubicBezTo>
                  <a:cubicBezTo>
                    <a:pt x="165714" y="619507"/>
                    <a:pt x="166488" y="617994"/>
                    <a:pt x="167228" y="617893"/>
                  </a:cubicBezTo>
                  <a:cubicBezTo>
                    <a:pt x="168003" y="617792"/>
                    <a:pt x="170594" y="614731"/>
                    <a:pt x="170594" y="614731"/>
                  </a:cubicBezTo>
                  <a:lnTo>
                    <a:pt x="170931" y="611131"/>
                  </a:lnTo>
                  <a:cubicBezTo>
                    <a:pt x="170931" y="611131"/>
                    <a:pt x="171469" y="610055"/>
                    <a:pt x="171806" y="609718"/>
                  </a:cubicBezTo>
                  <a:cubicBezTo>
                    <a:pt x="172142" y="609382"/>
                    <a:pt x="173421" y="607330"/>
                    <a:pt x="173421" y="607330"/>
                  </a:cubicBezTo>
                  <a:cubicBezTo>
                    <a:pt x="173421" y="607330"/>
                    <a:pt x="174060" y="606354"/>
                    <a:pt x="174397" y="606253"/>
                  </a:cubicBezTo>
                  <a:cubicBezTo>
                    <a:pt x="174734" y="606153"/>
                    <a:pt x="175474" y="605480"/>
                    <a:pt x="176349" y="605480"/>
                  </a:cubicBezTo>
                  <a:cubicBezTo>
                    <a:pt x="177224" y="605480"/>
                    <a:pt x="180152" y="605042"/>
                    <a:pt x="180152" y="605042"/>
                  </a:cubicBezTo>
                  <a:cubicBezTo>
                    <a:pt x="180152" y="605042"/>
                    <a:pt x="181767" y="605244"/>
                    <a:pt x="182104" y="605244"/>
                  </a:cubicBezTo>
                  <a:cubicBezTo>
                    <a:pt x="182440" y="605244"/>
                    <a:pt x="184056" y="607969"/>
                    <a:pt x="184056" y="607969"/>
                  </a:cubicBezTo>
                  <a:cubicBezTo>
                    <a:pt x="184056" y="607969"/>
                    <a:pt x="183618" y="608743"/>
                    <a:pt x="183181" y="609382"/>
                  </a:cubicBezTo>
                  <a:cubicBezTo>
                    <a:pt x="182743" y="610021"/>
                    <a:pt x="181969" y="611770"/>
                    <a:pt x="181969" y="611770"/>
                  </a:cubicBezTo>
                  <a:cubicBezTo>
                    <a:pt x="181969" y="611770"/>
                    <a:pt x="181330" y="613856"/>
                    <a:pt x="181330" y="614495"/>
                  </a:cubicBezTo>
                  <a:cubicBezTo>
                    <a:pt x="181330" y="615134"/>
                    <a:pt x="181767" y="618532"/>
                    <a:pt x="181767" y="618532"/>
                  </a:cubicBezTo>
                  <a:cubicBezTo>
                    <a:pt x="181767" y="618532"/>
                    <a:pt x="182306" y="620483"/>
                    <a:pt x="182743" y="621156"/>
                  </a:cubicBezTo>
                  <a:cubicBezTo>
                    <a:pt x="183181" y="621795"/>
                    <a:pt x="183820" y="623746"/>
                    <a:pt x="184359" y="624520"/>
                  </a:cubicBezTo>
                  <a:cubicBezTo>
                    <a:pt x="184897" y="625294"/>
                    <a:pt x="187623" y="627682"/>
                    <a:pt x="187623" y="627682"/>
                  </a:cubicBezTo>
                  <a:lnTo>
                    <a:pt x="189575" y="631382"/>
                  </a:lnTo>
                  <a:cubicBezTo>
                    <a:pt x="189575" y="631382"/>
                    <a:pt x="192941" y="634309"/>
                    <a:pt x="193378" y="634309"/>
                  </a:cubicBezTo>
                  <a:cubicBezTo>
                    <a:pt x="193816" y="634309"/>
                    <a:pt x="198696" y="633973"/>
                    <a:pt x="198696" y="633973"/>
                  </a:cubicBezTo>
                  <a:lnTo>
                    <a:pt x="200648" y="636563"/>
                  </a:lnTo>
                  <a:lnTo>
                    <a:pt x="201825" y="640902"/>
                  </a:lnTo>
                  <a:lnTo>
                    <a:pt x="204989" y="648942"/>
                  </a:lnTo>
                  <a:lnTo>
                    <a:pt x="208893" y="655569"/>
                  </a:lnTo>
                  <a:lnTo>
                    <a:pt x="208994" y="658630"/>
                  </a:lnTo>
                  <a:lnTo>
                    <a:pt x="210205" y="662432"/>
                  </a:lnTo>
                  <a:lnTo>
                    <a:pt x="213234" y="666435"/>
                  </a:lnTo>
                  <a:cubicBezTo>
                    <a:pt x="213234" y="666435"/>
                    <a:pt x="214883" y="667511"/>
                    <a:pt x="215287" y="667511"/>
                  </a:cubicBezTo>
                  <a:cubicBezTo>
                    <a:pt x="215725" y="667511"/>
                    <a:pt x="218215" y="669563"/>
                    <a:pt x="218215" y="669563"/>
                  </a:cubicBezTo>
                  <a:cubicBezTo>
                    <a:pt x="218215" y="669563"/>
                    <a:pt x="218552" y="670774"/>
                    <a:pt x="218855" y="671178"/>
                  </a:cubicBezTo>
                  <a:cubicBezTo>
                    <a:pt x="219191" y="671615"/>
                    <a:pt x="219191" y="672793"/>
                    <a:pt x="219191" y="673264"/>
                  </a:cubicBezTo>
                  <a:cubicBezTo>
                    <a:pt x="219191" y="673701"/>
                    <a:pt x="219090" y="676628"/>
                    <a:pt x="218855" y="677065"/>
                  </a:cubicBezTo>
                  <a:cubicBezTo>
                    <a:pt x="218619" y="677502"/>
                    <a:pt x="218518" y="678579"/>
                    <a:pt x="218081" y="679117"/>
                  </a:cubicBezTo>
                  <a:cubicBezTo>
                    <a:pt x="217643" y="679655"/>
                    <a:pt x="216667" y="681606"/>
                    <a:pt x="215893" y="681943"/>
                  </a:cubicBezTo>
                  <a:cubicBezTo>
                    <a:pt x="215119" y="682279"/>
                    <a:pt x="214682" y="682582"/>
                    <a:pt x="214379" y="682716"/>
                  </a:cubicBezTo>
                  <a:cubicBezTo>
                    <a:pt x="214042" y="682817"/>
                    <a:pt x="216129" y="682817"/>
                    <a:pt x="211787" y="683356"/>
                  </a:cubicBezTo>
                  <a:cubicBezTo>
                    <a:pt x="207446" y="683894"/>
                    <a:pt x="206234" y="684331"/>
                    <a:pt x="206234" y="684331"/>
                  </a:cubicBezTo>
                  <a:cubicBezTo>
                    <a:pt x="206234" y="684331"/>
                    <a:pt x="204821" y="684768"/>
                    <a:pt x="204383" y="684768"/>
                  </a:cubicBezTo>
                  <a:cubicBezTo>
                    <a:pt x="203946" y="684768"/>
                    <a:pt x="202633" y="685307"/>
                    <a:pt x="202532" y="685643"/>
                  </a:cubicBezTo>
                  <a:cubicBezTo>
                    <a:pt x="202431" y="685979"/>
                    <a:pt x="202431" y="688132"/>
                    <a:pt x="202532" y="688570"/>
                  </a:cubicBezTo>
                  <a:cubicBezTo>
                    <a:pt x="202633" y="689007"/>
                    <a:pt x="203172" y="691059"/>
                    <a:pt x="204047" y="692606"/>
                  </a:cubicBezTo>
                  <a:cubicBezTo>
                    <a:pt x="204922" y="694120"/>
                    <a:pt x="204821" y="696408"/>
                    <a:pt x="205124" y="696509"/>
                  </a:cubicBezTo>
                  <a:cubicBezTo>
                    <a:pt x="205460" y="696610"/>
                    <a:pt x="206874" y="700310"/>
                    <a:pt x="207311" y="700646"/>
                  </a:cubicBezTo>
                  <a:cubicBezTo>
                    <a:pt x="207749" y="700983"/>
                    <a:pt x="209263" y="703472"/>
                    <a:pt x="210138" y="703573"/>
                  </a:cubicBezTo>
                  <a:cubicBezTo>
                    <a:pt x="211013" y="703674"/>
                    <a:pt x="212965" y="708350"/>
                    <a:pt x="212965" y="708350"/>
                  </a:cubicBezTo>
                  <a:lnTo>
                    <a:pt x="214816" y="712689"/>
                  </a:lnTo>
                  <a:lnTo>
                    <a:pt x="217408" y="717466"/>
                  </a:lnTo>
                  <a:lnTo>
                    <a:pt x="221749" y="723454"/>
                  </a:lnTo>
                  <a:lnTo>
                    <a:pt x="226326" y="726482"/>
                  </a:lnTo>
                  <a:lnTo>
                    <a:pt x="232417" y="727121"/>
                  </a:lnTo>
                  <a:cubicBezTo>
                    <a:pt x="232417" y="727121"/>
                    <a:pt x="235682" y="726482"/>
                    <a:pt x="236321" y="726145"/>
                  </a:cubicBezTo>
                  <a:cubicBezTo>
                    <a:pt x="236961" y="725809"/>
                    <a:pt x="239788" y="722243"/>
                    <a:pt x="240124" y="721806"/>
                  </a:cubicBezTo>
                  <a:cubicBezTo>
                    <a:pt x="240461" y="721368"/>
                    <a:pt x="241639" y="719518"/>
                    <a:pt x="241874" y="719215"/>
                  </a:cubicBezTo>
                  <a:cubicBezTo>
                    <a:pt x="242076" y="718879"/>
                    <a:pt x="243187" y="718576"/>
                    <a:pt x="243187" y="718576"/>
                  </a:cubicBezTo>
                  <a:lnTo>
                    <a:pt x="245576" y="718778"/>
                  </a:lnTo>
                  <a:lnTo>
                    <a:pt x="246216" y="720628"/>
                  </a:lnTo>
                  <a:lnTo>
                    <a:pt x="250019" y="722916"/>
                  </a:lnTo>
                  <a:lnTo>
                    <a:pt x="254259" y="724362"/>
                  </a:lnTo>
                  <a:lnTo>
                    <a:pt x="257154" y="719888"/>
                  </a:lnTo>
                  <a:lnTo>
                    <a:pt x="258298" y="719316"/>
                  </a:lnTo>
                  <a:lnTo>
                    <a:pt x="261495" y="718307"/>
                  </a:lnTo>
                  <a:lnTo>
                    <a:pt x="263817" y="719182"/>
                  </a:lnTo>
                  <a:lnTo>
                    <a:pt x="267014" y="722209"/>
                  </a:lnTo>
                  <a:lnTo>
                    <a:pt x="267452" y="727289"/>
                  </a:lnTo>
                  <a:lnTo>
                    <a:pt x="269337" y="733815"/>
                  </a:lnTo>
                  <a:lnTo>
                    <a:pt x="271524" y="739904"/>
                  </a:lnTo>
                  <a:lnTo>
                    <a:pt x="274553" y="744546"/>
                  </a:lnTo>
                  <a:lnTo>
                    <a:pt x="279029" y="751072"/>
                  </a:lnTo>
                  <a:lnTo>
                    <a:pt x="279904" y="753965"/>
                  </a:lnTo>
                  <a:lnTo>
                    <a:pt x="279904" y="760323"/>
                  </a:lnTo>
                  <a:lnTo>
                    <a:pt x="280644" y="766546"/>
                  </a:lnTo>
                  <a:lnTo>
                    <a:pt x="280342" y="770449"/>
                  </a:lnTo>
                  <a:cubicBezTo>
                    <a:pt x="280342" y="770449"/>
                    <a:pt x="284414" y="775091"/>
                    <a:pt x="285121" y="775091"/>
                  </a:cubicBezTo>
                  <a:cubicBezTo>
                    <a:pt x="285861" y="775091"/>
                    <a:pt x="287712" y="775091"/>
                    <a:pt x="287712" y="775091"/>
                  </a:cubicBezTo>
                  <a:lnTo>
                    <a:pt x="292356" y="774788"/>
                  </a:lnTo>
                  <a:lnTo>
                    <a:pt x="293803" y="780440"/>
                  </a:lnTo>
                  <a:cubicBezTo>
                    <a:pt x="293803" y="780440"/>
                    <a:pt x="294106" y="785351"/>
                    <a:pt x="294376" y="785956"/>
                  </a:cubicBezTo>
                  <a:cubicBezTo>
                    <a:pt x="294678" y="786528"/>
                    <a:pt x="297001" y="797831"/>
                    <a:pt x="297001" y="797831"/>
                  </a:cubicBezTo>
                  <a:lnTo>
                    <a:pt x="298448" y="801161"/>
                  </a:lnTo>
                  <a:lnTo>
                    <a:pt x="300635" y="804492"/>
                  </a:lnTo>
                  <a:lnTo>
                    <a:pt x="306424" y="806948"/>
                  </a:lnTo>
                  <a:lnTo>
                    <a:pt x="306491" y="809134"/>
                  </a:lnTo>
                  <a:lnTo>
                    <a:pt x="305986" y="815088"/>
                  </a:lnTo>
                  <a:lnTo>
                    <a:pt x="305986" y="817679"/>
                  </a:lnTo>
                  <a:lnTo>
                    <a:pt x="306727" y="819697"/>
                  </a:lnTo>
                  <a:lnTo>
                    <a:pt x="309116" y="825651"/>
                  </a:lnTo>
                  <a:lnTo>
                    <a:pt x="311506" y="830428"/>
                  </a:lnTo>
                  <a:lnTo>
                    <a:pt x="314131" y="834330"/>
                  </a:lnTo>
                  <a:lnTo>
                    <a:pt x="319919" y="836517"/>
                  </a:lnTo>
                  <a:lnTo>
                    <a:pt x="322679" y="837391"/>
                  </a:lnTo>
                  <a:lnTo>
                    <a:pt x="325001" y="838569"/>
                  </a:lnTo>
                  <a:lnTo>
                    <a:pt x="328198" y="842908"/>
                  </a:lnTo>
                  <a:lnTo>
                    <a:pt x="329073" y="849132"/>
                  </a:lnTo>
                  <a:lnTo>
                    <a:pt x="328939" y="850713"/>
                  </a:lnTo>
                  <a:lnTo>
                    <a:pt x="328501" y="854178"/>
                  </a:lnTo>
                  <a:lnTo>
                    <a:pt x="327626" y="856499"/>
                  </a:lnTo>
                  <a:lnTo>
                    <a:pt x="328064" y="858955"/>
                  </a:lnTo>
                  <a:cubicBezTo>
                    <a:pt x="328064" y="858955"/>
                    <a:pt x="329814" y="859695"/>
                    <a:pt x="331530" y="859695"/>
                  </a:cubicBezTo>
                  <a:cubicBezTo>
                    <a:pt x="333280" y="859695"/>
                    <a:pt x="338934" y="855490"/>
                    <a:pt x="338934" y="855490"/>
                  </a:cubicBezTo>
                  <a:lnTo>
                    <a:pt x="340819" y="855927"/>
                  </a:lnTo>
                  <a:lnTo>
                    <a:pt x="338362" y="863328"/>
                  </a:lnTo>
                  <a:lnTo>
                    <a:pt x="337050" y="865783"/>
                  </a:lnTo>
                  <a:lnTo>
                    <a:pt x="334727" y="868104"/>
                  </a:lnTo>
                  <a:cubicBezTo>
                    <a:pt x="334727" y="868104"/>
                    <a:pt x="331833" y="870291"/>
                    <a:pt x="330958" y="870291"/>
                  </a:cubicBezTo>
                  <a:cubicBezTo>
                    <a:pt x="330083" y="870291"/>
                    <a:pt x="327761" y="870863"/>
                    <a:pt x="326919" y="871300"/>
                  </a:cubicBezTo>
                  <a:cubicBezTo>
                    <a:pt x="326044" y="871738"/>
                    <a:pt x="324732" y="873319"/>
                    <a:pt x="324732" y="873319"/>
                  </a:cubicBezTo>
                  <a:cubicBezTo>
                    <a:pt x="324732" y="873319"/>
                    <a:pt x="324597" y="876346"/>
                    <a:pt x="324867" y="876952"/>
                  </a:cubicBezTo>
                  <a:cubicBezTo>
                    <a:pt x="325170" y="877523"/>
                    <a:pt x="326617" y="881728"/>
                    <a:pt x="326617" y="881728"/>
                  </a:cubicBezTo>
                  <a:lnTo>
                    <a:pt x="333011" y="885799"/>
                  </a:lnTo>
                  <a:lnTo>
                    <a:pt x="339977" y="888995"/>
                  </a:lnTo>
                  <a:lnTo>
                    <a:pt x="343309" y="892190"/>
                  </a:lnTo>
                  <a:lnTo>
                    <a:pt x="344184" y="894209"/>
                  </a:lnTo>
                  <a:lnTo>
                    <a:pt x="347382" y="898986"/>
                  </a:lnTo>
                  <a:lnTo>
                    <a:pt x="351285" y="905512"/>
                  </a:lnTo>
                  <a:lnTo>
                    <a:pt x="349401" y="908707"/>
                  </a:lnTo>
                  <a:lnTo>
                    <a:pt x="343040" y="910019"/>
                  </a:lnTo>
                  <a:lnTo>
                    <a:pt x="339843" y="910154"/>
                  </a:lnTo>
                  <a:lnTo>
                    <a:pt x="338833" y="915671"/>
                  </a:lnTo>
                  <a:lnTo>
                    <a:pt x="340146" y="920582"/>
                  </a:lnTo>
                  <a:cubicBezTo>
                    <a:pt x="340146" y="920582"/>
                    <a:pt x="344353" y="922903"/>
                    <a:pt x="345228" y="922903"/>
                  </a:cubicBezTo>
                  <a:cubicBezTo>
                    <a:pt x="346103" y="922903"/>
                    <a:pt x="350444" y="922903"/>
                    <a:pt x="350444" y="922903"/>
                  </a:cubicBezTo>
                  <a:cubicBezTo>
                    <a:pt x="350444" y="922903"/>
                    <a:pt x="352194" y="920885"/>
                    <a:pt x="353069" y="920448"/>
                  </a:cubicBezTo>
                  <a:cubicBezTo>
                    <a:pt x="353944" y="920010"/>
                    <a:pt x="355526" y="918698"/>
                    <a:pt x="355526" y="918698"/>
                  </a:cubicBezTo>
                  <a:lnTo>
                    <a:pt x="357545" y="917252"/>
                  </a:lnTo>
                  <a:lnTo>
                    <a:pt x="358992" y="919876"/>
                  </a:lnTo>
                  <a:lnTo>
                    <a:pt x="359564" y="924955"/>
                  </a:lnTo>
                  <a:lnTo>
                    <a:pt x="361012" y="929867"/>
                  </a:lnTo>
                  <a:lnTo>
                    <a:pt x="364041" y="932188"/>
                  </a:lnTo>
                  <a:lnTo>
                    <a:pt x="365185" y="934375"/>
                  </a:lnTo>
                  <a:lnTo>
                    <a:pt x="365185" y="939454"/>
                  </a:lnTo>
                  <a:lnTo>
                    <a:pt x="365488" y="942784"/>
                  </a:lnTo>
                  <a:lnTo>
                    <a:pt x="365925" y="946989"/>
                  </a:lnTo>
                  <a:cubicBezTo>
                    <a:pt x="365925" y="946989"/>
                    <a:pt x="366935" y="948604"/>
                    <a:pt x="368954" y="948873"/>
                  </a:cubicBezTo>
                  <a:cubicBezTo>
                    <a:pt x="370973" y="949176"/>
                    <a:pt x="374911" y="949445"/>
                    <a:pt x="375483" y="949445"/>
                  </a:cubicBezTo>
                  <a:cubicBezTo>
                    <a:pt x="376055" y="949445"/>
                    <a:pt x="380834" y="947259"/>
                    <a:pt x="382012" y="946418"/>
                  </a:cubicBezTo>
                  <a:cubicBezTo>
                    <a:pt x="383156" y="945543"/>
                    <a:pt x="385344" y="944332"/>
                    <a:pt x="386522" y="944029"/>
                  </a:cubicBezTo>
                  <a:cubicBezTo>
                    <a:pt x="387666" y="943726"/>
                    <a:pt x="393623" y="940329"/>
                    <a:pt x="393623" y="940329"/>
                  </a:cubicBezTo>
                  <a:lnTo>
                    <a:pt x="399109" y="940329"/>
                  </a:lnTo>
                  <a:cubicBezTo>
                    <a:pt x="399109" y="940329"/>
                    <a:pt x="403315" y="937301"/>
                    <a:pt x="403753" y="937133"/>
                  </a:cubicBezTo>
                  <a:cubicBezTo>
                    <a:pt x="404190" y="936998"/>
                    <a:pt x="407522" y="932928"/>
                    <a:pt x="408094" y="932928"/>
                  </a:cubicBezTo>
                  <a:cubicBezTo>
                    <a:pt x="408667" y="932928"/>
                    <a:pt x="410114" y="931784"/>
                    <a:pt x="410551" y="931616"/>
                  </a:cubicBezTo>
                  <a:cubicBezTo>
                    <a:pt x="410989" y="931482"/>
                    <a:pt x="412570" y="929160"/>
                    <a:pt x="412570" y="929160"/>
                  </a:cubicBezTo>
                  <a:cubicBezTo>
                    <a:pt x="412570" y="929160"/>
                    <a:pt x="414018" y="928017"/>
                    <a:pt x="414893" y="928017"/>
                  </a:cubicBezTo>
                  <a:cubicBezTo>
                    <a:pt x="415768" y="928017"/>
                    <a:pt x="419234" y="927075"/>
                    <a:pt x="420412" y="927075"/>
                  </a:cubicBezTo>
                  <a:cubicBezTo>
                    <a:pt x="421556" y="927075"/>
                    <a:pt x="425763" y="926436"/>
                    <a:pt x="425763" y="926436"/>
                  </a:cubicBezTo>
                  <a:lnTo>
                    <a:pt x="428657" y="926436"/>
                  </a:lnTo>
                  <a:lnTo>
                    <a:pt x="432427" y="922971"/>
                  </a:lnTo>
                  <a:lnTo>
                    <a:pt x="438215" y="917757"/>
                  </a:lnTo>
                  <a:lnTo>
                    <a:pt x="441984" y="913989"/>
                  </a:lnTo>
                  <a:lnTo>
                    <a:pt x="446898" y="912845"/>
                  </a:lnTo>
                  <a:cubicBezTo>
                    <a:pt x="446898" y="912845"/>
                    <a:pt x="448211" y="913720"/>
                    <a:pt x="448211" y="914864"/>
                  </a:cubicBezTo>
                  <a:cubicBezTo>
                    <a:pt x="448211" y="916007"/>
                    <a:pt x="445182" y="920650"/>
                    <a:pt x="445182" y="920650"/>
                  </a:cubicBezTo>
                  <a:lnTo>
                    <a:pt x="445182" y="923845"/>
                  </a:lnTo>
                  <a:lnTo>
                    <a:pt x="449254" y="926436"/>
                  </a:lnTo>
                  <a:lnTo>
                    <a:pt x="453023" y="926436"/>
                  </a:lnTo>
                  <a:lnTo>
                    <a:pt x="455345" y="924686"/>
                  </a:lnTo>
                  <a:lnTo>
                    <a:pt x="459115" y="922668"/>
                  </a:lnTo>
                  <a:lnTo>
                    <a:pt x="464399" y="921154"/>
                  </a:lnTo>
                  <a:cubicBezTo>
                    <a:pt x="464399" y="921154"/>
                    <a:pt x="467865" y="920010"/>
                    <a:pt x="468168" y="920010"/>
                  </a:cubicBezTo>
                  <a:cubicBezTo>
                    <a:pt x="468471" y="920010"/>
                    <a:pt x="470759" y="918564"/>
                    <a:pt x="470759" y="918564"/>
                  </a:cubicBezTo>
                  <a:cubicBezTo>
                    <a:pt x="470759" y="918564"/>
                    <a:pt x="473889" y="918698"/>
                    <a:pt x="474461" y="918564"/>
                  </a:cubicBezTo>
                  <a:cubicBezTo>
                    <a:pt x="475033" y="918429"/>
                    <a:pt x="477928" y="918497"/>
                    <a:pt x="478735" y="918429"/>
                  </a:cubicBezTo>
                  <a:cubicBezTo>
                    <a:pt x="479543" y="918362"/>
                    <a:pt x="481764" y="917286"/>
                    <a:pt x="482000" y="917286"/>
                  </a:cubicBezTo>
                  <a:cubicBezTo>
                    <a:pt x="482235" y="917286"/>
                    <a:pt x="483750" y="916781"/>
                    <a:pt x="484255" y="915536"/>
                  </a:cubicBezTo>
                  <a:cubicBezTo>
                    <a:pt x="484760" y="914292"/>
                    <a:pt x="485837" y="912206"/>
                    <a:pt x="485837" y="911836"/>
                  </a:cubicBezTo>
                  <a:cubicBezTo>
                    <a:pt x="485837" y="911466"/>
                    <a:pt x="486409" y="907126"/>
                    <a:pt x="486409" y="907126"/>
                  </a:cubicBezTo>
                  <a:lnTo>
                    <a:pt x="484793" y="901408"/>
                  </a:lnTo>
                  <a:lnTo>
                    <a:pt x="483111" y="897875"/>
                  </a:lnTo>
                  <a:cubicBezTo>
                    <a:pt x="483111" y="897875"/>
                    <a:pt x="484187" y="897337"/>
                    <a:pt x="484961" y="897102"/>
                  </a:cubicBezTo>
                  <a:cubicBezTo>
                    <a:pt x="485735" y="896866"/>
                    <a:pt x="486712" y="896866"/>
                    <a:pt x="487149" y="896866"/>
                  </a:cubicBezTo>
                  <a:cubicBezTo>
                    <a:pt x="487586" y="896866"/>
                    <a:pt x="489538" y="896866"/>
                    <a:pt x="489538" y="896866"/>
                  </a:cubicBezTo>
                  <a:cubicBezTo>
                    <a:pt x="489538" y="896866"/>
                    <a:pt x="490750" y="895117"/>
                    <a:pt x="490750" y="894579"/>
                  </a:cubicBezTo>
                  <a:cubicBezTo>
                    <a:pt x="490750" y="894041"/>
                    <a:pt x="491389" y="891753"/>
                    <a:pt x="491389" y="891316"/>
                  </a:cubicBezTo>
                  <a:cubicBezTo>
                    <a:pt x="491389" y="890879"/>
                    <a:pt x="491726" y="889028"/>
                    <a:pt x="491389" y="888927"/>
                  </a:cubicBezTo>
                  <a:cubicBezTo>
                    <a:pt x="491053" y="888826"/>
                    <a:pt x="490312" y="888053"/>
                    <a:pt x="489740" y="887414"/>
                  </a:cubicBezTo>
                  <a:cubicBezTo>
                    <a:pt x="489202" y="886774"/>
                    <a:pt x="488125" y="885227"/>
                    <a:pt x="487452" y="884588"/>
                  </a:cubicBezTo>
                  <a:cubicBezTo>
                    <a:pt x="486812" y="883949"/>
                    <a:pt x="485702" y="881998"/>
                    <a:pt x="485399" y="881762"/>
                  </a:cubicBezTo>
                  <a:cubicBezTo>
                    <a:pt x="485062" y="881527"/>
                    <a:pt x="483750" y="878163"/>
                    <a:pt x="483750" y="878163"/>
                  </a:cubicBezTo>
                  <a:cubicBezTo>
                    <a:pt x="483750" y="878163"/>
                    <a:pt x="483413" y="877523"/>
                    <a:pt x="483413" y="876414"/>
                  </a:cubicBezTo>
                  <a:cubicBezTo>
                    <a:pt x="483413" y="875337"/>
                    <a:pt x="483413" y="869887"/>
                    <a:pt x="483413" y="869887"/>
                  </a:cubicBezTo>
                  <a:cubicBezTo>
                    <a:pt x="483413" y="869887"/>
                    <a:pt x="484288" y="866523"/>
                    <a:pt x="484288" y="866086"/>
                  </a:cubicBezTo>
                  <a:cubicBezTo>
                    <a:pt x="484288" y="865649"/>
                    <a:pt x="482639" y="859997"/>
                    <a:pt x="482639" y="859997"/>
                  </a:cubicBezTo>
                  <a:lnTo>
                    <a:pt x="481865" y="857710"/>
                  </a:lnTo>
                  <a:cubicBezTo>
                    <a:pt x="481865" y="857710"/>
                    <a:pt x="479812" y="854682"/>
                    <a:pt x="479375" y="854884"/>
                  </a:cubicBezTo>
                  <a:cubicBezTo>
                    <a:pt x="478937" y="855086"/>
                    <a:pt x="478601" y="853269"/>
                    <a:pt x="478500" y="852933"/>
                  </a:cubicBezTo>
                  <a:cubicBezTo>
                    <a:pt x="478399" y="852597"/>
                    <a:pt x="477961" y="848795"/>
                    <a:pt x="477961" y="848358"/>
                  </a:cubicBezTo>
                  <a:cubicBezTo>
                    <a:pt x="477961" y="847921"/>
                    <a:pt x="480115" y="845196"/>
                    <a:pt x="480351" y="844321"/>
                  </a:cubicBezTo>
                  <a:cubicBezTo>
                    <a:pt x="480553" y="843447"/>
                    <a:pt x="481663" y="841596"/>
                    <a:pt x="481663" y="841596"/>
                  </a:cubicBezTo>
                  <a:cubicBezTo>
                    <a:pt x="481663" y="841596"/>
                    <a:pt x="482437" y="838132"/>
                    <a:pt x="482639" y="837694"/>
                  </a:cubicBezTo>
                  <a:cubicBezTo>
                    <a:pt x="482875" y="837257"/>
                    <a:pt x="483413" y="831942"/>
                    <a:pt x="483413" y="831942"/>
                  </a:cubicBezTo>
                  <a:lnTo>
                    <a:pt x="483413" y="829890"/>
                  </a:lnTo>
                  <a:cubicBezTo>
                    <a:pt x="483413" y="829890"/>
                    <a:pt x="484490" y="824911"/>
                    <a:pt x="484288" y="824575"/>
                  </a:cubicBezTo>
                  <a:cubicBezTo>
                    <a:pt x="484053" y="824238"/>
                    <a:pt x="482976" y="819899"/>
                    <a:pt x="482976" y="819899"/>
                  </a:cubicBezTo>
                  <a:lnTo>
                    <a:pt x="483312" y="816097"/>
                  </a:lnTo>
                  <a:cubicBezTo>
                    <a:pt x="483312" y="816097"/>
                    <a:pt x="483514" y="814786"/>
                    <a:pt x="483111" y="814147"/>
                  </a:cubicBezTo>
                  <a:cubicBezTo>
                    <a:pt x="482673" y="813507"/>
                    <a:pt x="481158" y="811220"/>
                    <a:pt x="480183" y="810883"/>
                  </a:cubicBezTo>
                  <a:cubicBezTo>
                    <a:pt x="479206" y="810547"/>
                    <a:pt x="478668" y="810009"/>
                    <a:pt x="478668" y="810009"/>
                  </a:cubicBezTo>
                  <a:cubicBezTo>
                    <a:pt x="478668" y="810009"/>
                    <a:pt x="477793" y="809471"/>
                    <a:pt x="478668" y="807721"/>
                  </a:cubicBezTo>
                  <a:cubicBezTo>
                    <a:pt x="479543" y="805972"/>
                    <a:pt x="480620" y="804559"/>
                    <a:pt x="480620" y="804559"/>
                  </a:cubicBezTo>
                  <a:lnTo>
                    <a:pt x="483346" y="802070"/>
                  </a:lnTo>
                  <a:lnTo>
                    <a:pt x="485197" y="799782"/>
                  </a:lnTo>
                  <a:cubicBezTo>
                    <a:pt x="485197" y="799782"/>
                    <a:pt x="485433" y="796082"/>
                    <a:pt x="485534" y="795645"/>
                  </a:cubicBezTo>
                  <a:cubicBezTo>
                    <a:pt x="485635" y="795207"/>
                    <a:pt x="485971" y="791742"/>
                    <a:pt x="485971" y="791742"/>
                  </a:cubicBezTo>
                  <a:cubicBezTo>
                    <a:pt x="485971" y="791742"/>
                    <a:pt x="486846" y="791406"/>
                    <a:pt x="487586" y="791406"/>
                  </a:cubicBezTo>
                  <a:cubicBezTo>
                    <a:pt x="488361" y="791406"/>
                    <a:pt x="489640" y="792819"/>
                    <a:pt x="489640" y="792819"/>
                  </a:cubicBezTo>
                  <a:cubicBezTo>
                    <a:pt x="489640" y="792819"/>
                    <a:pt x="490279" y="795308"/>
                    <a:pt x="490514" y="795746"/>
                  </a:cubicBezTo>
                  <a:cubicBezTo>
                    <a:pt x="490750" y="796183"/>
                    <a:pt x="491289" y="799547"/>
                    <a:pt x="491289" y="799547"/>
                  </a:cubicBezTo>
                  <a:cubicBezTo>
                    <a:pt x="491289" y="799547"/>
                    <a:pt x="491962" y="801061"/>
                    <a:pt x="492938" y="801061"/>
                  </a:cubicBezTo>
                  <a:cubicBezTo>
                    <a:pt x="493913" y="801061"/>
                    <a:pt x="496640" y="799984"/>
                    <a:pt x="496942" y="799850"/>
                  </a:cubicBezTo>
                  <a:cubicBezTo>
                    <a:pt x="497279" y="799749"/>
                    <a:pt x="499567" y="795409"/>
                    <a:pt x="499567" y="795409"/>
                  </a:cubicBezTo>
                  <a:lnTo>
                    <a:pt x="503034" y="793794"/>
                  </a:lnTo>
                  <a:lnTo>
                    <a:pt x="508486" y="788782"/>
                  </a:lnTo>
                  <a:lnTo>
                    <a:pt x="510976" y="786057"/>
                  </a:lnTo>
                  <a:cubicBezTo>
                    <a:pt x="510976" y="786057"/>
                    <a:pt x="513904" y="782357"/>
                    <a:pt x="514342" y="781718"/>
                  </a:cubicBezTo>
                  <a:cubicBezTo>
                    <a:pt x="514779" y="781079"/>
                    <a:pt x="515654" y="779666"/>
                    <a:pt x="516092" y="778993"/>
                  </a:cubicBezTo>
                  <a:cubicBezTo>
                    <a:pt x="516529" y="778354"/>
                    <a:pt x="518683" y="776706"/>
                    <a:pt x="519356" y="776605"/>
                  </a:cubicBezTo>
                  <a:cubicBezTo>
                    <a:pt x="519996" y="776504"/>
                    <a:pt x="520972" y="775730"/>
                    <a:pt x="521847" y="775629"/>
                  </a:cubicBezTo>
                  <a:cubicBezTo>
                    <a:pt x="522722" y="775528"/>
                    <a:pt x="524236" y="774990"/>
                    <a:pt x="524236" y="774990"/>
                  </a:cubicBezTo>
                  <a:cubicBezTo>
                    <a:pt x="524236" y="774990"/>
                    <a:pt x="524674" y="774990"/>
                    <a:pt x="525111" y="773913"/>
                  </a:cubicBezTo>
                  <a:cubicBezTo>
                    <a:pt x="525549" y="772837"/>
                    <a:pt x="526861" y="770213"/>
                    <a:pt x="527265" y="769675"/>
                  </a:cubicBezTo>
                  <a:cubicBezTo>
                    <a:pt x="527703" y="769137"/>
                    <a:pt x="528140" y="768060"/>
                    <a:pt x="528780" y="767085"/>
                  </a:cubicBezTo>
                  <a:cubicBezTo>
                    <a:pt x="529419" y="766109"/>
                    <a:pt x="529857" y="764898"/>
                    <a:pt x="530294" y="764696"/>
                  </a:cubicBezTo>
                  <a:cubicBezTo>
                    <a:pt x="530732" y="764461"/>
                    <a:pt x="531910" y="762846"/>
                    <a:pt x="532246" y="762745"/>
                  </a:cubicBezTo>
                  <a:cubicBezTo>
                    <a:pt x="532583" y="762644"/>
                    <a:pt x="534097" y="760559"/>
                    <a:pt x="534636" y="760256"/>
                  </a:cubicBezTo>
                  <a:cubicBezTo>
                    <a:pt x="535174" y="759919"/>
                    <a:pt x="536823" y="758506"/>
                    <a:pt x="536823" y="758506"/>
                  </a:cubicBezTo>
                  <a:lnTo>
                    <a:pt x="538237" y="757531"/>
                  </a:lnTo>
                  <a:lnTo>
                    <a:pt x="539650" y="757094"/>
                  </a:lnTo>
                  <a:lnTo>
                    <a:pt x="542713" y="755142"/>
                  </a:lnTo>
                  <a:cubicBezTo>
                    <a:pt x="542713" y="755142"/>
                    <a:pt x="546179" y="751442"/>
                    <a:pt x="546415" y="751139"/>
                  </a:cubicBezTo>
                  <a:cubicBezTo>
                    <a:pt x="546617" y="750803"/>
                    <a:pt x="548367" y="747775"/>
                    <a:pt x="548367" y="747775"/>
                  </a:cubicBezTo>
                  <a:cubicBezTo>
                    <a:pt x="548367" y="747775"/>
                    <a:pt x="549242" y="745824"/>
                    <a:pt x="549242" y="745488"/>
                  </a:cubicBezTo>
                  <a:cubicBezTo>
                    <a:pt x="549242" y="745152"/>
                    <a:pt x="549780" y="742561"/>
                    <a:pt x="549780" y="742225"/>
                  </a:cubicBezTo>
                  <a:cubicBezTo>
                    <a:pt x="549780" y="741888"/>
                    <a:pt x="550117" y="739635"/>
                    <a:pt x="550117" y="739635"/>
                  </a:cubicBezTo>
                  <a:cubicBezTo>
                    <a:pt x="550117" y="739635"/>
                    <a:pt x="550453" y="739534"/>
                    <a:pt x="551093" y="738659"/>
                  </a:cubicBezTo>
                  <a:cubicBezTo>
                    <a:pt x="551732" y="737785"/>
                    <a:pt x="552944" y="737246"/>
                    <a:pt x="553280" y="736910"/>
                  </a:cubicBezTo>
                  <a:cubicBezTo>
                    <a:pt x="553617" y="736574"/>
                    <a:pt x="554357" y="735497"/>
                    <a:pt x="554357" y="735497"/>
                  </a:cubicBezTo>
                  <a:cubicBezTo>
                    <a:pt x="554357" y="735497"/>
                    <a:pt x="555333" y="735295"/>
                    <a:pt x="554458" y="734421"/>
                  </a:cubicBezTo>
                  <a:cubicBezTo>
                    <a:pt x="553583" y="733546"/>
                    <a:pt x="552607" y="731595"/>
                    <a:pt x="552607" y="731595"/>
                  </a:cubicBezTo>
                  <a:cubicBezTo>
                    <a:pt x="552607" y="731595"/>
                    <a:pt x="552506" y="731258"/>
                    <a:pt x="551732" y="731057"/>
                  </a:cubicBezTo>
                  <a:cubicBezTo>
                    <a:pt x="550958" y="730855"/>
                    <a:pt x="550319" y="730417"/>
                    <a:pt x="549982" y="730283"/>
                  </a:cubicBezTo>
                  <a:cubicBezTo>
                    <a:pt x="549645" y="730182"/>
                    <a:pt x="548131" y="728534"/>
                    <a:pt x="547492" y="728231"/>
                  </a:cubicBezTo>
                  <a:cubicBezTo>
                    <a:pt x="546852" y="727894"/>
                    <a:pt x="545405" y="726179"/>
                    <a:pt x="544328" y="725741"/>
                  </a:cubicBezTo>
                  <a:cubicBezTo>
                    <a:pt x="543251" y="725304"/>
                    <a:pt x="542578" y="724665"/>
                    <a:pt x="542477" y="724329"/>
                  </a:cubicBezTo>
                  <a:cubicBezTo>
                    <a:pt x="542376" y="723992"/>
                    <a:pt x="542376" y="722277"/>
                    <a:pt x="542376" y="722277"/>
                  </a:cubicBezTo>
                  <a:lnTo>
                    <a:pt x="542915" y="720426"/>
                  </a:lnTo>
                  <a:lnTo>
                    <a:pt x="543689" y="718812"/>
                  </a:lnTo>
                  <a:cubicBezTo>
                    <a:pt x="543689" y="718812"/>
                    <a:pt x="544564" y="717197"/>
                    <a:pt x="544766" y="716861"/>
                  </a:cubicBezTo>
                  <a:cubicBezTo>
                    <a:pt x="544968" y="716524"/>
                    <a:pt x="545742" y="715010"/>
                    <a:pt x="546381" y="714371"/>
                  </a:cubicBezTo>
                  <a:cubicBezTo>
                    <a:pt x="547021" y="713732"/>
                    <a:pt x="548871" y="712420"/>
                    <a:pt x="548871" y="712420"/>
                  </a:cubicBezTo>
                  <a:cubicBezTo>
                    <a:pt x="548871" y="712420"/>
                    <a:pt x="549410" y="711781"/>
                    <a:pt x="550184" y="711445"/>
                  </a:cubicBezTo>
                  <a:cubicBezTo>
                    <a:pt x="550958" y="711108"/>
                    <a:pt x="551934" y="710469"/>
                    <a:pt x="553448" y="709493"/>
                  </a:cubicBezTo>
                  <a:cubicBezTo>
                    <a:pt x="554963" y="708518"/>
                    <a:pt x="556276" y="707307"/>
                    <a:pt x="556276" y="707307"/>
                  </a:cubicBezTo>
                  <a:lnTo>
                    <a:pt x="557050" y="705793"/>
                  </a:lnTo>
                  <a:lnTo>
                    <a:pt x="559338" y="704212"/>
                  </a:lnTo>
                  <a:lnTo>
                    <a:pt x="561391" y="702194"/>
                  </a:lnTo>
                  <a:lnTo>
                    <a:pt x="562569" y="702194"/>
                  </a:lnTo>
                  <a:lnTo>
                    <a:pt x="565396" y="701958"/>
                  </a:lnTo>
                  <a:lnTo>
                    <a:pt x="569199" y="705221"/>
                  </a:lnTo>
                  <a:lnTo>
                    <a:pt x="569973" y="705558"/>
                  </a:lnTo>
                  <a:lnTo>
                    <a:pt x="572564" y="706533"/>
                  </a:lnTo>
                  <a:cubicBezTo>
                    <a:pt x="572564" y="706533"/>
                    <a:pt x="573776" y="706870"/>
                    <a:pt x="575055" y="706533"/>
                  </a:cubicBezTo>
                  <a:cubicBezTo>
                    <a:pt x="576367" y="706197"/>
                    <a:pt x="577242" y="705659"/>
                    <a:pt x="578555" y="704347"/>
                  </a:cubicBezTo>
                  <a:cubicBezTo>
                    <a:pt x="579867" y="703035"/>
                    <a:pt x="581382" y="701857"/>
                    <a:pt x="581920" y="701420"/>
                  </a:cubicBezTo>
                  <a:cubicBezTo>
                    <a:pt x="582459" y="700983"/>
                    <a:pt x="583771" y="699368"/>
                    <a:pt x="584310" y="698695"/>
                  </a:cubicBezTo>
                  <a:cubicBezTo>
                    <a:pt x="584848" y="698056"/>
                    <a:pt x="585387" y="697282"/>
                    <a:pt x="585723" y="696408"/>
                  </a:cubicBezTo>
                  <a:cubicBezTo>
                    <a:pt x="586060" y="695533"/>
                    <a:pt x="586800" y="694759"/>
                    <a:pt x="586800" y="694019"/>
                  </a:cubicBezTo>
                  <a:cubicBezTo>
                    <a:pt x="586800" y="693246"/>
                    <a:pt x="586901" y="691429"/>
                    <a:pt x="587002" y="690218"/>
                  </a:cubicBezTo>
                  <a:cubicBezTo>
                    <a:pt x="587103" y="689007"/>
                    <a:pt x="587339" y="688805"/>
                    <a:pt x="587103" y="687493"/>
                  </a:cubicBezTo>
                  <a:cubicBezTo>
                    <a:pt x="586901" y="686181"/>
                    <a:pt x="586767" y="685206"/>
                    <a:pt x="586666" y="684903"/>
                  </a:cubicBezTo>
                  <a:cubicBezTo>
                    <a:pt x="586565" y="684567"/>
                    <a:pt x="585589" y="682952"/>
                    <a:pt x="585016" y="681976"/>
                  </a:cubicBezTo>
                  <a:cubicBezTo>
                    <a:pt x="584478" y="681001"/>
                    <a:pt x="583805" y="679151"/>
                    <a:pt x="583502" y="679050"/>
                  </a:cubicBezTo>
                  <a:cubicBezTo>
                    <a:pt x="583166" y="678949"/>
                    <a:pt x="582190" y="678612"/>
                    <a:pt x="581315" y="677738"/>
                  </a:cubicBezTo>
                  <a:cubicBezTo>
                    <a:pt x="580440" y="676863"/>
                    <a:pt x="579464" y="676762"/>
                    <a:pt x="579363" y="675989"/>
                  </a:cubicBezTo>
                  <a:cubicBezTo>
                    <a:pt x="579262" y="675215"/>
                    <a:pt x="579026" y="674239"/>
                    <a:pt x="579026" y="673802"/>
                  </a:cubicBezTo>
                  <a:cubicBezTo>
                    <a:pt x="579026" y="673365"/>
                    <a:pt x="577814" y="675316"/>
                    <a:pt x="580002" y="671178"/>
                  </a:cubicBezTo>
                  <a:cubicBezTo>
                    <a:pt x="582190" y="667040"/>
                    <a:pt x="582190" y="667040"/>
                    <a:pt x="582190" y="667040"/>
                  </a:cubicBezTo>
                  <a:lnTo>
                    <a:pt x="582829" y="664551"/>
                  </a:lnTo>
                  <a:lnTo>
                    <a:pt x="584141" y="662062"/>
                  </a:lnTo>
                  <a:lnTo>
                    <a:pt x="584478" y="659774"/>
                  </a:lnTo>
                  <a:lnTo>
                    <a:pt x="585892" y="657588"/>
                  </a:lnTo>
                  <a:cubicBezTo>
                    <a:pt x="585892" y="657588"/>
                    <a:pt x="586093" y="657487"/>
                    <a:pt x="586666" y="657487"/>
                  </a:cubicBezTo>
                  <a:cubicBezTo>
                    <a:pt x="587204" y="657487"/>
                    <a:pt x="588954" y="657386"/>
                    <a:pt x="588954" y="657386"/>
                  </a:cubicBezTo>
                  <a:lnTo>
                    <a:pt x="590469" y="660110"/>
                  </a:lnTo>
                  <a:lnTo>
                    <a:pt x="591445" y="661422"/>
                  </a:lnTo>
                  <a:cubicBezTo>
                    <a:pt x="591445" y="661422"/>
                    <a:pt x="593396" y="662129"/>
                    <a:pt x="593834" y="662129"/>
                  </a:cubicBezTo>
                  <a:cubicBezTo>
                    <a:pt x="594271" y="662129"/>
                    <a:pt x="597637" y="662196"/>
                    <a:pt x="597637" y="662196"/>
                  </a:cubicBezTo>
                  <a:lnTo>
                    <a:pt x="599050" y="662196"/>
                  </a:lnTo>
                  <a:lnTo>
                    <a:pt x="601642" y="662533"/>
                  </a:lnTo>
                  <a:cubicBezTo>
                    <a:pt x="601642" y="662533"/>
                    <a:pt x="603392" y="662196"/>
                    <a:pt x="604570" y="662196"/>
                  </a:cubicBezTo>
                  <a:cubicBezTo>
                    <a:pt x="605781" y="662196"/>
                    <a:pt x="608272" y="661994"/>
                    <a:pt x="608608" y="661994"/>
                  </a:cubicBezTo>
                  <a:cubicBezTo>
                    <a:pt x="608945" y="661994"/>
                    <a:pt x="610123" y="659539"/>
                    <a:pt x="610123" y="659539"/>
                  </a:cubicBezTo>
                  <a:cubicBezTo>
                    <a:pt x="610123" y="659539"/>
                    <a:pt x="612176" y="658731"/>
                    <a:pt x="612613" y="658731"/>
                  </a:cubicBezTo>
                  <a:cubicBezTo>
                    <a:pt x="613051" y="658731"/>
                    <a:pt x="614666" y="658731"/>
                    <a:pt x="614666" y="658731"/>
                  </a:cubicBezTo>
                  <a:lnTo>
                    <a:pt x="619008" y="661355"/>
                  </a:lnTo>
                  <a:cubicBezTo>
                    <a:pt x="619008" y="661355"/>
                    <a:pt x="622710" y="663104"/>
                    <a:pt x="623013" y="663004"/>
                  </a:cubicBezTo>
                  <a:cubicBezTo>
                    <a:pt x="623349" y="662903"/>
                    <a:pt x="630518" y="661591"/>
                    <a:pt x="630518" y="661591"/>
                  </a:cubicBezTo>
                  <a:cubicBezTo>
                    <a:pt x="630518" y="661591"/>
                    <a:pt x="635734" y="661389"/>
                    <a:pt x="636710" y="660951"/>
                  </a:cubicBezTo>
                  <a:cubicBezTo>
                    <a:pt x="637686" y="660514"/>
                    <a:pt x="640715" y="660077"/>
                    <a:pt x="641051" y="660077"/>
                  </a:cubicBezTo>
                  <a:cubicBezTo>
                    <a:pt x="641388" y="660077"/>
                    <a:pt x="644316" y="663340"/>
                    <a:pt x="644316" y="663340"/>
                  </a:cubicBezTo>
                  <a:lnTo>
                    <a:pt x="643676" y="667478"/>
                  </a:lnTo>
                  <a:lnTo>
                    <a:pt x="642263" y="668554"/>
                  </a:lnTo>
                  <a:cubicBezTo>
                    <a:pt x="642263" y="668554"/>
                    <a:pt x="639974" y="670842"/>
                    <a:pt x="639335" y="670842"/>
                  </a:cubicBezTo>
                  <a:cubicBezTo>
                    <a:pt x="638696" y="670842"/>
                    <a:pt x="635869" y="671380"/>
                    <a:pt x="635869" y="671380"/>
                  </a:cubicBezTo>
                  <a:lnTo>
                    <a:pt x="633244" y="672692"/>
                  </a:lnTo>
                  <a:lnTo>
                    <a:pt x="631393" y="674105"/>
                  </a:lnTo>
                  <a:cubicBezTo>
                    <a:pt x="631393" y="674105"/>
                    <a:pt x="629441" y="675955"/>
                    <a:pt x="629239" y="676291"/>
                  </a:cubicBezTo>
                  <a:cubicBezTo>
                    <a:pt x="629003" y="676628"/>
                    <a:pt x="627489" y="677906"/>
                    <a:pt x="627287" y="678242"/>
                  </a:cubicBezTo>
                  <a:cubicBezTo>
                    <a:pt x="627085" y="678579"/>
                    <a:pt x="624796" y="680429"/>
                    <a:pt x="624796" y="680429"/>
                  </a:cubicBezTo>
                  <a:lnTo>
                    <a:pt x="623820" y="681640"/>
                  </a:lnTo>
                  <a:cubicBezTo>
                    <a:pt x="623820" y="681640"/>
                    <a:pt x="623618" y="685004"/>
                    <a:pt x="623618" y="685441"/>
                  </a:cubicBezTo>
                  <a:cubicBezTo>
                    <a:pt x="623618" y="685879"/>
                    <a:pt x="623820" y="691295"/>
                    <a:pt x="623820" y="691295"/>
                  </a:cubicBezTo>
                  <a:cubicBezTo>
                    <a:pt x="623820" y="691295"/>
                    <a:pt x="623820" y="692371"/>
                    <a:pt x="624022" y="693044"/>
                  </a:cubicBezTo>
                  <a:cubicBezTo>
                    <a:pt x="624224" y="693683"/>
                    <a:pt x="625537" y="695769"/>
                    <a:pt x="625974" y="695769"/>
                  </a:cubicBezTo>
                  <a:cubicBezTo>
                    <a:pt x="626412" y="695769"/>
                    <a:pt x="630114" y="698493"/>
                    <a:pt x="632066" y="698493"/>
                  </a:cubicBezTo>
                  <a:cubicBezTo>
                    <a:pt x="634018" y="698493"/>
                    <a:pt x="634556" y="698292"/>
                    <a:pt x="635431" y="698493"/>
                  </a:cubicBezTo>
                  <a:cubicBezTo>
                    <a:pt x="636306" y="698695"/>
                    <a:pt x="637922" y="700007"/>
                    <a:pt x="637922" y="700007"/>
                  </a:cubicBezTo>
                  <a:lnTo>
                    <a:pt x="640950" y="704044"/>
                  </a:lnTo>
                  <a:cubicBezTo>
                    <a:pt x="640950" y="704044"/>
                    <a:pt x="642364" y="708047"/>
                    <a:pt x="642465" y="708484"/>
                  </a:cubicBezTo>
                  <a:cubicBezTo>
                    <a:pt x="642566" y="708922"/>
                    <a:pt x="640143" y="709964"/>
                    <a:pt x="640143" y="709964"/>
                  </a:cubicBezTo>
                  <a:lnTo>
                    <a:pt x="638999" y="712992"/>
                  </a:lnTo>
                  <a:lnTo>
                    <a:pt x="638561" y="714741"/>
                  </a:lnTo>
                  <a:cubicBezTo>
                    <a:pt x="638561" y="714741"/>
                    <a:pt x="640580" y="714876"/>
                    <a:pt x="640748" y="715313"/>
                  </a:cubicBezTo>
                  <a:cubicBezTo>
                    <a:pt x="640883" y="715751"/>
                    <a:pt x="643071" y="716188"/>
                    <a:pt x="643071" y="716188"/>
                  </a:cubicBezTo>
                  <a:lnTo>
                    <a:pt x="643777" y="718206"/>
                  </a:lnTo>
                  <a:cubicBezTo>
                    <a:pt x="643777" y="718206"/>
                    <a:pt x="643777" y="722411"/>
                    <a:pt x="643643" y="722983"/>
                  </a:cubicBezTo>
                  <a:cubicBezTo>
                    <a:pt x="643508" y="723555"/>
                    <a:pt x="639873" y="726313"/>
                    <a:pt x="639873" y="726313"/>
                  </a:cubicBezTo>
                  <a:cubicBezTo>
                    <a:pt x="639873" y="726313"/>
                    <a:pt x="638426" y="726448"/>
                    <a:pt x="637417" y="727188"/>
                  </a:cubicBezTo>
                  <a:cubicBezTo>
                    <a:pt x="636407" y="727894"/>
                    <a:pt x="635095" y="728937"/>
                    <a:pt x="635095" y="728937"/>
                  </a:cubicBezTo>
                  <a:lnTo>
                    <a:pt x="630316" y="732402"/>
                  </a:lnTo>
                  <a:cubicBezTo>
                    <a:pt x="630316" y="732402"/>
                    <a:pt x="630181" y="734286"/>
                    <a:pt x="630181" y="734858"/>
                  </a:cubicBezTo>
                  <a:cubicBezTo>
                    <a:pt x="630181" y="735430"/>
                    <a:pt x="629744" y="735295"/>
                    <a:pt x="630316" y="736607"/>
                  </a:cubicBezTo>
                  <a:cubicBezTo>
                    <a:pt x="630888" y="737919"/>
                    <a:pt x="634085" y="739500"/>
                    <a:pt x="634085" y="739500"/>
                  </a:cubicBezTo>
                  <a:lnTo>
                    <a:pt x="636542" y="741081"/>
                  </a:lnTo>
                  <a:lnTo>
                    <a:pt x="638864" y="741384"/>
                  </a:lnTo>
                  <a:lnTo>
                    <a:pt x="642499" y="743268"/>
                  </a:lnTo>
                  <a:lnTo>
                    <a:pt x="644821" y="746295"/>
                  </a:lnTo>
                  <a:lnTo>
                    <a:pt x="645965" y="748482"/>
                  </a:lnTo>
                  <a:lnTo>
                    <a:pt x="646537" y="750500"/>
                  </a:lnTo>
                  <a:lnTo>
                    <a:pt x="646672" y="751947"/>
                  </a:lnTo>
                  <a:lnTo>
                    <a:pt x="649128" y="753090"/>
                  </a:lnTo>
                  <a:lnTo>
                    <a:pt x="654076" y="752519"/>
                  </a:lnTo>
                  <a:lnTo>
                    <a:pt x="655523" y="751341"/>
                  </a:lnTo>
                  <a:cubicBezTo>
                    <a:pt x="655523" y="751341"/>
                    <a:pt x="659730" y="751039"/>
                    <a:pt x="660302" y="751039"/>
                  </a:cubicBezTo>
                  <a:cubicBezTo>
                    <a:pt x="660874" y="751039"/>
                    <a:pt x="662927" y="752216"/>
                    <a:pt x="663364" y="752216"/>
                  </a:cubicBezTo>
                  <a:cubicBezTo>
                    <a:pt x="663802" y="752216"/>
                    <a:pt x="665821" y="752922"/>
                    <a:pt x="666999" y="752922"/>
                  </a:cubicBezTo>
                  <a:cubicBezTo>
                    <a:pt x="668143" y="752922"/>
                    <a:pt x="672081" y="750298"/>
                    <a:pt x="672081" y="750298"/>
                  </a:cubicBezTo>
                  <a:lnTo>
                    <a:pt x="673663" y="747271"/>
                  </a:lnTo>
                  <a:lnTo>
                    <a:pt x="674100" y="744815"/>
                  </a:lnTo>
                  <a:lnTo>
                    <a:pt x="676288" y="744512"/>
                  </a:lnTo>
                  <a:cubicBezTo>
                    <a:pt x="676288" y="744512"/>
                    <a:pt x="677600" y="744075"/>
                    <a:pt x="678307" y="744512"/>
                  </a:cubicBezTo>
                  <a:cubicBezTo>
                    <a:pt x="679047" y="744950"/>
                    <a:pt x="680629" y="745387"/>
                    <a:pt x="680629" y="745387"/>
                  </a:cubicBezTo>
                  <a:lnTo>
                    <a:pt x="682379" y="745690"/>
                  </a:lnTo>
                  <a:cubicBezTo>
                    <a:pt x="682379" y="745690"/>
                    <a:pt x="684264" y="745387"/>
                    <a:pt x="684701" y="745118"/>
                  </a:cubicBezTo>
                  <a:cubicBezTo>
                    <a:pt x="685139" y="744815"/>
                    <a:pt x="686148" y="743369"/>
                    <a:pt x="686283" y="742797"/>
                  </a:cubicBezTo>
                  <a:cubicBezTo>
                    <a:pt x="686418" y="742225"/>
                    <a:pt x="687158" y="740476"/>
                    <a:pt x="687158" y="740476"/>
                  </a:cubicBezTo>
                  <a:lnTo>
                    <a:pt x="688168" y="738895"/>
                  </a:lnTo>
                  <a:cubicBezTo>
                    <a:pt x="688168" y="738895"/>
                    <a:pt x="690053" y="737313"/>
                    <a:pt x="690053" y="736876"/>
                  </a:cubicBezTo>
                  <a:cubicBezTo>
                    <a:pt x="690053" y="736439"/>
                    <a:pt x="690928" y="734992"/>
                    <a:pt x="690928" y="734992"/>
                  </a:cubicBezTo>
                  <a:cubicBezTo>
                    <a:pt x="690928" y="734992"/>
                    <a:pt x="692375" y="732974"/>
                    <a:pt x="692677" y="732369"/>
                  </a:cubicBezTo>
                  <a:cubicBezTo>
                    <a:pt x="692980" y="731797"/>
                    <a:pt x="694259" y="729778"/>
                    <a:pt x="694259" y="729778"/>
                  </a:cubicBezTo>
                  <a:lnTo>
                    <a:pt x="695000" y="727894"/>
                  </a:lnTo>
                  <a:cubicBezTo>
                    <a:pt x="695000" y="727894"/>
                    <a:pt x="696582" y="725876"/>
                    <a:pt x="696884" y="725439"/>
                  </a:cubicBezTo>
                  <a:cubicBezTo>
                    <a:pt x="697187" y="725001"/>
                    <a:pt x="699072" y="722546"/>
                    <a:pt x="699072" y="722546"/>
                  </a:cubicBezTo>
                  <a:cubicBezTo>
                    <a:pt x="699072" y="722546"/>
                    <a:pt x="701529" y="719350"/>
                    <a:pt x="701529" y="720225"/>
                  </a:cubicBezTo>
                  <a:cubicBezTo>
                    <a:pt x="701529" y="721099"/>
                    <a:pt x="704423" y="721974"/>
                    <a:pt x="704423" y="721974"/>
                  </a:cubicBezTo>
                  <a:lnTo>
                    <a:pt x="707048" y="725001"/>
                  </a:lnTo>
                  <a:cubicBezTo>
                    <a:pt x="707048" y="725001"/>
                    <a:pt x="707486" y="726885"/>
                    <a:pt x="707923" y="727760"/>
                  </a:cubicBezTo>
                  <a:cubicBezTo>
                    <a:pt x="708361" y="728634"/>
                    <a:pt x="708630" y="731225"/>
                    <a:pt x="708630" y="731225"/>
                  </a:cubicBezTo>
                  <a:cubicBezTo>
                    <a:pt x="708630" y="731225"/>
                    <a:pt x="709202" y="732099"/>
                    <a:pt x="710077" y="732671"/>
                  </a:cubicBezTo>
                  <a:cubicBezTo>
                    <a:pt x="710952" y="733243"/>
                    <a:pt x="712702" y="734421"/>
                    <a:pt x="713409" y="734690"/>
                  </a:cubicBezTo>
                  <a:cubicBezTo>
                    <a:pt x="714149" y="734992"/>
                    <a:pt x="715024" y="735564"/>
                    <a:pt x="715866" y="736271"/>
                  </a:cubicBezTo>
                  <a:cubicBezTo>
                    <a:pt x="716741" y="736977"/>
                    <a:pt x="718760" y="736977"/>
                    <a:pt x="718760" y="736977"/>
                  </a:cubicBezTo>
                  <a:lnTo>
                    <a:pt x="720947" y="737852"/>
                  </a:lnTo>
                  <a:cubicBezTo>
                    <a:pt x="720947" y="737852"/>
                    <a:pt x="721082" y="737415"/>
                    <a:pt x="724145" y="738726"/>
                  </a:cubicBezTo>
                  <a:cubicBezTo>
                    <a:pt x="727207" y="740038"/>
                    <a:pt x="726837" y="741485"/>
                    <a:pt x="726837" y="741485"/>
                  </a:cubicBezTo>
                  <a:lnTo>
                    <a:pt x="726904" y="745387"/>
                  </a:lnTo>
                  <a:lnTo>
                    <a:pt x="726904" y="748314"/>
                  </a:lnTo>
                  <a:lnTo>
                    <a:pt x="725322" y="750332"/>
                  </a:lnTo>
                  <a:lnTo>
                    <a:pt x="723572" y="751779"/>
                  </a:lnTo>
                  <a:lnTo>
                    <a:pt x="723135" y="754537"/>
                  </a:lnTo>
                  <a:cubicBezTo>
                    <a:pt x="723135" y="754537"/>
                    <a:pt x="722260" y="757598"/>
                    <a:pt x="722832" y="757733"/>
                  </a:cubicBezTo>
                  <a:cubicBezTo>
                    <a:pt x="723404" y="757867"/>
                    <a:pt x="725289" y="757867"/>
                    <a:pt x="725895" y="757867"/>
                  </a:cubicBezTo>
                  <a:cubicBezTo>
                    <a:pt x="726467" y="757867"/>
                    <a:pt x="731246" y="757867"/>
                    <a:pt x="731246" y="757867"/>
                  </a:cubicBezTo>
                  <a:lnTo>
                    <a:pt x="732121" y="759886"/>
                  </a:lnTo>
                  <a:lnTo>
                    <a:pt x="732121" y="760458"/>
                  </a:lnTo>
                  <a:lnTo>
                    <a:pt x="732121" y="763923"/>
                  </a:lnTo>
                  <a:lnTo>
                    <a:pt x="729967" y="765234"/>
                  </a:lnTo>
                  <a:lnTo>
                    <a:pt x="725188" y="766681"/>
                  </a:lnTo>
                  <a:lnTo>
                    <a:pt x="723875" y="770146"/>
                  </a:lnTo>
                  <a:cubicBezTo>
                    <a:pt x="723875" y="770146"/>
                    <a:pt x="723438" y="771290"/>
                    <a:pt x="724010" y="771592"/>
                  </a:cubicBezTo>
                  <a:cubicBezTo>
                    <a:pt x="724582" y="771895"/>
                    <a:pt x="726803" y="773173"/>
                    <a:pt x="726803" y="773173"/>
                  </a:cubicBezTo>
                  <a:cubicBezTo>
                    <a:pt x="726803" y="773173"/>
                    <a:pt x="726904" y="773308"/>
                    <a:pt x="726904" y="773476"/>
                  </a:cubicBezTo>
                  <a:lnTo>
                    <a:pt x="726904" y="773476"/>
                  </a:lnTo>
                  <a:lnTo>
                    <a:pt x="731246" y="773476"/>
                  </a:lnTo>
                  <a:lnTo>
                    <a:pt x="736765" y="768262"/>
                  </a:lnTo>
                  <a:lnTo>
                    <a:pt x="741679" y="768262"/>
                  </a:lnTo>
                  <a:lnTo>
                    <a:pt x="744876" y="766244"/>
                  </a:lnTo>
                  <a:lnTo>
                    <a:pt x="747198" y="767993"/>
                  </a:lnTo>
                  <a:lnTo>
                    <a:pt x="748948" y="772063"/>
                  </a:lnTo>
                  <a:lnTo>
                    <a:pt x="751842" y="773510"/>
                  </a:lnTo>
                  <a:lnTo>
                    <a:pt x="758439" y="776975"/>
                  </a:lnTo>
                  <a:lnTo>
                    <a:pt x="762578" y="776975"/>
                  </a:lnTo>
                  <a:cubicBezTo>
                    <a:pt x="762578" y="776975"/>
                    <a:pt x="770622" y="777412"/>
                    <a:pt x="771261" y="776975"/>
                  </a:cubicBezTo>
                  <a:cubicBezTo>
                    <a:pt x="771900" y="776537"/>
                    <a:pt x="773852" y="772938"/>
                    <a:pt x="773852" y="772938"/>
                  </a:cubicBezTo>
                  <a:lnTo>
                    <a:pt x="775804" y="770011"/>
                  </a:lnTo>
                  <a:lnTo>
                    <a:pt x="785160" y="770011"/>
                  </a:lnTo>
                  <a:lnTo>
                    <a:pt x="790141" y="770449"/>
                  </a:lnTo>
                  <a:cubicBezTo>
                    <a:pt x="790141" y="770449"/>
                    <a:pt x="800574" y="772534"/>
                    <a:pt x="801449" y="771693"/>
                  </a:cubicBezTo>
                  <a:cubicBezTo>
                    <a:pt x="802324" y="770886"/>
                    <a:pt x="802661" y="772164"/>
                    <a:pt x="804377" y="769574"/>
                  </a:cubicBezTo>
                  <a:cubicBezTo>
                    <a:pt x="806127" y="766950"/>
                    <a:pt x="806867" y="766244"/>
                    <a:pt x="806867" y="766244"/>
                  </a:cubicBezTo>
                  <a:lnTo>
                    <a:pt x="806867" y="765672"/>
                  </a:lnTo>
                  <a:lnTo>
                    <a:pt x="812286" y="766984"/>
                  </a:lnTo>
                  <a:lnTo>
                    <a:pt x="814473" y="771424"/>
                  </a:lnTo>
                  <a:cubicBezTo>
                    <a:pt x="814473" y="771424"/>
                    <a:pt x="817065" y="773274"/>
                    <a:pt x="817940" y="773274"/>
                  </a:cubicBezTo>
                  <a:cubicBezTo>
                    <a:pt x="818815" y="773274"/>
                    <a:pt x="821204" y="772164"/>
                    <a:pt x="821844" y="771424"/>
                  </a:cubicBezTo>
                  <a:cubicBezTo>
                    <a:pt x="822483" y="770684"/>
                    <a:pt x="822483" y="770247"/>
                    <a:pt x="823796" y="768935"/>
                  </a:cubicBezTo>
                  <a:cubicBezTo>
                    <a:pt x="825108" y="767623"/>
                    <a:pt x="825108" y="765907"/>
                    <a:pt x="825546" y="765672"/>
                  </a:cubicBezTo>
                  <a:cubicBezTo>
                    <a:pt x="825983" y="765436"/>
                    <a:pt x="826858" y="764158"/>
                    <a:pt x="826858" y="764158"/>
                  </a:cubicBezTo>
                  <a:cubicBezTo>
                    <a:pt x="826858" y="764158"/>
                    <a:pt x="827498" y="762409"/>
                    <a:pt x="826858" y="761770"/>
                  </a:cubicBezTo>
                  <a:cubicBezTo>
                    <a:pt x="826219" y="761130"/>
                    <a:pt x="826993" y="761130"/>
                    <a:pt x="827161" y="759818"/>
                  </a:cubicBezTo>
                  <a:cubicBezTo>
                    <a:pt x="827296" y="758506"/>
                    <a:pt x="826858" y="760054"/>
                    <a:pt x="827296" y="758506"/>
                  </a:cubicBezTo>
                  <a:cubicBezTo>
                    <a:pt x="827733" y="756993"/>
                    <a:pt x="827431" y="755243"/>
                    <a:pt x="827431" y="755243"/>
                  </a:cubicBezTo>
                  <a:lnTo>
                    <a:pt x="827733" y="752418"/>
                  </a:lnTo>
                  <a:lnTo>
                    <a:pt x="827733" y="750029"/>
                  </a:lnTo>
                  <a:cubicBezTo>
                    <a:pt x="827733" y="750029"/>
                    <a:pt x="825983" y="748953"/>
                    <a:pt x="825781" y="748280"/>
                  </a:cubicBezTo>
                  <a:cubicBezTo>
                    <a:pt x="825546" y="747641"/>
                    <a:pt x="825142" y="745892"/>
                    <a:pt x="825142" y="745892"/>
                  </a:cubicBezTo>
                  <a:lnTo>
                    <a:pt x="823628" y="744849"/>
                  </a:lnTo>
                  <a:lnTo>
                    <a:pt x="820800" y="742797"/>
                  </a:lnTo>
                  <a:cubicBezTo>
                    <a:pt x="820800" y="742797"/>
                    <a:pt x="820733" y="741014"/>
                    <a:pt x="820800" y="740778"/>
                  </a:cubicBezTo>
                  <a:cubicBezTo>
                    <a:pt x="820868" y="740577"/>
                    <a:pt x="821406" y="739635"/>
                    <a:pt x="821608" y="739365"/>
                  </a:cubicBezTo>
                  <a:cubicBezTo>
                    <a:pt x="821810" y="739096"/>
                    <a:pt x="822147" y="738995"/>
                    <a:pt x="822416" y="738491"/>
                  </a:cubicBezTo>
                  <a:cubicBezTo>
                    <a:pt x="822685" y="737986"/>
                    <a:pt x="822921" y="737583"/>
                    <a:pt x="822921" y="736540"/>
                  </a:cubicBezTo>
                  <a:cubicBezTo>
                    <a:pt x="822921" y="735497"/>
                    <a:pt x="823022" y="735060"/>
                    <a:pt x="822921" y="734421"/>
                  </a:cubicBezTo>
                  <a:cubicBezTo>
                    <a:pt x="822820" y="733781"/>
                    <a:pt x="822719" y="732940"/>
                    <a:pt x="821945" y="732503"/>
                  </a:cubicBezTo>
                  <a:cubicBezTo>
                    <a:pt x="821171" y="732066"/>
                    <a:pt x="820329" y="732268"/>
                    <a:pt x="819656" y="731460"/>
                  </a:cubicBezTo>
                  <a:cubicBezTo>
                    <a:pt x="819017" y="730653"/>
                    <a:pt x="816897" y="730014"/>
                    <a:pt x="816897" y="730014"/>
                  </a:cubicBezTo>
                  <a:lnTo>
                    <a:pt x="814709" y="730014"/>
                  </a:lnTo>
                  <a:lnTo>
                    <a:pt x="813094" y="728601"/>
                  </a:lnTo>
                  <a:lnTo>
                    <a:pt x="811882" y="728264"/>
                  </a:lnTo>
                  <a:lnTo>
                    <a:pt x="807742" y="728264"/>
                  </a:lnTo>
                  <a:lnTo>
                    <a:pt x="806228" y="728567"/>
                  </a:lnTo>
                  <a:lnTo>
                    <a:pt x="804916" y="730081"/>
                  </a:lnTo>
                  <a:lnTo>
                    <a:pt x="802089" y="731090"/>
                  </a:lnTo>
                  <a:lnTo>
                    <a:pt x="800069" y="732335"/>
                  </a:lnTo>
                  <a:lnTo>
                    <a:pt x="797747" y="733781"/>
                  </a:lnTo>
                  <a:lnTo>
                    <a:pt x="794281" y="734656"/>
                  </a:lnTo>
                  <a:lnTo>
                    <a:pt x="788324" y="735228"/>
                  </a:lnTo>
                  <a:lnTo>
                    <a:pt x="785127" y="735228"/>
                  </a:lnTo>
                  <a:cubicBezTo>
                    <a:pt x="785127" y="735228"/>
                    <a:pt x="784117" y="734353"/>
                    <a:pt x="783982" y="733916"/>
                  </a:cubicBezTo>
                  <a:cubicBezTo>
                    <a:pt x="783848" y="733479"/>
                    <a:pt x="783848" y="731292"/>
                    <a:pt x="783848" y="730888"/>
                  </a:cubicBezTo>
                  <a:cubicBezTo>
                    <a:pt x="783848" y="730451"/>
                    <a:pt x="784588" y="729307"/>
                    <a:pt x="784588" y="729307"/>
                  </a:cubicBezTo>
                  <a:cubicBezTo>
                    <a:pt x="784588" y="729307"/>
                    <a:pt x="785463" y="727592"/>
                    <a:pt x="785598" y="727121"/>
                  </a:cubicBezTo>
                  <a:cubicBezTo>
                    <a:pt x="785732" y="726683"/>
                    <a:pt x="784723" y="726818"/>
                    <a:pt x="784454" y="724093"/>
                  </a:cubicBezTo>
                  <a:cubicBezTo>
                    <a:pt x="784151" y="721335"/>
                    <a:pt x="784319" y="720763"/>
                    <a:pt x="784151" y="719316"/>
                  </a:cubicBezTo>
                  <a:cubicBezTo>
                    <a:pt x="784016" y="717870"/>
                    <a:pt x="783713" y="715414"/>
                    <a:pt x="783141" y="715246"/>
                  </a:cubicBezTo>
                  <a:cubicBezTo>
                    <a:pt x="782569" y="715111"/>
                    <a:pt x="780381" y="712353"/>
                    <a:pt x="780381" y="712353"/>
                  </a:cubicBezTo>
                  <a:lnTo>
                    <a:pt x="779069" y="710536"/>
                  </a:lnTo>
                  <a:cubicBezTo>
                    <a:pt x="779069" y="710536"/>
                    <a:pt x="778766" y="709157"/>
                    <a:pt x="778194" y="709157"/>
                  </a:cubicBezTo>
                  <a:cubicBezTo>
                    <a:pt x="778194" y="709157"/>
                    <a:pt x="778328" y="709023"/>
                    <a:pt x="777453" y="709157"/>
                  </a:cubicBezTo>
                  <a:cubicBezTo>
                    <a:pt x="776578" y="709292"/>
                    <a:pt x="775569" y="708451"/>
                    <a:pt x="773684" y="709090"/>
                  </a:cubicBezTo>
                  <a:cubicBezTo>
                    <a:pt x="771799" y="709729"/>
                    <a:pt x="768771" y="710604"/>
                    <a:pt x="768771" y="711175"/>
                  </a:cubicBezTo>
                  <a:cubicBezTo>
                    <a:pt x="768771" y="711747"/>
                    <a:pt x="767021" y="712925"/>
                    <a:pt x="766751" y="712487"/>
                  </a:cubicBezTo>
                  <a:cubicBezTo>
                    <a:pt x="766448" y="712050"/>
                    <a:pt x="764564" y="710301"/>
                    <a:pt x="764564" y="710301"/>
                  </a:cubicBezTo>
                  <a:lnTo>
                    <a:pt x="763823" y="708821"/>
                  </a:lnTo>
                  <a:lnTo>
                    <a:pt x="762006" y="707172"/>
                  </a:lnTo>
                  <a:cubicBezTo>
                    <a:pt x="762006" y="707172"/>
                    <a:pt x="762444" y="704717"/>
                    <a:pt x="762444" y="704414"/>
                  </a:cubicBezTo>
                  <a:cubicBezTo>
                    <a:pt x="762444" y="704111"/>
                    <a:pt x="762376" y="701084"/>
                    <a:pt x="762376" y="701084"/>
                  </a:cubicBezTo>
                  <a:lnTo>
                    <a:pt x="763386" y="695096"/>
                  </a:lnTo>
                  <a:lnTo>
                    <a:pt x="763386" y="692606"/>
                  </a:lnTo>
                  <a:cubicBezTo>
                    <a:pt x="763386" y="692606"/>
                    <a:pt x="760559" y="690016"/>
                    <a:pt x="760121" y="689680"/>
                  </a:cubicBezTo>
                  <a:cubicBezTo>
                    <a:pt x="759684" y="689343"/>
                    <a:pt x="758607" y="687931"/>
                    <a:pt x="758607" y="687931"/>
                  </a:cubicBezTo>
                  <a:cubicBezTo>
                    <a:pt x="758607" y="687931"/>
                    <a:pt x="758405" y="686080"/>
                    <a:pt x="758943" y="685643"/>
                  </a:cubicBezTo>
                  <a:cubicBezTo>
                    <a:pt x="759482" y="685206"/>
                    <a:pt x="760357" y="683793"/>
                    <a:pt x="760693" y="683692"/>
                  </a:cubicBezTo>
                  <a:cubicBezTo>
                    <a:pt x="761030" y="683591"/>
                    <a:pt x="762006" y="681842"/>
                    <a:pt x="762006" y="681842"/>
                  </a:cubicBezTo>
                  <a:cubicBezTo>
                    <a:pt x="762006" y="681842"/>
                    <a:pt x="762780" y="679790"/>
                    <a:pt x="763083" y="679655"/>
                  </a:cubicBezTo>
                  <a:cubicBezTo>
                    <a:pt x="763419" y="679554"/>
                    <a:pt x="763419" y="679218"/>
                    <a:pt x="764295" y="678680"/>
                  </a:cubicBezTo>
                  <a:cubicBezTo>
                    <a:pt x="765170" y="678141"/>
                    <a:pt x="767021" y="675753"/>
                    <a:pt x="767021" y="675753"/>
                  </a:cubicBezTo>
                  <a:lnTo>
                    <a:pt x="768097" y="674677"/>
                  </a:lnTo>
                  <a:lnTo>
                    <a:pt x="768973" y="674037"/>
                  </a:lnTo>
                  <a:lnTo>
                    <a:pt x="770487" y="672725"/>
                  </a:lnTo>
                  <a:cubicBezTo>
                    <a:pt x="770487" y="672725"/>
                    <a:pt x="771126" y="671851"/>
                    <a:pt x="772001" y="671851"/>
                  </a:cubicBezTo>
                  <a:cubicBezTo>
                    <a:pt x="772876" y="671851"/>
                    <a:pt x="774593" y="670875"/>
                    <a:pt x="775030" y="670875"/>
                  </a:cubicBezTo>
                  <a:cubicBezTo>
                    <a:pt x="775468" y="670875"/>
                    <a:pt x="778194" y="670875"/>
                    <a:pt x="778194" y="670875"/>
                  </a:cubicBezTo>
                  <a:cubicBezTo>
                    <a:pt x="778194" y="670875"/>
                    <a:pt x="780348" y="672187"/>
                    <a:pt x="780785" y="672490"/>
                  </a:cubicBezTo>
                  <a:cubicBezTo>
                    <a:pt x="781223" y="672826"/>
                    <a:pt x="782401" y="673264"/>
                    <a:pt x="782973" y="673365"/>
                  </a:cubicBezTo>
                  <a:cubicBezTo>
                    <a:pt x="783511" y="673466"/>
                    <a:pt x="786103" y="673466"/>
                    <a:pt x="786574" y="673466"/>
                  </a:cubicBezTo>
                  <a:cubicBezTo>
                    <a:pt x="787011" y="673466"/>
                    <a:pt x="787213" y="674979"/>
                    <a:pt x="788324" y="673129"/>
                  </a:cubicBezTo>
                  <a:cubicBezTo>
                    <a:pt x="789401" y="671279"/>
                    <a:pt x="789939" y="670741"/>
                    <a:pt x="789939" y="670303"/>
                  </a:cubicBezTo>
                  <a:cubicBezTo>
                    <a:pt x="789939" y="669866"/>
                    <a:pt x="789502" y="664215"/>
                    <a:pt x="789502" y="664215"/>
                  </a:cubicBezTo>
                  <a:lnTo>
                    <a:pt x="789502" y="663037"/>
                  </a:lnTo>
                  <a:lnTo>
                    <a:pt x="790915" y="660750"/>
                  </a:lnTo>
                  <a:lnTo>
                    <a:pt x="793002" y="658630"/>
                  </a:lnTo>
                  <a:lnTo>
                    <a:pt x="795290" y="655199"/>
                  </a:lnTo>
                  <a:lnTo>
                    <a:pt x="797343" y="655199"/>
                  </a:lnTo>
                  <a:lnTo>
                    <a:pt x="799834" y="656074"/>
                  </a:lnTo>
                  <a:lnTo>
                    <a:pt x="800608" y="658799"/>
                  </a:lnTo>
                  <a:lnTo>
                    <a:pt x="801920" y="661624"/>
                  </a:lnTo>
                  <a:lnTo>
                    <a:pt x="805387" y="664988"/>
                  </a:lnTo>
                  <a:lnTo>
                    <a:pt x="807440" y="667713"/>
                  </a:lnTo>
                  <a:lnTo>
                    <a:pt x="809930" y="670202"/>
                  </a:lnTo>
                  <a:lnTo>
                    <a:pt x="812656" y="670404"/>
                  </a:lnTo>
                  <a:lnTo>
                    <a:pt x="814171" y="670068"/>
                  </a:lnTo>
                  <a:lnTo>
                    <a:pt x="815584" y="669866"/>
                  </a:lnTo>
                  <a:lnTo>
                    <a:pt x="818209" y="671178"/>
                  </a:lnTo>
                  <a:lnTo>
                    <a:pt x="820262" y="675316"/>
                  </a:lnTo>
                  <a:lnTo>
                    <a:pt x="821036" y="677166"/>
                  </a:lnTo>
                  <a:lnTo>
                    <a:pt x="822113" y="679453"/>
                  </a:lnTo>
                  <a:lnTo>
                    <a:pt x="824166" y="679117"/>
                  </a:lnTo>
                  <a:lnTo>
                    <a:pt x="825377" y="680328"/>
                  </a:lnTo>
                  <a:lnTo>
                    <a:pt x="826152" y="681943"/>
                  </a:lnTo>
                  <a:lnTo>
                    <a:pt x="827128" y="683591"/>
                  </a:lnTo>
                  <a:lnTo>
                    <a:pt x="828979" y="685206"/>
                  </a:lnTo>
                  <a:lnTo>
                    <a:pt x="830628" y="685979"/>
                  </a:lnTo>
                  <a:lnTo>
                    <a:pt x="832479" y="686619"/>
                  </a:lnTo>
                  <a:cubicBezTo>
                    <a:pt x="832479" y="686619"/>
                    <a:pt x="833253" y="687258"/>
                    <a:pt x="834229" y="686854"/>
                  </a:cubicBezTo>
                  <a:cubicBezTo>
                    <a:pt x="835205" y="686417"/>
                    <a:pt x="835642" y="685374"/>
                    <a:pt x="835642" y="685374"/>
                  </a:cubicBezTo>
                  <a:cubicBezTo>
                    <a:pt x="835642" y="685374"/>
                    <a:pt x="835474" y="685710"/>
                    <a:pt x="835205" y="686047"/>
                  </a:cubicBezTo>
                  <a:lnTo>
                    <a:pt x="833017" y="680429"/>
                  </a:lnTo>
                  <a:lnTo>
                    <a:pt x="833017" y="675215"/>
                  </a:lnTo>
                  <a:lnTo>
                    <a:pt x="831906" y="672826"/>
                  </a:lnTo>
                  <a:lnTo>
                    <a:pt x="831301" y="669496"/>
                  </a:lnTo>
                  <a:lnTo>
                    <a:pt x="831301" y="668251"/>
                  </a:lnTo>
                  <a:cubicBezTo>
                    <a:pt x="831301" y="668251"/>
                    <a:pt x="829113" y="663609"/>
                    <a:pt x="829113" y="663172"/>
                  </a:cubicBezTo>
                  <a:cubicBezTo>
                    <a:pt x="829113" y="662734"/>
                    <a:pt x="828238" y="658967"/>
                    <a:pt x="828238" y="658967"/>
                  </a:cubicBezTo>
                  <a:lnTo>
                    <a:pt x="825411" y="656646"/>
                  </a:lnTo>
                  <a:lnTo>
                    <a:pt x="824334" y="651297"/>
                  </a:lnTo>
                  <a:lnTo>
                    <a:pt x="824334" y="647395"/>
                  </a:lnTo>
                  <a:cubicBezTo>
                    <a:pt x="824334" y="647395"/>
                    <a:pt x="822450" y="644939"/>
                    <a:pt x="821877" y="644939"/>
                  </a:cubicBezTo>
                  <a:cubicBezTo>
                    <a:pt x="821305" y="644939"/>
                    <a:pt x="817805" y="640734"/>
                    <a:pt x="817805" y="640734"/>
                  </a:cubicBezTo>
                  <a:cubicBezTo>
                    <a:pt x="817805" y="640734"/>
                    <a:pt x="813026" y="641743"/>
                    <a:pt x="811848" y="641743"/>
                  </a:cubicBezTo>
                  <a:cubicBezTo>
                    <a:pt x="810704" y="641743"/>
                    <a:pt x="806935" y="641003"/>
                    <a:pt x="806060" y="639725"/>
                  </a:cubicBezTo>
                  <a:cubicBezTo>
                    <a:pt x="805185" y="638413"/>
                    <a:pt x="801584" y="634511"/>
                    <a:pt x="801584" y="634511"/>
                  </a:cubicBezTo>
                  <a:lnTo>
                    <a:pt x="798252" y="632761"/>
                  </a:lnTo>
                  <a:lnTo>
                    <a:pt x="790276" y="634073"/>
                  </a:lnTo>
                  <a:cubicBezTo>
                    <a:pt x="790276" y="634073"/>
                    <a:pt x="783915" y="636529"/>
                    <a:pt x="783478" y="636664"/>
                  </a:cubicBezTo>
                  <a:cubicBezTo>
                    <a:pt x="783040" y="636798"/>
                    <a:pt x="778833" y="636361"/>
                    <a:pt x="778396" y="636226"/>
                  </a:cubicBezTo>
                  <a:cubicBezTo>
                    <a:pt x="777958" y="636092"/>
                    <a:pt x="773920" y="630272"/>
                    <a:pt x="773920" y="630272"/>
                  </a:cubicBezTo>
                  <a:lnTo>
                    <a:pt x="773920" y="624755"/>
                  </a:lnTo>
                  <a:lnTo>
                    <a:pt x="773920" y="619541"/>
                  </a:lnTo>
                  <a:cubicBezTo>
                    <a:pt x="773920" y="619541"/>
                    <a:pt x="771968" y="615202"/>
                    <a:pt x="771093" y="614529"/>
                  </a:cubicBezTo>
                  <a:cubicBezTo>
                    <a:pt x="770218" y="613890"/>
                    <a:pt x="769141" y="611703"/>
                    <a:pt x="769141" y="610829"/>
                  </a:cubicBezTo>
                  <a:cubicBezTo>
                    <a:pt x="769141" y="609954"/>
                    <a:pt x="770016" y="609315"/>
                    <a:pt x="770218" y="608205"/>
                  </a:cubicBezTo>
                  <a:cubicBezTo>
                    <a:pt x="770420" y="607128"/>
                    <a:pt x="771295" y="606018"/>
                    <a:pt x="771295" y="605177"/>
                  </a:cubicBezTo>
                  <a:cubicBezTo>
                    <a:pt x="771295" y="604302"/>
                    <a:pt x="773247" y="602553"/>
                    <a:pt x="773247" y="602553"/>
                  </a:cubicBezTo>
                  <a:lnTo>
                    <a:pt x="773684" y="599290"/>
                  </a:lnTo>
                  <a:lnTo>
                    <a:pt x="774122" y="596666"/>
                  </a:lnTo>
                  <a:lnTo>
                    <a:pt x="776511" y="593841"/>
                  </a:lnTo>
                  <a:lnTo>
                    <a:pt x="774357" y="588862"/>
                  </a:lnTo>
                  <a:lnTo>
                    <a:pt x="769141" y="589938"/>
                  </a:lnTo>
                  <a:cubicBezTo>
                    <a:pt x="769141" y="589938"/>
                    <a:pt x="766516" y="591015"/>
                    <a:pt x="765876" y="591688"/>
                  </a:cubicBezTo>
                  <a:cubicBezTo>
                    <a:pt x="765237" y="592327"/>
                    <a:pt x="760660" y="594278"/>
                    <a:pt x="760660" y="594278"/>
                  </a:cubicBezTo>
                  <a:lnTo>
                    <a:pt x="757395" y="594278"/>
                  </a:lnTo>
                  <a:lnTo>
                    <a:pt x="750429" y="593201"/>
                  </a:lnTo>
                  <a:lnTo>
                    <a:pt x="746962" y="590376"/>
                  </a:lnTo>
                  <a:lnTo>
                    <a:pt x="744573" y="586911"/>
                  </a:lnTo>
                  <a:lnTo>
                    <a:pt x="745650" y="582773"/>
                  </a:lnTo>
                  <a:lnTo>
                    <a:pt x="746087" y="580385"/>
                  </a:lnTo>
                  <a:lnTo>
                    <a:pt x="744573" y="578871"/>
                  </a:lnTo>
                  <a:lnTo>
                    <a:pt x="740433" y="573657"/>
                  </a:lnTo>
                  <a:cubicBezTo>
                    <a:pt x="740433" y="573657"/>
                    <a:pt x="739356" y="571268"/>
                    <a:pt x="739356" y="570595"/>
                  </a:cubicBezTo>
                  <a:cubicBezTo>
                    <a:pt x="739356" y="569956"/>
                    <a:pt x="739996" y="564069"/>
                    <a:pt x="740669" y="563868"/>
                  </a:cubicBezTo>
                  <a:cubicBezTo>
                    <a:pt x="741342" y="563666"/>
                    <a:pt x="739356" y="558653"/>
                    <a:pt x="739356" y="558653"/>
                  </a:cubicBezTo>
                  <a:cubicBezTo>
                    <a:pt x="739356" y="558653"/>
                    <a:pt x="742823" y="556265"/>
                    <a:pt x="743496" y="556366"/>
                  </a:cubicBezTo>
                  <a:cubicBezTo>
                    <a:pt x="744135" y="556467"/>
                    <a:pt x="748477" y="550815"/>
                    <a:pt x="748477" y="550815"/>
                  </a:cubicBezTo>
                  <a:cubicBezTo>
                    <a:pt x="748477" y="550815"/>
                    <a:pt x="753895" y="547990"/>
                    <a:pt x="754333" y="547351"/>
                  </a:cubicBezTo>
                  <a:cubicBezTo>
                    <a:pt x="754770" y="546711"/>
                    <a:pt x="759112" y="545837"/>
                    <a:pt x="759785" y="545601"/>
                  </a:cubicBezTo>
                  <a:cubicBezTo>
                    <a:pt x="760424" y="545399"/>
                    <a:pt x="762612" y="543650"/>
                    <a:pt x="762612" y="542775"/>
                  </a:cubicBezTo>
                  <a:cubicBezTo>
                    <a:pt x="762612" y="541901"/>
                    <a:pt x="764564" y="537023"/>
                    <a:pt x="764564" y="536149"/>
                  </a:cubicBezTo>
                  <a:cubicBezTo>
                    <a:pt x="764564" y="535274"/>
                    <a:pt x="765439" y="531708"/>
                    <a:pt x="765439" y="531708"/>
                  </a:cubicBezTo>
                  <a:lnTo>
                    <a:pt x="767828" y="531708"/>
                  </a:lnTo>
                  <a:cubicBezTo>
                    <a:pt x="767828" y="531708"/>
                    <a:pt x="769343" y="531910"/>
                    <a:pt x="770891" y="531708"/>
                  </a:cubicBezTo>
                  <a:cubicBezTo>
                    <a:pt x="772405" y="531473"/>
                    <a:pt x="773280" y="530632"/>
                    <a:pt x="773920" y="529959"/>
                  </a:cubicBezTo>
                  <a:cubicBezTo>
                    <a:pt x="774559" y="529320"/>
                    <a:pt x="774795" y="527570"/>
                    <a:pt x="775232" y="526931"/>
                  </a:cubicBezTo>
                  <a:cubicBezTo>
                    <a:pt x="775670" y="526292"/>
                    <a:pt x="776545" y="523466"/>
                    <a:pt x="776545" y="522592"/>
                  </a:cubicBezTo>
                  <a:cubicBezTo>
                    <a:pt x="776545" y="521717"/>
                    <a:pt x="777420" y="518690"/>
                    <a:pt x="777420" y="518690"/>
                  </a:cubicBezTo>
                  <a:cubicBezTo>
                    <a:pt x="777420" y="518690"/>
                    <a:pt x="777857" y="516503"/>
                    <a:pt x="777857" y="515662"/>
                  </a:cubicBezTo>
                  <a:cubicBezTo>
                    <a:pt x="777857" y="514787"/>
                    <a:pt x="779170" y="513274"/>
                    <a:pt x="778732" y="512399"/>
                  </a:cubicBezTo>
                  <a:cubicBezTo>
                    <a:pt x="778295" y="511524"/>
                    <a:pt x="778295" y="509136"/>
                    <a:pt x="777655" y="508934"/>
                  </a:cubicBezTo>
                  <a:cubicBezTo>
                    <a:pt x="777016" y="508732"/>
                    <a:pt x="776780" y="505032"/>
                    <a:pt x="775030" y="503922"/>
                  </a:cubicBezTo>
                  <a:cubicBezTo>
                    <a:pt x="773280" y="502845"/>
                    <a:pt x="771328" y="501971"/>
                    <a:pt x="768703" y="501533"/>
                  </a:cubicBezTo>
                  <a:cubicBezTo>
                    <a:pt x="766112" y="501096"/>
                    <a:pt x="763924" y="498506"/>
                    <a:pt x="763285" y="498270"/>
                  </a:cubicBezTo>
                  <a:cubicBezTo>
                    <a:pt x="762612" y="498035"/>
                    <a:pt x="760895" y="494133"/>
                    <a:pt x="760895" y="494133"/>
                  </a:cubicBezTo>
                  <a:lnTo>
                    <a:pt x="760660" y="489692"/>
                  </a:lnTo>
                  <a:lnTo>
                    <a:pt x="761299" y="486530"/>
                  </a:lnTo>
                  <a:lnTo>
                    <a:pt x="766078" y="486530"/>
                  </a:lnTo>
                  <a:lnTo>
                    <a:pt x="770420" y="488717"/>
                  </a:lnTo>
                  <a:lnTo>
                    <a:pt x="771295" y="485454"/>
                  </a:lnTo>
                  <a:lnTo>
                    <a:pt x="768670" y="481316"/>
                  </a:lnTo>
                  <a:lnTo>
                    <a:pt x="771497" y="480239"/>
                  </a:lnTo>
                  <a:cubicBezTo>
                    <a:pt x="771497" y="480239"/>
                    <a:pt x="774324" y="480677"/>
                    <a:pt x="775199" y="480239"/>
                  </a:cubicBezTo>
                  <a:cubicBezTo>
                    <a:pt x="776074" y="479802"/>
                    <a:pt x="777386" y="480239"/>
                    <a:pt x="777386" y="480239"/>
                  </a:cubicBezTo>
                  <a:lnTo>
                    <a:pt x="780651" y="474151"/>
                  </a:lnTo>
                  <a:cubicBezTo>
                    <a:pt x="780651" y="474151"/>
                    <a:pt x="783680" y="469811"/>
                    <a:pt x="784353" y="468937"/>
                  </a:cubicBezTo>
                  <a:cubicBezTo>
                    <a:pt x="784992" y="468062"/>
                    <a:pt x="786574" y="464597"/>
                    <a:pt x="787180" y="464597"/>
                  </a:cubicBezTo>
                  <a:cubicBezTo>
                    <a:pt x="787819" y="464597"/>
                    <a:pt x="790209" y="462410"/>
                    <a:pt x="790209" y="462410"/>
                  </a:cubicBezTo>
                  <a:cubicBezTo>
                    <a:pt x="790209" y="462410"/>
                    <a:pt x="792834" y="464597"/>
                    <a:pt x="793473" y="464799"/>
                  </a:cubicBezTo>
                  <a:cubicBezTo>
                    <a:pt x="794112" y="465001"/>
                    <a:pt x="796738" y="467826"/>
                    <a:pt x="796738" y="467826"/>
                  </a:cubicBezTo>
                  <a:cubicBezTo>
                    <a:pt x="796738" y="467826"/>
                    <a:pt x="800002" y="468264"/>
                    <a:pt x="800641" y="468466"/>
                  </a:cubicBezTo>
                  <a:cubicBezTo>
                    <a:pt x="801315" y="468667"/>
                    <a:pt x="804343" y="470652"/>
                    <a:pt x="804343" y="470652"/>
                  </a:cubicBezTo>
                  <a:lnTo>
                    <a:pt x="806733" y="471729"/>
                  </a:lnTo>
                  <a:lnTo>
                    <a:pt x="810199" y="473478"/>
                  </a:lnTo>
                  <a:lnTo>
                    <a:pt x="812387" y="476741"/>
                  </a:lnTo>
                  <a:lnTo>
                    <a:pt x="814574" y="479567"/>
                  </a:lnTo>
                  <a:lnTo>
                    <a:pt x="818276" y="479567"/>
                  </a:lnTo>
                  <a:lnTo>
                    <a:pt x="821103" y="481955"/>
                  </a:lnTo>
                  <a:lnTo>
                    <a:pt x="825007" y="485218"/>
                  </a:lnTo>
                  <a:lnTo>
                    <a:pt x="826959" y="488986"/>
                  </a:lnTo>
                  <a:lnTo>
                    <a:pt x="830426" y="492316"/>
                  </a:lnTo>
                  <a:cubicBezTo>
                    <a:pt x="830426" y="492316"/>
                    <a:pt x="834700" y="492451"/>
                    <a:pt x="834801" y="492451"/>
                  </a:cubicBezTo>
                  <a:cubicBezTo>
                    <a:pt x="834902" y="492451"/>
                    <a:pt x="836921" y="492451"/>
                    <a:pt x="837358" y="492316"/>
                  </a:cubicBezTo>
                  <a:cubicBezTo>
                    <a:pt x="837796" y="492181"/>
                    <a:pt x="840118" y="490735"/>
                    <a:pt x="840118" y="490735"/>
                  </a:cubicBezTo>
                  <a:lnTo>
                    <a:pt x="841565" y="488717"/>
                  </a:lnTo>
                  <a:lnTo>
                    <a:pt x="842878" y="488212"/>
                  </a:lnTo>
                  <a:cubicBezTo>
                    <a:pt x="842878" y="488212"/>
                    <a:pt x="844190" y="488279"/>
                    <a:pt x="844628" y="488279"/>
                  </a:cubicBezTo>
                  <a:cubicBezTo>
                    <a:pt x="845065" y="488279"/>
                    <a:pt x="847825" y="488279"/>
                    <a:pt x="847825" y="488279"/>
                  </a:cubicBezTo>
                  <a:lnTo>
                    <a:pt x="848700" y="487707"/>
                  </a:lnTo>
                  <a:cubicBezTo>
                    <a:pt x="848700" y="487707"/>
                    <a:pt x="850013" y="485521"/>
                    <a:pt x="850450" y="485084"/>
                  </a:cubicBezTo>
                  <a:cubicBezTo>
                    <a:pt x="850888" y="484646"/>
                    <a:pt x="851628" y="483334"/>
                    <a:pt x="851628" y="483334"/>
                  </a:cubicBezTo>
                  <a:lnTo>
                    <a:pt x="852638" y="482090"/>
                  </a:lnTo>
                  <a:lnTo>
                    <a:pt x="855667" y="481282"/>
                  </a:lnTo>
                  <a:lnTo>
                    <a:pt x="860008" y="481282"/>
                  </a:lnTo>
                  <a:lnTo>
                    <a:pt x="861455" y="480576"/>
                  </a:lnTo>
                  <a:cubicBezTo>
                    <a:pt x="861455" y="480576"/>
                    <a:pt x="862465" y="481013"/>
                    <a:pt x="863912" y="481888"/>
                  </a:cubicBezTo>
                  <a:cubicBezTo>
                    <a:pt x="865359" y="482762"/>
                    <a:pt x="870441" y="485958"/>
                    <a:pt x="870441" y="485958"/>
                  </a:cubicBezTo>
                  <a:lnTo>
                    <a:pt x="871148" y="489726"/>
                  </a:lnTo>
                  <a:cubicBezTo>
                    <a:pt x="871148" y="489726"/>
                    <a:pt x="870508" y="494940"/>
                    <a:pt x="870778" y="495512"/>
                  </a:cubicBezTo>
                  <a:cubicBezTo>
                    <a:pt x="871080" y="496084"/>
                    <a:pt x="871282" y="500154"/>
                    <a:pt x="871282" y="500154"/>
                  </a:cubicBezTo>
                  <a:lnTo>
                    <a:pt x="871282" y="503047"/>
                  </a:lnTo>
                  <a:lnTo>
                    <a:pt x="874311" y="505234"/>
                  </a:lnTo>
                  <a:lnTo>
                    <a:pt x="875186" y="508429"/>
                  </a:lnTo>
                  <a:cubicBezTo>
                    <a:pt x="875186" y="508429"/>
                    <a:pt x="879258" y="511322"/>
                    <a:pt x="880100" y="511625"/>
                  </a:cubicBezTo>
                  <a:cubicBezTo>
                    <a:pt x="880975" y="511928"/>
                    <a:pt x="881109" y="511827"/>
                    <a:pt x="882557" y="512130"/>
                  </a:cubicBezTo>
                  <a:cubicBezTo>
                    <a:pt x="884004" y="512433"/>
                    <a:pt x="886898" y="512634"/>
                    <a:pt x="887470" y="512634"/>
                  </a:cubicBezTo>
                  <a:cubicBezTo>
                    <a:pt x="888042" y="512634"/>
                    <a:pt x="891239" y="512634"/>
                    <a:pt x="891239" y="512634"/>
                  </a:cubicBezTo>
                  <a:cubicBezTo>
                    <a:pt x="891239" y="512634"/>
                    <a:pt x="895144" y="512634"/>
                    <a:pt x="896591" y="512634"/>
                  </a:cubicBezTo>
                  <a:cubicBezTo>
                    <a:pt x="898038" y="512634"/>
                    <a:pt x="901673" y="512634"/>
                    <a:pt x="901673" y="512634"/>
                  </a:cubicBezTo>
                  <a:lnTo>
                    <a:pt x="904432" y="510448"/>
                  </a:lnTo>
                  <a:lnTo>
                    <a:pt x="906620" y="509439"/>
                  </a:lnTo>
                  <a:cubicBezTo>
                    <a:pt x="906620" y="509439"/>
                    <a:pt x="909379" y="508295"/>
                    <a:pt x="909951" y="508295"/>
                  </a:cubicBezTo>
                  <a:cubicBezTo>
                    <a:pt x="910524" y="508295"/>
                    <a:pt x="914158" y="505974"/>
                    <a:pt x="914731" y="505839"/>
                  </a:cubicBezTo>
                  <a:cubicBezTo>
                    <a:pt x="915303" y="505705"/>
                    <a:pt x="917557" y="503081"/>
                    <a:pt x="917995" y="503081"/>
                  </a:cubicBezTo>
                  <a:cubicBezTo>
                    <a:pt x="918432" y="503081"/>
                    <a:pt x="919947" y="499616"/>
                    <a:pt x="919947" y="499616"/>
                  </a:cubicBezTo>
                  <a:lnTo>
                    <a:pt x="919947" y="497867"/>
                  </a:lnTo>
                  <a:lnTo>
                    <a:pt x="920822" y="495276"/>
                  </a:lnTo>
                  <a:lnTo>
                    <a:pt x="922707" y="492955"/>
                  </a:lnTo>
                  <a:lnTo>
                    <a:pt x="924591" y="491071"/>
                  </a:lnTo>
                  <a:lnTo>
                    <a:pt x="928058" y="486732"/>
                  </a:lnTo>
                  <a:lnTo>
                    <a:pt x="929808" y="480509"/>
                  </a:lnTo>
                  <a:cubicBezTo>
                    <a:pt x="929808" y="480509"/>
                    <a:pt x="932130" y="474992"/>
                    <a:pt x="932870" y="474992"/>
                  </a:cubicBezTo>
                  <a:cubicBezTo>
                    <a:pt x="933577" y="474992"/>
                    <a:pt x="936337" y="472973"/>
                    <a:pt x="936337" y="472973"/>
                  </a:cubicBezTo>
                  <a:lnTo>
                    <a:pt x="937918" y="469643"/>
                  </a:lnTo>
                  <a:lnTo>
                    <a:pt x="939366" y="465303"/>
                  </a:lnTo>
                  <a:cubicBezTo>
                    <a:pt x="939366" y="465303"/>
                    <a:pt x="939938" y="462982"/>
                    <a:pt x="940375" y="462478"/>
                  </a:cubicBezTo>
                  <a:cubicBezTo>
                    <a:pt x="940813" y="461973"/>
                    <a:pt x="942394" y="458340"/>
                    <a:pt x="942394" y="458340"/>
                  </a:cubicBezTo>
                  <a:cubicBezTo>
                    <a:pt x="942394" y="458340"/>
                    <a:pt x="943842" y="457331"/>
                    <a:pt x="943976" y="456894"/>
                  </a:cubicBezTo>
                  <a:cubicBezTo>
                    <a:pt x="944111" y="456456"/>
                    <a:pt x="945558" y="455010"/>
                    <a:pt x="945558" y="455010"/>
                  </a:cubicBezTo>
                  <a:lnTo>
                    <a:pt x="946871" y="451679"/>
                  </a:lnTo>
                  <a:cubicBezTo>
                    <a:pt x="946871" y="451679"/>
                    <a:pt x="946736" y="450098"/>
                    <a:pt x="948318" y="450098"/>
                  </a:cubicBezTo>
                  <a:cubicBezTo>
                    <a:pt x="949899" y="450098"/>
                    <a:pt x="951212" y="450098"/>
                    <a:pt x="951212" y="450098"/>
                  </a:cubicBezTo>
                  <a:lnTo>
                    <a:pt x="951212" y="449224"/>
                  </a:lnTo>
                  <a:lnTo>
                    <a:pt x="952962" y="446902"/>
                  </a:lnTo>
                  <a:lnTo>
                    <a:pt x="952962" y="445759"/>
                  </a:lnTo>
                  <a:cubicBezTo>
                    <a:pt x="952962" y="445759"/>
                    <a:pt x="952828" y="443303"/>
                    <a:pt x="952962" y="442866"/>
                  </a:cubicBezTo>
                  <a:cubicBezTo>
                    <a:pt x="953097" y="442429"/>
                    <a:pt x="950068" y="439233"/>
                    <a:pt x="950068" y="439233"/>
                  </a:cubicBezTo>
                  <a:lnTo>
                    <a:pt x="947308" y="436912"/>
                  </a:lnTo>
                  <a:lnTo>
                    <a:pt x="948452" y="433884"/>
                  </a:lnTo>
                  <a:lnTo>
                    <a:pt x="950472" y="430688"/>
                  </a:lnTo>
                  <a:lnTo>
                    <a:pt x="952726" y="429107"/>
                  </a:lnTo>
                  <a:lnTo>
                    <a:pt x="954678" y="427661"/>
                  </a:lnTo>
                  <a:lnTo>
                    <a:pt x="954678" y="424902"/>
                  </a:lnTo>
                  <a:cubicBezTo>
                    <a:pt x="954678" y="424902"/>
                    <a:pt x="953097" y="423153"/>
                    <a:pt x="953534" y="423018"/>
                  </a:cubicBezTo>
                  <a:cubicBezTo>
                    <a:pt x="953972" y="422884"/>
                    <a:pt x="954409" y="421202"/>
                    <a:pt x="954678" y="421067"/>
                  </a:cubicBezTo>
                  <a:cubicBezTo>
                    <a:pt x="954981" y="420933"/>
                    <a:pt x="955823" y="418813"/>
                    <a:pt x="955823" y="418813"/>
                  </a:cubicBezTo>
                  <a:lnTo>
                    <a:pt x="959020" y="418813"/>
                  </a:lnTo>
                  <a:lnTo>
                    <a:pt x="960770" y="418813"/>
                  </a:lnTo>
                  <a:cubicBezTo>
                    <a:pt x="960770" y="418813"/>
                    <a:pt x="963227" y="418242"/>
                    <a:pt x="964102" y="418813"/>
                  </a:cubicBezTo>
                  <a:cubicBezTo>
                    <a:pt x="964977" y="419385"/>
                    <a:pt x="965986" y="420697"/>
                    <a:pt x="965986" y="420697"/>
                  </a:cubicBezTo>
                  <a:cubicBezTo>
                    <a:pt x="965986" y="420697"/>
                    <a:pt x="966558" y="421269"/>
                    <a:pt x="967434" y="421841"/>
                  </a:cubicBezTo>
                  <a:cubicBezTo>
                    <a:pt x="968309" y="422413"/>
                    <a:pt x="969890" y="422985"/>
                    <a:pt x="970631" y="422985"/>
                  </a:cubicBezTo>
                  <a:cubicBezTo>
                    <a:pt x="971338" y="422985"/>
                    <a:pt x="972650" y="423557"/>
                    <a:pt x="973390" y="422850"/>
                  </a:cubicBezTo>
                  <a:cubicBezTo>
                    <a:pt x="974097" y="422110"/>
                    <a:pt x="975578" y="420226"/>
                    <a:pt x="976150" y="420226"/>
                  </a:cubicBezTo>
                  <a:cubicBezTo>
                    <a:pt x="976722" y="420226"/>
                    <a:pt x="978035" y="419654"/>
                    <a:pt x="978035" y="419654"/>
                  </a:cubicBezTo>
                  <a:lnTo>
                    <a:pt x="979179" y="420092"/>
                  </a:lnTo>
                  <a:cubicBezTo>
                    <a:pt x="979179" y="420092"/>
                    <a:pt x="979482" y="422682"/>
                    <a:pt x="979886" y="423119"/>
                  </a:cubicBezTo>
                  <a:cubicBezTo>
                    <a:pt x="980323" y="423557"/>
                    <a:pt x="982511" y="426450"/>
                    <a:pt x="982511" y="426450"/>
                  </a:cubicBezTo>
                  <a:lnTo>
                    <a:pt x="984261" y="427459"/>
                  </a:lnTo>
                  <a:lnTo>
                    <a:pt x="986852" y="427459"/>
                  </a:lnTo>
                  <a:lnTo>
                    <a:pt x="989174" y="426450"/>
                  </a:lnTo>
                  <a:lnTo>
                    <a:pt x="991194" y="424700"/>
                  </a:lnTo>
                  <a:cubicBezTo>
                    <a:pt x="991194" y="424700"/>
                    <a:pt x="992338" y="424566"/>
                    <a:pt x="992776" y="424263"/>
                  </a:cubicBezTo>
                  <a:cubicBezTo>
                    <a:pt x="993213" y="423960"/>
                    <a:pt x="994357" y="422951"/>
                    <a:pt x="994795" y="422682"/>
                  </a:cubicBezTo>
                  <a:cubicBezTo>
                    <a:pt x="995232" y="422379"/>
                    <a:pt x="995804" y="421235"/>
                    <a:pt x="995804" y="421235"/>
                  </a:cubicBezTo>
                  <a:lnTo>
                    <a:pt x="999708" y="416728"/>
                  </a:lnTo>
                  <a:lnTo>
                    <a:pt x="996814" y="412960"/>
                  </a:lnTo>
                  <a:cubicBezTo>
                    <a:pt x="996814" y="412960"/>
                    <a:pt x="995804" y="410505"/>
                    <a:pt x="995939" y="409630"/>
                  </a:cubicBezTo>
                  <a:cubicBezTo>
                    <a:pt x="996074" y="408755"/>
                    <a:pt x="996242" y="407174"/>
                    <a:pt x="997083" y="406434"/>
                  </a:cubicBezTo>
                  <a:cubicBezTo>
                    <a:pt x="997958" y="405694"/>
                    <a:pt x="999675" y="403676"/>
                    <a:pt x="999675" y="403676"/>
                  </a:cubicBezTo>
                  <a:lnTo>
                    <a:pt x="1001997" y="402801"/>
                  </a:lnTo>
                  <a:cubicBezTo>
                    <a:pt x="1001997" y="402801"/>
                    <a:pt x="1004454" y="401052"/>
                    <a:pt x="1005026" y="399774"/>
                  </a:cubicBezTo>
                  <a:cubicBezTo>
                    <a:pt x="1005598" y="398462"/>
                    <a:pt x="1007348" y="396006"/>
                    <a:pt x="1007348" y="396006"/>
                  </a:cubicBezTo>
                  <a:lnTo>
                    <a:pt x="1004891" y="394257"/>
                  </a:lnTo>
                  <a:lnTo>
                    <a:pt x="1004319" y="391935"/>
                  </a:lnTo>
                  <a:lnTo>
                    <a:pt x="1005463" y="389917"/>
                  </a:lnTo>
                  <a:lnTo>
                    <a:pt x="1008795" y="388336"/>
                  </a:lnTo>
                  <a:lnTo>
                    <a:pt x="1011824" y="384871"/>
                  </a:lnTo>
                  <a:lnTo>
                    <a:pt x="1008627" y="381238"/>
                  </a:lnTo>
                  <a:lnTo>
                    <a:pt x="1007483" y="379354"/>
                  </a:lnTo>
                  <a:cubicBezTo>
                    <a:pt x="1007483" y="379354"/>
                    <a:pt x="1008055" y="376327"/>
                    <a:pt x="1008492" y="376158"/>
                  </a:cubicBezTo>
                  <a:cubicBezTo>
                    <a:pt x="1008930" y="376024"/>
                    <a:pt x="1013709" y="374140"/>
                    <a:pt x="1013709" y="374140"/>
                  </a:cubicBezTo>
                  <a:lnTo>
                    <a:pt x="1017613" y="371953"/>
                  </a:lnTo>
                  <a:lnTo>
                    <a:pt x="1020069" y="368186"/>
                  </a:lnTo>
                  <a:lnTo>
                    <a:pt x="1021079" y="364721"/>
                  </a:lnTo>
                  <a:cubicBezTo>
                    <a:pt x="1021079" y="364721"/>
                    <a:pt x="1022661" y="361962"/>
                    <a:pt x="1022661" y="361391"/>
                  </a:cubicBezTo>
                  <a:cubicBezTo>
                    <a:pt x="1022661" y="360819"/>
                    <a:pt x="1023805" y="358060"/>
                    <a:pt x="1023805" y="358060"/>
                  </a:cubicBezTo>
                  <a:cubicBezTo>
                    <a:pt x="1023805" y="358060"/>
                    <a:pt x="1023502" y="355605"/>
                    <a:pt x="1023805" y="355167"/>
                  </a:cubicBezTo>
                  <a:cubicBezTo>
                    <a:pt x="1024108" y="354730"/>
                    <a:pt x="1023805" y="352409"/>
                    <a:pt x="1023805" y="352409"/>
                  </a:cubicBezTo>
                  <a:cubicBezTo>
                    <a:pt x="1023805" y="352409"/>
                    <a:pt x="1023199" y="351097"/>
                    <a:pt x="1023939" y="350660"/>
                  </a:cubicBezTo>
                  <a:cubicBezTo>
                    <a:pt x="1024680" y="350222"/>
                    <a:pt x="1025993" y="348473"/>
                    <a:pt x="1025993" y="348473"/>
                  </a:cubicBezTo>
                  <a:cubicBezTo>
                    <a:pt x="1025993" y="348473"/>
                    <a:pt x="1027742" y="348608"/>
                    <a:pt x="1028315" y="348473"/>
                  </a:cubicBezTo>
                  <a:cubicBezTo>
                    <a:pt x="1028887" y="348338"/>
                    <a:pt x="1029762" y="348608"/>
                    <a:pt x="1031074" y="348473"/>
                  </a:cubicBezTo>
                  <a:cubicBezTo>
                    <a:pt x="1032387" y="348338"/>
                    <a:pt x="1035113" y="347767"/>
                    <a:pt x="1035113" y="347767"/>
                  </a:cubicBezTo>
                  <a:cubicBezTo>
                    <a:pt x="1035113" y="347767"/>
                    <a:pt x="1035988" y="346017"/>
                    <a:pt x="1037570" y="345311"/>
                  </a:cubicBezTo>
                  <a:cubicBezTo>
                    <a:pt x="1039151" y="344571"/>
                    <a:pt x="1040531" y="342721"/>
                    <a:pt x="1040531" y="342115"/>
                  </a:cubicBezTo>
                  <a:cubicBezTo>
                    <a:pt x="1040531" y="341543"/>
                    <a:pt x="1041474" y="338919"/>
                    <a:pt x="1041474" y="338919"/>
                  </a:cubicBezTo>
                  <a:lnTo>
                    <a:pt x="1041474" y="337910"/>
                  </a:lnTo>
                  <a:lnTo>
                    <a:pt x="1042180" y="336464"/>
                  </a:lnTo>
                  <a:cubicBezTo>
                    <a:pt x="1042180" y="336464"/>
                    <a:pt x="1045075" y="335454"/>
                    <a:pt x="1045647" y="335454"/>
                  </a:cubicBezTo>
                  <a:cubicBezTo>
                    <a:pt x="1046219" y="335454"/>
                    <a:pt x="1046656" y="335589"/>
                    <a:pt x="1047229" y="335454"/>
                  </a:cubicBezTo>
                  <a:cubicBezTo>
                    <a:pt x="1047801" y="335320"/>
                    <a:pt x="1051132" y="333705"/>
                    <a:pt x="1051570" y="333705"/>
                  </a:cubicBezTo>
                  <a:cubicBezTo>
                    <a:pt x="1052008" y="333705"/>
                    <a:pt x="1053320" y="332259"/>
                    <a:pt x="1053758" y="332259"/>
                  </a:cubicBezTo>
                  <a:cubicBezTo>
                    <a:pt x="1054195" y="332259"/>
                    <a:pt x="1055339" y="329803"/>
                    <a:pt x="1055339" y="329803"/>
                  </a:cubicBezTo>
                  <a:cubicBezTo>
                    <a:pt x="1055339" y="329803"/>
                    <a:pt x="1055205" y="328222"/>
                    <a:pt x="1055339" y="327616"/>
                  </a:cubicBezTo>
                  <a:cubicBezTo>
                    <a:pt x="1055474" y="327044"/>
                    <a:pt x="1055339" y="323849"/>
                    <a:pt x="1055339" y="323849"/>
                  </a:cubicBezTo>
                  <a:lnTo>
                    <a:pt x="1054161" y="318904"/>
                  </a:lnTo>
                  <a:close/>
                </a:path>
              </a:pathLst>
            </a:custGeom>
            <a:solidFill>
              <a:schemeClr val="bg2">
                <a:lumMod val="75000"/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43" name="Freeform 909">
              <a:extLst>
                <a:ext uri="{FF2B5EF4-FFF2-40B4-BE49-F238E27FC236}">
                  <a16:creationId xmlns:a16="http://schemas.microsoft.com/office/drawing/2014/main" id="{AD7C2825-B0FA-E76A-1A4E-C5D595556364}"/>
                </a:ext>
              </a:extLst>
            </p:cNvPr>
            <p:cNvSpPr/>
            <p:nvPr/>
          </p:nvSpPr>
          <p:spPr>
            <a:xfrm>
              <a:off x="6762206" y="2509387"/>
              <a:ext cx="655514" cy="476204"/>
            </a:xfrm>
            <a:custGeom>
              <a:avLst/>
              <a:gdLst>
                <a:gd name="connsiteX0" fmla="*/ 1116827 w 1258521"/>
                <a:gd name="connsiteY0" fmla="*/ 745555 h 914263"/>
                <a:gd name="connsiteX1" fmla="*/ 1113866 w 1258521"/>
                <a:gd name="connsiteY1" fmla="*/ 746060 h 914263"/>
                <a:gd name="connsiteX2" fmla="*/ 1112721 w 1258521"/>
                <a:gd name="connsiteY2" fmla="*/ 747069 h 914263"/>
                <a:gd name="connsiteX3" fmla="*/ 1111846 w 1258521"/>
                <a:gd name="connsiteY3" fmla="*/ 747372 h 914263"/>
                <a:gd name="connsiteX4" fmla="*/ 1109255 w 1258521"/>
                <a:gd name="connsiteY4" fmla="*/ 748684 h 914263"/>
                <a:gd name="connsiteX5" fmla="*/ 1107505 w 1258521"/>
                <a:gd name="connsiteY5" fmla="*/ 749121 h 914263"/>
                <a:gd name="connsiteX6" fmla="*/ 1105620 w 1258521"/>
                <a:gd name="connsiteY6" fmla="*/ 748381 h 914263"/>
                <a:gd name="connsiteX7" fmla="*/ 1104274 w 1258521"/>
                <a:gd name="connsiteY7" fmla="*/ 748381 h 914263"/>
                <a:gd name="connsiteX8" fmla="*/ 1101111 w 1258521"/>
                <a:gd name="connsiteY8" fmla="*/ 746531 h 914263"/>
                <a:gd name="connsiteX9" fmla="*/ 1100135 w 1258521"/>
                <a:gd name="connsiteY9" fmla="*/ 743503 h 914263"/>
                <a:gd name="connsiteX10" fmla="*/ 1100236 w 1258521"/>
                <a:gd name="connsiteY10" fmla="*/ 741855 h 914263"/>
                <a:gd name="connsiteX11" fmla="*/ 1101414 w 1258521"/>
                <a:gd name="connsiteY11" fmla="*/ 740207 h 914263"/>
                <a:gd name="connsiteX12" fmla="*/ 1102288 w 1258521"/>
                <a:gd name="connsiteY12" fmla="*/ 738592 h 914263"/>
                <a:gd name="connsiteX13" fmla="*/ 1102827 w 1258521"/>
                <a:gd name="connsiteY13" fmla="*/ 737818 h 914263"/>
                <a:gd name="connsiteX14" fmla="*/ 1103365 w 1258521"/>
                <a:gd name="connsiteY14" fmla="*/ 735968 h 914263"/>
                <a:gd name="connsiteX15" fmla="*/ 1104240 w 1258521"/>
                <a:gd name="connsiteY15" fmla="*/ 734017 h 914263"/>
                <a:gd name="connsiteX16" fmla="*/ 1104342 w 1258521"/>
                <a:gd name="connsiteY16" fmla="*/ 731729 h 914263"/>
                <a:gd name="connsiteX17" fmla="*/ 1104678 w 1258521"/>
                <a:gd name="connsiteY17" fmla="*/ 730115 h 914263"/>
                <a:gd name="connsiteX18" fmla="*/ 1104678 w 1258521"/>
                <a:gd name="connsiteY18" fmla="*/ 725102 h 914263"/>
                <a:gd name="connsiteX19" fmla="*/ 1100639 w 1258521"/>
                <a:gd name="connsiteY19" fmla="*/ 723017 h 914263"/>
                <a:gd name="connsiteX20" fmla="*/ 1098822 w 1258521"/>
                <a:gd name="connsiteY20" fmla="*/ 722815 h 914263"/>
                <a:gd name="connsiteX21" fmla="*/ 1096870 w 1258521"/>
                <a:gd name="connsiteY21" fmla="*/ 722310 h 914263"/>
                <a:gd name="connsiteX22" fmla="*/ 1096668 w 1258521"/>
                <a:gd name="connsiteY22" fmla="*/ 722310 h 914263"/>
                <a:gd name="connsiteX23" fmla="*/ 1095861 w 1258521"/>
                <a:gd name="connsiteY23" fmla="*/ 722916 h 914263"/>
                <a:gd name="connsiteX24" fmla="*/ 1093404 w 1258521"/>
                <a:gd name="connsiteY24" fmla="*/ 724026 h 914263"/>
                <a:gd name="connsiteX25" fmla="*/ 1089332 w 1258521"/>
                <a:gd name="connsiteY25" fmla="*/ 724968 h 914263"/>
                <a:gd name="connsiteX26" fmla="*/ 1086572 w 1258521"/>
                <a:gd name="connsiteY26" fmla="*/ 725338 h 914263"/>
                <a:gd name="connsiteX27" fmla="*/ 1084553 w 1258521"/>
                <a:gd name="connsiteY27" fmla="*/ 725405 h 914263"/>
                <a:gd name="connsiteX28" fmla="*/ 1083476 w 1258521"/>
                <a:gd name="connsiteY28" fmla="*/ 724228 h 914263"/>
                <a:gd name="connsiteX29" fmla="*/ 1082971 w 1258521"/>
                <a:gd name="connsiteY29" fmla="*/ 724026 h 914263"/>
                <a:gd name="connsiteX30" fmla="*/ 1079134 w 1258521"/>
                <a:gd name="connsiteY30" fmla="*/ 724026 h 914263"/>
                <a:gd name="connsiteX31" fmla="*/ 1077485 w 1258521"/>
                <a:gd name="connsiteY31" fmla="*/ 724194 h 914263"/>
                <a:gd name="connsiteX32" fmla="*/ 1075298 w 1258521"/>
                <a:gd name="connsiteY32" fmla="*/ 725674 h 914263"/>
                <a:gd name="connsiteX33" fmla="*/ 1070721 w 1258521"/>
                <a:gd name="connsiteY33" fmla="*/ 726986 h 914263"/>
                <a:gd name="connsiteX34" fmla="*/ 1066581 w 1258521"/>
                <a:gd name="connsiteY34" fmla="*/ 726616 h 914263"/>
                <a:gd name="connsiteX35" fmla="*/ 1064259 w 1258521"/>
                <a:gd name="connsiteY35" fmla="*/ 726616 h 914263"/>
                <a:gd name="connsiteX36" fmla="*/ 1062879 w 1258521"/>
                <a:gd name="connsiteY36" fmla="*/ 725035 h 914263"/>
                <a:gd name="connsiteX37" fmla="*/ 1062576 w 1258521"/>
                <a:gd name="connsiteY37" fmla="*/ 723353 h 914263"/>
                <a:gd name="connsiteX38" fmla="*/ 1064023 w 1258521"/>
                <a:gd name="connsiteY38" fmla="*/ 721940 h 914263"/>
                <a:gd name="connsiteX39" fmla="*/ 1064999 w 1258521"/>
                <a:gd name="connsiteY39" fmla="*/ 719451 h 914263"/>
                <a:gd name="connsiteX40" fmla="*/ 1065975 w 1258521"/>
                <a:gd name="connsiteY40" fmla="*/ 717500 h 914263"/>
                <a:gd name="connsiteX41" fmla="*/ 1067389 w 1258521"/>
                <a:gd name="connsiteY41" fmla="*/ 714775 h 914263"/>
                <a:gd name="connsiteX42" fmla="*/ 1068028 w 1258521"/>
                <a:gd name="connsiteY42" fmla="*/ 712387 h 914263"/>
                <a:gd name="connsiteX43" fmla="*/ 1067927 w 1258521"/>
                <a:gd name="connsiteY43" fmla="*/ 709897 h 914263"/>
                <a:gd name="connsiteX44" fmla="*/ 1066480 w 1258521"/>
                <a:gd name="connsiteY44" fmla="*/ 708518 h 914263"/>
                <a:gd name="connsiteX45" fmla="*/ 1060624 w 1258521"/>
                <a:gd name="connsiteY45" fmla="*/ 702799 h 914263"/>
                <a:gd name="connsiteX46" fmla="*/ 1056215 w 1258521"/>
                <a:gd name="connsiteY46" fmla="*/ 698224 h 914263"/>
                <a:gd name="connsiteX47" fmla="*/ 1047095 w 1258521"/>
                <a:gd name="connsiteY47" fmla="*/ 688671 h 914263"/>
                <a:gd name="connsiteX48" fmla="*/ 1043696 w 1258521"/>
                <a:gd name="connsiteY48" fmla="*/ 682380 h 914263"/>
                <a:gd name="connsiteX49" fmla="*/ 1039355 w 1258521"/>
                <a:gd name="connsiteY49" fmla="*/ 673264 h 914263"/>
                <a:gd name="connsiteX50" fmla="*/ 1038850 w 1258521"/>
                <a:gd name="connsiteY50" fmla="*/ 670236 h 914263"/>
                <a:gd name="connsiteX51" fmla="*/ 1039220 w 1258521"/>
                <a:gd name="connsiteY51" fmla="*/ 660884 h 914263"/>
                <a:gd name="connsiteX52" fmla="*/ 1038210 w 1258521"/>
                <a:gd name="connsiteY52" fmla="*/ 654863 h 914263"/>
                <a:gd name="connsiteX53" fmla="*/ 1038008 w 1258521"/>
                <a:gd name="connsiteY53" fmla="*/ 651532 h 914263"/>
                <a:gd name="connsiteX54" fmla="*/ 1037268 w 1258521"/>
                <a:gd name="connsiteY54" fmla="*/ 647126 h 914263"/>
                <a:gd name="connsiteX55" fmla="*/ 1037402 w 1258521"/>
                <a:gd name="connsiteY55" fmla="*/ 643728 h 914263"/>
                <a:gd name="connsiteX56" fmla="*/ 1038715 w 1258521"/>
                <a:gd name="connsiteY56" fmla="*/ 641710 h 914263"/>
                <a:gd name="connsiteX57" fmla="*/ 1040398 w 1258521"/>
                <a:gd name="connsiteY57" fmla="*/ 641070 h 914263"/>
                <a:gd name="connsiteX58" fmla="*/ 1045547 w 1258521"/>
                <a:gd name="connsiteY58" fmla="*/ 640869 h 914263"/>
                <a:gd name="connsiteX59" fmla="*/ 1048508 w 1258521"/>
                <a:gd name="connsiteY59" fmla="*/ 640364 h 914263"/>
                <a:gd name="connsiteX60" fmla="*/ 1052850 w 1258521"/>
                <a:gd name="connsiteY60" fmla="*/ 640667 h 914263"/>
                <a:gd name="connsiteX61" fmla="*/ 1055105 w 1258521"/>
                <a:gd name="connsiteY61" fmla="*/ 640970 h 914263"/>
                <a:gd name="connsiteX62" fmla="*/ 1057494 w 1258521"/>
                <a:gd name="connsiteY62" fmla="*/ 641979 h 914263"/>
                <a:gd name="connsiteX63" fmla="*/ 1059076 w 1258521"/>
                <a:gd name="connsiteY63" fmla="*/ 643425 h 914263"/>
                <a:gd name="connsiteX64" fmla="*/ 1061331 w 1258521"/>
                <a:gd name="connsiteY64" fmla="*/ 644300 h 914263"/>
                <a:gd name="connsiteX65" fmla="*/ 1064091 w 1258521"/>
                <a:gd name="connsiteY65" fmla="*/ 644737 h 914263"/>
                <a:gd name="connsiteX66" fmla="*/ 1066278 w 1258521"/>
                <a:gd name="connsiteY66" fmla="*/ 645107 h 914263"/>
                <a:gd name="connsiteX67" fmla="*/ 1068466 w 1258521"/>
                <a:gd name="connsiteY67" fmla="*/ 645982 h 914263"/>
                <a:gd name="connsiteX68" fmla="*/ 1071865 w 1258521"/>
                <a:gd name="connsiteY68" fmla="*/ 646419 h 914263"/>
                <a:gd name="connsiteX69" fmla="*/ 1074187 w 1258521"/>
                <a:gd name="connsiteY69" fmla="*/ 648303 h 914263"/>
                <a:gd name="connsiteX70" fmla="*/ 1077283 w 1258521"/>
                <a:gd name="connsiteY70" fmla="*/ 650691 h 914263"/>
                <a:gd name="connsiteX71" fmla="*/ 1080918 w 1258521"/>
                <a:gd name="connsiteY71" fmla="*/ 653080 h 914263"/>
                <a:gd name="connsiteX72" fmla="*/ 1084250 w 1258521"/>
                <a:gd name="connsiteY72" fmla="*/ 655906 h 914263"/>
                <a:gd name="connsiteX73" fmla="*/ 1088524 w 1258521"/>
                <a:gd name="connsiteY73" fmla="*/ 658092 h 914263"/>
                <a:gd name="connsiteX74" fmla="*/ 1092663 w 1258521"/>
                <a:gd name="connsiteY74" fmla="*/ 660548 h 914263"/>
                <a:gd name="connsiteX75" fmla="*/ 1095120 w 1258521"/>
                <a:gd name="connsiteY75" fmla="*/ 662364 h 914263"/>
                <a:gd name="connsiteX76" fmla="*/ 1098014 w 1258521"/>
                <a:gd name="connsiteY76" fmla="*/ 663441 h 914263"/>
                <a:gd name="connsiteX77" fmla="*/ 1102221 w 1258521"/>
                <a:gd name="connsiteY77" fmla="*/ 665190 h 914263"/>
                <a:gd name="connsiteX78" fmla="*/ 1104409 w 1258521"/>
                <a:gd name="connsiteY78" fmla="*/ 665897 h 914263"/>
                <a:gd name="connsiteX79" fmla="*/ 1107370 w 1258521"/>
                <a:gd name="connsiteY79" fmla="*/ 666973 h 914263"/>
                <a:gd name="connsiteX80" fmla="*/ 1110769 w 1258521"/>
                <a:gd name="connsiteY80" fmla="*/ 668554 h 914263"/>
                <a:gd name="connsiteX81" fmla="*/ 1111510 w 1258521"/>
                <a:gd name="connsiteY81" fmla="*/ 670001 h 914263"/>
                <a:gd name="connsiteX82" fmla="*/ 1112890 w 1258521"/>
                <a:gd name="connsiteY82" fmla="*/ 673465 h 914263"/>
                <a:gd name="connsiteX83" fmla="*/ 1116457 w 1258521"/>
                <a:gd name="connsiteY83" fmla="*/ 675215 h 914263"/>
                <a:gd name="connsiteX84" fmla="*/ 1119486 w 1258521"/>
                <a:gd name="connsiteY84" fmla="*/ 677536 h 914263"/>
                <a:gd name="connsiteX85" fmla="*/ 1121505 w 1258521"/>
                <a:gd name="connsiteY85" fmla="*/ 678982 h 914263"/>
                <a:gd name="connsiteX86" fmla="*/ 1123895 w 1258521"/>
                <a:gd name="connsiteY86" fmla="*/ 681438 h 914263"/>
                <a:gd name="connsiteX87" fmla="*/ 1124972 w 1258521"/>
                <a:gd name="connsiteY87" fmla="*/ 682750 h 914263"/>
                <a:gd name="connsiteX88" fmla="*/ 1127664 w 1258521"/>
                <a:gd name="connsiteY88" fmla="*/ 683187 h 914263"/>
                <a:gd name="connsiteX89" fmla="*/ 1129313 w 1258521"/>
                <a:gd name="connsiteY89" fmla="*/ 683187 h 914263"/>
                <a:gd name="connsiteX90" fmla="*/ 1131130 w 1258521"/>
                <a:gd name="connsiteY90" fmla="*/ 682817 h 914263"/>
                <a:gd name="connsiteX91" fmla="*/ 1132073 w 1258521"/>
                <a:gd name="connsiteY91" fmla="*/ 682245 h 914263"/>
                <a:gd name="connsiteX92" fmla="*/ 1134260 w 1258521"/>
                <a:gd name="connsiteY92" fmla="*/ 681438 h 914263"/>
                <a:gd name="connsiteX93" fmla="*/ 1135203 w 1258521"/>
                <a:gd name="connsiteY93" fmla="*/ 680193 h 914263"/>
                <a:gd name="connsiteX94" fmla="*/ 1135506 w 1258521"/>
                <a:gd name="connsiteY94" fmla="*/ 678680 h 914263"/>
                <a:gd name="connsiteX95" fmla="*/ 1135876 w 1258521"/>
                <a:gd name="connsiteY95" fmla="*/ 677435 h 914263"/>
                <a:gd name="connsiteX96" fmla="*/ 1136381 w 1258521"/>
                <a:gd name="connsiteY96" fmla="*/ 676291 h 914263"/>
                <a:gd name="connsiteX97" fmla="*/ 1137121 w 1258521"/>
                <a:gd name="connsiteY97" fmla="*/ 674845 h 914263"/>
                <a:gd name="connsiteX98" fmla="*/ 1138131 w 1258521"/>
                <a:gd name="connsiteY98" fmla="*/ 673768 h 914263"/>
                <a:gd name="connsiteX99" fmla="*/ 1140015 w 1258521"/>
                <a:gd name="connsiteY99" fmla="*/ 672826 h 914263"/>
                <a:gd name="connsiteX100" fmla="*/ 1141900 w 1258521"/>
                <a:gd name="connsiteY100" fmla="*/ 674340 h 914263"/>
                <a:gd name="connsiteX101" fmla="*/ 1143414 w 1258521"/>
                <a:gd name="connsiteY101" fmla="*/ 676998 h 914263"/>
                <a:gd name="connsiteX102" fmla="*/ 1146443 w 1258521"/>
                <a:gd name="connsiteY102" fmla="*/ 678141 h 914263"/>
                <a:gd name="connsiteX103" fmla="*/ 1147756 w 1258521"/>
                <a:gd name="connsiteY103" fmla="*/ 676358 h 914263"/>
                <a:gd name="connsiteX104" fmla="*/ 1147924 w 1258521"/>
                <a:gd name="connsiteY104" fmla="*/ 672894 h 914263"/>
                <a:gd name="connsiteX105" fmla="*/ 1148833 w 1258521"/>
                <a:gd name="connsiteY105" fmla="*/ 671918 h 914263"/>
                <a:gd name="connsiteX106" fmla="*/ 1150314 w 1258521"/>
                <a:gd name="connsiteY106" fmla="*/ 669630 h 914263"/>
                <a:gd name="connsiteX107" fmla="*/ 1150751 w 1258521"/>
                <a:gd name="connsiteY107" fmla="*/ 667680 h 914263"/>
                <a:gd name="connsiteX108" fmla="*/ 1151088 w 1258521"/>
                <a:gd name="connsiteY108" fmla="*/ 665358 h 914263"/>
                <a:gd name="connsiteX109" fmla="*/ 1152434 w 1258521"/>
                <a:gd name="connsiteY109" fmla="*/ 663306 h 914263"/>
                <a:gd name="connsiteX110" fmla="*/ 1155261 w 1258521"/>
                <a:gd name="connsiteY110" fmla="*/ 660581 h 914263"/>
                <a:gd name="connsiteX111" fmla="*/ 1156944 w 1258521"/>
                <a:gd name="connsiteY111" fmla="*/ 660211 h 914263"/>
                <a:gd name="connsiteX112" fmla="*/ 1160410 w 1258521"/>
                <a:gd name="connsiteY112" fmla="*/ 659404 h 914263"/>
                <a:gd name="connsiteX113" fmla="*/ 1160780 w 1258521"/>
                <a:gd name="connsiteY113" fmla="*/ 658328 h 914263"/>
                <a:gd name="connsiteX114" fmla="*/ 1161554 w 1258521"/>
                <a:gd name="connsiteY114" fmla="*/ 656646 h 914263"/>
                <a:gd name="connsiteX115" fmla="*/ 1164920 w 1258521"/>
                <a:gd name="connsiteY115" fmla="*/ 656208 h 914263"/>
                <a:gd name="connsiteX116" fmla="*/ 1167949 w 1258521"/>
                <a:gd name="connsiteY116" fmla="*/ 655502 h 914263"/>
                <a:gd name="connsiteX117" fmla="*/ 1170439 w 1258521"/>
                <a:gd name="connsiteY117" fmla="*/ 654291 h 914263"/>
                <a:gd name="connsiteX118" fmla="*/ 1171482 w 1258521"/>
                <a:gd name="connsiteY118" fmla="*/ 653248 h 914263"/>
                <a:gd name="connsiteX119" fmla="*/ 1170876 w 1258521"/>
                <a:gd name="connsiteY119" fmla="*/ 651667 h 914263"/>
                <a:gd name="connsiteX120" fmla="*/ 1168050 w 1258521"/>
                <a:gd name="connsiteY120" fmla="*/ 649985 h 914263"/>
                <a:gd name="connsiteX121" fmla="*/ 1167713 w 1258521"/>
                <a:gd name="connsiteY121" fmla="*/ 648034 h 914263"/>
                <a:gd name="connsiteX122" fmla="*/ 1167376 w 1258521"/>
                <a:gd name="connsiteY122" fmla="*/ 644872 h 914263"/>
                <a:gd name="connsiteX123" fmla="*/ 1167478 w 1258521"/>
                <a:gd name="connsiteY123" fmla="*/ 643459 h 914263"/>
                <a:gd name="connsiteX124" fmla="*/ 1166670 w 1258521"/>
                <a:gd name="connsiteY124" fmla="*/ 638346 h 914263"/>
                <a:gd name="connsiteX125" fmla="*/ 1166603 w 1258521"/>
                <a:gd name="connsiteY125" fmla="*/ 637034 h 914263"/>
                <a:gd name="connsiteX126" fmla="*/ 1164751 w 1258521"/>
                <a:gd name="connsiteY126" fmla="*/ 635015 h 914263"/>
                <a:gd name="connsiteX127" fmla="*/ 1160343 w 1258521"/>
                <a:gd name="connsiteY127" fmla="*/ 632963 h 914263"/>
                <a:gd name="connsiteX128" fmla="*/ 1158121 w 1258521"/>
                <a:gd name="connsiteY128" fmla="*/ 633165 h 914263"/>
                <a:gd name="connsiteX129" fmla="*/ 1153679 w 1258521"/>
                <a:gd name="connsiteY129" fmla="*/ 632089 h 914263"/>
                <a:gd name="connsiteX130" fmla="*/ 1149775 w 1258521"/>
                <a:gd name="connsiteY130" fmla="*/ 630474 h 914263"/>
                <a:gd name="connsiteX131" fmla="*/ 1146948 w 1258521"/>
                <a:gd name="connsiteY131" fmla="*/ 628691 h 914263"/>
                <a:gd name="connsiteX132" fmla="*/ 1144727 w 1258521"/>
                <a:gd name="connsiteY132" fmla="*/ 625933 h 914263"/>
                <a:gd name="connsiteX133" fmla="*/ 1144727 w 1258521"/>
                <a:gd name="connsiteY133" fmla="*/ 625293 h 914263"/>
                <a:gd name="connsiteX134" fmla="*/ 1145669 w 1258521"/>
                <a:gd name="connsiteY134" fmla="*/ 623073 h 914263"/>
                <a:gd name="connsiteX135" fmla="*/ 1146578 w 1258521"/>
                <a:gd name="connsiteY135" fmla="*/ 620046 h 914263"/>
                <a:gd name="connsiteX136" fmla="*/ 1146309 w 1258521"/>
                <a:gd name="connsiteY136" fmla="*/ 618128 h 914263"/>
                <a:gd name="connsiteX137" fmla="*/ 1145063 w 1258521"/>
                <a:gd name="connsiteY137" fmla="*/ 616278 h 914263"/>
                <a:gd name="connsiteX138" fmla="*/ 1141631 w 1258521"/>
                <a:gd name="connsiteY138" fmla="*/ 615235 h 914263"/>
                <a:gd name="connsiteX139" fmla="*/ 1138198 w 1258521"/>
                <a:gd name="connsiteY139" fmla="*/ 616312 h 914263"/>
                <a:gd name="connsiteX140" fmla="*/ 1136145 w 1258521"/>
                <a:gd name="connsiteY140" fmla="*/ 618095 h 914263"/>
                <a:gd name="connsiteX141" fmla="*/ 1134193 w 1258521"/>
                <a:gd name="connsiteY141" fmla="*/ 620550 h 914263"/>
                <a:gd name="connsiteX142" fmla="*/ 1131703 w 1258521"/>
                <a:gd name="connsiteY142" fmla="*/ 622872 h 914263"/>
                <a:gd name="connsiteX143" fmla="*/ 1127395 w 1258521"/>
                <a:gd name="connsiteY143" fmla="*/ 622064 h 914263"/>
                <a:gd name="connsiteX144" fmla="*/ 1125611 w 1258521"/>
                <a:gd name="connsiteY144" fmla="*/ 620147 h 914263"/>
                <a:gd name="connsiteX145" fmla="*/ 1123861 w 1258521"/>
                <a:gd name="connsiteY145" fmla="*/ 616009 h 914263"/>
                <a:gd name="connsiteX146" fmla="*/ 1123760 w 1258521"/>
                <a:gd name="connsiteY146" fmla="*/ 614327 h 914263"/>
                <a:gd name="connsiteX147" fmla="*/ 1124097 w 1258521"/>
                <a:gd name="connsiteY147" fmla="*/ 612309 h 914263"/>
                <a:gd name="connsiteX148" fmla="*/ 1125174 w 1258521"/>
                <a:gd name="connsiteY148" fmla="*/ 609416 h 914263"/>
                <a:gd name="connsiteX149" fmla="*/ 1126823 w 1258521"/>
                <a:gd name="connsiteY149" fmla="*/ 607128 h 914263"/>
                <a:gd name="connsiteX150" fmla="*/ 1128876 w 1258521"/>
                <a:gd name="connsiteY150" fmla="*/ 605951 h 914263"/>
                <a:gd name="connsiteX151" fmla="*/ 1131164 w 1258521"/>
                <a:gd name="connsiteY151" fmla="*/ 605143 h 914263"/>
                <a:gd name="connsiteX152" fmla="*/ 1133554 w 1258521"/>
                <a:gd name="connsiteY152" fmla="*/ 604067 h 914263"/>
                <a:gd name="connsiteX153" fmla="*/ 1136111 w 1258521"/>
                <a:gd name="connsiteY153" fmla="*/ 602822 h 914263"/>
                <a:gd name="connsiteX154" fmla="*/ 1138568 w 1258521"/>
                <a:gd name="connsiteY154" fmla="*/ 602385 h 914263"/>
                <a:gd name="connsiteX155" fmla="*/ 1140487 w 1258521"/>
                <a:gd name="connsiteY155" fmla="*/ 604504 h 914263"/>
                <a:gd name="connsiteX156" fmla="*/ 1142270 w 1258521"/>
                <a:gd name="connsiteY156" fmla="*/ 605917 h 914263"/>
                <a:gd name="connsiteX157" fmla="*/ 1144222 w 1258521"/>
                <a:gd name="connsiteY157" fmla="*/ 606422 h 914263"/>
                <a:gd name="connsiteX158" fmla="*/ 1145972 w 1258521"/>
                <a:gd name="connsiteY158" fmla="*/ 606422 h 914263"/>
                <a:gd name="connsiteX159" fmla="*/ 1147217 w 1258521"/>
                <a:gd name="connsiteY159" fmla="*/ 605614 h 914263"/>
                <a:gd name="connsiteX160" fmla="*/ 1147857 w 1258521"/>
                <a:gd name="connsiteY160" fmla="*/ 605244 h 914263"/>
                <a:gd name="connsiteX161" fmla="*/ 1148126 w 1258521"/>
                <a:gd name="connsiteY161" fmla="*/ 603327 h 914263"/>
                <a:gd name="connsiteX162" fmla="*/ 1148025 w 1258521"/>
                <a:gd name="connsiteY162" fmla="*/ 601578 h 914263"/>
                <a:gd name="connsiteX163" fmla="*/ 1148227 w 1258521"/>
                <a:gd name="connsiteY163" fmla="*/ 599828 h 914263"/>
                <a:gd name="connsiteX164" fmla="*/ 1148227 w 1258521"/>
                <a:gd name="connsiteY164" fmla="*/ 597003 h 914263"/>
                <a:gd name="connsiteX165" fmla="*/ 1147588 w 1258521"/>
                <a:gd name="connsiteY165" fmla="*/ 593840 h 914263"/>
                <a:gd name="connsiteX166" fmla="*/ 1147386 w 1258521"/>
                <a:gd name="connsiteY166" fmla="*/ 591351 h 914263"/>
                <a:gd name="connsiteX167" fmla="*/ 1147823 w 1258521"/>
                <a:gd name="connsiteY167" fmla="*/ 588088 h 914263"/>
                <a:gd name="connsiteX168" fmla="*/ 1149573 w 1258521"/>
                <a:gd name="connsiteY168" fmla="*/ 585902 h 914263"/>
                <a:gd name="connsiteX169" fmla="*/ 1151525 w 1258521"/>
                <a:gd name="connsiteY169" fmla="*/ 583950 h 914263"/>
                <a:gd name="connsiteX170" fmla="*/ 1154117 w 1258521"/>
                <a:gd name="connsiteY170" fmla="*/ 582336 h 914263"/>
                <a:gd name="connsiteX171" fmla="*/ 1158895 w 1258521"/>
                <a:gd name="connsiteY171" fmla="*/ 580485 h 914263"/>
                <a:gd name="connsiteX172" fmla="*/ 1161723 w 1258521"/>
                <a:gd name="connsiteY172" fmla="*/ 578972 h 914263"/>
                <a:gd name="connsiteX173" fmla="*/ 1165626 w 1258521"/>
                <a:gd name="connsiteY173" fmla="*/ 578097 h 914263"/>
                <a:gd name="connsiteX174" fmla="*/ 1169429 w 1258521"/>
                <a:gd name="connsiteY174" fmla="*/ 575910 h 914263"/>
                <a:gd name="connsiteX175" fmla="*/ 1171718 w 1258521"/>
                <a:gd name="connsiteY175" fmla="*/ 575036 h 914263"/>
                <a:gd name="connsiteX176" fmla="*/ 1175420 w 1258521"/>
                <a:gd name="connsiteY176" fmla="*/ 574161 h 914263"/>
                <a:gd name="connsiteX177" fmla="*/ 1178247 w 1258521"/>
                <a:gd name="connsiteY177" fmla="*/ 572849 h 914263"/>
                <a:gd name="connsiteX178" fmla="*/ 1181511 w 1258521"/>
                <a:gd name="connsiteY178" fmla="*/ 571235 h 914263"/>
                <a:gd name="connsiteX179" fmla="*/ 1183026 w 1258521"/>
                <a:gd name="connsiteY179" fmla="*/ 568846 h 914263"/>
                <a:gd name="connsiteX180" fmla="*/ 1185113 w 1258521"/>
                <a:gd name="connsiteY180" fmla="*/ 566222 h 914263"/>
                <a:gd name="connsiteX181" fmla="*/ 1187401 w 1258521"/>
                <a:gd name="connsiteY181" fmla="*/ 564809 h 914263"/>
                <a:gd name="connsiteX182" fmla="*/ 1191103 w 1258521"/>
                <a:gd name="connsiteY182" fmla="*/ 562085 h 914263"/>
                <a:gd name="connsiteX183" fmla="*/ 1193156 w 1258521"/>
                <a:gd name="connsiteY183" fmla="*/ 559259 h 914263"/>
                <a:gd name="connsiteX184" fmla="*/ 1194334 w 1258521"/>
                <a:gd name="connsiteY184" fmla="*/ 555794 h 914263"/>
                <a:gd name="connsiteX185" fmla="*/ 1194233 w 1258521"/>
                <a:gd name="connsiteY185" fmla="*/ 554482 h 914263"/>
                <a:gd name="connsiteX186" fmla="*/ 1193694 w 1258521"/>
                <a:gd name="connsiteY186" fmla="*/ 552430 h 914263"/>
                <a:gd name="connsiteX187" fmla="*/ 1191305 w 1258521"/>
                <a:gd name="connsiteY187" fmla="*/ 549268 h 914263"/>
                <a:gd name="connsiteX188" fmla="*/ 1186963 w 1258521"/>
                <a:gd name="connsiteY188" fmla="*/ 548057 h 914263"/>
                <a:gd name="connsiteX189" fmla="*/ 1184237 w 1258521"/>
                <a:gd name="connsiteY189" fmla="*/ 545870 h 914263"/>
                <a:gd name="connsiteX190" fmla="*/ 1183598 w 1258521"/>
                <a:gd name="connsiteY190" fmla="*/ 543381 h 914263"/>
                <a:gd name="connsiteX191" fmla="*/ 1183059 w 1258521"/>
                <a:gd name="connsiteY191" fmla="*/ 540690 h 914263"/>
                <a:gd name="connsiteX192" fmla="*/ 1183059 w 1258521"/>
                <a:gd name="connsiteY192" fmla="*/ 538100 h 914263"/>
                <a:gd name="connsiteX193" fmla="*/ 1184002 w 1258521"/>
                <a:gd name="connsiteY193" fmla="*/ 534500 h 914263"/>
                <a:gd name="connsiteX194" fmla="*/ 1185146 w 1258521"/>
                <a:gd name="connsiteY194" fmla="*/ 531876 h 914263"/>
                <a:gd name="connsiteX195" fmla="*/ 1186223 w 1258521"/>
                <a:gd name="connsiteY195" fmla="*/ 530363 h 914263"/>
                <a:gd name="connsiteX196" fmla="*/ 1189050 w 1258521"/>
                <a:gd name="connsiteY196" fmla="*/ 529152 h 914263"/>
                <a:gd name="connsiteX197" fmla="*/ 1192954 w 1258521"/>
                <a:gd name="connsiteY197" fmla="*/ 529488 h 914263"/>
                <a:gd name="connsiteX198" fmla="*/ 1195142 w 1258521"/>
                <a:gd name="connsiteY198" fmla="*/ 531439 h 914263"/>
                <a:gd name="connsiteX199" fmla="*/ 1197430 w 1258521"/>
                <a:gd name="connsiteY199" fmla="*/ 530026 h 914263"/>
                <a:gd name="connsiteX200" fmla="*/ 1200695 w 1258521"/>
                <a:gd name="connsiteY200" fmla="*/ 527200 h 914263"/>
                <a:gd name="connsiteX201" fmla="*/ 1204598 w 1258521"/>
                <a:gd name="connsiteY201" fmla="*/ 524274 h 914263"/>
                <a:gd name="connsiteX202" fmla="*/ 1206214 w 1258521"/>
                <a:gd name="connsiteY202" fmla="*/ 520136 h 914263"/>
                <a:gd name="connsiteX203" fmla="*/ 1210892 w 1258521"/>
                <a:gd name="connsiteY203" fmla="*/ 518723 h 914263"/>
                <a:gd name="connsiteX204" fmla="*/ 1215570 w 1258521"/>
                <a:gd name="connsiteY204" fmla="*/ 520910 h 914263"/>
                <a:gd name="connsiteX205" fmla="*/ 1218834 w 1258521"/>
                <a:gd name="connsiteY205" fmla="*/ 523399 h 914263"/>
                <a:gd name="connsiteX206" fmla="*/ 1223613 w 1258521"/>
                <a:gd name="connsiteY206" fmla="*/ 522962 h 914263"/>
                <a:gd name="connsiteX207" fmla="*/ 1226238 w 1258521"/>
                <a:gd name="connsiteY207" fmla="*/ 521347 h 914263"/>
                <a:gd name="connsiteX208" fmla="*/ 1227551 w 1258521"/>
                <a:gd name="connsiteY208" fmla="*/ 518521 h 914263"/>
                <a:gd name="connsiteX209" fmla="*/ 1227753 w 1258521"/>
                <a:gd name="connsiteY209" fmla="*/ 514182 h 914263"/>
                <a:gd name="connsiteX210" fmla="*/ 1227854 w 1258521"/>
                <a:gd name="connsiteY210" fmla="*/ 511894 h 914263"/>
                <a:gd name="connsiteX211" fmla="*/ 1227080 w 1258521"/>
                <a:gd name="connsiteY211" fmla="*/ 507454 h 914263"/>
                <a:gd name="connsiteX212" fmla="*/ 1226205 w 1258521"/>
                <a:gd name="connsiteY212" fmla="*/ 504426 h 914263"/>
                <a:gd name="connsiteX213" fmla="*/ 1225431 w 1258521"/>
                <a:gd name="connsiteY213" fmla="*/ 500625 h 914263"/>
                <a:gd name="connsiteX214" fmla="*/ 1225229 w 1258521"/>
                <a:gd name="connsiteY214" fmla="*/ 496386 h 914263"/>
                <a:gd name="connsiteX215" fmla="*/ 1224892 w 1258521"/>
                <a:gd name="connsiteY215" fmla="*/ 494536 h 914263"/>
                <a:gd name="connsiteX216" fmla="*/ 1224354 w 1258521"/>
                <a:gd name="connsiteY216" fmla="*/ 492047 h 914263"/>
                <a:gd name="connsiteX217" fmla="*/ 1223479 w 1258521"/>
                <a:gd name="connsiteY217" fmla="*/ 489120 h 914263"/>
                <a:gd name="connsiteX218" fmla="*/ 1226407 w 1258521"/>
                <a:gd name="connsiteY218" fmla="*/ 488145 h 914263"/>
                <a:gd name="connsiteX219" fmla="*/ 1227719 w 1258521"/>
                <a:gd name="connsiteY219" fmla="*/ 487808 h 914263"/>
                <a:gd name="connsiteX220" fmla="*/ 1231623 w 1258521"/>
                <a:gd name="connsiteY220" fmla="*/ 485958 h 914263"/>
                <a:gd name="connsiteX221" fmla="*/ 1235863 w 1258521"/>
                <a:gd name="connsiteY221" fmla="*/ 483906 h 914263"/>
                <a:gd name="connsiteX222" fmla="*/ 1241417 w 1258521"/>
                <a:gd name="connsiteY222" fmla="*/ 484579 h 914263"/>
                <a:gd name="connsiteX223" fmla="*/ 1244008 w 1258521"/>
                <a:gd name="connsiteY223" fmla="*/ 485353 h 914263"/>
                <a:gd name="connsiteX224" fmla="*/ 1247037 w 1258521"/>
                <a:gd name="connsiteY224" fmla="*/ 485790 h 914263"/>
                <a:gd name="connsiteX225" fmla="*/ 1248249 w 1258521"/>
                <a:gd name="connsiteY225" fmla="*/ 484814 h 914263"/>
                <a:gd name="connsiteX226" fmla="*/ 1248484 w 1258521"/>
                <a:gd name="connsiteY226" fmla="*/ 483637 h 914263"/>
                <a:gd name="connsiteX227" fmla="*/ 1248585 w 1258521"/>
                <a:gd name="connsiteY227" fmla="*/ 482224 h 914263"/>
                <a:gd name="connsiteX228" fmla="*/ 1249023 w 1258521"/>
                <a:gd name="connsiteY228" fmla="*/ 478423 h 914263"/>
                <a:gd name="connsiteX229" fmla="*/ 1249123 w 1258521"/>
                <a:gd name="connsiteY229" fmla="*/ 474722 h 914263"/>
                <a:gd name="connsiteX230" fmla="*/ 1249123 w 1258521"/>
                <a:gd name="connsiteY230" fmla="*/ 471022 h 914263"/>
                <a:gd name="connsiteX231" fmla="*/ 1249023 w 1258521"/>
                <a:gd name="connsiteY231" fmla="*/ 467221 h 914263"/>
                <a:gd name="connsiteX232" fmla="*/ 1249023 w 1258521"/>
                <a:gd name="connsiteY232" fmla="*/ 465472 h 914263"/>
                <a:gd name="connsiteX233" fmla="*/ 1247407 w 1258521"/>
                <a:gd name="connsiteY233" fmla="*/ 462982 h 914263"/>
                <a:gd name="connsiteX234" fmla="*/ 1246768 w 1258521"/>
                <a:gd name="connsiteY234" fmla="*/ 461670 h 914263"/>
                <a:gd name="connsiteX235" fmla="*/ 1245691 w 1258521"/>
                <a:gd name="connsiteY235" fmla="*/ 459181 h 914263"/>
                <a:gd name="connsiteX236" fmla="*/ 1245893 w 1258521"/>
                <a:gd name="connsiteY236" fmla="*/ 457230 h 914263"/>
                <a:gd name="connsiteX237" fmla="*/ 1246229 w 1258521"/>
                <a:gd name="connsiteY237" fmla="*/ 456456 h 914263"/>
                <a:gd name="connsiteX238" fmla="*/ 1248282 w 1258521"/>
                <a:gd name="connsiteY238" fmla="*/ 452655 h 914263"/>
                <a:gd name="connsiteX239" fmla="*/ 1250571 w 1258521"/>
                <a:gd name="connsiteY239" fmla="*/ 451242 h 914263"/>
                <a:gd name="connsiteX240" fmla="*/ 1256326 w 1258521"/>
                <a:gd name="connsiteY240" fmla="*/ 446903 h 914263"/>
                <a:gd name="connsiteX241" fmla="*/ 1257201 w 1258521"/>
                <a:gd name="connsiteY241" fmla="*/ 443303 h 914263"/>
                <a:gd name="connsiteX242" fmla="*/ 1258513 w 1258521"/>
                <a:gd name="connsiteY242" fmla="*/ 440275 h 914263"/>
                <a:gd name="connsiteX243" fmla="*/ 1257739 w 1258521"/>
                <a:gd name="connsiteY243" fmla="*/ 439838 h 914263"/>
                <a:gd name="connsiteX244" fmla="*/ 1255114 w 1258521"/>
                <a:gd name="connsiteY244" fmla="*/ 438863 h 914263"/>
                <a:gd name="connsiteX245" fmla="*/ 1254340 w 1258521"/>
                <a:gd name="connsiteY245" fmla="*/ 437450 h 914263"/>
                <a:gd name="connsiteX246" fmla="*/ 1253902 w 1258521"/>
                <a:gd name="connsiteY246" fmla="*/ 435061 h 914263"/>
                <a:gd name="connsiteX247" fmla="*/ 1251412 w 1258521"/>
                <a:gd name="connsiteY247" fmla="*/ 432034 h 914263"/>
                <a:gd name="connsiteX248" fmla="*/ 1249763 w 1258521"/>
                <a:gd name="connsiteY248" fmla="*/ 431058 h 914263"/>
                <a:gd name="connsiteX249" fmla="*/ 1246195 w 1258521"/>
                <a:gd name="connsiteY249" fmla="*/ 428468 h 914263"/>
                <a:gd name="connsiteX250" fmla="*/ 1242494 w 1258521"/>
                <a:gd name="connsiteY250" fmla="*/ 424768 h 914263"/>
                <a:gd name="connsiteX251" fmla="*/ 1238791 w 1258521"/>
                <a:gd name="connsiteY251" fmla="*/ 422480 h 914263"/>
                <a:gd name="connsiteX252" fmla="*/ 1234753 w 1258521"/>
                <a:gd name="connsiteY252" fmla="*/ 418881 h 914263"/>
                <a:gd name="connsiteX253" fmla="*/ 1233878 w 1258521"/>
                <a:gd name="connsiteY253" fmla="*/ 413566 h 914263"/>
                <a:gd name="connsiteX254" fmla="*/ 1233777 w 1258521"/>
                <a:gd name="connsiteY254" fmla="*/ 409428 h 914263"/>
                <a:gd name="connsiteX255" fmla="*/ 1233676 w 1258521"/>
                <a:gd name="connsiteY255" fmla="*/ 405089 h 914263"/>
                <a:gd name="connsiteX256" fmla="*/ 1232599 w 1258521"/>
                <a:gd name="connsiteY256" fmla="*/ 401388 h 914263"/>
                <a:gd name="connsiteX257" fmla="*/ 1231623 w 1258521"/>
                <a:gd name="connsiteY257" fmla="*/ 398226 h 914263"/>
                <a:gd name="connsiteX258" fmla="*/ 1230849 w 1258521"/>
                <a:gd name="connsiteY258" fmla="*/ 396039 h 914263"/>
                <a:gd name="connsiteX259" fmla="*/ 1229974 w 1258521"/>
                <a:gd name="connsiteY259" fmla="*/ 395400 h 914263"/>
                <a:gd name="connsiteX260" fmla="*/ 1222805 w 1258521"/>
                <a:gd name="connsiteY260" fmla="*/ 392474 h 914263"/>
                <a:gd name="connsiteX261" fmla="*/ 1222368 w 1258521"/>
                <a:gd name="connsiteY261" fmla="*/ 390623 h 914263"/>
                <a:gd name="connsiteX262" fmla="*/ 1222570 w 1258521"/>
                <a:gd name="connsiteY262" fmla="*/ 387798 h 914263"/>
                <a:gd name="connsiteX263" fmla="*/ 1224320 w 1258521"/>
                <a:gd name="connsiteY263" fmla="*/ 384972 h 914263"/>
                <a:gd name="connsiteX264" fmla="*/ 1226272 w 1258521"/>
                <a:gd name="connsiteY264" fmla="*/ 383895 h 914263"/>
                <a:gd name="connsiteX265" fmla="*/ 1228325 w 1258521"/>
                <a:gd name="connsiteY265" fmla="*/ 382819 h 914263"/>
                <a:gd name="connsiteX266" fmla="*/ 1230176 w 1258521"/>
                <a:gd name="connsiteY266" fmla="*/ 380767 h 914263"/>
                <a:gd name="connsiteX267" fmla="*/ 1230714 w 1258521"/>
                <a:gd name="connsiteY267" fmla="*/ 380431 h 914263"/>
                <a:gd name="connsiteX268" fmla="*/ 1232128 w 1258521"/>
                <a:gd name="connsiteY268" fmla="*/ 378379 h 914263"/>
                <a:gd name="connsiteX269" fmla="*/ 1232666 w 1258521"/>
                <a:gd name="connsiteY269" fmla="*/ 376528 h 914263"/>
                <a:gd name="connsiteX270" fmla="*/ 1232431 w 1258521"/>
                <a:gd name="connsiteY270" fmla="*/ 374577 h 914263"/>
                <a:gd name="connsiteX271" fmla="*/ 1231993 w 1258521"/>
                <a:gd name="connsiteY271" fmla="*/ 371415 h 914263"/>
                <a:gd name="connsiteX272" fmla="*/ 1230479 w 1258521"/>
                <a:gd name="connsiteY272" fmla="*/ 369565 h 914263"/>
                <a:gd name="connsiteX273" fmla="*/ 1227753 w 1258521"/>
                <a:gd name="connsiteY273" fmla="*/ 368253 h 914263"/>
                <a:gd name="connsiteX274" fmla="*/ 1224488 w 1258521"/>
                <a:gd name="connsiteY274" fmla="*/ 365629 h 914263"/>
                <a:gd name="connsiteX275" fmla="*/ 1222839 w 1258521"/>
                <a:gd name="connsiteY275" fmla="*/ 364115 h 914263"/>
                <a:gd name="connsiteX276" fmla="*/ 1218700 w 1258521"/>
                <a:gd name="connsiteY276" fmla="*/ 361626 h 914263"/>
                <a:gd name="connsiteX277" fmla="*/ 1213483 w 1258521"/>
                <a:gd name="connsiteY277" fmla="*/ 360112 h 914263"/>
                <a:gd name="connsiteX278" fmla="*/ 1210858 w 1258521"/>
                <a:gd name="connsiteY278" fmla="*/ 358800 h 914263"/>
                <a:gd name="connsiteX279" fmla="*/ 1212373 w 1258521"/>
                <a:gd name="connsiteY279" fmla="*/ 354326 h 914263"/>
                <a:gd name="connsiteX280" fmla="*/ 1214123 w 1258521"/>
                <a:gd name="connsiteY280" fmla="*/ 353351 h 914263"/>
                <a:gd name="connsiteX281" fmla="*/ 1215099 w 1258521"/>
                <a:gd name="connsiteY281" fmla="*/ 351332 h 914263"/>
                <a:gd name="connsiteX282" fmla="*/ 1216176 w 1258521"/>
                <a:gd name="connsiteY282" fmla="*/ 348607 h 914263"/>
                <a:gd name="connsiteX283" fmla="*/ 1217589 w 1258521"/>
                <a:gd name="connsiteY283" fmla="*/ 344167 h 914263"/>
                <a:gd name="connsiteX284" fmla="*/ 1218363 w 1258521"/>
                <a:gd name="connsiteY284" fmla="*/ 341678 h 914263"/>
                <a:gd name="connsiteX285" fmla="*/ 1219878 w 1258521"/>
                <a:gd name="connsiteY285" fmla="*/ 340803 h 914263"/>
                <a:gd name="connsiteX286" fmla="*/ 1222267 w 1258521"/>
                <a:gd name="connsiteY286" fmla="*/ 339929 h 914263"/>
                <a:gd name="connsiteX287" fmla="*/ 1224017 w 1258521"/>
                <a:gd name="connsiteY287" fmla="*/ 338415 h 914263"/>
                <a:gd name="connsiteX288" fmla="*/ 1223916 w 1258521"/>
                <a:gd name="connsiteY288" fmla="*/ 334815 h 914263"/>
                <a:gd name="connsiteX289" fmla="*/ 1222604 w 1258521"/>
                <a:gd name="connsiteY289" fmla="*/ 332225 h 914263"/>
                <a:gd name="connsiteX290" fmla="*/ 1220315 w 1258521"/>
                <a:gd name="connsiteY290" fmla="*/ 329601 h 914263"/>
                <a:gd name="connsiteX291" fmla="*/ 1218902 w 1258521"/>
                <a:gd name="connsiteY291" fmla="*/ 327650 h 914263"/>
                <a:gd name="connsiteX292" fmla="*/ 1216075 w 1258521"/>
                <a:gd name="connsiteY292" fmla="*/ 325161 h 914263"/>
                <a:gd name="connsiteX293" fmla="*/ 1213248 w 1258521"/>
                <a:gd name="connsiteY293" fmla="*/ 321158 h 914263"/>
                <a:gd name="connsiteX294" fmla="*/ 1208469 w 1258521"/>
                <a:gd name="connsiteY294" fmla="*/ 318130 h 914263"/>
                <a:gd name="connsiteX295" fmla="*/ 1205103 w 1258521"/>
                <a:gd name="connsiteY295" fmla="*/ 315641 h 914263"/>
                <a:gd name="connsiteX296" fmla="*/ 1202377 w 1258521"/>
                <a:gd name="connsiteY296" fmla="*/ 312176 h 914263"/>
                <a:gd name="connsiteX297" fmla="*/ 1197060 w 1258521"/>
                <a:gd name="connsiteY297" fmla="*/ 309787 h 914263"/>
                <a:gd name="connsiteX298" fmla="*/ 1195983 w 1258521"/>
                <a:gd name="connsiteY298" fmla="*/ 309451 h 914263"/>
                <a:gd name="connsiteX299" fmla="*/ 1192920 w 1258521"/>
                <a:gd name="connsiteY299" fmla="*/ 308139 h 914263"/>
                <a:gd name="connsiteX300" fmla="*/ 1187603 w 1258521"/>
                <a:gd name="connsiteY300" fmla="*/ 306390 h 914263"/>
                <a:gd name="connsiteX301" fmla="*/ 1182050 w 1258521"/>
                <a:gd name="connsiteY301" fmla="*/ 303463 h 914263"/>
                <a:gd name="connsiteX302" fmla="*/ 1178247 w 1258521"/>
                <a:gd name="connsiteY302" fmla="*/ 300873 h 914263"/>
                <a:gd name="connsiteX303" fmla="*/ 1176934 w 1258521"/>
                <a:gd name="connsiteY303" fmla="*/ 299561 h 914263"/>
                <a:gd name="connsiteX304" fmla="*/ 1177035 w 1258521"/>
                <a:gd name="connsiteY304" fmla="*/ 296836 h 914263"/>
                <a:gd name="connsiteX305" fmla="*/ 1177473 w 1258521"/>
                <a:gd name="connsiteY305" fmla="*/ 294549 h 914263"/>
                <a:gd name="connsiteX306" fmla="*/ 1178247 w 1258521"/>
                <a:gd name="connsiteY306" fmla="*/ 291084 h 914263"/>
                <a:gd name="connsiteX307" fmla="*/ 1179559 w 1258521"/>
                <a:gd name="connsiteY307" fmla="*/ 290310 h 914263"/>
                <a:gd name="connsiteX308" fmla="*/ 1181074 w 1258521"/>
                <a:gd name="connsiteY308" fmla="*/ 288796 h 914263"/>
                <a:gd name="connsiteX309" fmla="*/ 1181713 w 1258521"/>
                <a:gd name="connsiteY309" fmla="*/ 287047 h 914263"/>
                <a:gd name="connsiteX310" fmla="*/ 1182353 w 1258521"/>
                <a:gd name="connsiteY310" fmla="*/ 285399 h 914263"/>
                <a:gd name="connsiteX311" fmla="*/ 1183127 w 1258521"/>
                <a:gd name="connsiteY311" fmla="*/ 283347 h 914263"/>
                <a:gd name="connsiteX312" fmla="*/ 1183564 w 1258521"/>
                <a:gd name="connsiteY312" fmla="*/ 281597 h 914263"/>
                <a:gd name="connsiteX313" fmla="*/ 1183901 w 1258521"/>
                <a:gd name="connsiteY313" fmla="*/ 279646 h 914263"/>
                <a:gd name="connsiteX314" fmla="*/ 1183362 w 1258521"/>
                <a:gd name="connsiteY314" fmla="*/ 277695 h 914263"/>
                <a:gd name="connsiteX315" fmla="*/ 1181410 w 1258521"/>
                <a:gd name="connsiteY315" fmla="*/ 275206 h 914263"/>
                <a:gd name="connsiteX316" fmla="*/ 1179795 w 1258521"/>
                <a:gd name="connsiteY316" fmla="*/ 273457 h 914263"/>
                <a:gd name="connsiteX317" fmla="*/ 1179459 w 1258521"/>
                <a:gd name="connsiteY317" fmla="*/ 271404 h 914263"/>
                <a:gd name="connsiteX318" fmla="*/ 1179459 w 1258521"/>
                <a:gd name="connsiteY318" fmla="*/ 269218 h 914263"/>
                <a:gd name="connsiteX319" fmla="*/ 1179223 w 1258521"/>
                <a:gd name="connsiteY319" fmla="*/ 266830 h 914263"/>
                <a:gd name="connsiteX320" fmla="*/ 1175756 w 1258521"/>
                <a:gd name="connsiteY320" fmla="*/ 264105 h 914263"/>
                <a:gd name="connsiteX321" fmla="*/ 1173030 w 1258521"/>
                <a:gd name="connsiteY321" fmla="*/ 262894 h 914263"/>
                <a:gd name="connsiteX322" fmla="*/ 1170742 w 1258521"/>
                <a:gd name="connsiteY322" fmla="*/ 263667 h 914263"/>
                <a:gd name="connsiteX323" fmla="*/ 1169665 w 1258521"/>
                <a:gd name="connsiteY323" fmla="*/ 264879 h 914263"/>
                <a:gd name="connsiteX324" fmla="*/ 1169564 w 1258521"/>
                <a:gd name="connsiteY324" fmla="*/ 266931 h 914263"/>
                <a:gd name="connsiteX325" fmla="*/ 1169026 w 1258521"/>
                <a:gd name="connsiteY325" fmla="*/ 269117 h 914263"/>
                <a:gd name="connsiteX326" fmla="*/ 1167275 w 1258521"/>
                <a:gd name="connsiteY326" fmla="*/ 272481 h 914263"/>
                <a:gd name="connsiteX327" fmla="*/ 1165626 w 1258521"/>
                <a:gd name="connsiteY327" fmla="*/ 275206 h 914263"/>
                <a:gd name="connsiteX328" fmla="*/ 1164987 w 1258521"/>
                <a:gd name="connsiteY328" fmla="*/ 276080 h 914263"/>
                <a:gd name="connsiteX329" fmla="*/ 1163910 w 1258521"/>
                <a:gd name="connsiteY329" fmla="*/ 278267 h 914263"/>
                <a:gd name="connsiteX330" fmla="*/ 1163809 w 1258521"/>
                <a:gd name="connsiteY330" fmla="*/ 281093 h 914263"/>
                <a:gd name="connsiteX331" fmla="*/ 1164011 w 1258521"/>
                <a:gd name="connsiteY331" fmla="*/ 282943 h 914263"/>
                <a:gd name="connsiteX332" fmla="*/ 1164549 w 1258521"/>
                <a:gd name="connsiteY332" fmla="*/ 285432 h 914263"/>
                <a:gd name="connsiteX333" fmla="*/ 1164650 w 1258521"/>
                <a:gd name="connsiteY333" fmla="*/ 287047 h 914263"/>
                <a:gd name="connsiteX334" fmla="*/ 1162800 w 1258521"/>
                <a:gd name="connsiteY334" fmla="*/ 288796 h 914263"/>
                <a:gd name="connsiteX335" fmla="*/ 1160410 w 1258521"/>
                <a:gd name="connsiteY335" fmla="*/ 289435 h 914263"/>
                <a:gd name="connsiteX336" fmla="*/ 1158121 w 1258521"/>
                <a:gd name="connsiteY336" fmla="*/ 289873 h 914263"/>
                <a:gd name="connsiteX337" fmla="*/ 1156472 w 1258521"/>
                <a:gd name="connsiteY337" fmla="*/ 289772 h 914263"/>
                <a:gd name="connsiteX338" fmla="*/ 1155059 w 1258521"/>
                <a:gd name="connsiteY338" fmla="*/ 286946 h 914263"/>
                <a:gd name="connsiteX339" fmla="*/ 1153309 w 1258521"/>
                <a:gd name="connsiteY339" fmla="*/ 284221 h 914263"/>
                <a:gd name="connsiteX340" fmla="*/ 1150583 w 1258521"/>
                <a:gd name="connsiteY340" fmla="*/ 281631 h 914263"/>
                <a:gd name="connsiteX341" fmla="*/ 1147857 w 1258521"/>
                <a:gd name="connsiteY341" fmla="*/ 277056 h 914263"/>
                <a:gd name="connsiteX342" fmla="*/ 1144828 w 1258521"/>
                <a:gd name="connsiteY342" fmla="*/ 275004 h 914263"/>
                <a:gd name="connsiteX343" fmla="*/ 1142775 w 1258521"/>
                <a:gd name="connsiteY343" fmla="*/ 274466 h 914263"/>
                <a:gd name="connsiteX344" fmla="*/ 1140587 w 1258521"/>
                <a:gd name="connsiteY344" fmla="*/ 273591 h 914263"/>
                <a:gd name="connsiteX345" fmla="*/ 1138534 w 1258521"/>
                <a:gd name="connsiteY345" fmla="*/ 271842 h 914263"/>
                <a:gd name="connsiteX346" fmla="*/ 1134933 w 1258521"/>
                <a:gd name="connsiteY346" fmla="*/ 267805 h 914263"/>
                <a:gd name="connsiteX347" fmla="*/ 1132645 w 1258521"/>
                <a:gd name="connsiteY347" fmla="*/ 264979 h 914263"/>
                <a:gd name="connsiteX348" fmla="*/ 1127327 w 1258521"/>
                <a:gd name="connsiteY348" fmla="*/ 258689 h 914263"/>
                <a:gd name="connsiteX349" fmla="*/ 1123727 w 1258521"/>
                <a:gd name="connsiteY349" fmla="*/ 254988 h 914263"/>
                <a:gd name="connsiteX350" fmla="*/ 1121135 w 1258521"/>
                <a:gd name="connsiteY350" fmla="*/ 253575 h 914263"/>
                <a:gd name="connsiteX351" fmla="*/ 1111140 w 1258521"/>
                <a:gd name="connsiteY351" fmla="*/ 244661 h 914263"/>
                <a:gd name="connsiteX352" fmla="*/ 1105688 w 1258521"/>
                <a:gd name="connsiteY352" fmla="*/ 240422 h 914263"/>
                <a:gd name="connsiteX353" fmla="*/ 1099596 w 1258521"/>
                <a:gd name="connsiteY353" fmla="*/ 235208 h 914263"/>
                <a:gd name="connsiteX354" fmla="*/ 1092865 w 1258521"/>
                <a:gd name="connsiteY354" fmla="*/ 231743 h 914263"/>
                <a:gd name="connsiteX355" fmla="*/ 1089399 w 1258521"/>
                <a:gd name="connsiteY355" fmla="*/ 228817 h 914263"/>
                <a:gd name="connsiteX356" fmla="*/ 1087346 w 1258521"/>
                <a:gd name="connsiteY356" fmla="*/ 227404 h 914263"/>
                <a:gd name="connsiteX357" fmla="*/ 1082668 w 1258521"/>
                <a:gd name="connsiteY357" fmla="*/ 226092 h 914263"/>
                <a:gd name="connsiteX358" fmla="*/ 1078629 w 1258521"/>
                <a:gd name="connsiteY358" fmla="*/ 224881 h 914263"/>
                <a:gd name="connsiteX359" fmla="*/ 1074052 w 1258521"/>
                <a:gd name="connsiteY359" fmla="*/ 220642 h 914263"/>
                <a:gd name="connsiteX360" fmla="*/ 1072100 w 1258521"/>
                <a:gd name="connsiteY360" fmla="*/ 219028 h 914263"/>
                <a:gd name="connsiteX361" fmla="*/ 1069711 w 1258521"/>
                <a:gd name="connsiteY361" fmla="*/ 216538 h 914263"/>
                <a:gd name="connsiteX362" fmla="*/ 1068398 w 1258521"/>
                <a:gd name="connsiteY362" fmla="*/ 216875 h 914263"/>
                <a:gd name="connsiteX363" fmla="*/ 1065235 w 1258521"/>
                <a:gd name="connsiteY363" fmla="*/ 218624 h 914263"/>
                <a:gd name="connsiteX364" fmla="*/ 1060893 w 1258521"/>
                <a:gd name="connsiteY364" fmla="*/ 218960 h 914263"/>
                <a:gd name="connsiteX365" fmla="*/ 1058840 w 1258521"/>
                <a:gd name="connsiteY365" fmla="*/ 216908 h 914263"/>
                <a:gd name="connsiteX366" fmla="*/ 1059379 w 1258521"/>
                <a:gd name="connsiteY366" fmla="*/ 215058 h 914263"/>
                <a:gd name="connsiteX367" fmla="*/ 1059917 w 1258521"/>
                <a:gd name="connsiteY367" fmla="*/ 212333 h 914263"/>
                <a:gd name="connsiteX368" fmla="*/ 1060355 w 1258521"/>
                <a:gd name="connsiteY368" fmla="*/ 210281 h 914263"/>
                <a:gd name="connsiteX369" fmla="*/ 1059379 w 1258521"/>
                <a:gd name="connsiteY369" fmla="*/ 205404 h 914263"/>
                <a:gd name="connsiteX370" fmla="*/ 1059379 w 1258521"/>
                <a:gd name="connsiteY370" fmla="*/ 201804 h 914263"/>
                <a:gd name="connsiteX371" fmla="*/ 1059042 w 1258521"/>
                <a:gd name="connsiteY371" fmla="*/ 197666 h 914263"/>
                <a:gd name="connsiteX372" fmla="*/ 1057292 w 1258521"/>
                <a:gd name="connsiteY372" fmla="*/ 194942 h 914263"/>
                <a:gd name="connsiteX373" fmla="*/ 1051436 w 1258521"/>
                <a:gd name="connsiteY373" fmla="*/ 194067 h 914263"/>
                <a:gd name="connsiteX374" fmla="*/ 1048071 w 1258521"/>
                <a:gd name="connsiteY374" fmla="*/ 192318 h 914263"/>
                <a:gd name="connsiteX375" fmla="*/ 1045379 w 1258521"/>
                <a:gd name="connsiteY375" fmla="*/ 192318 h 914263"/>
                <a:gd name="connsiteX376" fmla="*/ 1041845 w 1258521"/>
                <a:gd name="connsiteY376" fmla="*/ 191410 h 914263"/>
                <a:gd name="connsiteX377" fmla="*/ 1040162 w 1258521"/>
                <a:gd name="connsiteY377" fmla="*/ 190938 h 914263"/>
                <a:gd name="connsiteX378" fmla="*/ 1037268 w 1258521"/>
                <a:gd name="connsiteY378" fmla="*/ 188550 h 914263"/>
                <a:gd name="connsiteX379" fmla="*/ 1035888 w 1258521"/>
                <a:gd name="connsiteY379" fmla="*/ 187171 h 914263"/>
                <a:gd name="connsiteX380" fmla="*/ 1034441 w 1258521"/>
                <a:gd name="connsiteY380" fmla="*/ 185792 h 914263"/>
                <a:gd name="connsiteX381" fmla="*/ 1032859 w 1258521"/>
                <a:gd name="connsiteY381" fmla="*/ 183269 h 914263"/>
                <a:gd name="connsiteX382" fmla="*/ 1031715 w 1258521"/>
                <a:gd name="connsiteY382" fmla="*/ 181015 h 914263"/>
                <a:gd name="connsiteX383" fmla="*/ 1030772 w 1258521"/>
                <a:gd name="connsiteY383" fmla="*/ 179266 h 914263"/>
                <a:gd name="connsiteX384" fmla="*/ 1028686 w 1258521"/>
                <a:gd name="connsiteY384" fmla="*/ 178525 h 914263"/>
                <a:gd name="connsiteX385" fmla="*/ 1025421 w 1258521"/>
                <a:gd name="connsiteY385" fmla="*/ 177012 h 914263"/>
                <a:gd name="connsiteX386" fmla="*/ 1025489 w 1258521"/>
                <a:gd name="connsiteY386" fmla="*/ 174119 h 914263"/>
                <a:gd name="connsiteX387" fmla="*/ 1025186 w 1258521"/>
                <a:gd name="connsiteY387" fmla="*/ 171360 h 914263"/>
                <a:gd name="connsiteX388" fmla="*/ 1023941 w 1258521"/>
                <a:gd name="connsiteY388" fmla="*/ 168669 h 914263"/>
                <a:gd name="connsiteX389" fmla="*/ 1022426 w 1258521"/>
                <a:gd name="connsiteY389" fmla="*/ 166516 h 914263"/>
                <a:gd name="connsiteX390" fmla="*/ 1020676 w 1258521"/>
                <a:gd name="connsiteY390" fmla="*/ 165137 h 914263"/>
                <a:gd name="connsiteX391" fmla="*/ 1019465 w 1258521"/>
                <a:gd name="connsiteY391" fmla="*/ 165002 h 914263"/>
                <a:gd name="connsiteX392" fmla="*/ 1017849 w 1258521"/>
                <a:gd name="connsiteY392" fmla="*/ 165810 h 914263"/>
                <a:gd name="connsiteX393" fmla="*/ 1016099 w 1258521"/>
                <a:gd name="connsiteY393" fmla="*/ 167122 h 914263"/>
                <a:gd name="connsiteX394" fmla="*/ 1015224 w 1258521"/>
                <a:gd name="connsiteY394" fmla="*/ 169073 h 914263"/>
                <a:gd name="connsiteX395" fmla="*/ 1014787 w 1258521"/>
                <a:gd name="connsiteY395" fmla="*/ 171461 h 914263"/>
                <a:gd name="connsiteX396" fmla="*/ 1014214 w 1258521"/>
                <a:gd name="connsiteY396" fmla="*/ 173850 h 914263"/>
                <a:gd name="connsiteX397" fmla="*/ 1014147 w 1258521"/>
                <a:gd name="connsiteY397" fmla="*/ 175801 h 914263"/>
                <a:gd name="connsiteX398" fmla="*/ 1014147 w 1258521"/>
                <a:gd name="connsiteY398" fmla="*/ 177617 h 914263"/>
                <a:gd name="connsiteX399" fmla="*/ 1015426 w 1258521"/>
                <a:gd name="connsiteY399" fmla="*/ 179568 h 914263"/>
                <a:gd name="connsiteX400" fmla="*/ 1016705 w 1258521"/>
                <a:gd name="connsiteY400" fmla="*/ 181385 h 914263"/>
                <a:gd name="connsiteX401" fmla="*/ 1017580 w 1258521"/>
                <a:gd name="connsiteY401" fmla="*/ 183706 h 914263"/>
                <a:gd name="connsiteX402" fmla="*/ 1018825 w 1258521"/>
                <a:gd name="connsiteY402" fmla="*/ 185455 h 914263"/>
                <a:gd name="connsiteX403" fmla="*/ 1019431 w 1258521"/>
                <a:gd name="connsiteY403" fmla="*/ 185960 h 914263"/>
                <a:gd name="connsiteX404" fmla="*/ 1020575 w 1258521"/>
                <a:gd name="connsiteY404" fmla="*/ 187406 h 914263"/>
                <a:gd name="connsiteX405" fmla="*/ 1021719 w 1258521"/>
                <a:gd name="connsiteY405" fmla="*/ 188146 h 914263"/>
                <a:gd name="connsiteX406" fmla="*/ 1025186 w 1258521"/>
                <a:gd name="connsiteY406" fmla="*/ 192789 h 914263"/>
                <a:gd name="connsiteX407" fmla="*/ 1024883 w 1258521"/>
                <a:gd name="connsiteY407" fmla="*/ 195682 h 914263"/>
                <a:gd name="connsiteX408" fmla="*/ 1023133 w 1258521"/>
                <a:gd name="connsiteY408" fmla="*/ 197700 h 914263"/>
                <a:gd name="connsiteX409" fmla="*/ 1019397 w 1258521"/>
                <a:gd name="connsiteY409" fmla="*/ 198777 h 914263"/>
                <a:gd name="connsiteX410" fmla="*/ 1017277 w 1258521"/>
                <a:gd name="connsiteY410" fmla="*/ 198911 h 914263"/>
                <a:gd name="connsiteX411" fmla="*/ 1013878 w 1258521"/>
                <a:gd name="connsiteY411" fmla="*/ 197902 h 914263"/>
                <a:gd name="connsiteX412" fmla="*/ 1011859 w 1258521"/>
                <a:gd name="connsiteY412" fmla="*/ 196960 h 914263"/>
                <a:gd name="connsiteX413" fmla="*/ 1008224 w 1258521"/>
                <a:gd name="connsiteY413" fmla="*/ 195143 h 914263"/>
                <a:gd name="connsiteX414" fmla="*/ 1006575 w 1258521"/>
                <a:gd name="connsiteY414" fmla="*/ 193899 h 914263"/>
                <a:gd name="connsiteX415" fmla="*/ 1006272 w 1258521"/>
                <a:gd name="connsiteY415" fmla="*/ 191073 h 914263"/>
                <a:gd name="connsiteX416" fmla="*/ 1003580 w 1258521"/>
                <a:gd name="connsiteY416" fmla="*/ 188617 h 914263"/>
                <a:gd name="connsiteX417" fmla="*/ 1001695 w 1258521"/>
                <a:gd name="connsiteY417" fmla="*/ 187743 h 914263"/>
                <a:gd name="connsiteX418" fmla="*/ 996983 w 1258521"/>
                <a:gd name="connsiteY418" fmla="*/ 183975 h 914263"/>
                <a:gd name="connsiteX419" fmla="*/ 987493 w 1258521"/>
                <a:gd name="connsiteY419" fmla="*/ 175868 h 914263"/>
                <a:gd name="connsiteX420" fmla="*/ 986416 w 1258521"/>
                <a:gd name="connsiteY420" fmla="*/ 174993 h 914263"/>
                <a:gd name="connsiteX421" fmla="*/ 984228 w 1258521"/>
                <a:gd name="connsiteY421" fmla="*/ 172370 h 914263"/>
                <a:gd name="connsiteX422" fmla="*/ 982579 w 1258521"/>
                <a:gd name="connsiteY422" fmla="*/ 170721 h 914263"/>
                <a:gd name="connsiteX423" fmla="*/ 981132 w 1258521"/>
                <a:gd name="connsiteY423" fmla="*/ 169712 h 914263"/>
                <a:gd name="connsiteX424" fmla="*/ 978877 w 1258521"/>
                <a:gd name="connsiteY424" fmla="*/ 170082 h 914263"/>
                <a:gd name="connsiteX425" fmla="*/ 977127 w 1258521"/>
                <a:gd name="connsiteY425" fmla="*/ 169880 h 914263"/>
                <a:gd name="connsiteX426" fmla="*/ 976117 w 1258521"/>
                <a:gd name="connsiteY426" fmla="*/ 168938 h 914263"/>
                <a:gd name="connsiteX427" fmla="*/ 974670 w 1258521"/>
                <a:gd name="connsiteY427" fmla="*/ 167626 h 914263"/>
                <a:gd name="connsiteX428" fmla="*/ 974536 w 1258521"/>
                <a:gd name="connsiteY428" fmla="*/ 166045 h 914263"/>
                <a:gd name="connsiteX429" fmla="*/ 976353 w 1258521"/>
                <a:gd name="connsiteY429" fmla="*/ 164296 h 914263"/>
                <a:gd name="connsiteX430" fmla="*/ 975848 w 1258521"/>
                <a:gd name="connsiteY430" fmla="*/ 163152 h 914263"/>
                <a:gd name="connsiteX431" fmla="*/ 973593 w 1258521"/>
                <a:gd name="connsiteY431" fmla="*/ 161639 h 914263"/>
                <a:gd name="connsiteX432" fmla="*/ 972281 w 1258521"/>
                <a:gd name="connsiteY432" fmla="*/ 159183 h 914263"/>
                <a:gd name="connsiteX433" fmla="*/ 970262 w 1258521"/>
                <a:gd name="connsiteY433" fmla="*/ 158174 h 914263"/>
                <a:gd name="connsiteX434" fmla="*/ 968680 w 1258521"/>
                <a:gd name="connsiteY434" fmla="*/ 156727 h 914263"/>
                <a:gd name="connsiteX435" fmla="*/ 967367 w 1258521"/>
                <a:gd name="connsiteY435" fmla="*/ 153699 h 914263"/>
                <a:gd name="connsiteX436" fmla="*/ 966930 w 1258521"/>
                <a:gd name="connsiteY436" fmla="*/ 150369 h 914263"/>
                <a:gd name="connsiteX437" fmla="*/ 965785 w 1258521"/>
                <a:gd name="connsiteY437" fmla="*/ 148048 h 914263"/>
                <a:gd name="connsiteX438" fmla="*/ 964036 w 1258521"/>
                <a:gd name="connsiteY438" fmla="*/ 146601 h 914263"/>
                <a:gd name="connsiteX439" fmla="*/ 961579 w 1258521"/>
                <a:gd name="connsiteY439" fmla="*/ 144146 h 914263"/>
                <a:gd name="connsiteX440" fmla="*/ 960401 w 1258521"/>
                <a:gd name="connsiteY440" fmla="*/ 141387 h 914263"/>
                <a:gd name="connsiteX441" fmla="*/ 958651 w 1258521"/>
                <a:gd name="connsiteY441" fmla="*/ 137620 h 914263"/>
                <a:gd name="connsiteX442" fmla="*/ 955016 w 1258521"/>
                <a:gd name="connsiteY442" fmla="*/ 132843 h 914263"/>
                <a:gd name="connsiteX443" fmla="*/ 951381 w 1258521"/>
                <a:gd name="connsiteY443" fmla="*/ 129512 h 914263"/>
                <a:gd name="connsiteX444" fmla="*/ 946872 w 1258521"/>
                <a:gd name="connsiteY444" fmla="*/ 127057 h 914263"/>
                <a:gd name="connsiteX445" fmla="*/ 943102 w 1258521"/>
                <a:gd name="connsiteY445" fmla="*/ 123155 h 914263"/>
                <a:gd name="connsiteX446" fmla="*/ 939905 w 1258521"/>
                <a:gd name="connsiteY446" fmla="*/ 120564 h 914263"/>
                <a:gd name="connsiteX447" fmla="*/ 936876 w 1258521"/>
                <a:gd name="connsiteY447" fmla="*/ 117537 h 914263"/>
                <a:gd name="connsiteX448" fmla="*/ 935294 w 1258521"/>
                <a:gd name="connsiteY448" fmla="*/ 115956 h 914263"/>
                <a:gd name="connsiteX449" fmla="*/ 933410 w 1258521"/>
                <a:gd name="connsiteY449" fmla="*/ 114072 h 914263"/>
                <a:gd name="connsiteX450" fmla="*/ 930516 w 1258521"/>
                <a:gd name="connsiteY450" fmla="*/ 112491 h 914263"/>
                <a:gd name="connsiteX451" fmla="*/ 928934 w 1258521"/>
                <a:gd name="connsiteY451" fmla="*/ 108723 h 914263"/>
                <a:gd name="connsiteX452" fmla="*/ 926612 w 1258521"/>
                <a:gd name="connsiteY452" fmla="*/ 104653 h 914263"/>
                <a:gd name="connsiteX453" fmla="*/ 922842 w 1258521"/>
                <a:gd name="connsiteY453" fmla="*/ 102063 h 914263"/>
                <a:gd name="connsiteX454" fmla="*/ 921092 w 1258521"/>
                <a:gd name="connsiteY454" fmla="*/ 102063 h 914263"/>
                <a:gd name="connsiteX455" fmla="*/ 919073 w 1258521"/>
                <a:gd name="connsiteY455" fmla="*/ 100044 h 914263"/>
                <a:gd name="connsiteX456" fmla="*/ 916482 w 1258521"/>
                <a:gd name="connsiteY456" fmla="*/ 97151 h 914263"/>
                <a:gd name="connsiteX457" fmla="*/ 915472 w 1258521"/>
                <a:gd name="connsiteY457" fmla="*/ 93955 h 914263"/>
                <a:gd name="connsiteX458" fmla="*/ 914159 w 1258521"/>
                <a:gd name="connsiteY458" fmla="*/ 89751 h 914263"/>
                <a:gd name="connsiteX459" fmla="*/ 911703 w 1258521"/>
                <a:gd name="connsiteY459" fmla="*/ 86992 h 914263"/>
                <a:gd name="connsiteX460" fmla="*/ 907227 w 1258521"/>
                <a:gd name="connsiteY460" fmla="*/ 84671 h 914263"/>
                <a:gd name="connsiteX461" fmla="*/ 904198 w 1258521"/>
                <a:gd name="connsiteY461" fmla="*/ 84671 h 914263"/>
                <a:gd name="connsiteX462" fmla="*/ 900563 w 1258521"/>
                <a:gd name="connsiteY462" fmla="*/ 87059 h 914263"/>
                <a:gd name="connsiteX463" fmla="*/ 898678 w 1258521"/>
                <a:gd name="connsiteY463" fmla="*/ 87867 h 914263"/>
                <a:gd name="connsiteX464" fmla="*/ 897534 w 1258521"/>
                <a:gd name="connsiteY464" fmla="*/ 89885 h 914263"/>
                <a:gd name="connsiteX465" fmla="*/ 896524 w 1258521"/>
                <a:gd name="connsiteY465" fmla="*/ 91769 h 914263"/>
                <a:gd name="connsiteX466" fmla="*/ 896221 w 1258521"/>
                <a:gd name="connsiteY466" fmla="*/ 94225 h 914263"/>
                <a:gd name="connsiteX467" fmla="*/ 895649 w 1258521"/>
                <a:gd name="connsiteY467" fmla="*/ 95671 h 914263"/>
                <a:gd name="connsiteX468" fmla="*/ 893899 w 1258521"/>
                <a:gd name="connsiteY468" fmla="*/ 98295 h 914263"/>
                <a:gd name="connsiteX469" fmla="*/ 893024 w 1258521"/>
                <a:gd name="connsiteY469" fmla="*/ 99439 h 914263"/>
                <a:gd name="connsiteX470" fmla="*/ 887942 w 1258521"/>
                <a:gd name="connsiteY470" fmla="*/ 101020 h 914263"/>
                <a:gd name="connsiteX471" fmla="*/ 879596 w 1258521"/>
                <a:gd name="connsiteY471" fmla="*/ 102264 h 914263"/>
                <a:gd name="connsiteX472" fmla="*/ 873740 w 1258521"/>
                <a:gd name="connsiteY472" fmla="*/ 101625 h 914263"/>
                <a:gd name="connsiteX473" fmla="*/ 872428 w 1258521"/>
                <a:gd name="connsiteY473" fmla="*/ 98261 h 914263"/>
                <a:gd name="connsiteX474" fmla="*/ 870240 w 1258521"/>
                <a:gd name="connsiteY474" fmla="*/ 94998 h 914263"/>
                <a:gd name="connsiteX475" fmla="*/ 866538 w 1258521"/>
                <a:gd name="connsiteY475" fmla="*/ 90087 h 914263"/>
                <a:gd name="connsiteX476" fmla="*/ 863913 w 1258521"/>
                <a:gd name="connsiteY476" fmla="*/ 89111 h 914263"/>
                <a:gd name="connsiteX477" fmla="*/ 862500 w 1258521"/>
                <a:gd name="connsiteY477" fmla="*/ 89313 h 914263"/>
                <a:gd name="connsiteX478" fmla="*/ 860548 w 1258521"/>
                <a:gd name="connsiteY478" fmla="*/ 89515 h 914263"/>
                <a:gd name="connsiteX479" fmla="*/ 859134 w 1258521"/>
                <a:gd name="connsiteY479" fmla="*/ 91802 h 914263"/>
                <a:gd name="connsiteX480" fmla="*/ 856846 w 1258521"/>
                <a:gd name="connsiteY480" fmla="*/ 94830 h 914263"/>
                <a:gd name="connsiteX481" fmla="*/ 855432 w 1258521"/>
                <a:gd name="connsiteY481" fmla="*/ 96243 h 914263"/>
                <a:gd name="connsiteX482" fmla="*/ 853918 w 1258521"/>
                <a:gd name="connsiteY482" fmla="*/ 98968 h 914263"/>
                <a:gd name="connsiteX483" fmla="*/ 851629 w 1258521"/>
                <a:gd name="connsiteY483" fmla="*/ 100818 h 914263"/>
                <a:gd name="connsiteX484" fmla="*/ 850317 w 1258521"/>
                <a:gd name="connsiteY484" fmla="*/ 101255 h 914263"/>
                <a:gd name="connsiteX485" fmla="*/ 847591 w 1258521"/>
                <a:gd name="connsiteY485" fmla="*/ 103307 h 914263"/>
                <a:gd name="connsiteX486" fmla="*/ 846177 w 1258521"/>
                <a:gd name="connsiteY486" fmla="*/ 106772 h 914263"/>
                <a:gd name="connsiteX487" fmla="*/ 845302 w 1258521"/>
                <a:gd name="connsiteY487" fmla="*/ 108824 h 914263"/>
                <a:gd name="connsiteX488" fmla="*/ 843014 w 1258521"/>
                <a:gd name="connsiteY488" fmla="*/ 112525 h 914263"/>
                <a:gd name="connsiteX489" fmla="*/ 840725 w 1258521"/>
                <a:gd name="connsiteY489" fmla="*/ 113164 h 914263"/>
                <a:gd name="connsiteX490" fmla="*/ 835711 w 1258521"/>
                <a:gd name="connsiteY490" fmla="*/ 112827 h 914263"/>
                <a:gd name="connsiteX491" fmla="*/ 834970 w 1258521"/>
                <a:gd name="connsiteY491" fmla="*/ 111515 h 914263"/>
                <a:gd name="connsiteX492" fmla="*/ 834970 w 1258521"/>
                <a:gd name="connsiteY492" fmla="*/ 108791 h 914263"/>
                <a:gd name="connsiteX493" fmla="*/ 834768 w 1258521"/>
                <a:gd name="connsiteY493" fmla="*/ 104989 h 914263"/>
                <a:gd name="connsiteX494" fmla="*/ 830326 w 1258521"/>
                <a:gd name="connsiteY494" fmla="*/ 102601 h 914263"/>
                <a:gd name="connsiteX495" fmla="*/ 825109 w 1258521"/>
                <a:gd name="connsiteY495" fmla="*/ 100111 h 914263"/>
                <a:gd name="connsiteX496" fmla="*/ 819018 w 1258521"/>
                <a:gd name="connsiteY496" fmla="*/ 97185 h 914263"/>
                <a:gd name="connsiteX497" fmla="*/ 814239 w 1258521"/>
                <a:gd name="connsiteY497" fmla="*/ 94696 h 914263"/>
                <a:gd name="connsiteX498" fmla="*/ 808248 w 1258521"/>
                <a:gd name="connsiteY498" fmla="*/ 92744 h 914263"/>
                <a:gd name="connsiteX499" fmla="*/ 802594 w 1258521"/>
                <a:gd name="connsiteY499" fmla="*/ 89481 h 914263"/>
                <a:gd name="connsiteX500" fmla="*/ 798590 w 1258521"/>
                <a:gd name="connsiteY500" fmla="*/ 84469 h 914263"/>
                <a:gd name="connsiteX501" fmla="*/ 796301 w 1258521"/>
                <a:gd name="connsiteY501" fmla="*/ 81643 h 914263"/>
                <a:gd name="connsiteX502" fmla="*/ 792936 w 1258521"/>
                <a:gd name="connsiteY502" fmla="*/ 76766 h 914263"/>
                <a:gd name="connsiteX503" fmla="*/ 789772 w 1258521"/>
                <a:gd name="connsiteY503" fmla="*/ 73301 h 914263"/>
                <a:gd name="connsiteX504" fmla="*/ 784993 w 1258521"/>
                <a:gd name="connsiteY504" fmla="*/ 67986 h 914263"/>
                <a:gd name="connsiteX505" fmla="*/ 782065 w 1258521"/>
                <a:gd name="connsiteY505" fmla="*/ 64958 h 914263"/>
                <a:gd name="connsiteX506" fmla="*/ 777926 w 1258521"/>
                <a:gd name="connsiteY506" fmla="*/ 59845 h 914263"/>
                <a:gd name="connsiteX507" fmla="*/ 774560 w 1258521"/>
                <a:gd name="connsiteY507" fmla="*/ 57120 h 914263"/>
                <a:gd name="connsiteX508" fmla="*/ 770320 w 1258521"/>
                <a:gd name="connsiteY508" fmla="*/ 54631 h 914263"/>
                <a:gd name="connsiteX509" fmla="*/ 765204 w 1258521"/>
                <a:gd name="connsiteY509" fmla="*/ 53857 h 914263"/>
                <a:gd name="connsiteX510" fmla="*/ 753459 w 1258521"/>
                <a:gd name="connsiteY510" fmla="*/ 53420 h 914263"/>
                <a:gd name="connsiteX511" fmla="*/ 749992 w 1258521"/>
                <a:gd name="connsiteY511" fmla="*/ 54193 h 914263"/>
                <a:gd name="connsiteX512" fmla="*/ 748478 w 1258521"/>
                <a:gd name="connsiteY512" fmla="*/ 55270 h 914263"/>
                <a:gd name="connsiteX513" fmla="*/ 744877 w 1258521"/>
                <a:gd name="connsiteY513" fmla="*/ 59071 h 914263"/>
                <a:gd name="connsiteX514" fmla="*/ 743261 w 1258521"/>
                <a:gd name="connsiteY514" fmla="*/ 62435 h 914263"/>
                <a:gd name="connsiteX515" fmla="*/ 740973 w 1258521"/>
                <a:gd name="connsiteY515" fmla="*/ 70038 h 914263"/>
                <a:gd name="connsiteX516" fmla="*/ 745853 w 1258521"/>
                <a:gd name="connsiteY516" fmla="*/ 76867 h 914263"/>
                <a:gd name="connsiteX517" fmla="*/ 745954 w 1258521"/>
                <a:gd name="connsiteY517" fmla="*/ 81206 h 914263"/>
                <a:gd name="connsiteX518" fmla="*/ 743127 w 1258521"/>
                <a:gd name="connsiteY518" fmla="*/ 87934 h 914263"/>
                <a:gd name="connsiteX519" fmla="*/ 740199 w 1258521"/>
                <a:gd name="connsiteY519" fmla="*/ 98160 h 914263"/>
                <a:gd name="connsiteX520" fmla="*/ 737708 w 1258521"/>
                <a:gd name="connsiteY520" fmla="*/ 107512 h 914263"/>
                <a:gd name="connsiteX521" fmla="*/ 736632 w 1258521"/>
                <a:gd name="connsiteY521" fmla="*/ 112289 h 914263"/>
                <a:gd name="connsiteX522" fmla="*/ 738247 w 1258521"/>
                <a:gd name="connsiteY522" fmla="*/ 117167 h 914263"/>
                <a:gd name="connsiteX523" fmla="*/ 740098 w 1258521"/>
                <a:gd name="connsiteY523" fmla="*/ 122280 h 914263"/>
                <a:gd name="connsiteX524" fmla="*/ 740435 w 1258521"/>
                <a:gd name="connsiteY524" fmla="*/ 129546 h 914263"/>
                <a:gd name="connsiteX525" fmla="*/ 740233 w 1258521"/>
                <a:gd name="connsiteY525" fmla="*/ 135971 h 914263"/>
                <a:gd name="connsiteX526" fmla="*/ 739694 w 1258521"/>
                <a:gd name="connsiteY526" fmla="*/ 141186 h 914263"/>
                <a:gd name="connsiteX527" fmla="*/ 739593 w 1258521"/>
                <a:gd name="connsiteY527" fmla="*/ 145525 h 914263"/>
                <a:gd name="connsiteX528" fmla="*/ 739055 w 1258521"/>
                <a:gd name="connsiteY528" fmla="*/ 148014 h 914263"/>
                <a:gd name="connsiteX529" fmla="*/ 736665 w 1258521"/>
                <a:gd name="connsiteY529" fmla="*/ 149528 h 914263"/>
                <a:gd name="connsiteX530" fmla="*/ 732324 w 1258521"/>
                <a:gd name="connsiteY530" fmla="*/ 150403 h 914263"/>
                <a:gd name="connsiteX531" fmla="*/ 727881 w 1258521"/>
                <a:gd name="connsiteY531" fmla="*/ 150403 h 914263"/>
                <a:gd name="connsiteX532" fmla="*/ 724179 w 1258521"/>
                <a:gd name="connsiteY532" fmla="*/ 152051 h 914263"/>
                <a:gd name="connsiteX533" fmla="*/ 718862 w 1258521"/>
                <a:gd name="connsiteY533" fmla="*/ 151513 h 914263"/>
                <a:gd name="connsiteX534" fmla="*/ 716472 w 1258521"/>
                <a:gd name="connsiteY534" fmla="*/ 150302 h 914263"/>
                <a:gd name="connsiteX535" fmla="*/ 712333 w 1258521"/>
                <a:gd name="connsiteY535" fmla="*/ 146938 h 914263"/>
                <a:gd name="connsiteX536" fmla="*/ 708429 w 1258521"/>
                <a:gd name="connsiteY536" fmla="*/ 143574 h 914263"/>
                <a:gd name="connsiteX537" fmla="*/ 704626 w 1258521"/>
                <a:gd name="connsiteY537" fmla="*/ 139874 h 914263"/>
                <a:gd name="connsiteX538" fmla="*/ 701261 w 1258521"/>
                <a:gd name="connsiteY538" fmla="*/ 138999 h 914263"/>
                <a:gd name="connsiteX539" fmla="*/ 699510 w 1258521"/>
                <a:gd name="connsiteY539" fmla="*/ 135399 h 914263"/>
                <a:gd name="connsiteX540" fmla="*/ 699746 w 1258521"/>
                <a:gd name="connsiteY540" fmla="*/ 133011 h 914263"/>
                <a:gd name="connsiteX541" fmla="*/ 699847 w 1258521"/>
                <a:gd name="connsiteY541" fmla="*/ 127158 h 914263"/>
                <a:gd name="connsiteX542" fmla="*/ 695607 w 1258521"/>
                <a:gd name="connsiteY542" fmla="*/ 123155 h 914263"/>
                <a:gd name="connsiteX543" fmla="*/ 690727 w 1258521"/>
                <a:gd name="connsiteY543" fmla="*/ 117604 h 914263"/>
                <a:gd name="connsiteX544" fmla="*/ 686924 w 1258521"/>
                <a:gd name="connsiteY544" fmla="*/ 115754 h 914263"/>
                <a:gd name="connsiteX545" fmla="*/ 680395 w 1258521"/>
                <a:gd name="connsiteY545" fmla="*/ 113265 h 914263"/>
                <a:gd name="connsiteX546" fmla="*/ 677770 w 1258521"/>
                <a:gd name="connsiteY546" fmla="*/ 113265 h 914263"/>
                <a:gd name="connsiteX547" fmla="*/ 671678 w 1258521"/>
                <a:gd name="connsiteY547" fmla="*/ 110439 h 914263"/>
                <a:gd name="connsiteX548" fmla="*/ 659731 w 1258521"/>
                <a:gd name="connsiteY548" fmla="*/ 102836 h 914263"/>
                <a:gd name="connsiteX549" fmla="*/ 655288 w 1258521"/>
                <a:gd name="connsiteY549" fmla="*/ 98598 h 914263"/>
                <a:gd name="connsiteX550" fmla="*/ 648759 w 1258521"/>
                <a:gd name="connsiteY550" fmla="*/ 92307 h 914263"/>
                <a:gd name="connsiteX551" fmla="*/ 643879 w 1258521"/>
                <a:gd name="connsiteY551" fmla="*/ 87093 h 914263"/>
                <a:gd name="connsiteX552" fmla="*/ 640952 w 1258521"/>
                <a:gd name="connsiteY552" fmla="*/ 84368 h 914263"/>
                <a:gd name="connsiteX553" fmla="*/ 638461 w 1258521"/>
                <a:gd name="connsiteY553" fmla="*/ 82854 h 914263"/>
                <a:gd name="connsiteX554" fmla="*/ 634658 w 1258521"/>
                <a:gd name="connsiteY554" fmla="*/ 81004 h 914263"/>
                <a:gd name="connsiteX555" fmla="*/ 633043 w 1258521"/>
                <a:gd name="connsiteY555" fmla="*/ 79692 h 914263"/>
                <a:gd name="connsiteX556" fmla="*/ 631966 w 1258521"/>
                <a:gd name="connsiteY556" fmla="*/ 71551 h 914263"/>
                <a:gd name="connsiteX557" fmla="*/ 627187 w 1258521"/>
                <a:gd name="connsiteY557" fmla="*/ 67212 h 914263"/>
                <a:gd name="connsiteX558" fmla="*/ 624898 w 1258521"/>
                <a:gd name="connsiteY558" fmla="*/ 64924 h 914263"/>
                <a:gd name="connsiteX559" fmla="*/ 615340 w 1258521"/>
                <a:gd name="connsiteY559" fmla="*/ 57322 h 914263"/>
                <a:gd name="connsiteX560" fmla="*/ 607499 w 1258521"/>
                <a:gd name="connsiteY560" fmla="*/ 47667 h 914263"/>
                <a:gd name="connsiteX561" fmla="*/ 602720 w 1258521"/>
                <a:gd name="connsiteY561" fmla="*/ 43866 h 914263"/>
                <a:gd name="connsiteX562" fmla="*/ 599119 w 1258521"/>
                <a:gd name="connsiteY562" fmla="*/ 36163 h 914263"/>
                <a:gd name="connsiteX563" fmla="*/ 593566 w 1258521"/>
                <a:gd name="connsiteY563" fmla="*/ 34514 h 914263"/>
                <a:gd name="connsiteX564" fmla="*/ 585320 w 1258521"/>
                <a:gd name="connsiteY564" fmla="*/ 35591 h 914263"/>
                <a:gd name="connsiteX565" fmla="*/ 580306 w 1258521"/>
                <a:gd name="connsiteY565" fmla="*/ 31890 h 914263"/>
                <a:gd name="connsiteX566" fmla="*/ 574316 w 1258521"/>
                <a:gd name="connsiteY566" fmla="*/ 27753 h 914263"/>
                <a:gd name="connsiteX567" fmla="*/ 567887 w 1258521"/>
                <a:gd name="connsiteY567" fmla="*/ 25701 h 914263"/>
                <a:gd name="connsiteX568" fmla="*/ 563310 w 1258521"/>
                <a:gd name="connsiteY568" fmla="*/ 25802 h 914263"/>
                <a:gd name="connsiteX569" fmla="*/ 555806 w 1258521"/>
                <a:gd name="connsiteY569" fmla="*/ 25600 h 914263"/>
                <a:gd name="connsiteX570" fmla="*/ 549377 w 1258521"/>
                <a:gd name="connsiteY570" fmla="*/ 23750 h 914263"/>
                <a:gd name="connsiteX571" fmla="*/ 542949 w 1258521"/>
                <a:gd name="connsiteY571" fmla="*/ 19410 h 914263"/>
                <a:gd name="connsiteX572" fmla="*/ 536757 w 1258521"/>
                <a:gd name="connsiteY572" fmla="*/ 14970 h 914263"/>
                <a:gd name="connsiteX573" fmla="*/ 532954 w 1258521"/>
                <a:gd name="connsiteY573" fmla="*/ 12581 h 914263"/>
                <a:gd name="connsiteX574" fmla="*/ 526997 w 1258521"/>
                <a:gd name="connsiteY574" fmla="*/ 11606 h 914263"/>
                <a:gd name="connsiteX575" fmla="*/ 517978 w 1258521"/>
                <a:gd name="connsiteY575" fmla="*/ 12682 h 914263"/>
                <a:gd name="connsiteX576" fmla="*/ 514377 w 1258521"/>
                <a:gd name="connsiteY576" fmla="*/ 10630 h 914263"/>
                <a:gd name="connsiteX577" fmla="*/ 511651 w 1258521"/>
                <a:gd name="connsiteY577" fmla="*/ 8242 h 914263"/>
                <a:gd name="connsiteX578" fmla="*/ 509800 w 1258521"/>
                <a:gd name="connsiteY578" fmla="*/ 6829 h 914263"/>
                <a:gd name="connsiteX579" fmla="*/ 507747 w 1258521"/>
                <a:gd name="connsiteY579" fmla="*/ 7165 h 914263"/>
                <a:gd name="connsiteX580" fmla="*/ 503708 w 1258521"/>
                <a:gd name="connsiteY580" fmla="*/ 8477 h 914263"/>
                <a:gd name="connsiteX581" fmla="*/ 500006 w 1258521"/>
                <a:gd name="connsiteY581" fmla="*/ 9991 h 914263"/>
                <a:gd name="connsiteX582" fmla="*/ 496203 w 1258521"/>
                <a:gd name="connsiteY582" fmla="*/ 10630 h 914263"/>
                <a:gd name="connsiteX583" fmla="*/ 492737 w 1258521"/>
                <a:gd name="connsiteY583" fmla="*/ 11841 h 914263"/>
                <a:gd name="connsiteX584" fmla="*/ 489136 w 1258521"/>
                <a:gd name="connsiteY584" fmla="*/ 11639 h 914263"/>
                <a:gd name="connsiteX585" fmla="*/ 485333 w 1258521"/>
                <a:gd name="connsiteY585" fmla="*/ 11101 h 914263"/>
                <a:gd name="connsiteX586" fmla="*/ 482068 w 1258521"/>
                <a:gd name="connsiteY586" fmla="*/ 9587 h 914263"/>
                <a:gd name="connsiteX587" fmla="*/ 478265 w 1258521"/>
                <a:gd name="connsiteY587" fmla="*/ 8174 h 914263"/>
                <a:gd name="connsiteX588" fmla="*/ 471635 w 1258521"/>
                <a:gd name="connsiteY588" fmla="*/ 7401 h 914263"/>
                <a:gd name="connsiteX589" fmla="*/ 465477 w 1258521"/>
                <a:gd name="connsiteY589" fmla="*/ 6425 h 914263"/>
                <a:gd name="connsiteX590" fmla="*/ 458308 w 1258521"/>
                <a:gd name="connsiteY590" fmla="*/ 6425 h 914263"/>
                <a:gd name="connsiteX591" fmla="*/ 453428 w 1258521"/>
                <a:gd name="connsiteY591" fmla="*/ 5113 h 914263"/>
                <a:gd name="connsiteX592" fmla="*/ 449827 w 1258521"/>
                <a:gd name="connsiteY592" fmla="*/ 3498 h 914263"/>
                <a:gd name="connsiteX593" fmla="*/ 446024 w 1258521"/>
                <a:gd name="connsiteY593" fmla="*/ 1884 h 914263"/>
                <a:gd name="connsiteX594" fmla="*/ 443298 w 1258521"/>
                <a:gd name="connsiteY594" fmla="*/ 1547 h 914263"/>
                <a:gd name="connsiteX595" fmla="*/ 442760 w 1258521"/>
                <a:gd name="connsiteY595" fmla="*/ 1884 h 914263"/>
                <a:gd name="connsiteX596" fmla="*/ 442120 w 1258521"/>
                <a:gd name="connsiteY596" fmla="*/ 4272 h 914263"/>
                <a:gd name="connsiteX597" fmla="*/ 440707 w 1258521"/>
                <a:gd name="connsiteY597" fmla="*/ 7098 h 914263"/>
                <a:gd name="connsiteX598" fmla="*/ 437880 w 1258521"/>
                <a:gd name="connsiteY598" fmla="*/ 9486 h 914263"/>
                <a:gd name="connsiteX599" fmla="*/ 434615 w 1258521"/>
                <a:gd name="connsiteY599" fmla="*/ 9688 h 914263"/>
                <a:gd name="connsiteX600" fmla="*/ 429937 w 1258521"/>
                <a:gd name="connsiteY600" fmla="*/ 8814 h 914263"/>
                <a:gd name="connsiteX601" fmla="*/ 428187 w 1258521"/>
                <a:gd name="connsiteY601" fmla="*/ 7502 h 914263"/>
                <a:gd name="connsiteX602" fmla="*/ 426134 w 1258521"/>
                <a:gd name="connsiteY602" fmla="*/ 7266 h 914263"/>
                <a:gd name="connsiteX603" fmla="*/ 424283 w 1258521"/>
                <a:gd name="connsiteY603" fmla="*/ 9453 h 914263"/>
                <a:gd name="connsiteX604" fmla="*/ 417216 w 1258521"/>
                <a:gd name="connsiteY604" fmla="*/ 9991 h 914263"/>
                <a:gd name="connsiteX605" fmla="*/ 408735 w 1258521"/>
                <a:gd name="connsiteY605" fmla="*/ 10529 h 914263"/>
                <a:gd name="connsiteX606" fmla="*/ 405571 w 1258521"/>
                <a:gd name="connsiteY606" fmla="*/ 10765 h 914263"/>
                <a:gd name="connsiteX607" fmla="*/ 403417 w 1258521"/>
                <a:gd name="connsiteY607" fmla="*/ 11538 h 914263"/>
                <a:gd name="connsiteX608" fmla="*/ 401567 w 1258521"/>
                <a:gd name="connsiteY608" fmla="*/ 9924 h 914263"/>
                <a:gd name="connsiteX609" fmla="*/ 398639 w 1258521"/>
                <a:gd name="connsiteY609" fmla="*/ 7333 h 914263"/>
                <a:gd name="connsiteX610" fmla="*/ 397023 w 1258521"/>
                <a:gd name="connsiteY610" fmla="*/ 5147 h 914263"/>
                <a:gd name="connsiteX611" fmla="*/ 396922 w 1258521"/>
                <a:gd name="connsiteY611" fmla="*/ 3532 h 914263"/>
                <a:gd name="connsiteX612" fmla="*/ 396821 w 1258521"/>
                <a:gd name="connsiteY612" fmla="*/ 1480 h 914263"/>
                <a:gd name="connsiteX613" fmla="*/ 396788 w 1258521"/>
                <a:gd name="connsiteY613" fmla="*/ 0 h 914263"/>
                <a:gd name="connsiteX614" fmla="*/ 396720 w 1258521"/>
                <a:gd name="connsiteY614" fmla="*/ 0 h 914263"/>
                <a:gd name="connsiteX615" fmla="*/ 393355 w 1258521"/>
                <a:gd name="connsiteY615" fmla="*/ 2725 h 914263"/>
                <a:gd name="connsiteX616" fmla="*/ 393355 w 1258521"/>
                <a:gd name="connsiteY616" fmla="*/ 7367 h 914263"/>
                <a:gd name="connsiteX617" fmla="*/ 375686 w 1258521"/>
                <a:gd name="connsiteY617" fmla="*/ 10125 h 914263"/>
                <a:gd name="connsiteX618" fmla="*/ 372489 w 1258521"/>
                <a:gd name="connsiteY618" fmla="*/ 11707 h 914263"/>
                <a:gd name="connsiteX619" fmla="*/ 364681 w 1258521"/>
                <a:gd name="connsiteY619" fmla="*/ 11707 h 914263"/>
                <a:gd name="connsiteX620" fmla="*/ 360609 w 1258521"/>
                <a:gd name="connsiteY620" fmla="*/ 7064 h 914263"/>
                <a:gd name="connsiteX621" fmla="*/ 349301 w 1258521"/>
                <a:gd name="connsiteY621" fmla="*/ 11707 h 914263"/>
                <a:gd name="connsiteX622" fmla="*/ 340887 w 1258521"/>
                <a:gd name="connsiteY622" fmla="*/ 18670 h 914263"/>
                <a:gd name="connsiteX623" fmla="*/ 334796 w 1258521"/>
                <a:gd name="connsiteY623" fmla="*/ 20116 h 914263"/>
                <a:gd name="connsiteX624" fmla="*/ 331026 w 1258521"/>
                <a:gd name="connsiteY624" fmla="*/ 15474 h 914263"/>
                <a:gd name="connsiteX625" fmla="*/ 323791 w 1258521"/>
                <a:gd name="connsiteY625" fmla="*/ 18098 h 914263"/>
                <a:gd name="connsiteX626" fmla="*/ 315983 w 1258521"/>
                <a:gd name="connsiteY626" fmla="*/ 20116 h 914263"/>
                <a:gd name="connsiteX627" fmla="*/ 305853 w 1258521"/>
                <a:gd name="connsiteY627" fmla="*/ 20116 h 914263"/>
                <a:gd name="connsiteX628" fmla="*/ 302386 w 1258521"/>
                <a:gd name="connsiteY628" fmla="*/ 24591 h 914263"/>
                <a:gd name="connsiteX629" fmla="*/ 297170 w 1258521"/>
                <a:gd name="connsiteY629" fmla="*/ 27349 h 914263"/>
                <a:gd name="connsiteX630" fmla="*/ 288218 w 1258521"/>
                <a:gd name="connsiteY630" fmla="*/ 27349 h 914263"/>
                <a:gd name="connsiteX631" fmla="*/ 281251 w 1258521"/>
                <a:gd name="connsiteY631" fmla="*/ 27349 h 914263"/>
                <a:gd name="connsiteX632" fmla="*/ 271996 w 1258521"/>
                <a:gd name="connsiteY632" fmla="*/ 28796 h 914263"/>
                <a:gd name="connsiteX633" fmla="*/ 253453 w 1258521"/>
                <a:gd name="connsiteY633" fmla="*/ 32260 h 914263"/>
                <a:gd name="connsiteX634" fmla="*/ 238678 w 1258521"/>
                <a:gd name="connsiteY634" fmla="*/ 35288 h 914263"/>
                <a:gd name="connsiteX635" fmla="*/ 223029 w 1258521"/>
                <a:gd name="connsiteY635" fmla="*/ 37744 h 914263"/>
                <a:gd name="connsiteX636" fmla="*/ 206504 w 1258521"/>
                <a:gd name="connsiteY636" fmla="*/ 37744 h 914263"/>
                <a:gd name="connsiteX637" fmla="*/ 194894 w 1258521"/>
                <a:gd name="connsiteY637" fmla="*/ 34279 h 914263"/>
                <a:gd name="connsiteX638" fmla="*/ 187052 w 1258521"/>
                <a:gd name="connsiteY638" fmla="*/ 29637 h 914263"/>
                <a:gd name="connsiteX639" fmla="*/ 177764 w 1258521"/>
                <a:gd name="connsiteY639" fmla="*/ 30511 h 914263"/>
                <a:gd name="connsiteX640" fmla="*/ 173422 w 1258521"/>
                <a:gd name="connsiteY640" fmla="*/ 32832 h 914263"/>
                <a:gd name="connsiteX641" fmla="*/ 168509 w 1258521"/>
                <a:gd name="connsiteY641" fmla="*/ 39493 h 914263"/>
                <a:gd name="connsiteX642" fmla="*/ 159523 w 1258521"/>
                <a:gd name="connsiteY642" fmla="*/ 45279 h 914263"/>
                <a:gd name="connsiteX643" fmla="*/ 155181 w 1258521"/>
                <a:gd name="connsiteY643" fmla="*/ 49181 h 914263"/>
                <a:gd name="connsiteX644" fmla="*/ 151109 w 1258521"/>
                <a:gd name="connsiteY644" fmla="*/ 51637 h 914263"/>
                <a:gd name="connsiteX645" fmla="*/ 140373 w 1258521"/>
                <a:gd name="connsiteY645" fmla="*/ 51637 h 914263"/>
                <a:gd name="connsiteX646" fmla="*/ 136032 w 1258521"/>
                <a:gd name="connsiteY646" fmla="*/ 54833 h 914263"/>
                <a:gd name="connsiteX647" fmla="*/ 136032 w 1258521"/>
                <a:gd name="connsiteY647" fmla="*/ 62940 h 914263"/>
                <a:gd name="connsiteX648" fmla="*/ 141820 w 1258521"/>
                <a:gd name="connsiteY648" fmla="*/ 75117 h 914263"/>
                <a:gd name="connsiteX649" fmla="*/ 148787 w 1258521"/>
                <a:gd name="connsiteY649" fmla="*/ 87867 h 914263"/>
                <a:gd name="connsiteX650" fmla="*/ 153431 w 1258521"/>
                <a:gd name="connsiteY650" fmla="*/ 97420 h 914263"/>
                <a:gd name="connsiteX651" fmla="*/ 155753 w 1258521"/>
                <a:gd name="connsiteY651" fmla="*/ 101491 h 914263"/>
                <a:gd name="connsiteX652" fmla="*/ 153734 w 1258521"/>
                <a:gd name="connsiteY652" fmla="*/ 109598 h 914263"/>
                <a:gd name="connsiteX653" fmla="*/ 147946 w 1258521"/>
                <a:gd name="connsiteY653" fmla="*/ 112491 h 914263"/>
                <a:gd name="connsiteX654" fmla="*/ 147070 w 1258521"/>
                <a:gd name="connsiteY654" fmla="*/ 120026 h 914263"/>
                <a:gd name="connsiteX655" fmla="*/ 145926 w 1258521"/>
                <a:gd name="connsiteY655" fmla="*/ 125812 h 914263"/>
                <a:gd name="connsiteX656" fmla="*/ 154609 w 1258521"/>
                <a:gd name="connsiteY656" fmla="*/ 133347 h 914263"/>
                <a:gd name="connsiteX657" fmla="*/ 162720 w 1258521"/>
                <a:gd name="connsiteY657" fmla="*/ 137990 h 914263"/>
                <a:gd name="connsiteX658" fmla="*/ 167364 w 1258521"/>
                <a:gd name="connsiteY658" fmla="*/ 144079 h 914263"/>
                <a:gd name="connsiteX659" fmla="*/ 176350 w 1258521"/>
                <a:gd name="connsiteY659" fmla="*/ 150436 h 914263"/>
                <a:gd name="connsiteX660" fmla="*/ 180759 w 1258521"/>
                <a:gd name="connsiteY660" fmla="*/ 149562 h 914263"/>
                <a:gd name="connsiteX661" fmla="*/ 181264 w 1258521"/>
                <a:gd name="connsiteY661" fmla="*/ 154776 h 914263"/>
                <a:gd name="connsiteX662" fmla="*/ 181264 w 1258521"/>
                <a:gd name="connsiteY662" fmla="*/ 160293 h 914263"/>
                <a:gd name="connsiteX663" fmla="*/ 180961 w 1258521"/>
                <a:gd name="connsiteY663" fmla="*/ 165810 h 914263"/>
                <a:gd name="connsiteX664" fmla="*/ 186918 w 1258521"/>
                <a:gd name="connsiteY664" fmla="*/ 167996 h 914263"/>
                <a:gd name="connsiteX665" fmla="*/ 193884 w 1258521"/>
                <a:gd name="connsiteY665" fmla="*/ 173211 h 914263"/>
                <a:gd name="connsiteX666" fmla="*/ 197350 w 1258521"/>
                <a:gd name="connsiteY666" fmla="*/ 175666 h 914263"/>
                <a:gd name="connsiteX667" fmla="*/ 200682 w 1258521"/>
                <a:gd name="connsiteY667" fmla="*/ 176406 h 914263"/>
                <a:gd name="connsiteX668" fmla="*/ 200379 w 1258521"/>
                <a:gd name="connsiteY668" fmla="*/ 180880 h 914263"/>
                <a:gd name="connsiteX669" fmla="*/ 202836 w 1258521"/>
                <a:gd name="connsiteY669" fmla="*/ 191611 h 914263"/>
                <a:gd name="connsiteX670" fmla="*/ 204418 w 1258521"/>
                <a:gd name="connsiteY670" fmla="*/ 197969 h 914263"/>
                <a:gd name="connsiteX671" fmla="*/ 209264 w 1258521"/>
                <a:gd name="connsiteY671" fmla="*/ 204193 h 914263"/>
                <a:gd name="connsiteX672" fmla="*/ 214279 w 1258521"/>
                <a:gd name="connsiteY672" fmla="*/ 210584 h 914263"/>
                <a:gd name="connsiteX673" fmla="*/ 214279 w 1258521"/>
                <a:gd name="connsiteY673" fmla="*/ 214217 h 914263"/>
                <a:gd name="connsiteX674" fmla="*/ 213101 w 1258521"/>
                <a:gd name="connsiteY674" fmla="*/ 217682 h 914263"/>
                <a:gd name="connsiteX675" fmla="*/ 211216 w 1258521"/>
                <a:gd name="connsiteY675" fmla="*/ 222459 h 914263"/>
                <a:gd name="connsiteX676" fmla="*/ 209904 w 1258521"/>
                <a:gd name="connsiteY676" fmla="*/ 224040 h 914263"/>
                <a:gd name="connsiteX677" fmla="*/ 208154 w 1258521"/>
                <a:gd name="connsiteY677" fmla="*/ 225486 h 914263"/>
                <a:gd name="connsiteX678" fmla="*/ 206404 w 1258521"/>
                <a:gd name="connsiteY678" fmla="*/ 225486 h 914263"/>
                <a:gd name="connsiteX679" fmla="*/ 202937 w 1258521"/>
                <a:gd name="connsiteY679" fmla="*/ 225486 h 914263"/>
                <a:gd name="connsiteX680" fmla="*/ 199471 w 1258521"/>
                <a:gd name="connsiteY680" fmla="*/ 223737 h 914263"/>
                <a:gd name="connsiteX681" fmla="*/ 196004 w 1258521"/>
                <a:gd name="connsiteY681" fmla="*/ 223737 h 914263"/>
                <a:gd name="connsiteX682" fmla="*/ 194591 w 1258521"/>
                <a:gd name="connsiteY682" fmla="*/ 225486 h 914263"/>
                <a:gd name="connsiteX683" fmla="*/ 192100 w 1258521"/>
                <a:gd name="connsiteY683" fmla="*/ 226899 h 914263"/>
                <a:gd name="connsiteX684" fmla="*/ 190249 w 1258521"/>
                <a:gd name="connsiteY684" fmla="*/ 229389 h 914263"/>
                <a:gd name="connsiteX685" fmla="*/ 186211 w 1258521"/>
                <a:gd name="connsiteY685" fmla="*/ 231340 h 914263"/>
                <a:gd name="connsiteX686" fmla="*/ 181970 w 1258521"/>
                <a:gd name="connsiteY686" fmla="*/ 232315 h 914263"/>
                <a:gd name="connsiteX687" fmla="*/ 173388 w 1258521"/>
                <a:gd name="connsiteY687" fmla="*/ 232315 h 914263"/>
                <a:gd name="connsiteX688" fmla="*/ 169047 w 1258521"/>
                <a:gd name="connsiteY688" fmla="*/ 232349 h 914263"/>
                <a:gd name="connsiteX689" fmla="*/ 166994 w 1258521"/>
                <a:gd name="connsiteY689" fmla="*/ 233594 h 914263"/>
                <a:gd name="connsiteX690" fmla="*/ 163830 w 1258521"/>
                <a:gd name="connsiteY690" fmla="*/ 235444 h 914263"/>
                <a:gd name="connsiteX691" fmla="*/ 158614 w 1258521"/>
                <a:gd name="connsiteY691" fmla="*/ 238068 h 914263"/>
                <a:gd name="connsiteX692" fmla="*/ 156864 w 1258521"/>
                <a:gd name="connsiteY692" fmla="*/ 239480 h 914263"/>
                <a:gd name="connsiteX693" fmla="*/ 152825 w 1258521"/>
                <a:gd name="connsiteY693" fmla="*/ 241095 h 914263"/>
                <a:gd name="connsiteX694" fmla="*/ 151311 w 1258521"/>
                <a:gd name="connsiteY694" fmla="*/ 243282 h 914263"/>
                <a:gd name="connsiteX695" fmla="*/ 151849 w 1258521"/>
                <a:gd name="connsiteY695" fmla="*/ 245031 h 914263"/>
                <a:gd name="connsiteX696" fmla="*/ 151950 w 1258521"/>
                <a:gd name="connsiteY696" fmla="*/ 248059 h 914263"/>
                <a:gd name="connsiteX697" fmla="*/ 155316 w 1258521"/>
                <a:gd name="connsiteY697" fmla="*/ 250884 h 914263"/>
                <a:gd name="connsiteX698" fmla="*/ 155215 w 1258521"/>
                <a:gd name="connsiteY698" fmla="*/ 252499 h 914263"/>
                <a:gd name="connsiteX699" fmla="*/ 153599 w 1258521"/>
                <a:gd name="connsiteY699" fmla="*/ 255661 h 914263"/>
                <a:gd name="connsiteX700" fmla="*/ 152960 w 1258521"/>
                <a:gd name="connsiteY700" fmla="*/ 256637 h 914263"/>
                <a:gd name="connsiteX701" fmla="*/ 152253 w 1258521"/>
                <a:gd name="connsiteY701" fmla="*/ 259126 h 914263"/>
                <a:gd name="connsiteX702" fmla="*/ 151648 w 1258521"/>
                <a:gd name="connsiteY702" fmla="*/ 262793 h 914263"/>
                <a:gd name="connsiteX703" fmla="*/ 151648 w 1258521"/>
                <a:gd name="connsiteY703" fmla="*/ 266258 h 914263"/>
                <a:gd name="connsiteX704" fmla="*/ 152422 w 1258521"/>
                <a:gd name="connsiteY704" fmla="*/ 270395 h 914263"/>
                <a:gd name="connsiteX705" fmla="*/ 157638 w 1258521"/>
                <a:gd name="connsiteY705" fmla="*/ 271472 h 914263"/>
                <a:gd name="connsiteX706" fmla="*/ 161542 w 1258521"/>
                <a:gd name="connsiteY706" fmla="*/ 273524 h 914263"/>
                <a:gd name="connsiteX707" fmla="*/ 164806 w 1258521"/>
                <a:gd name="connsiteY707" fmla="*/ 274836 h 914263"/>
                <a:gd name="connsiteX708" fmla="*/ 167398 w 1258521"/>
                <a:gd name="connsiteY708" fmla="*/ 275912 h 914263"/>
                <a:gd name="connsiteX709" fmla="*/ 172076 w 1258521"/>
                <a:gd name="connsiteY709" fmla="*/ 279613 h 914263"/>
                <a:gd name="connsiteX710" fmla="*/ 173860 w 1258521"/>
                <a:gd name="connsiteY710" fmla="*/ 283078 h 914263"/>
                <a:gd name="connsiteX711" fmla="*/ 174230 w 1258521"/>
                <a:gd name="connsiteY711" fmla="*/ 286441 h 914263"/>
                <a:gd name="connsiteX712" fmla="*/ 174230 w 1258521"/>
                <a:gd name="connsiteY712" fmla="*/ 290579 h 914263"/>
                <a:gd name="connsiteX713" fmla="*/ 175105 w 1258521"/>
                <a:gd name="connsiteY713" fmla="*/ 297240 h 914263"/>
                <a:gd name="connsiteX714" fmla="*/ 174802 w 1258521"/>
                <a:gd name="connsiteY714" fmla="*/ 302757 h 914263"/>
                <a:gd name="connsiteX715" fmla="*/ 176249 w 1258521"/>
                <a:gd name="connsiteY715" fmla="*/ 306827 h 914263"/>
                <a:gd name="connsiteX716" fmla="*/ 176821 w 1258521"/>
                <a:gd name="connsiteY716" fmla="*/ 311469 h 914263"/>
                <a:gd name="connsiteX717" fmla="*/ 175946 w 1258521"/>
                <a:gd name="connsiteY717" fmla="*/ 316381 h 914263"/>
                <a:gd name="connsiteX718" fmla="*/ 172480 w 1258521"/>
                <a:gd name="connsiteY718" fmla="*/ 322907 h 914263"/>
                <a:gd name="connsiteX719" fmla="*/ 170460 w 1258521"/>
                <a:gd name="connsiteY719" fmla="*/ 326237 h 914263"/>
                <a:gd name="connsiteX720" fmla="*/ 166388 w 1258521"/>
                <a:gd name="connsiteY720" fmla="*/ 326237 h 914263"/>
                <a:gd name="connsiteX721" fmla="*/ 162316 w 1258521"/>
                <a:gd name="connsiteY721" fmla="*/ 331451 h 914263"/>
                <a:gd name="connsiteX722" fmla="*/ 159422 w 1258521"/>
                <a:gd name="connsiteY722" fmla="*/ 331451 h 914263"/>
                <a:gd name="connsiteX723" fmla="*/ 155955 w 1258521"/>
                <a:gd name="connsiteY723" fmla="*/ 328861 h 914263"/>
                <a:gd name="connsiteX724" fmla="*/ 149864 w 1258521"/>
                <a:gd name="connsiteY724" fmla="*/ 327415 h 914263"/>
                <a:gd name="connsiteX725" fmla="*/ 144344 w 1258521"/>
                <a:gd name="connsiteY725" fmla="*/ 322503 h 914263"/>
                <a:gd name="connsiteX726" fmla="*/ 143470 w 1258521"/>
                <a:gd name="connsiteY726" fmla="*/ 317592 h 914263"/>
                <a:gd name="connsiteX727" fmla="*/ 140844 w 1258521"/>
                <a:gd name="connsiteY727" fmla="*/ 317020 h 914263"/>
                <a:gd name="connsiteX728" fmla="*/ 132162 w 1258521"/>
                <a:gd name="connsiteY728" fmla="*/ 315573 h 914263"/>
                <a:gd name="connsiteX729" fmla="*/ 127517 w 1258521"/>
                <a:gd name="connsiteY729" fmla="*/ 312983 h 914263"/>
                <a:gd name="connsiteX730" fmla="*/ 115065 w 1258521"/>
                <a:gd name="connsiteY730" fmla="*/ 312109 h 914263"/>
                <a:gd name="connsiteX731" fmla="*/ 105776 w 1258521"/>
                <a:gd name="connsiteY731" fmla="*/ 310359 h 914263"/>
                <a:gd name="connsiteX732" fmla="*/ 99988 w 1258521"/>
                <a:gd name="connsiteY732" fmla="*/ 305717 h 914263"/>
                <a:gd name="connsiteX733" fmla="*/ 95343 w 1258521"/>
                <a:gd name="connsiteY733" fmla="*/ 302824 h 914263"/>
                <a:gd name="connsiteX734" fmla="*/ 91002 w 1258521"/>
                <a:gd name="connsiteY734" fmla="*/ 296735 h 914263"/>
                <a:gd name="connsiteX735" fmla="*/ 87233 w 1258521"/>
                <a:gd name="connsiteY735" fmla="*/ 293270 h 914263"/>
                <a:gd name="connsiteX736" fmla="*/ 82891 w 1258521"/>
                <a:gd name="connsiteY736" fmla="*/ 293270 h 914263"/>
                <a:gd name="connsiteX737" fmla="*/ 80502 w 1258521"/>
                <a:gd name="connsiteY737" fmla="*/ 294952 h 914263"/>
                <a:gd name="connsiteX738" fmla="*/ 78314 w 1258521"/>
                <a:gd name="connsiteY738" fmla="*/ 298081 h 914263"/>
                <a:gd name="connsiteX739" fmla="*/ 78752 w 1258521"/>
                <a:gd name="connsiteY739" fmla="*/ 303228 h 914263"/>
                <a:gd name="connsiteX740" fmla="*/ 75117 w 1258521"/>
                <a:gd name="connsiteY740" fmla="*/ 303968 h 914263"/>
                <a:gd name="connsiteX741" fmla="*/ 72929 w 1258521"/>
                <a:gd name="connsiteY741" fmla="*/ 305111 h 914263"/>
                <a:gd name="connsiteX742" fmla="*/ 71482 w 1258521"/>
                <a:gd name="connsiteY742" fmla="*/ 309182 h 914263"/>
                <a:gd name="connsiteX743" fmla="*/ 66569 w 1258521"/>
                <a:gd name="connsiteY743" fmla="*/ 309417 h 914263"/>
                <a:gd name="connsiteX744" fmla="*/ 61924 w 1258521"/>
                <a:gd name="connsiteY744" fmla="*/ 306592 h 914263"/>
                <a:gd name="connsiteX745" fmla="*/ 60477 w 1258521"/>
                <a:gd name="connsiteY745" fmla="*/ 304708 h 914263"/>
                <a:gd name="connsiteX746" fmla="*/ 57583 w 1258521"/>
                <a:gd name="connsiteY746" fmla="*/ 303059 h 914263"/>
                <a:gd name="connsiteX747" fmla="*/ 54117 w 1258521"/>
                <a:gd name="connsiteY747" fmla="*/ 302925 h 914263"/>
                <a:gd name="connsiteX748" fmla="*/ 50482 w 1258521"/>
                <a:gd name="connsiteY748" fmla="*/ 303261 h 914263"/>
                <a:gd name="connsiteX749" fmla="*/ 44626 w 1258521"/>
                <a:gd name="connsiteY749" fmla="*/ 303799 h 914263"/>
                <a:gd name="connsiteX750" fmla="*/ 41159 w 1258521"/>
                <a:gd name="connsiteY750" fmla="*/ 303799 h 914263"/>
                <a:gd name="connsiteX751" fmla="*/ 39342 w 1258521"/>
                <a:gd name="connsiteY751" fmla="*/ 302992 h 914263"/>
                <a:gd name="connsiteX752" fmla="*/ 35707 w 1258521"/>
                <a:gd name="connsiteY752" fmla="*/ 304506 h 914263"/>
                <a:gd name="connsiteX753" fmla="*/ 32376 w 1258521"/>
                <a:gd name="connsiteY753" fmla="*/ 306154 h 914263"/>
                <a:gd name="connsiteX754" fmla="*/ 28606 w 1258521"/>
                <a:gd name="connsiteY754" fmla="*/ 307668 h 914263"/>
                <a:gd name="connsiteX755" fmla="*/ 25477 w 1258521"/>
                <a:gd name="connsiteY755" fmla="*/ 308307 h 914263"/>
                <a:gd name="connsiteX756" fmla="*/ 22448 w 1258521"/>
                <a:gd name="connsiteY756" fmla="*/ 308879 h 914263"/>
                <a:gd name="connsiteX757" fmla="*/ 19688 w 1258521"/>
                <a:gd name="connsiteY757" fmla="*/ 311402 h 914263"/>
                <a:gd name="connsiteX758" fmla="*/ 19385 w 1258521"/>
                <a:gd name="connsiteY758" fmla="*/ 314968 h 914263"/>
                <a:gd name="connsiteX759" fmla="*/ 19385 w 1258521"/>
                <a:gd name="connsiteY759" fmla="*/ 320249 h 914263"/>
                <a:gd name="connsiteX760" fmla="*/ 21034 w 1258521"/>
                <a:gd name="connsiteY760" fmla="*/ 323075 h 914263"/>
                <a:gd name="connsiteX761" fmla="*/ 24568 w 1258521"/>
                <a:gd name="connsiteY761" fmla="*/ 326103 h 914263"/>
                <a:gd name="connsiteX762" fmla="*/ 27832 w 1258521"/>
                <a:gd name="connsiteY762" fmla="*/ 326742 h 914263"/>
                <a:gd name="connsiteX763" fmla="*/ 32981 w 1258521"/>
                <a:gd name="connsiteY763" fmla="*/ 327246 h 914263"/>
                <a:gd name="connsiteX764" fmla="*/ 37020 w 1258521"/>
                <a:gd name="connsiteY764" fmla="*/ 328491 h 914263"/>
                <a:gd name="connsiteX765" fmla="*/ 41092 w 1258521"/>
                <a:gd name="connsiteY765" fmla="*/ 330577 h 914263"/>
                <a:gd name="connsiteX766" fmla="*/ 43414 w 1258521"/>
                <a:gd name="connsiteY766" fmla="*/ 332595 h 914263"/>
                <a:gd name="connsiteX767" fmla="*/ 46174 w 1258521"/>
                <a:gd name="connsiteY767" fmla="*/ 335858 h 914263"/>
                <a:gd name="connsiteX768" fmla="*/ 49068 w 1258521"/>
                <a:gd name="connsiteY768" fmla="*/ 339121 h 914263"/>
                <a:gd name="connsiteX769" fmla="*/ 48765 w 1258521"/>
                <a:gd name="connsiteY769" fmla="*/ 341072 h 914263"/>
                <a:gd name="connsiteX770" fmla="*/ 46881 w 1258521"/>
                <a:gd name="connsiteY770" fmla="*/ 344975 h 914263"/>
                <a:gd name="connsiteX771" fmla="*/ 43852 w 1258521"/>
                <a:gd name="connsiteY771" fmla="*/ 348877 h 914263"/>
                <a:gd name="connsiteX772" fmla="*/ 41900 w 1258521"/>
                <a:gd name="connsiteY772" fmla="*/ 352072 h 914263"/>
                <a:gd name="connsiteX773" fmla="*/ 39679 w 1258521"/>
                <a:gd name="connsiteY773" fmla="*/ 357858 h 914263"/>
                <a:gd name="connsiteX774" fmla="*/ 40217 w 1258521"/>
                <a:gd name="connsiteY774" fmla="*/ 361424 h 914263"/>
                <a:gd name="connsiteX775" fmla="*/ 40217 w 1258521"/>
                <a:gd name="connsiteY775" fmla="*/ 365427 h 914263"/>
                <a:gd name="connsiteX776" fmla="*/ 34698 w 1258521"/>
                <a:gd name="connsiteY776" fmla="*/ 368253 h 914263"/>
                <a:gd name="connsiteX777" fmla="*/ 33453 w 1258521"/>
                <a:gd name="connsiteY777" fmla="*/ 370070 h 914263"/>
                <a:gd name="connsiteX778" fmla="*/ 33756 w 1258521"/>
                <a:gd name="connsiteY778" fmla="*/ 373535 h 914263"/>
                <a:gd name="connsiteX779" fmla="*/ 34496 w 1258521"/>
                <a:gd name="connsiteY779" fmla="*/ 377167 h 914263"/>
                <a:gd name="connsiteX780" fmla="*/ 34496 w 1258521"/>
                <a:gd name="connsiteY780" fmla="*/ 378849 h 914263"/>
                <a:gd name="connsiteX781" fmla="*/ 33183 w 1258521"/>
                <a:gd name="connsiteY781" fmla="*/ 380868 h 914263"/>
                <a:gd name="connsiteX782" fmla="*/ 30861 w 1258521"/>
                <a:gd name="connsiteY782" fmla="*/ 381171 h 914263"/>
                <a:gd name="connsiteX783" fmla="*/ 27900 w 1258521"/>
                <a:gd name="connsiteY783" fmla="*/ 380229 h 914263"/>
                <a:gd name="connsiteX784" fmla="*/ 25443 w 1258521"/>
                <a:gd name="connsiteY784" fmla="*/ 380229 h 914263"/>
                <a:gd name="connsiteX785" fmla="*/ 22313 w 1258521"/>
                <a:gd name="connsiteY785" fmla="*/ 380666 h 914263"/>
                <a:gd name="connsiteX786" fmla="*/ 16962 w 1258521"/>
                <a:gd name="connsiteY786" fmla="*/ 382684 h 914263"/>
                <a:gd name="connsiteX787" fmla="*/ 14640 w 1258521"/>
                <a:gd name="connsiteY787" fmla="*/ 385308 h 914263"/>
                <a:gd name="connsiteX788" fmla="*/ 11813 w 1258521"/>
                <a:gd name="connsiteY788" fmla="*/ 391532 h 914263"/>
                <a:gd name="connsiteX789" fmla="*/ 8986 w 1258521"/>
                <a:gd name="connsiteY789" fmla="*/ 397990 h 914263"/>
                <a:gd name="connsiteX790" fmla="*/ 5654 w 1258521"/>
                <a:gd name="connsiteY790" fmla="*/ 403507 h 914263"/>
                <a:gd name="connsiteX791" fmla="*/ 8178 w 1258521"/>
                <a:gd name="connsiteY791" fmla="*/ 409966 h 914263"/>
                <a:gd name="connsiteX792" fmla="*/ 13596 w 1258521"/>
                <a:gd name="connsiteY792" fmla="*/ 414238 h 914263"/>
                <a:gd name="connsiteX793" fmla="*/ 14337 w 1258521"/>
                <a:gd name="connsiteY793" fmla="*/ 417434 h 914263"/>
                <a:gd name="connsiteX794" fmla="*/ 10938 w 1258521"/>
                <a:gd name="connsiteY794" fmla="*/ 423220 h 914263"/>
                <a:gd name="connsiteX795" fmla="*/ 9928 w 1258521"/>
                <a:gd name="connsiteY795" fmla="*/ 427425 h 914263"/>
                <a:gd name="connsiteX796" fmla="*/ 8616 w 1258521"/>
                <a:gd name="connsiteY796" fmla="*/ 429814 h 914263"/>
                <a:gd name="connsiteX797" fmla="*/ 7168 w 1258521"/>
                <a:gd name="connsiteY797" fmla="*/ 432067 h 914263"/>
                <a:gd name="connsiteX798" fmla="*/ 5654 w 1258521"/>
                <a:gd name="connsiteY798" fmla="*/ 433447 h 914263"/>
                <a:gd name="connsiteX799" fmla="*/ 7236 w 1258521"/>
                <a:gd name="connsiteY799" fmla="*/ 436340 h 914263"/>
                <a:gd name="connsiteX800" fmla="*/ 10063 w 1258521"/>
                <a:gd name="connsiteY800" fmla="*/ 437484 h 914263"/>
                <a:gd name="connsiteX801" fmla="*/ 13327 w 1258521"/>
                <a:gd name="connsiteY801" fmla="*/ 439502 h 914263"/>
                <a:gd name="connsiteX802" fmla="*/ 16222 w 1258521"/>
                <a:gd name="connsiteY802" fmla="*/ 439502 h 914263"/>
                <a:gd name="connsiteX803" fmla="*/ 22077 w 1258521"/>
                <a:gd name="connsiteY803" fmla="*/ 438560 h 914263"/>
                <a:gd name="connsiteX804" fmla="*/ 23659 w 1258521"/>
                <a:gd name="connsiteY804" fmla="*/ 438694 h 914263"/>
                <a:gd name="connsiteX805" fmla="*/ 27563 w 1258521"/>
                <a:gd name="connsiteY805" fmla="*/ 441083 h 914263"/>
                <a:gd name="connsiteX806" fmla="*/ 30188 w 1258521"/>
                <a:gd name="connsiteY806" fmla="*/ 444346 h 914263"/>
                <a:gd name="connsiteX807" fmla="*/ 33756 w 1258521"/>
                <a:gd name="connsiteY807" fmla="*/ 447172 h 914263"/>
                <a:gd name="connsiteX808" fmla="*/ 33183 w 1258521"/>
                <a:gd name="connsiteY808" fmla="*/ 449930 h 914263"/>
                <a:gd name="connsiteX809" fmla="*/ 31602 w 1258521"/>
                <a:gd name="connsiteY809" fmla="*/ 451881 h 914263"/>
                <a:gd name="connsiteX810" fmla="*/ 30861 w 1258521"/>
                <a:gd name="connsiteY810" fmla="*/ 452823 h 914263"/>
                <a:gd name="connsiteX811" fmla="*/ 28337 w 1258521"/>
                <a:gd name="connsiteY811" fmla="*/ 457297 h 914263"/>
                <a:gd name="connsiteX812" fmla="*/ 22380 w 1258521"/>
                <a:gd name="connsiteY812" fmla="*/ 458811 h 914263"/>
                <a:gd name="connsiteX813" fmla="*/ 18173 w 1258521"/>
                <a:gd name="connsiteY813" fmla="*/ 461199 h 914263"/>
                <a:gd name="connsiteX814" fmla="*/ 16356 w 1258521"/>
                <a:gd name="connsiteY814" fmla="*/ 463016 h 914263"/>
                <a:gd name="connsiteX815" fmla="*/ 14909 w 1258521"/>
                <a:gd name="connsiteY815" fmla="*/ 464698 h 914263"/>
                <a:gd name="connsiteX816" fmla="*/ 14976 w 1258521"/>
                <a:gd name="connsiteY816" fmla="*/ 466514 h 914263"/>
                <a:gd name="connsiteX817" fmla="*/ 16289 w 1258521"/>
                <a:gd name="connsiteY817" fmla="*/ 467759 h 914263"/>
                <a:gd name="connsiteX818" fmla="*/ 17164 w 1258521"/>
                <a:gd name="connsiteY818" fmla="*/ 468634 h 914263"/>
                <a:gd name="connsiteX819" fmla="*/ 18544 w 1258521"/>
                <a:gd name="connsiteY819" fmla="*/ 469206 h 914263"/>
                <a:gd name="connsiteX820" fmla="*/ 20193 w 1258521"/>
                <a:gd name="connsiteY820" fmla="*/ 471157 h 914263"/>
                <a:gd name="connsiteX821" fmla="*/ 20933 w 1258521"/>
                <a:gd name="connsiteY821" fmla="*/ 473175 h 914263"/>
                <a:gd name="connsiteX822" fmla="*/ 21741 w 1258521"/>
                <a:gd name="connsiteY822" fmla="*/ 474622 h 914263"/>
                <a:gd name="connsiteX823" fmla="*/ 22818 w 1258521"/>
                <a:gd name="connsiteY823" fmla="*/ 476438 h 914263"/>
                <a:gd name="connsiteX824" fmla="*/ 22818 w 1258521"/>
                <a:gd name="connsiteY824" fmla="*/ 478457 h 914263"/>
                <a:gd name="connsiteX825" fmla="*/ 22347 w 1258521"/>
                <a:gd name="connsiteY825" fmla="*/ 480980 h 914263"/>
                <a:gd name="connsiteX826" fmla="*/ 22818 w 1258521"/>
                <a:gd name="connsiteY826" fmla="*/ 484612 h 914263"/>
                <a:gd name="connsiteX827" fmla="*/ 22818 w 1258521"/>
                <a:gd name="connsiteY827" fmla="*/ 487135 h 914263"/>
                <a:gd name="connsiteX828" fmla="*/ 22616 w 1258521"/>
                <a:gd name="connsiteY828" fmla="*/ 490029 h 914263"/>
                <a:gd name="connsiteX829" fmla="*/ 22751 w 1258521"/>
                <a:gd name="connsiteY829" fmla="*/ 492854 h 914263"/>
                <a:gd name="connsiteX830" fmla="*/ 22885 w 1258521"/>
                <a:gd name="connsiteY830" fmla="*/ 495243 h 914263"/>
                <a:gd name="connsiteX831" fmla="*/ 22683 w 1258521"/>
                <a:gd name="connsiteY831" fmla="*/ 499212 h 914263"/>
                <a:gd name="connsiteX832" fmla="*/ 23255 w 1258521"/>
                <a:gd name="connsiteY832" fmla="*/ 501230 h 914263"/>
                <a:gd name="connsiteX833" fmla="*/ 23188 w 1258521"/>
                <a:gd name="connsiteY833" fmla="*/ 503989 h 914263"/>
                <a:gd name="connsiteX834" fmla="*/ 22818 w 1258521"/>
                <a:gd name="connsiteY834" fmla="*/ 508194 h 914263"/>
                <a:gd name="connsiteX835" fmla="*/ 22818 w 1258521"/>
                <a:gd name="connsiteY835" fmla="*/ 511457 h 914263"/>
                <a:gd name="connsiteX836" fmla="*/ 23558 w 1258521"/>
                <a:gd name="connsiteY836" fmla="*/ 513980 h 914263"/>
                <a:gd name="connsiteX837" fmla="*/ 22313 w 1258521"/>
                <a:gd name="connsiteY837" fmla="*/ 517310 h 914263"/>
                <a:gd name="connsiteX838" fmla="*/ 19553 w 1258521"/>
                <a:gd name="connsiteY838" fmla="*/ 520641 h 914263"/>
                <a:gd name="connsiteX839" fmla="*/ 15851 w 1258521"/>
                <a:gd name="connsiteY839" fmla="*/ 522457 h 914263"/>
                <a:gd name="connsiteX840" fmla="*/ 14404 w 1258521"/>
                <a:gd name="connsiteY840" fmla="*/ 523836 h 914263"/>
                <a:gd name="connsiteX841" fmla="*/ 11274 w 1258521"/>
                <a:gd name="connsiteY841" fmla="*/ 525283 h 914263"/>
                <a:gd name="connsiteX842" fmla="*/ 8447 w 1258521"/>
                <a:gd name="connsiteY842" fmla="*/ 525653 h 914263"/>
                <a:gd name="connsiteX843" fmla="*/ 4476 w 1258521"/>
                <a:gd name="connsiteY843" fmla="*/ 523567 h 914263"/>
                <a:gd name="connsiteX844" fmla="*/ 2154 w 1258521"/>
                <a:gd name="connsiteY844" fmla="*/ 524139 h 914263"/>
                <a:gd name="connsiteX845" fmla="*/ 1077 w 1258521"/>
                <a:gd name="connsiteY845" fmla="*/ 526965 h 914263"/>
                <a:gd name="connsiteX846" fmla="*/ 0 w 1258521"/>
                <a:gd name="connsiteY846" fmla="*/ 530531 h 914263"/>
                <a:gd name="connsiteX847" fmla="*/ 875 w 1258521"/>
                <a:gd name="connsiteY847" fmla="*/ 536989 h 914263"/>
                <a:gd name="connsiteX848" fmla="*/ 942 w 1258521"/>
                <a:gd name="connsiteY848" fmla="*/ 542069 h 914263"/>
                <a:gd name="connsiteX849" fmla="*/ 1885 w 1258521"/>
                <a:gd name="connsiteY849" fmla="*/ 548225 h 914263"/>
                <a:gd name="connsiteX850" fmla="*/ 4207 w 1258521"/>
                <a:gd name="connsiteY850" fmla="*/ 552699 h 914263"/>
                <a:gd name="connsiteX851" fmla="*/ 8111 w 1258521"/>
                <a:gd name="connsiteY851" fmla="*/ 558923 h 914263"/>
                <a:gd name="connsiteX852" fmla="*/ 11745 w 1258521"/>
                <a:gd name="connsiteY852" fmla="*/ 561883 h 914263"/>
                <a:gd name="connsiteX853" fmla="*/ 16322 w 1258521"/>
                <a:gd name="connsiteY853" fmla="*/ 563026 h 914263"/>
                <a:gd name="connsiteX854" fmla="*/ 18207 w 1258521"/>
                <a:gd name="connsiteY854" fmla="*/ 565348 h 914263"/>
                <a:gd name="connsiteX855" fmla="*/ 17972 w 1258521"/>
                <a:gd name="connsiteY855" fmla="*/ 568543 h 914263"/>
                <a:gd name="connsiteX856" fmla="*/ 17467 w 1258521"/>
                <a:gd name="connsiteY856" fmla="*/ 570360 h 914263"/>
                <a:gd name="connsiteX857" fmla="*/ 14943 w 1258521"/>
                <a:gd name="connsiteY857" fmla="*/ 572681 h 914263"/>
                <a:gd name="connsiteX858" fmla="*/ 15750 w 1258521"/>
                <a:gd name="connsiteY858" fmla="*/ 575641 h 914263"/>
                <a:gd name="connsiteX859" fmla="*/ 18779 w 1258521"/>
                <a:gd name="connsiteY859" fmla="*/ 577323 h 914263"/>
                <a:gd name="connsiteX860" fmla="*/ 20226 w 1258521"/>
                <a:gd name="connsiteY860" fmla="*/ 578400 h 914263"/>
                <a:gd name="connsiteX861" fmla="*/ 21101 w 1258521"/>
                <a:gd name="connsiteY861" fmla="*/ 579712 h 914263"/>
                <a:gd name="connsiteX862" fmla="*/ 21101 w 1258521"/>
                <a:gd name="connsiteY862" fmla="*/ 582739 h 914263"/>
                <a:gd name="connsiteX863" fmla="*/ 20361 w 1258521"/>
                <a:gd name="connsiteY863" fmla="*/ 583177 h 914263"/>
                <a:gd name="connsiteX864" fmla="*/ 19217 w 1258521"/>
                <a:gd name="connsiteY864" fmla="*/ 585431 h 914263"/>
                <a:gd name="connsiteX865" fmla="*/ 18847 w 1258521"/>
                <a:gd name="connsiteY865" fmla="*/ 586507 h 914263"/>
                <a:gd name="connsiteX866" fmla="*/ 18847 w 1258521"/>
                <a:gd name="connsiteY866" fmla="*/ 587382 h 914263"/>
                <a:gd name="connsiteX867" fmla="*/ 18914 w 1258521"/>
                <a:gd name="connsiteY867" fmla="*/ 590073 h 914263"/>
                <a:gd name="connsiteX868" fmla="*/ 20226 w 1258521"/>
                <a:gd name="connsiteY868" fmla="*/ 591216 h 914263"/>
                <a:gd name="connsiteX869" fmla="*/ 21606 w 1258521"/>
                <a:gd name="connsiteY869" fmla="*/ 591587 h 914263"/>
                <a:gd name="connsiteX870" fmla="*/ 23996 w 1258521"/>
                <a:gd name="connsiteY870" fmla="*/ 592091 h 914263"/>
                <a:gd name="connsiteX871" fmla="*/ 26520 w 1258521"/>
                <a:gd name="connsiteY871" fmla="*/ 592898 h 914263"/>
                <a:gd name="connsiteX872" fmla="*/ 28606 w 1258521"/>
                <a:gd name="connsiteY872" fmla="*/ 593403 h 914263"/>
                <a:gd name="connsiteX873" fmla="*/ 29616 w 1258521"/>
                <a:gd name="connsiteY873" fmla="*/ 594984 h 914263"/>
                <a:gd name="connsiteX874" fmla="*/ 30424 w 1258521"/>
                <a:gd name="connsiteY874" fmla="*/ 596498 h 914263"/>
                <a:gd name="connsiteX875" fmla="*/ 31433 w 1258521"/>
                <a:gd name="connsiteY875" fmla="*/ 598886 h 914263"/>
                <a:gd name="connsiteX876" fmla="*/ 33621 w 1258521"/>
                <a:gd name="connsiteY876" fmla="*/ 600400 h 914263"/>
                <a:gd name="connsiteX877" fmla="*/ 37592 w 1258521"/>
                <a:gd name="connsiteY877" fmla="*/ 604033 h 914263"/>
                <a:gd name="connsiteX878" fmla="*/ 38333 w 1258521"/>
                <a:gd name="connsiteY878" fmla="*/ 604975 h 914263"/>
                <a:gd name="connsiteX879" fmla="*/ 40015 w 1258521"/>
                <a:gd name="connsiteY879" fmla="*/ 608810 h 914263"/>
                <a:gd name="connsiteX880" fmla="*/ 40318 w 1258521"/>
                <a:gd name="connsiteY880" fmla="*/ 611703 h 914263"/>
                <a:gd name="connsiteX881" fmla="*/ 40453 w 1258521"/>
                <a:gd name="connsiteY881" fmla="*/ 615235 h 914263"/>
                <a:gd name="connsiteX882" fmla="*/ 40587 w 1258521"/>
                <a:gd name="connsiteY882" fmla="*/ 617489 h 914263"/>
                <a:gd name="connsiteX883" fmla="*/ 40958 w 1258521"/>
                <a:gd name="connsiteY883" fmla="*/ 619070 h 914263"/>
                <a:gd name="connsiteX884" fmla="*/ 42775 w 1258521"/>
                <a:gd name="connsiteY884" fmla="*/ 620315 h 914263"/>
                <a:gd name="connsiteX885" fmla="*/ 44794 w 1258521"/>
                <a:gd name="connsiteY885" fmla="*/ 621560 h 914263"/>
                <a:gd name="connsiteX886" fmla="*/ 46174 w 1258521"/>
                <a:gd name="connsiteY886" fmla="*/ 625764 h 914263"/>
                <a:gd name="connsiteX887" fmla="*/ 46982 w 1258521"/>
                <a:gd name="connsiteY887" fmla="*/ 627783 h 914263"/>
                <a:gd name="connsiteX888" fmla="*/ 48866 w 1258521"/>
                <a:gd name="connsiteY888" fmla="*/ 630979 h 914263"/>
                <a:gd name="connsiteX889" fmla="*/ 49809 w 1258521"/>
                <a:gd name="connsiteY889" fmla="*/ 633502 h 914263"/>
                <a:gd name="connsiteX890" fmla="*/ 50381 w 1258521"/>
                <a:gd name="connsiteY890" fmla="*/ 634814 h 914263"/>
                <a:gd name="connsiteX891" fmla="*/ 54016 w 1258521"/>
                <a:gd name="connsiteY891" fmla="*/ 637067 h 914263"/>
                <a:gd name="connsiteX892" fmla="*/ 59535 w 1258521"/>
                <a:gd name="connsiteY892" fmla="*/ 638211 h 914263"/>
                <a:gd name="connsiteX893" fmla="*/ 63506 w 1258521"/>
                <a:gd name="connsiteY893" fmla="*/ 640667 h 914263"/>
                <a:gd name="connsiteX894" fmla="*/ 65761 w 1258521"/>
                <a:gd name="connsiteY894" fmla="*/ 643493 h 914263"/>
                <a:gd name="connsiteX895" fmla="*/ 70910 w 1258521"/>
                <a:gd name="connsiteY895" fmla="*/ 648505 h 914263"/>
                <a:gd name="connsiteX896" fmla="*/ 77809 w 1258521"/>
                <a:gd name="connsiteY896" fmla="*/ 655233 h 914263"/>
                <a:gd name="connsiteX897" fmla="*/ 78550 w 1258521"/>
                <a:gd name="connsiteY897" fmla="*/ 657621 h 914263"/>
                <a:gd name="connsiteX898" fmla="*/ 78550 w 1258521"/>
                <a:gd name="connsiteY898" fmla="*/ 659202 h 914263"/>
                <a:gd name="connsiteX899" fmla="*/ 79997 w 1258521"/>
                <a:gd name="connsiteY899" fmla="*/ 661826 h 914263"/>
                <a:gd name="connsiteX900" fmla="*/ 82891 w 1258521"/>
                <a:gd name="connsiteY900" fmla="*/ 661826 h 914263"/>
                <a:gd name="connsiteX901" fmla="*/ 87367 w 1258521"/>
                <a:gd name="connsiteY901" fmla="*/ 660581 h 914263"/>
                <a:gd name="connsiteX902" fmla="*/ 90262 w 1258521"/>
                <a:gd name="connsiteY902" fmla="*/ 659774 h 914263"/>
                <a:gd name="connsiteX903" fmla="*/ 94031 w 1258521"/>
                <a:gd name="connsiteY903" fmla="*/ 658529 h 914263"/>
                <a:gd name="connsiteX904" fmla="*/ 95613 w 1258521"/>
                <a:gd name="connsiteY904" fmla="*/ 656948 h 914263"/>
                <a:gd name="connsiteX905" fmla="*/ 97632 w 1258521"/>
                <a:gd name="connsiteY905" fmla="*/ 654627 h 914263"/>
                <a:gd name="connsiteX906" fmla="*/ 99146 w 1258521"/>
                <a:gd name="connsiteY906" fmla="*/ 652239 h 914263"/>
                <a:gd name="connsiteX907" fmla="*/ 100964 w 1258521"/>
                <a:gd name="connsiteY907" fmla="*/ 650557 h 914263"/>
                <a:gd name="connsiteX908" fmla="*/ 102916 w 1258521"/>
                <a:gd name="connsiteY908" fmla="*/ 649480 h 914263"/>
                <a:gd name="connsiteX909" fmla="*/ 105608 w 1258521"/>
                <a:gd name="connsiteY909" fmla="*/ 648740 h 914263"/>
                <a:gd name="connsiteX910" fmla="*/ 110959 w 1258521"/>
                <a:gd name="connsiteY910" fmla="*/ 649178 h 914263"/>
                <a:gd name="connsiteX911" fmla="*/ 112911 w 1258521"/>
                <a:gd name="connsiteY911" fmla="*/ 650254 h 914263"/>
                <a:gd name="connsiteX912" fmla="*/ 114863 w 1258521"/>
                <a:gd name="connsiteY912" fmla="*/ 652340 h 914263"/>
                <a:gd name="connsiteX913" fmla="*/ 116377 w 1258521"/>
                <a:gd name="connsiteY913" fmla="*/ 653585 h 914263"/>
                <a:gd name="connsiteX914" fmla="*/ 117825 w 1258521"/>
                <a:gd name="connsiteY914" fmla="*/ 653786 h 914263"/>
                <a:gd name="connsiteX915" fmla="*/ 119642 w 1258521"/>
                <a:gd name="connsiteY915" fmla="*/ 652340 h 914263"/>
                <a:gd name="connsiteX916" fmla="*/ 120887 w 1258521"/>
                <a:gd name="connsiteY916" fmla="*/ 651263 h 914263"/>
                <a:gd name="connsiteX917" fmla="*/ 121695 w 1258521"/>
                <a:gd name="connsiteY917" fmla="*/ 650187 h 914263"/>
                <a:gd name="connsiteX918" fmla="*/ 122839 w 1258521"/>
                <a:gd name="connsiteY918" fmla="*/ 648303 h 914263"/>
                <a:gd name="connsiteX919" fmla="*/ 125094 w 1258521"/>
                <a:gd name="connsiteY919" fmla="*/ 647933 h 914263"/>
                <a:gd name="connsiteX920" fmla="*/ 126609 w 1258521"/>
                <a:gd name="connsiteY920" fmla="*/ 647126 h 914263"/>
                <a:gd name="connsiteX921" fmla="*/ 127618 w 1258521"/>
                <a:gd name="connsiteY921" fmla="*/ 646116 h 914263"/>
                <a:gd name="connsiteX922" fmla="*/ 130142 w 1258521"/>
                <a:gd name="connsiteY922" fmla="*/ 645477 h 914263"/>
                <a:gd name="connsiteX923" fmla="*/ 132969 w 1258521"/>
                <a:gd name="connsiteY923" fmla="*/ 645612 h 914263"/>
                <a:gd name="connsiteX924" fmla="*/ 136166 w 1258521"/>
                <a:gd name="connsiteY924" fmla="*/ 646352 h 914263"/>
                <a:gd name="connsiteX925" fmla="*/ 138354 w 1258521"/>
                <a:gd name="connsiteY925" fmla="*/ 646924 h 914263"/>
                <a:gd name="connsiteX926" fmla="*/ 143066 w 1258521"/>
                <a:gd name="connsiteY926" fmla="*/ 649817 h 914263"/>
                <a:gd name="connsiteX927" fmla="*/ 143200 w 1258521"/>
                <a:gd name="connsiteY927" fmla="*/ 651129 h 914263"/>
                <a:gd name="connsiteX928" fmla="*/ 142763 w 1258521"/>
                <a:gd name="connsiteY928" fmla="*/ 653012 h 914263"/>
                <a:gd name="connsiteX929" fmla="*/ 141719 w 1258521"/>
                <a:gd name="connsiteY929" fmla="*/ 653954 h 914263"/>
                <a:gd name="connsiteX930" fmla="*/ 141114 w 1258521"/>
                <a:gd name="connsiteY930" fmla="*/ 654896 h 914263"/>
                <a:gd name="connsiteX931" fmla="*/ 141114 w 1258521"/>
                <a:gd name="connsiteY931" fmla="*/ 655704 h 914263"/>
                <a:gd name="connsiteX932" fmla="*/ 141618 w 1258521"/>
                <a:gd name="connsiteY932" fmla="*/ 658092 h 914263"/>
                <a:gd name="connsiteX933" fmla="*/ 143301 w 1258521"/>
                <a:gd name="connsiteY933" fmla="*/ 658664 h 914263"/>
                <a:gd name="connsiteX934" fmla="*/ 145623 w 1258521"/>
                <a:gd name="connsiteY934" fmla="*/ 660178 h 914263"/>
                <a:gd name="connsiteX935" fmla="*/ 146196 w 1258521"/>
                <a:gd name="connsiteY935" fmla="*/ 660615 h 914263"/>
                <a:gd name="connsiteX936" fmla="*/ 147575 w 1258521"/>
                <a:gd name="connsiteY936" fmla="*/ 662364 h 914263"/>
                <a:gd name="connsiteX937" fmla="*/ 147946 w 1258521"/>
                <a:gd name="connsiteY937" fmla="*/ 664383 h 914263"/>
                <a:gd name="connsiteX938" fmla="*/ 148450 w 1258521"/>
                <a:gd name="connsiteY938" fmla="*/ 665964 h 914263"/>
                <a:gd name="connsiteX939" fmla="*/ 149325 w 1258521"/>
                <a:gd name="connsiteY939" fmla="*/ 667478 h 914263"/>
                <a:gd name="connsiteX940" fmla="*/ 150470 w 1258521"/>
                <a:gd name="connsiteY940" fmla="*/ 669160 h 914263"/>
                <a:gd name="connsiteX941" fmla="*/ 152422 w 1258521"/>
                <a:gd name="connsiteY941" fmla="*/ 672927 h 914263"/>
                <a:gd name="connsiteX942" fmla="*/ 154172 w 1258521"/>
                <a:gd name="connsiteY942" fmla="*/ 676459 h 914263"/>
                <a:gd name="connsiteX943" fmla="*/ 156561 w 1258521"/>
                <a:gd name="connsiteY943" fmla="*/ 679857 h 914263"/>
                <a:gd name="connsiteX944" fmla="*/ 157874 w 1258521"/>
                <a:gd name="connsiteY944" fmla="*/ 680664 h 914263"/>
                <a:gd name="connsiteX945" fmla="*/ 160768 w 1258521"/>
                <a:gd name="connsiteY945" fmla="*/ 682548 h 914263"/>
                <a:gd name="connsiteX946" fmla="*/ 161205 w 1258521"/>
                <a:gd name="connsiteY946" fmla="*/ 685071 h 914263"/>
                <a:gd name="connsiteX947" fmla="*/ 162080 w 1258521"/>
                <a:gd name="connsiteY947" fmla="*/ 687392 h 914263"/>
                <a:gd name="connsiteX948" fmla="*/ 163830 w 1258521"/>
                <a:gd name="connsiteY948" fmla="*/ 688200 h 914263"/>
                <a:gd name="connsiteX949" fmla="*/ 166960 w 1258521"/>
                <a:gd name="connsiteY949" fmla="*/ 690151 h 914263"/>
                <a:gd name="connsiteX950" fmla="*/ 168980 w 1258521"/>
                <a:gd name="connsiteY950" fmla="*/ 692169 h 914263"/>
                <a:gd name="connsiteX951" fmla="*/ 169484 w 1258521"/>
                <a:gd name="connsiteY951" fmla="*/ 692808 h 914263"/>
                <a:gd name="connsiteX952" fmla="*/ 173489 w 1258521"/>
                <a:gd name="connsiteY952" fmla="*/ 692808 h 914263"/>
                <a:gd name="connsiteX953" fmla="*/ 175138 w 1258521"/>
                <a:gd name="connsiteY953" fmla="*/ 692842 h 914263"/>
                <a:gd name="connsiteX954" fmla="*/ 177158 w 1258521"/>
                <a:gd name="connsiteY954" fmla="*/ 692842 h 914263"/>
                <a:gd name="connsiteX955" fmla="*/ 178908 w 1258521"/>
                <a:gd name="connsiteY955" fmla="*/ 693246 h 914263"/>
                <a:gd name="connsiteX956" fmla="*/ 182980 w 1258521"/>
                <a:gd name="connsiteY956" fmla="*/ 697148 h 914263"/>
                <a:gd name="connsiteX957" fmla="*/ 184326 w 1258521"/>
                <a:gd name="connsiteY957" fmla="*/ 699536 h 914263"/>
                <a:gd name="connsiteX958" fmla="*/ 186379 w 1258521"/>
                <a:gd name="connsiteY958" fmla="*/ 704448 h 914263"/>
                <a:gd name="connsiteX959" fmla="*/ 186379 w 1258521"/>
                <a:gd name="connsiteY959" fmla="*/ 706029 h 914263"/>
                <a:gd name="connsiteX960" fmla="*/ 186009 w 1258521"/>
                <a:gd name="connsiteY960" fmla="*/ 708215 h 914263"/>
                <a:gd name="connsiteX961" fmla="*/ 187389 w 1258521"/>
                <a:gd name="connsiteY961" fmla="*/ 710536 h 914263"/>
                <a:gd name="connsiteX962" fmla="*/ 189711 w 1258521"/>
                <a:gd name="connsiteY962" fmla="*/ 711344 h 914263"/>
                <a:gd name="connsiteX963" fmla="*/ 196004 w 1258521"/>
                <a:gd name="connsiteY963" fmla="*/ 710402 h 914263"/>
                <a:gd name="connsiteX964" fmla="*/ 197889 w 1258521"/>
                <a:gd name="connsiteY964" fmla="*/ 709325 h 914263"/>
                <a:gd name="connsiteX965" fmla="*/ 201153 w 1258521"/>
                <a:gd name="connsiteY965" fmla="*/ 708821 h 914263"/>
                <a:gd name="connsiteX966" fmla="*/ 206235 w 1258521"/>
                <a:gd name="connsiteY966" fmla="*/ 708888 h 914263"/>
                <a:gd name="connsiteX967" fmla="*/ 209634 w 1258521"/>
                <a:gd name="connsiteY967" fmla="*/ 710637 h 914263"/>
                <a:gd name="connsiteX968" fmla="*/ 212764 w 1258521"/>
                <a:gd name="connsiteY968" fmla="*/ 712958 h 914263"/>
                <a:gd name="connsiteX969" fmla="*/ 214952 w 1258521"/>
                <a:gd name="connsiteY969" fmla="*/ 715650 h 914263"/>
                <a:gd name="connsiteX970" fmla="*/ 215187 w 1258521"/>
                <a:gd name="connsiteY970" fmla="*/ 717601 h 914263"/>
                <a:gd name="connsiteX971" fmla="*/ 215120 w 1258521"/>
                <a:gd name="connsiteY971" fmla="*/ 720056 h 914263"/>
                <a:gd name="connsiteX972" fmla="*/ 214985 w 1258521"/>
                <a:gd name="connsiteY972" fmla="*/ 722007 h 914263"/>
                <a:gd name="connsiteX973" fmla="*/ 214346 w 1258521"/>
                <a:gd name="connsiteY973" fmla="*/ 725641 h 914263"/>
                <a:gd name="connsiteX974" fmla="*/ 215154 w 1258521"/>
                <a:gd name="connsiteY974" fmla="*/ 729980 h 914263"/>
                <a:gd name="connsiteX975" fmla="*/ 215961 w 1258521"/>
                <a:gd name="connsiteY975" fmla="*/ 729980 h 914263"/>
                <a:gd name="connsiteX976" fmla="*/ 218216 w 1258521"/>
                <a:gd name="connsiteY976" fmla="*/ 728096 h 914263"/>
                <a:gd name="connsiteX977" fmla="*/ 218519 w 1258521"/>
                <a:gd name="connsiteY977" fmla="*/ 726650 h 914263"/>
                <a:gd name="connsiteX978" fmla="*/ 219394 w 1258521"/>
                <a:gd name="connsiteY978" fmla="*/ 724833 h 914263"/>
                <a:gd name="connsiteX979" fmla="*/ 221414 w 1258521"/>
                <a:gd name="connsiteY979" fmla="*/ 723689 h 914263"/>
                <a:gd name="connsiteX980" fmla="*/ 227135 w 1258521"/>
                <a:gd name="connsiteY980" fmla="*/ 723118 h 914263"/>
                <a:gd name="connsiteX981" fmla="*/ 229457 w 1258521"/>
                <a:gd name="connsiteY981" fmla="*/ 723925 h 914263"/>
                <a:gd name="connsiteX982" fmla="*/ 231207 w 1258521"/>
                <a:gd name="connsiteY982" fmla="*/ 725170 h 914263"/>
                <a:gd name="connsiteX983" fmla="*/ 234471 w 1258521"/>
                <a:gd name="connsiteY983" fmla="*/ 729072 h 914263"/>
                <a:gd name="connsiteX984" fmla="*/ 235851 w 1258521"/>
                <a:gd name="connsiteY984" fmla="*/ 731326 h 914263"/>
                <a:gd name="connsiteX985" fmla="*/ 236491 w 1258521"/>
                <a:gd name="connsiteY985" fmla="*/ 733344 h 914263"/>
                <a:gd name="connsiteX986" fmla="*/ 237568 w 1258521"/>
                <a:gd name="connsiteY986" fmla="*/ 734286 h 914263"/>
                <a:gd name="connsiteX987" fmla="*/ 240597 w 1258521"/>
                <a:gd name="connsiteY987" fmla="*/ 732907 h 914263"/>
                <a:gd name="connsiteX988" fmla="*/ 242347 w 1258521"/>
                <a:gd name="connsiteY988" fmla="*/ 731460 h 914263"/>
                <a:gd name="connsiteX989" fmla="*/ 244803 w 1258521"/>
                <a:gd name="connsiteY989" fmla="*/ 730215 h 914263"/>
                <a:gd name="connsiteX990" fmla="*/ 248270 w 1258521"/>
                <a:gd name="connsiteY990" fmla="*/ 732301 h 914263"/>
                <a:gd name="connsiteX991" fmla="*/ 250020 w 1258521"/>
                <a:gd name="connsiteY991" fmla="*/ 733815 h 914263"/>
                <a:gd name="connsiteX992" fmla="*/ 251467 w 1258521"/>
                <a:gd name="connsiteY992" fmla="*/ 733613 h 914263"/>
                <a:gd name="connsiteX993" fmla="*/ 253991 w 1258521"/>
                <a:gd name="connsiteY993" fmla="*/ 731662 h 914263"/>
                <a:gd name="connsiteX994" fmla="*/ 254496 w 1258521"/>
                <a:gd name="connsiteY994" fmla="*/ 730855 h 914263"/>
                <a:gd name="connsiteX995" fmla="*/ 255809 w 1258521"/>
                <a:gd name="connsiteY995" fmla="*/ 730350 h 914263"/>
                <a:gd name="connsiteX996" fmla="*/ 259342 w 1258521"/>
                <a:gd name="connsiteY996" fmla="*/ 731662 h 914263"/>
                <a:gd name="connsiteX997" fmla="*/ 260285 w 1258521"/>
                <a:gd name="connsiteY997" fmla="*/ 732301 h 914263"/>
                <a:gd name="connsiteX998" fmla="*/ 262035 w 1258521"/>
                <a:gd name="connsiteY998" fmla="*/ 734757 h 914263"/>
                <a:gd name="connsiteX999" fmla="*/ 263616 w 1258521"/>
                <a:gd name="connsiteY999" fmla="*/ 736439 h 914263"/>
                <a:gd name="connsiteX1000" fmla="*/ 265366 w 1258521"/>
                <a:gd name="connsiteY1000" fmla="*/ 737313 h 914263"/>
                <a:gd name="connsiteX1001" fmla="*/ 267049 w 1258521"/>
                <a:gd name="connsiteY1001" fmla="*/ 736674 h 914263"/>
                <a:gd name="connsiteX1002" fmla="*/ 269237 w 1258521"/>
                <a:gd name="connsiteY1002" fmla="*/ 736372 h 914263"/>
                <a:gd name="connsiteX1003" fmla="*/ 272367 w 1258521"/>
                <a:gd name="connsiteY1003" fmla="*/ 735800 h 914263"/>
                <a:gd name="connsiteX1004" fmla="*/ 274117 w 1258521"/>
                <a:gd name="connsiteY1004" fmla="*/ 734858 h 914263"/>
                <a:gd name="connsiteX1005" fmla="*/ 275867 w 1258521"/>
                <a:gd name="connsiteY1005" fmla="*/ 732907 h 914263"/>
                <a:gd name="connsiteX1006" fmla="*/ 278391 w 1258521"/>
                <a:gd name="connsiteY1006" fmla="*/ 732604 h 914263"/>
                <a:gd name="connsiteX1007" fmla="*/ 282867 w 1258521"/>
                <a:gd name="connsiteY1007" fmla="*/ 737313 h 914263"/>
                <a:gd name="connsiteX1008" fmla="*/ 283742 w 1258521"/>
                <a:gd name="connsiteY1008" fmla="*/ 739063 h 914263"/>
                <a:gd name="connsiteX1009" fmla="*/ 284617 w 1258521"/>
                <a:gd name="connsiteY1009" fmla="*/ 743638 h 914263"/>
                <a:gd name="connsiteX1010" fmla="*/ 285425 w 1258521"/>
                <a:gd name="connsiteY1010" fmla="*/ 746968 h 914263"/>
                <a:gd name="connsiteX1011" fmla="*/ 286804 w 1258521"/>
                <a:gd name="connsiteY1011" fmla="*/ 749289 h 914263"/>
                <a:gd name="connsiteX1012" fmla="*/ 287679 w 1258521"/>
                <a:gd name="connsiteY1012" fmla="*/ 749726 h 914263"/>
                <a:gd name="connsiteX1013" fmla="*/ 289934 w 1258521"/>
                <a:gd name="connsiteY1013" fmla="*/ 749996 h 914263"/>
                <a:gd name="connsiteX1014" fmla="*/ 294646 w 1258521"/>
                <a:gd name="connsiteY1014" fmla="*/ 749626 h 914263"/>
                <a:gd name="connsiteX1015" fmla="*/ 297338 w 1258521"/>
                <a:gd name="connsiteY1015" fmla="*/ 749054 h 914263"/>
                <a:gd name="connsiteX1016" fmla="*/ 300670 w 1258521"/>
                <a:gd name="connsiteY1016" fmla="*/ 748044 h 914263"/>
                <a:gd name="connsiteX1017" fmla="*/ 305314 w 1258521"/>
                <a:gd name="connsiteY1017" fmla="*/ 748986 h 914263"/>
                <a:gd name="connsiteX1018" fmla="*/ 306896 w 1258521"/>
                <a:gd name="connsiteY1018" fmla="*/ 750870 h 914263"/>
                <a:gd name="connsiteX1019" fmla="*/ 308141 w 1258521"/>
                <a:gd name="connsiteY1019" fmla="*/ 755580 h 914263"/>
                <a:gd name="connsiteX1020" fmla="*/ 308882 w 1258521"/>
                <a:gd name="connsiteY1020" fmla="*/ 758271 h 914263"/>
                <a:gd name="connsiteX1021" fmla="*/ 309016 w 1258521"/>
                <a:gd name="connsiteY1021" fmla="*/ 760222 h 914263"/>
                <a:gd name="connsiteX1022" fmla="*/ 310464 w 1258521"/>
                <a:gd name="connsiteY1022" fmla="*/ 761736 h 914263"/>
                <a:gd name="connsiteX1023" fmla="*/ 313930 w 1258521"/>
                <a:gd name="connsiteY1023" fmla="*/ 761736 h 914263"/>
                <a:gd name="connsiteX1024" fmla="*/ 315310 w 1258521"/>
                <a:gd name="connsiteY1024" fmla="*/ 762240 h 914263"/>
                <a:gd name="connsiteX1025" fmla="*/ 316690 w 1258521"/>
                <a:gd name="connsiteY1025" fmla="*/ 765874 h 914263"/>
                <a:gd name="connsiteX1026" fmla="*/ 316993 w 1258521"/>
                <a:gd name="connsiteY1026" fmla="*/ 767017 h 914263"/>
                <a:gd name="connsiteX1027" fmla="*/ 319180 w 1258521"/>
                <a:gd name="connsiteY1027" fmla="*/ 767017 h 914263"/>
                <a:gd name="connsiteX1028" fmla="*/ 320324 w 1258521"/>
                <a:gd name="connsiteY1028" fmla="*/ 766143 h 914263"/>
                <a:gd name="connsiteX1029" fmla="*/ 323723 w 1258521"/>
                <a:gd name="connsiteY1029" fmla="*/ 764763 h 914263"/>
                <a:gd name="connsiteX1030" fmla="*/ 325372 w 1258521"/>
                <a:gd name="connsiteY1030" fmla="*/ 766008 h 914263"/>
                <a:gd name="connsiteX1031" fmla="*/ 325507 w 1258521"/>
                <a:gd name="connsiteY1031" fmla="*/ 767959 h 914263"/>
                <a:gd name="connsiteX1032" fmla="*/ 325574 w 1258521"/>
                <a:gd name="connsiteY1032" fmla="*/ 769204 h 914263"/>
                <a:gd name="connsiteX1033" fmla="*/ 325709 w 1258521"/>
                <a:gd name="connsiteY1033" fmla="*/ 771390 h 914263"/>
                <a:gd name="connsiteX1034" fmla="*/ 326786 w 1258521"/>
                <a:gd name="connsiteY1034" fmla="*/ 773342 h 914263"/>
                <a:gd name="connsiteX1035" fmla="*/ 328098 w 1258521"/>
                <a:gd name="connsiteY1035" fmla="*/ 773913 h 914263"/>
                <a:gd name="connsiteX1036" fmla="*/ 330791 w 1258521"/>
                <a:gd name="connsiteY1036" fmla="*/ 774351 h 914263"/>
                <a:gd name="connsiteX1037" fmla="*/ 332676 w 1258521"/>
                <a:gd name="connsiteY1037" fmla="*/ 775158 h 914263"/>
                <a:gd name="connsiteX1038" fmla="*/ 334560 w 1258521"/>
                <a:gd name="connsiteY1038" fmla="*/ 776302 h 914263"/>
                <a:gd name="connsiteX1039" fmla="*/ 336580 w 1258521"/>
                <a:gd name="connsiteY1039" fmla="*/ 774284 h 914263"/>
                <a:gd name="connsiteX1040" fmla="*/ 337892 w 1258521"/>
                <a:gd name="connsiteY1040" fmla="*/ 772332 h 914263"/>
                <a:gd name="connsiteX1041" fmla="*/ 338834 w 1258521"/>
                <a:gd name="connsiteY1041" fmla="*/ 770751 h 914263"/>
                <a:gd name="connsiteX1042" fmla="*/ 339709 w 1258521"/>
                <a:gd name="connsiteY1042" fmla="*/ 769002 h 914263"/>
                <a:gd name="connsiteX1043" fmla="*/ 341291 w 1258521"/>
                <a:gd name="connsiteY1043" fmla="*/ 767690 h 914263"/>
                <a:gd name="connsiteX1044" fmla="*/ 343041 w 1258521"/>
                <a:gd name="connsiteY1044" fmla="*/ 766984 h 914263"/>
                <a:gd name="connsiteX1045" fmla="*/ 344858 w 1258521"/>
                <a:gd name="connsiteY1045" fmla="*/ 765806 h 914263"/>
                <a:gd name="connsiteX1046" fmla="*/ 347046 w 1258521"/>
                <a:gd name="connsiteY1046" fmla="*/ 765604 h 914263"/>
                <a:gd name="connsiteX1047" fmla="*/ 349738 w 1258521"/>
                <a:gd name="connsiteY1047" fmla="*/ 765403 h 914263"/>
                <a:gd name="connsiteX1048" fmla="*/ 351623 w 1258521"/>
                <a:gd name="connsiteY1048" fmla="*/ 765100 h 914263"/>
                <a:gd name="connsiteX1049" fmla="*/ 353508 w 1258521"/>
                <a:gd name="connsiteY1049" fmla="*/ 765773 h 914263"/>
                <a:gd name="connsiteX1050" fmla="*/ 355965 w 1258521"/>
                <a:gd name="connsiteY1050" fmla="*/ 766210 h 914263"/>
                <a:gd name="connsiteX1051" fmla="*/ 358421 w 1258521"/>
                <a:gd name="connsiteY1051" fmla="*/ 767219 h 914263"/>
                <a:gd name="connsiteX1052" fmla="*/ 360945 w 1258521"/>
                <a:gd name="connsiteY1052" fmla="*/ 768598 h 914263"/>
                <a:gd name="connsiteX1053" fmla="*/ 362191 w 1258521"/>
                <a:gd name="connsiteY1053" fmla="*/ 769675 h 914263"/>
                <a:gd name="connsiteX1054" fmla="*/ 362628 w 1258521"/>
                <a:gd name="connsiteY1054" fmla="*/ 772803 h 914263"/>
                <a:gd name="connsiteX1055" fmla="*/ 362696 w 1258521"/>
                <a:gd name="connsiteY1055" fmla="*/ 775764 h 914263"/>
                <a:gd name="connsiteX1056" fmla="*/ 362628 w 1258521"/>
                <a:gd name="connsiteY1056" fmla="*/ 779397 h 914263"/>
                <a:gd name="connsiteX1057" fmla="*/ 362763 w 1258521"/>
                <a:gd name="connsiteY1057" fmla="*/ 781583 h 914263"/>
                <a:gd name="connsiteX1058" fmla="*/ 364008 w 1258521"/>
                <a:gd name="connsiteY1058" fmla="*/ 782323 h 914263"/>
                <a:gd name="connsiteX1059" fmla="*/ 365960 w 1258521"/>
                <a:gd name="connsiteY1059" fmla="*/ 781381 h 914263"/>
                <a:gd name="connsiteX1060" fmla="*/ 366969 w 1258521"/>
                <a:gd name="connsiteY1060" fmla="*/ 778488 h 914263"/>
                <a:gd name="connsiteX1061" fmla="*/ 367609 w 1258521"/>
                <a:gd name="connsiteY1061" fmla="*/ 777244 h 914263"/>
                <a:gd name="connsiteX1062" fmla="*/ 368854 w 1258521"/>
                <a:gd name="connsiteY1062" fmla="*/ 776605 h 914263"/>
                <a:gd name="connsiteX1063" fmla="*/ 370941 w 1258521"/>
                <a:gd name="connsiteY1063" fmla="*/ 776470 h 914263"/>
                <a:gd name="connsiteX1064" fmla="*/ 372523 w 1258521"/>
                <a:gd name="connsiteY1064" fmla="*/ 778219 h 914263"/>
                <a:gd name="connsiteX1065" fmla="*/ 376662 w 1258521"/>
                <a:gd name="connsiteY1065" fmla="*/ 780608 h 914263"/>
                <a:gd name="connsiteX1066" fmla="*/ 379186 w 1258521"/>
                <a:gd name="connsiteY1066" fmla="*/ 783063 h 914263"/>
                <a:gd name="connsiteX1067" fmla="*/ 381878 w 1258521"/>
                <a:gd name="connsiteY1067" fmla="*/ 785452 h 914263"/>
                <a:gd name="connsiteX1068" fmla="*/ 384133 w 1258521"/>
                <a:gd name="connsiteY1068" fmla="*/ 785452 h 914263"/>
                <a:gd name="connsiteX1069" fmla="*/ 386758 w 1258521"/>
                <a:gd name="connsiteY1069" fmla="*/ 784947 h 914263"/>
                <a:gd name="connsiteX1070" fmla="*/ 389653 w 1258521"/>
                <a:gd name="connsiteY1070" fmla="*/ 783568 h 914263"/>
                <a:gd name="connsiteX1071" fmla="*/ 391537 w 1258521"/>
                <a:gd name="connsiteY1071" fmla="*/ 781247 h 914263"/>
                <a:gd name="connsiteX1072" fmla="*/ 393624 w 1258521"/>
                <a:gd name="connsiteY1072" fmla="*/ 779800 h 914263"/>
                <a:gd name="connsiteX1073" fmla="*/ 399211 w 1258521"/>
                <a:gd name="connsiteY1073" fmla="*/ 778556 h 914263"/>
                <a:gd name="connsiteX1074" fmla="*/ 403283 w 1258521"/>
                <a:gd name="connsiteY1074" fmla="*/ 778556 h 914263"/>
                <a:gd name="connsiteX1075" fmla="*/ 406749 w 1258521"/>
                <a:gd name="connsiteY1075" fmla="*/ 778556 h 914263"/>
                <a:gd name="connsiteX1076" fmla="*/ 409576 w 1258521"/>
                <a:gd name="connsiteY1076" fmla="*/ 777446 h 914263"/>
                <a:gd name="connsiteX1077" fmla="*/ 410283 w 1258521"/>
                <a:gd name="connsiteY1077" fmla="*/ 776605 h 914263"/>
                <a:gd name="connsiteX1078" fmla="*/ 411730 w 1258521"/>
                <a:gd name="connsiteY1078" fmla="*/ 776605 h 914263"/>
                <a:gd name="connsiteX1079" fmla="*/ 414322 w 1258521"/>
                <a:gd name="connsiteY1079" fmla="*/ 775797 h 914263"/>
                <a:gd name="connsiteX1080" fmla="*/ 417149 w 1258521"/>
                <a:gd name="connsiteY1080" fmla="*/ 776369 h 914263"/>
                <a:gd name="connsiteX1081" fmla="*/ 418898 w 1258521"/>
                <a:gd name="connsiteY1081" fmla="*/ 776672 h 914263"/>
                <a:gd name="connsiteX1082" fmla="*/ 421423 w 1258521"/>
                <a:gd name="connsiteY1082" fmla="*/ 776234 h 914263"/>
                <a:gd name="connsiteX1083" fmla="*/ 422735 w 1258521"/>
                <a:gd name="connsiteY1083" fmla="*/ 774149 h 914263"/>
                <a:gd name="connsiteX1084" fmla="*/ 424115 w 1258521"/>
                <a:gd name="connsiteY1084" fmla="*/ 772904 h 914263"/>
                <a:gd name="connsiteX1085" fmla="*/ 425495 w 1258521"/>
                <a:gd name="connsiteY1085" fmla="*/ 772534 h 914263"/>
                <a:gd name="connsiteX1086" fmla="*/ 428255 w 1258521"/>
                <a:gd name="connsiteY1086" fmla="*/ 771155 h 914263"/>
                <a:gd name="connsiteX1087" fmla="*/ 430442 w 1258521"/>
                <a:gd name="connsiteY1087" fmla="*/ 770718 h 914263"/>
                <a:gd name="connsiteX1088" fmla="*/ 432024 w 1258521"/>
                <a:gd name="connsiteY1088" fmla="*/ 770079 h 914263"/>
                <a:gd name="connsiteX1089" fmla="*/ 433606 w 1258521"/>
                <a:gd name="connsiteY1089" fmla="*/ 770146 h 914263"/>
                <a:gd name="connsiteX1090" fmla="*/ 434985 w 1258521"/>
                <a:gd name="connsiteY1090" fmla="*/ 770650 h 914263"/>
                <a:gd name="connsiteX1091" fmla="*/ 437375 w 1258521"/>
                <a:gd name="connsiteY1091" fmla="*/ 772400 h 914263"/>
                <a:gd name="connsiteX1092" fmla="*/ 439327 w 1258521"/>
                <a:gd name="connsiteY1092" fmla="*/ 773409 h 914263"/>
                <a:gd name="connsiteX1093" fmla="*/ 440909 w 1258521"/>
                <a:gd name="connsiteY1093" fmla="*/ 775730 h 914263"/>
                <a:gd name="connsiteX1094" fmla="*/ 441918 w 1258521"/>
                <a:gd name="connsiteY1094" fmla="*/ 777176 h 914263"/>
                <a:gd name="connsiteX1095" fmla="*/ 443736 w 1258521"/>
                <a:gd name="connsiteY1095" fmla="*/ 778690 h 914263"/>
                <a:gd name="connsiteX1096" fmla="*/ 447067 w 1258521"/>
                <a:gd name="connsiteY1096" fmla="*/ 781516 h 914263"/>
                <a:gd name="connsiteX1097" fmla="*/ 448515 w 1258521"/>
                <a:gd name="connsiteY1097" fmla="*/ 782525 h 914263"/>
                <a:gd name="connsiteX1098" fmla="*/ 451342 w 1258521"/>
                <a:gd name="connsiteY1098" fmla="*/ 784476 h 914263"/>
                <a:gd name="connsiteX1099" fmla="*/ 453664 w 1258521"/>
                <a:gd name="connsiteY1099" fmla="*/ 786865 h 914263"/>
                <a:gd name="connsiteX1100" fmla="*/ 454673 w 1258521"/>
                <a:gd name="connsiteY1100" fmla="*/ 789892 h 914263"/>
                <a:gd name="connsiteX1101" fmla="*/ 457803 w 1258521"/>
                <a:gd name="connsiteY1101" fmla="*/ 795174 h 914263"/>
                <a:gd name="connsiteX1102" fmla="*/ 458880 w 1258521"/>
                <a:gd name="connsiteY1102" fmla="*/ 798134 h 914263"/>
                <a:gd name="connsiteX1103" fmla="*/ 460765 w 1258521"/>
                <a:gd name="connsiteY1103" fmla="*/ 801767 h 914263"/>
                <a:gd name="connsiteX1104" fmla="*/ 461270 w 1258521"/>
                <a:gd name="connsiteY1104" fmla="*/ 805097 h 914263"/>
                <a:gd name="connsiteX1105" fmla="*/ 462212 w 1258521"/>
                <a:gd name="connsiteY1105" fmla="*/ 809672 h 914263"/>
                <a:gd name="connsiteX1106" fmla="*/ 464164 w 1258521"/>
                <a:gd name="connsiteY1106" fmla="*/ 810110 h 914263"/>
                <a:gd name="connsiteX1107" fmla="*/ 466924 w 1258521"/>
                <a:gd name="connsiteY1107" fmla="*/ 810110 h 914263"/>
                <a:gd name="connsiteX1108" fmla="*/ 469178 w 1258521"/>
                <a:gd name="connsiteY1108" fmla="*/ 809403 h 914263"/>
                <a:gd name="connsiteX1109" fmla="*/ 470053 w 1258521"/>
                <a:gd name="connsiteY1109" fmla="*/ 810211 h 914263"/>
                <a:gd name="connsiteX1110" fmla="*/ 473082 w 1258521"/>
                <a:gd name="connsiteY1110" fmla="*/ 815694 h 914263"/>
                <a:gd name="connsiteX1111" fmla="*/ 473890 w 1258521"/>
                <a:gd name="connsiteY1111" fmla="*/ 817645 h 914263"/>
                <a:gd name="connsiteX1112" fmla="*/ 475135 w 1258521"/>
                <a:gd name="connsiteY1112" fmla="*/ 819596 h 914263"/>
                <a:gd name="connsiteX1113" fmla="*/ 475842 w 1258521"/>
                <a:gd name="connsiteY1113" fmla="*/ 820908 h 914263"/>
                <a:gd name="connsiteX1114" fmla="*/ 476852 w 1258521"/>
                <a:gd name="connsiteY1114" fmla="*/ 820908 h 914263"/>
                <a:gd name="connsiteX1115" fmla="*/ 478938 w 1258521"/>
                <a:gd name="connsiteY1115" fmla="*/ 820471 h 914263"/>
                <a:gd name="connsiteX1116" fmla="*/ 480453 w 1258521"/>
                <a:gd name="connsiteY1116" fmla="*/ 820403 h 914263"/>
                <a:gd name="connsiteX1117" fmla="*/ 482977 w 1258521"/>
                <a:gd name="connsiteY1117" fmla="*/ 820908 h 914263"/>
                <a:gd name="connsiteX1118" fmla="*/ 485366 w 1258521"/>
                <a:gd name="connsiteY1118" fmla="*/ 821547 h 914263"/>
                <a:gd name="connsiteX1119" fmla="*/ 486814 w 1258521"/>
                <a:gd name="connsiteY1119" fmla="*/ 822119 h 914263"/>
                <a:gd name="connsiteX1120" fmla="*/ 488564 w 1258521"/>
                <a:gd name="connsiteY1120" fmla="*/ 822926 h 914263"/>
                <a:gd name="connsiteX1121" fmla="*/ 490886 w 1258521"/>
                <a:gd name="connsiteY1121" fmla="*/ 823666 h 914263"/>
                <a:gd name="connsiteX1122" fmla="*/ 492400 w 1258521"/>
                <a:gd name="connsiteY1122" fmla="*/ 823666 h 914263"/>
                <a:gd name="connsiteX1123" fmla="*/ 493780 w 1258521"/>
                <a:gd name="connsiteY1123" fmla="*/ 824743 h 914263"/>
                <a:gd name="connsiteX1124" fmla="*/ 495530 w 1258521"/>
                <a:gd name="connsiteY1124" fmla="*/ 826761 h 914263"/>
                <a:gd name="connsiteX1125" fmla="*/ 496169 w 1258521"/>
                <a:gd name="connsiteY1125" fmla="*/ 828948 h 914263"/>
                <a:gd name="connsiteX1126" fmla="*/ 497415 w 1258521"/>
                <a:gd name="connsiteY1126" fmla="*/ 831774 h 914263"/>
                <a:gd name="connsiteX1127" fmla="*/ 498492 w 1258521"/>
                <a:gd name="connsiteY1127" fmla="*/ 833590 h 914263"/>
                <a:gd name="connsiteX1128" fmla="*/ 500948 w 1258521"/>
                <a:gd name="connsiteY1128" fmla="*/ 836550 h 914263"/>
                <a:gd name="connsiteX1129" fmla="*/ 502194 w 1258521"/>
                <a:gd name="connsiteY1129" fmla="*/ 838501 h 914263"/>
                <a:gd name="connsiteX1130" fmla="*/ 502194 w 1258521"/>
                <a:gd name="connsiteY1130" fmla="*/ 842908 h 914263"/>
                <a:gd name="connsiteX1131" fmla="*/ 502631 w 1258521"/>
                <a:gd name="connsiteY1131" fmla="*/ 847248 h 914263"/>
                <a:gd name="connsiteX1132" fmla="*/ 502059 w 1258521"/>
                <a:gd name="connsiteY1132" fmla="*/ 848560 h 914263"/>
                <a:gd name="connsiteX1133" fmla="*/ 501756 w 1258521"/>
                <a:gd name="connsiteY1133" fmla="*/ 851688 h 914263"/>
                <a:gd name="connsiteX1134" fmla="*/ 499434 w 1258521"/>
                <a:gd name="connsiteY1134" fmla="*/ 852698 h 914263"/>
                <a:gd name="connsiteX1135" fmla="*/ 497549 w 1258521"/>
                <a:gd name="connsiteY1135" fmla="*/ 853269 h 914263"/>
                <a:gd name="connsiteX1136" fmla="*/ 496876 w 1258521"/>
                <a:gd name="connsiteY1136" fmla="*/ 855086 h 914263"/>
                <a:gd name="connsiteX1137" fmla="*/ 496035 w 1258521"/>
                <a:gd name="connsiteY1137" fmla="*/ 857037 h 914263"/>
                <a:gd name="connsiteX1138" fmla="*/ 496035 w 1258521"/>
                <a:gd name="connsiteY1138" fmla="*/ 859123 h 914263"/>
                <a:gd name="connsiteX1139" fmla="*/ 496775 w 1258521"/>
                <a:gd name="connsiteY1139" fmla="*/ 860435 h 914263"/>
                <a:gd name="connsiteX1140" fmla="*/ 498525 w 1258521"/>
                <a:gd name="connsiteY1140" fmla="*/ 863563 h 914263"/>
                <a:gd name="connsiteX1141" fmla="*/ 499165 w 1258521"/>
                <a:gd name="connsiteY1141" fmla="*/ 864572 h 914263"/>
                <a:gd name="connsiteX1142" fmla="*/ 499535 w 1258521"/>
                <a:gd name="connsiteY1142" fmla="*/ 867028 h 914263"/>
                <a:gd name="connsiteX1143" fmla="*/ 500410 w 1258521"/>
                <a:gd name="connsiteY1143" fmla="*/ 869046 h 914263"/>
                <a:gd name="connsiteX1144" fmla="*/ 501790 w 1258521"/>
                <a:gd name="connsiteY1144" fmla="*/ 872377 h 914263"/>
                <a:gd name="connsiteX1145" fmla="*/ 502093 w 1258521"/>
                <a:gd name="connsiteY1145" fmla="*/ 873890 h 914263"/>
                <a:gd name="connsiteX1146" fmla="*/ 502665 w 1258521"/>
                <a:gd name="connsiteY1146" fmla="*/ 876918 h 914263"/>
                <a:gd name="connsiteX1147" fmla="*/ 504415 w 1258521"/>
                <a:gd name="connsiteY1147" fmla="*/ 879306 h 914263"/>
                <a:gd name="connsiteX1148" fmla="*/ 505559 w 1258521"/>
                <a:gd name="connsiteY1148" fmla="*/ 880114 h 914263"/>
                <a:gd name="connsiteX1149" fmla="*/ 508319 w 1258521"/>
                <a:gd name="connsiteY1149" fmla="*/ 882065 h 914263"/>
                <a:gd name="connsiteX1150" fmla="*/ 510641 w 1258521"/>
                <a:gd name="connsiteY1150" fmla="*/ 882570 h 914263"/>
                <a:gd name="connsiteX1151" fmla="*/ 512593 w 1258521"/>
                <a:gd name="connsiteY1151" fmla="*/ 882570 h 914263"/>
                <a:gd name="connsiteX1152" fmla="*/ 514107 w 1258521"/>
                <a:gd name="connsiteY1152" fmla="*/ 882570 h 914263"/>
                <a:gd name="connsiteX1153" fmla="*/ 516564 w 1258521"/>
                <a:gd name="connsiteY1153" fmla="*/ 881258 h 914263"/>
                <a:gd name="connsiteX1154" fmla="*/ 517204 w 1258521"/>
                <a:gd name="connsiteY1154" fmla="*/ 880686 h 914263"/>
                <a:gd name="connsiteX1155" fmla="*/ 518146 w 1258521"/>
                <a:gd name="connsiteY1155" fmla="*/ 879878 h 914263"/>
                <a:gd name="connsiteX1156" fmla="*/ 518954 w 1258521"/>
                <a:gd name="connsiteY1156" fmla="*/ 879441 h 914263"/>
                <a:gd name="connsiteX1157" fmla="*/ 519896 w 1258521"/>
                <a:gd name="connsiteY1157" fmla="*/ 879508 h 914263"/>
                <a:gd name="connsiteX1158" fmla="*/ 521814 w 1258521"/>
                <a:gd name="connsiteY1158" fmla="*/ 879744 h 914263"/>
                <a:gd name="connsiteX1159" fmla="*/ 522151 w 1258521"/>
                <a:gd name="connsiteY1159" fmla="*/ 880988 h 914263"/>
                <a:gd name="connsiteX1160" fmla="*/ 522151 w 1258521"/>
                <a:gd name="connsiteY1160" fmla="*/ 881729 h 914263"/>
                <a:gd name="connsiteX1161" fmla="*/ 523901 w 1258521"/>
                <a:gd name="connsiteY1161" fmla="*/ 883545 h 914263"/>
                <a:gd name="connsiteX1162" fmla="*/ 523901 w 1258521"/>
                <a:gd name="connsiteY1162" fmla="*/ 883478 h 914263"/>
                <a:gd name="connsiteX1163" fmla="*/ 524776 w 1258521"/>
                <a:gd name="connsiteY1163" fmla="*/ 885361 h 914263"/>
                <a:gd name="connsiteX1164" fmla="*/ 526290 w 1258521"/>
                <a:gd name="connsiteY1164" fmla="*/ 885933 h 914263"/>
                <a:gd name="connsiteX1165" fmla="*/ 528478 w 1258521"/>
                <a:gd name="connsiteY1165" fmla="*/ 887380 h 914263"/>
                <a:gd name="connsiteX1166" fmla="*/ 529488 w 1258521"/>
                <a:gd name="connsiteY1166" fmla="*/ 888961 h 914263"/>
                <a:gd name="connsiteX1167" fmla="*/ 530295 w 1258521"/>
                <a:gd name="connsiteY1167" fmla="*/ 891551 h 914263"/>
                <a:gd name="connsiteX1168" fmla="*/ 530295 w 1258521"/>
                <a:gd name="connsiteY1168" fmla="*/ 892998 h 914263"/>
                <a:gd name="connsiteX1169" fmla="*/ 530935 w 1258521"/>
                <a:gd name="connsiteY1169" fmla="*/ 894142 h 914263"/>
                <a:gd name="connsiteX1170" fmla="*/ 531877 w 1258521"/>
                <a:gd name="connsiteY1170" fmla="*/ 894848 h 914263"/>
                <a:gd name="connsiteX1171" fmla="*/ 533762 w 1258521"/>
                <a:gd name="connsiteY1171" fmla="*/ 894848 h 914263"/>
                <a:gd name="connsiteX1172" fmla="*/ 535209 w 1258521"/>
                <a:gd name="connsiteY1172" fmla="*/ 893704 h 914263"/>
                <a:gd name="connsiteX1173" fmla="*/ 536017 w 1258521"/>
                <a:gd name="connsiteY1173" fmla="*/ 892190 h 914263"/>
                <a:gd name="connsiteX1174" fmla="*/ 536891 w 1258521"/>
                <a:gd name="connsiteY1174" fmla="*/ 891248 h 914263"/>
                <a:gd name="connsiteX1175" fmla="*/ 538709 w 1258521"/>
                <a:gd name="connsiteY1175" fmla="*/ 891248 h 914263"/>
                <a:gd name="connsiteX1176" fmla="*/ 540526 w 1258521"/>
                <a:gd name="connsiteY1176" fmla="*/ 890946 h 914263"/>
                <a:gd name="connsiteX1177" fmla="*/ 541771 w 1258521"/>
                <a:gd name="connsiteY1177" fmla="*/ 891013 h 914263"/>
                <a:gd name="connsiteX1178" fmla="*/ 542916 w 1258521"/>
                <a:gd name="connsiteY1178" fmla="*/ 892022 h 914263"/>
                <a:gd name="connsiteX1179" fmla="*/ 544733 w 1258521"/>
                <a:gd name="connsiteY1179" fmla="*/ 892157 h 914263"/>
                <a:gd name="connsiteX1180" fmla="*/ 546416 w 1258521"/>
                <a:gd name="connsiteY1180" fmla="*/ 890206 h 914263"/>
                <a:gd name="connsiteX1181" fmla="*/ 547560 w 1258521"/>
                <a:gd name="connsiteY1181" fmla="*/ 890273 h 914263"/>
                <a:gd name="connsiteX1182" fmla="*/ 551329 w 1258521"/>
                <a:gd name="connsiteY1182" fmla="*/ 892157 h 914263"/>
                <a:gd name="connsiteX1183" fmla="*/ 553719 w 1258521"/>
                <a:gd name="connsiteY1183" fmla="*/ 893973 h 914263"/>
                <a:gd name="connsiteX1184" fmla="*/ 555974 w 1258521"/>
                <a:gd name="connsiteY1184" fmla="*/ 896429 h 914263"/>
                <a:gd name="connsiteX1185" fmla="*/ 561998 w 1258521"/>
                <a:gd name="connsiteY1185" fmla="*/ 899456 h 914263"/>
                <a:gd name="connsiteX1186" fmla="*/ 565262 w 1258521"/>
                <a:gd name="connsiteY1186" fmla="*/ 901038 h 914263"/>
                <a:gd name="connsiteX1187" fmla="*/ 566205 w 1258521"/>
                <a:gd name="connsiteY1187" fmla="*/ 902551 h 914263"/>
                <a:gd name="connsiteX1188" fmla="*/ 565700 w 1258521"/>
                <a:gd name="connsiteY1188" fmla="*/ 906454 h 914263"/>
                <a:gd name="connsiteX1189" fmla="*/ 565700 w 1258521"/>
                <a:gd name="connsiteY1189" fmla="*/ 907698 h 914263"/>
                <a:gd name="connsiteX1190" fmla="*/ 566205 w 1258521"/>
                <a:gd name="connsiteY1190" fmla="*/ 909010 h 914263"/>
                <a:gd name="connsiteX1191" fmla="*/ 567450 w 1258521"/>
                <a:gd name="connsiteY1191" fmla="*/ 910591 h 914263"/>
                <a:gd name="connsiteX1192" fmla="*/ 569503 w 1258521"/>
                <a:gd name="connsiteY1192" fmla="*/ 913417 h 914263"/>
                <a:gd name="connsiteX1193" fmla="*/ 571118 w 1258521"/>
                <a:gd name="connsiteY1193" fmla="*/ 913787 h 914263"/>
                <a:gd name="connsiteX1194" fmla="*/ 573508 w 1258521"/>
                <a:gd name="connsiteY1194" fmla="*/ 913787 h 914263"/>
                <a:gd name="connsiteX1195" fmla="*/ 578455 w 1258521"/>
                <a:gd name="connsiteY1195" fmla="*/ 914224 h 914263"/>
                <a:gd name="connsiteX1196" fmla="*/ 579263 w 1258521"/>
                <a:gd name="connsiteY1196" fmla="*/ 912710 h 914263"/>
                <a:gd name="connsiteX1197" fmla="*/ 579263 w 1258521"/>
                <a:gd name="connsiteY1197" fmla="*/ 910322 h 914263"/>
                <a:gd name="connsiteX1198" fmla="*/ 578993 w 1258521"/>
                <a:gd name="connsiteY1198" fmla="*/ 907295 h 914263"/>
                <a:gd name="connsiteX1199" fmla="*/ 578219 w 1258521"/>
                <a:gd name="connsiteY1199" fmla="*/ 905007 h 914263"/>
                <a:gd name="connsiteX1200" fmla="*/ 577614 w 1258521"/>
                <a:gd name="connsiteY1200" fmla="*/ 903762 h 914263"/>
                <a:gd name="connsiteX1201" fmla="*/ 577008 w 1258521"/>
                <a:gd name="connsiteY1201" fmla="*/ 901576 h 914263"/>
                <a:gd name="connsiteX1202" fmla="*/ 576200 w 1258521"/>
                <a:gd name="connsiteY1202" fmla="*/ 899086 h 914263"/>
                <a:gd name="connsiteX1203" fmla="*/ 575157 w 1258521"/>
                <a:gd name="connsiteY1203" fmla="*/ 897438 h 914263"/>
                <a:gd name="connsiteX1204" fmla="*/ 573205 w 1258521"/>
                <a:gd name="connsiteY1204" fmla="*/ 894242 h 914263"/>
                <a:gd name="connsiteX1205" fmla="*/ 571791 w 1258521"/>
                <a:gd name="connsiteY1205" fmla="*/ 892190 h 914263"/>
                <a:gd name="connsiteX1206" fmla="*/ 570479 w 1258521"/>
                <a:gd name="connsiteY1206" fmla="*/ 890710 h 914263"/>
                <a:gd name="connsiteX1207" fmla="*/ 569133 w 1258521"/>
                <a:gd name="connsiteY1207" fmla="*/ 888927 h 914263"/>
                <a:gd name="connsiteX1208" fmla="*/ 567988 w 1258521"/>
                <a:gd name="connsiteY1208" fmla="*/ 885664 h 914263"/>
                <a:gd name="connsiteX1209" fmla="*/ 568089 w 1258521"/>
                <a:gd name="connsiteY1209" fmla="*/ 884520 h 914263"/>
                <a:gd name="connsiteX1210" fmla="*/ 569570 w 1258521"/>
                <a:gd name="connsiteY1210" fmla="*/ 881796 h 914263"/>
                <a:gd name="connsiteX1211" fmla="*/ 571488 w 1258521"/>
                <a:gd name="connsiteY1211" fmla="*/ 879845 h 914263"/>
                <a:gd name="connsiteX1212" fmla="*/ 574046 w 1258521"/>
                <a:gd name="connsiteY1212" fmla="*/ 877187 h 914263"/>
                <a:gd name="connsiteX1213" fmla="*/ 576368 w 1258521"/>
                <a:gd name="connsiteY1213" fmla="*/ 875505 h 914263"/>
                <a:gd name="connsiteX1214" fmla="*/ 579633 w 1258521"/>
                <a:gd name="connsiteY1214" fmla="*/ 874597 h 914263"/>
                <a:gd name="connsiteX1215" fmla="*/ 581417 w 1258521"/>
                <a:gd name="connsiteY1215" fmla="*/ 874429 h 914263"/>
                <a:gd name="connsiteX1216" fmla="*/ 583200 w 1258521"/>
                <a:gd name="connsiteY1216" fmla="*/ 874698 h 914263"/>
                <a:gd name="connsiteX1217" fmla="*/ 586397 w 1258521"/>
                <a:gd name="connsiteY1217" fmla="*/ 876615 h 914263"/>
                <a:gd name="connsiteX1218" fmla="*/ 587878 w 1258521"/>
                <a:gd name="connsiteY1218" fmla="*/ 878196 h 914263"/>
                <a:gd name="connsiteX1219" fmla="*/ 590638 w 1258521"/>
                <a:gd name="connsiteY1219" fmla="*/ 881190 h 914263"/>
                <a:gd name="connsiteX1220" fmla="*/ 595518 w 1258521"/>
                <a:gd name="connsiteY1220" fmla="*/ 885361 h 914263"/>
                <a:gd name="connsiteX1221" fmla="*/ 597470 w 1258521"/>
                <a:gd name="connsiteY1221" fmla="*/ 888524 h 914263"/>
                <a:gd name="connsiteX1222" fmla="*/ 600027 w 1258521"/>
                <a:gd name="connsiteY1222" fmla="*/ 893301 h 914263"/>
                <a:gd name="connsiteX1223" fmla="*/ 603292 w 1258521"/>
                <a:gd name="connsiteY1223" fmla="*/ 896025 h 914263"/>
                <a:gd name="connsiteX1224" fmla="*/ 608307 w 1258521"/>
                <a:gd name="connsiteY1224" fmla="*/ 896732 h 914263"/>
                <a:gd name="connsiteX1225" fmla="*/ 610057 w 1258521"/>
                <a:gd name="connsiteY1225" fmla="*/ 897976 h 914263"/>
                <a:gd name="connsiteX1226" fmla="*/ 612783 w 1258521"/>
                <a:gd name="connsiteY1226" fmla="*/ 898347 h 914263"/>
                <a:gd name="connsiteX1227" fmla="*/ 615711 w 1258521"/>
                <a:gd name="connsiteY1227" fmla="*/ 900970 h 914263"/>
                <a:gd name="connsiteX1228" fmla="*/ 618167 w 1258521"/>
                <a:gd name="connsiteY1228" fmla="*/ 902551 h 914263"/>
                <a:gd name="connsiteX1229" fmla="*/ 620490 w 1258521"/>
                <a:gd name="connsiteY1229" fmla="*/ 904502 h 914263"/>
                <a:gd name="connsiteX1230" fmla="*/ 622778 w 1258521"/>
                <a:gd name="connsiteY1230" fmla="*/ 905579 h 914263"/>
                <a:gd name="connsiteX1231" fmla="*/ 627490 w 1258521"/>
                <a:gd name="connsiteY1231" fmla="*/ 907328 h 914263"/>
                <a:gd name="connsiteX1232" fmla="*/ 630384 w 1258521"/>
                <a:gd name="connsiteY1232" fmla="*/ 905108 h 914263"/>
                <a:gd name="connsiteX1233" fmla="*/ 632168 w 1258521"/>
                <a:gd name="connsiteY1233" fmla="*/ 902518 h 914263"/>
                <a:gd name="connsiteX1234" fmla="*/ 630249 w 1258521"/>
                <a:gd name="connsiteY1234" fmla="*/ 898178 h 914263"/>
                <a:gd name="connsiteX1235" fmla="*/ 626917 w 1258521"/>
                <a:gd name="connsiteY1235" fmla="*/ 895252 h 914263"/>
                <a:gd name="connsiteX1236" fmla="*/ 623788 w 1258521"/>
                <a:gd name="connsiteY1236" fmla="*/ 892493 h 914263"/>
                <a:gd name="connsiteX1237" fmla="*/ 623586 w 1258521"/>
                <a:gd name="connsiteY1237" fmla="*/ 889600 h 914263"/>
                <a:gd name="connsiteX1238" fmla="*/ 624158 w 1258521"/>
                <a:gd name="connsiteY1238" fmla="*/ 887144 h 914263"/>
                <a:gd name="connsiteX1239" fmla="*/ 627624 w 1258521"/>
                <a:gd name="connsiteY1239" fmla="*/ 883881 h 914263"/>
                <a:gd name="connsiteX1240" fmla="*/ 628264 w 1258521"/>
                <a:gd name="connsiteY1240" fmla="*/ 882199 h 914263"/>
                <a:gd name="connsiteX1241" fmla="*/ 627523 w 1258521"/>
                <a:gd name="connsiteY1241" fmla="*/ 878735 h 914263"/>
                <a:gd name="connsiteX1242" fmla="*/ 624999 w 1258521"/>
                <a:gd name="connsiteY1242" fmla="*/ 875404 h 914263"/>
                <a:gd name="connsiteX1243" fmla="*/ 624696 w 1258521"/>
                <a:gd name="connsiteY1243" fmla="*/ 872713 h 914263"/>
                <a:gd name="connsiteX1244" fmla="*/ 628163 w 1258521"/>
                <a:gd name="connsiteY1244" fmla="*/ 868508 h 914263"/>
                <a:gd name="connsiteX1245" fmla="*/ 629240 w 1258521"/>
                <a:gd name="connsiteY1245" fmla="*/ 865918 h 914263"/>
                <a:gd name="connsiteX1246" fmla="*/ 633581 w 1258521"/>
                <a:gd name="connsiteY1246" fmla="*/ 867364 h 914263"/>
                <a:gd name="connsiteX1247" fmla="*/ 637990 w 1258521"/>
                <a:gd name="connsiteY1247" fmla="*/ 869046 h 914263"/>
                <a:gd name="connsiteX1248" fmla="*/ 641894 w 1258521"/>
                <a:gd name="connsiteY1248" fmla="*/ 870493 h 914263"/>
                <a:gd name="connsiteX1249" fmla="*/ 645798 w 1258521"/>
                <a:gd name="connsiteY1249" fmla="*/ 869753 h 914263"/>
                <a:gd name="connsiteX1250" fmla="*/ 646875 w 1258521"/>
                <a:gd name="connsiteY1250" fmla="*/ 867499 h 914263"/>
                <a:gd name="connsiteX1251" fmla="*/ 648759 w 1258521"/>
                <a:gd name="connsiteY1251" fmla="*/ 865245 h 914263"/>
                <a:gd name="connsiteX1252" fmla="*/ 650005 w 1258521"/>
                <a:gd name="connsiteY1252" fmla="*/ 864169 h 914263"/>
                <a:gd name="connsiteX1253" fmla="*/ 652899 w 1258521"/>
                <a:gd name="connsiteY1253" fmla="*/ 864370 h 914263"/>
                <a:gd name="connsiteX1254" fmla="*/ 654043 w 1258521"/>
                <a:gd name="connsiteY1254" fmla="*/ 865447 h 914263"/>
                <a:gd name="connsiteX1255" fmla="*/ 657947 w 1258521"/>
                <a:gd name="connsiteY1255" fmla="*/ 867331 h 914263"/>
                <a:gd name="connsiteX1256" fmla="*/ 660202 w 1258521"/>
                <a:gd name="connsiteY1256" fmla="*/ 869719 h 914263"/>
                <a:gd name="connsiteX1257" fmla="*/ 664039 w 1258521"/>
                <a:gd name="connsiteY1257" fmla="*/ 871300 h 914263"/>
                <a:gd name="connsiteX1258" fmla="*/ 670500 w 1258521"/>
                <a:gd name="connsiteY1258" fmla="*/ 871065 h 914263"/>
                <a:gd name="connsiteX1259" fmla="*/ 670870 w 1258521"/>
                <a:gd name="connsiteY1259" fmla="*/ 868979 h 914263"/>
                <a:gd name="connsiteX1260" fmla="*/ 670366 w 1258521"/>
                <a:gd name="connsiteY1260" fmla="*/ 865144 h 914263"/>
                <a:gd name="connsiteX1261" fmla="*/ 672015 w 1258521"/>
                <a:gd name="connsiteY1261" fmla="*/ 863395 h 914263"/>
                <a:gd name="connsiteX1262" fmla="*/ 673260 w 1258521"/>
                <a:gd name="connsiteY1262" fmla="*/ 863260 h 914263"/>
                <a:gd name="connsiteX1263" fmla="*/ 675515 w 1258521"/>
                <a:gd name="connsiteY1263" fmla="*/ 865447 h 914263"/>
                <a:gd name="connsiteX1264" fmla="*/ 676760 w 1258521"/>
                <a:gd name="connsiteY1264" fmla="*/ 866019 h 914263"/>
                <a:gd name="connsiteX1265" fmla="*/ 679520 w 1258521"/>
                <a:gd name="connsiteY1265" fmla="*/ 862621 h 914263"/>
                <a:gd name="connsiteX1266" fmla="*/ 680327 w 1258521"/>
                <a:gd name="connsiteY1266" fmla="*/ 859493 h 914263"/>
                <a:gd name="connsiteX1267" fmla="*/ 680327 w 1258521"/>
                <a:gd name="connsiteY1267" fmla="*/ 855590 h 914263"/>
                <a:gd name="connsiteX1268" fmla="*/ 681202 w 1258521"/>
                <a:gd name="connsiteY1268" fmla="*/ 853572 h 914263"/>
                <a:gd name="connsiteX1269" fmla="*/ 682784 w 1258521"/>
                <a:gd name="connsiteY1269" fmla="*/ 850107 h 914263"/>
                <a:gd name="connsiteX1270" fmla="*/ 684803 w 1258521"/>
                <a:gd name="connsiteY1270" fmla="*/ 848089 h 914263"/>
                <a:gd name="connsiteX1271" fmla="*/ 688270 w 1258521"/>
                <a:gd name="connsiteY1271" fmla="*/ 845196 h 914263"/>
                <a:gd name="connsiteX1272" fmla="*/ 691736 w 1258521"/>
                <a:gd name="connsiteY1272" fmla="*/ 842437 h 914263"/>
                <a:gd name="connsiteX1273" fmla="*/ 693486 w 1258521"/>
                <a:gd name="connsiteY1273" fmla="*/ 841428 h 914263"/>
                <a:gd name="connsiteX1274" fmla="*/ 694294 w 1258521"/>
                <a:gd name="connsiteY1274" fmla="*/ 838670 h 914263"/>
                <a:gd name="connsiteX1275" fmla="*/ 692779 w 1258521"/>
                <a:gd name="connsiteY1275" fmla="*/ 836281 h 914263"/>
                <a:gd name="connsiteX1276" fmla="*/ 692712 w 1258521"/>
                <a:gd name="connsiteY1276" fmla="*/ 835474 h 914263"/>
                <a:gd name="connsiteX1277" fmla="*/ 693856 w 1258521"/>
                <a:gd name="connsiteY1277" fmla="*/ 834330 h 914263"/>
                <a:gd name="connsiteX1278" fmla="*/ 694294 w 1258521"/>
                <a:gd name="connsiteY1278" fmla="*/ 833691 h 914263"/>
                <a:gd name="connsiteX1279" fmla="*/ 693991 w 1258521"/>
                <a:gd name="connsiteY1279" fmla="*/ 831370 h 914263"/>
                <a:gd name="connsiteX1280" fmla="*/ 691299 w 1258521"/>
                <a:gd name="connsiteY1280" fmla="*/ 828241 h 914263"/>
                <a:gd name="connsiteX1281" fmla="*/ 690289 w 1258521"/>
                <a:gd name="connsiteY1281" fmla="*/ 826997 h 914263"/>
                <a:gd name="connsiteX1282" fmla="*/ 689919 w 1258521"/>
                <a:gd name="connsiteY1282" fmla="*/ 823734 h 914263"/>
                <a:gd name="connsiteX1283" fmla="*/ 691232 w 1258521"/>
                <a:gd name="connsiteY1283" fmla="*/ 821850 h 914263"/>
                <a:gd name="connsiteX1284" fmla="*/ 693251 w 1258521"/>
                <a:gd name="connsiteY1284" fmla="*/ 819024 h 914263"/>
                <a:gd name="connsiteX1285" fmla="*/ 696381 w 1258521"/>
                <a:gd name="connsiteY1285" fmla="*/ 816770 h 914263"/>
                <a:gd name="connsiteX1286" fmla="*/ 698905 w 1258521"/>
                <a:gd name="connsiteY1286" fmla="*/ 815761 h 914263"/>
                <a:gd name="connsiteX1287" fmla="*/ 704323 w 1258521"/>
                <a:gd name="connsiteY1287" fmla="*/ 816770 h 914263"/>
                <a:gd name="connsiteX1288" fmla="*/ 706140 w 1258521"/>
                <a:gd name="connsiteY1288" fmla="*/ 817948 h 914263"/>
                <a:gd name="connsiteX1289" fmla="*/ 709842 w 1258521"/>
                <a:gd name="connsiteY1289" fmla="*/ 820538 h 914263"/>
                <a:gd name="connsiteX1290" fmla="*/ 712669 w 1258521"/>
                <a:gd name="connsiteY1290" fmla="*/ 822052 h 914263"/>
                <a:gd name="connsiteX1291" fmla="*/ 716371 w 1258521"/>
                <a:gd name="connsiteY1291" fmla="*/ 823935 h 914263"/>
                <a:gd name="connsiteX1292" fmla="*/ 720208 w 1258521"/>
                <a:gd name="connsiteY1292" fmla="*/ 824003 h 914263"/>
                <a:gd name="connsiteX1293" fmla="*/ 724785 w 1258521"/>
                <a:gd name="connsiteY1293" fmla="*/ 823498 h 914263"/>
                <a:gd name="connsiteX1294" fmla="*/ 728319 w 1258521"/>
                <a:gd name="connsiteY1294" fmla="*/ 821985 h 914263"/>
                <a:gd name="connsiteX1295" fmla="*/ 732021 w 1258521"/>
                <a:gd name="connsiteY1295" fmla="*/ 820942 h 914263"/>
                <a:gd name="connsiteX1296" fmla="*/ 727881 w 1258521"/>
                <a:gd name="connsiteY1296" fmla="*/ 816165 h 914263"/>
                <a:gd name="connsiteX1297" fmla="*/ 722766 w 1258521"/>
                <a:gd name="connsiteY1297" fmla="*/ 811724 h 914263"/>
                <a:gd name="connsiteX1298" fmla="*/ 718088 w 1258521"/>
                <a:gd name="connsiteY1298" fmla="*/ 806611 h 914263"/>
                <a:gd name="connsiteX1299" fmla="*/ 712939 w 1258521"/>
                <a:gd name="connsiteY1299" fmla="*/ 801868 h 914263"/>
                <a:gd name="connsiteX1300" fmla="*/ 709540 w 1258521"/>
                <a:gd name="connsiteY1300" fmla="*/ 798672 h 914263"/>
                <a:gd name="connsiteX1301" fmla="*/ 707453 w 1258521"/>
                <a:gd name="connsiteY1301" fmla="*/ 796923 h 914263"/>
                <a:gd name="connsiteX1302" fmla="*/ 702371 w 1258521"/>
                <a:gd name="connsiteY1302" fmla="*/ 792516 h 914263"/>
                <a:gd name="connsiteX1303" fmla="*/ 700621 w 1258521"/>
                <a:gd name="connsiteY1303" fmla="*/ 790431 h 914263"/>
                <a:gd name="connsiteX1304" fmla="*/ 699544 w 1258521"/>
                <a:gd name="connsiteY1304" fmla="*/ 788177 h 914263"/>
                <a:gd name="connsiteX1305" fmla="*/ 699342 w 1258521"/>
                <a:gd name="connsiteY1305" fmla="*/ 786293 h 914263"/>
                <a:gd name="connsiteX1306" fmla="*/ 700352 w 1258521"/>
                <a:gd name="connsiteY1306" fmla="*/ 784274 h 914263"/>
                <a:gd name="connsiteX1307" fmla="*/ 701159 w 1258521"/>
                <a:gd name="connsiteY1307" fmla="*/ 782189 h 914263"/>
                <a:gd name="connsiteX1308" fmla="*/ 701799 w 1258521"/>
                <a:gd name="connsiteY1308" fmla="*/ 779868 h 914263"/>
                <a:gd name="connsiteX1309" fmla="*/ 700487 w 1258521"/>
                <a:gd name="connsiteY1309" fmla="*/ 778287 h 914263"/>
                <a:gd name="connsiteX1310" fmla="*/ 698669 w 1258521"/>
                <a:gd name="connsiteY1310" fmla="*/ 774889 h 914263"/>
                <a:gd name="connsiteX1311" fmla="*/ 697592 w 1258521"/>
                <a:gd name="connsiteY1311" fmla="*/ 772063 h 914263"/>
                <a:gd name="connsiteX1312" fmla="*/ 697962 w 1258521"/>
                <a:gd name="connsiteY1312" fmla="*/ 770549 h 914263"/>
                <a:gd name="connsiteX1313" fmla="*/ 699039 w 1258521"/>
                <a:gd name="connsiteY1313" fmla="*/ 769036 h 914263"/>
                <a:gd name="connsiteX1314" fmla="*/ 700857 w 1258521"/>
                <a:gd name="connsiteY1314" fmla="*/ 767085 h 914263"/>
                <a:gd name="connsiteX1315" fmla="*/ 703549 w 1258521"/>
                <a:gd name="connsiteY1315" fmla="*/ 766445 h 914263"/>
                <a:gd name="connsiteX1316" fmla="*/ 707016 w 1258521"/>
                <a:gd name="connsiteY1316" fmla="*/ 766445 h 914263"/>
                <a:gd name="connsiteX1317" fmla="*/ 710145 w 1258521"/>
                <a:gd name="connsiteY1317" fmla="*/ 766311 h 914263"/>
                <a:gd name="connsiteX1318" fmla="*/ 712838 w 1258521"/>
                <a:gd name="connsiteY1318" fmla="*/ 765604 h 914263"/>
                <a:gd name="connsiteX1319" fmla="*/ 714722 w 1258521"/>
                <a:gd name="connsiteY1319" fmla="*/ 764158 h 914263"/>
                <a:gd name="connsiteX1320" fmla="*/ 715799 w 1258521"/>
                <a:gd name="connsiteY1320" fmla="*/ 762577 h 914263"/>
                <a:gd name="connsiteX1321" fmla="*/ 716943 w 1258521"/>
                <a:gd name="connsiteY1321" fmla="*/ 759818 h 914263"/>
                <a:gd name="connsiteX1322" fmla="*/ 717078 w 1258521"/>
                <a:gd name="connsiteY1322" fmla="*/ 757699 h 914263"/>
                <a:gd name="connsiteX1323" fmla="*/ 717011 w 1258521"/>
                <a:gd name="connsiteY1323" fmla="*/ 756253 h 914263"/>
                <a:gd name="connsiteX1324" fmla="*/ 714487 w 1258521"/>
                <a:gd name="connsiteY1324" fmla="*/ 754436 h 914263"/>
                <a:gd name="connsiteX1325" fmla="*/ 713915 w 1258521"/>
                <a:gd name="connsiteY1325" fmla="*/ 752249 h 914263"/>
                <a:gd name="connsiteX1326" fmla="*/ 713343 w 1258521"/>
                <a:gd name="connsiteY1326" fmla="*/ 750063 h 914263"/>
                <a:gd name="connsiteX1327" fmla="*/ 715530 w 1258521"/>
                <a:gd name="connsiteY1327" fmla="*/ 746161 h 914263"/>
                <a:gd name="connsiteX1328" fmla="*/ 722059 w 1258521"/>
                <a:gd name="connsiteY1328" fmla="*/ 742023 h 914263"/>
                <a:gd name="connsiteX1329" fmla="*/ 727915 w 1258521"/>
                <a:gd name="connsiteY1329" fmla="*/ 733546 h 914263"/>
                <a:gd name="connsiteX1330" fmla="*/ 735083 w 1258521"/>
                <a:gd name="connsiteY1330" fmla="*/ 727457 h 914263"/>
                <a:gd name="connsiteX1331" fmla="*/ 738987 w 1258521"/>
                <a:gd name="connsiteY1331" fmla="*/ 721166 h 914263"/>
                <a:gd name="connsiteX1332" fmla="*/ 740300 w 1258521"/>
                <a:gd name="connsiteY1332" fmla="*/ 720090 h 914263"/>
                <a:gd name="connsiteX1333" fmla="*/ 741377 w 1258521"/>
                <a:gd name="connsiteY1333" fmla="*/ 716625 h 914263"/>
                <a:gd name="connsiteX1334" fmla="*/ 740064 w 1258521"/>
                <a:gd name="connsiteY1334" fmla="*/ 715313 h 914263"/>
                <a:gd name="connsiteX1335" fmla="*/ 738112 w 1258521"/>
                <a:gd name="connsiteY1335" fmla="*/ 712925 h 914263"/>
                <a:gd name="connsiteX1336" fmla="*/ 732660 w 1258521"/>
                <a:gd name="connsiteY1336" fmla="*/ 713362 h 914263"/>
                <a:gd name="connsiteX1337" fmla="*/ 728083 w 1258521"/>
                <a:gd name="connsiteY1337" fmla="*/ 713564 h 914263"/>
                <a:gd name="connsiteX1338" fmla="*/ 718963 w 1258521"/>
                <a:gd name="connsiteY1338" fmla="*/ 712925 h 914263"/>
                <a:gd name="connsiteX1339" fmla="*/ 718525 w 1258521"/>
                <a:gd name="connsiteY1339" fmla="*/ 710335 h 914263"/>
                <a:gd name="connsiteX1340" fmla="*/ 718963 w 1258521"/>
                <a:gd name="connsiteY1340" fmla="*/ 706634 h 914263"/>
                <a:gd name="connsiteX1341" fmla="*/ 719602 w 1258521"/>
                <a:gd name="connsiteY1341" fmla="*/ 702934 h 914263"/>
                <a:gd name="connsiteX1342" fmla="*/ 713073 w 1258521"/>
                <a:gd name="connsiteY1342" fmla="*/ 698796 h 914263"/>
                <a:gd name="connsiteX1343" fmla="*/ 711559 w 1258521"/>
                <a:gd name="connsiteY1343" fmla="*/ 697484 h 914263"/>
                <a:gd name="connsiteX1344" fmla="*/ 711559 w 1258521"/>
                <a:gd name="connsiteY1344" fmla="*/ 694894 h 914263"/>
                <a:gd name="connsiteX1345" fmla="*/ 713746 w 1258521"/>
                <a:gd name="connsiteY1345" fmla="*/ 692506 h 914263"/>
                <a:gd name="connsiteX1346" fmla="*/ 715261 w 1258521"/>
                <a:gd name="connsiteY1346" fmla="*/ 689478 h 914263"/>
                <a:gd name="connsiteX1347" fmla="*/ 715698 w 1258521"/>
                <a:gd name="connsiteY1347" fmla="*/ 685778 h 914263"/>
                <a:gd name="connsiteX1348" fmla="*/ 715900 w 1258521"/>
                <a:gd name="connsiteY1348" fmla="*/ 682515 h 914263"/>
                <a:gd name="connsiteX1349" fmla="*/ 715025 w 1258521"/>
                <a:gd name="connsiteY1349" fmla="*/ 680126 h 914263"/>
                <a:gd name="connsiteX1350" fmla="*/ 715025 w 1258521"/>
                <a:gd name="connsiteY1350" fmla="*/ 677502 h 914263"/>
                <a:gd name="connsiteX1351" fmla="*/ 712838 w 1258521"/>
                <a:gd name="connsiteY1351" fmla="*/ 672490 h 914263"/>
                <a:gd name="connsiteX1352" fmla="*/ 712636 w 1258521"/>
                <a:gd name="connsiteY1352" fmla="*/ 671413 h 914263"/>
                <a:gd name="connsiteX1353" fmla="*/ 711559 w 1258521"/>
                <a:gd name="connsiteY1353" fmla="*/ 667948 h 914263"/>
                <a:gd name="connsiteX1354" fmla="*/ 711559 w 1258521"/>
                <a:gd name="connsiteY1354" fmla="*/ 667713 h 914263"/>
                <a:gd name="connsiteX1355" fmla="*/ 715025 w 1258521"/>
                <a:gd name="connsiteY1355" fmla="*/ 665527 h 914263"/>
                <a:gd name="connsiteX1356" fmla="*/ 718492 w 1258521"/>
                <a:gd name="connsiteY1356" fmla="*/ 664887 h 914263"/>
                <a:gd name="connsiteX1357" fmla="*/ 721083 w 1258521"/>
                <a:gd name="connsiteY1357" fmla="*/ 665325 h 914263"/>
                <a:gd name="connsiteX1358" fmla="*/ 725424 w 1258521"/>
                <a:gd name="connsiteY1358" fmla="*/ 665325 h 914263"/>
                <a:gd name="connsiteX1359" fmla="*/ 733670 w 1258521"/>
                <a:gd name="connsiteY1359" fmla="*/ 665224 h 914263"/>
                <a:gd name="connsiteX1360" fmla="*/ 736497 w 1258521"/>
                <a:gd name="connsiteY1360" fmla="*/ 664686 h 914263"/>
                <a:gd name="connsiteX1361" fmla="*/ 737574 w 1258521"/>
                <a:gd name="connsiteY1361" fmla="*/ 662734 h 914263"/>
                <a:gd name="connsiteX1362" fmla="*/ 737574 w 1258521"/>
                <a:gd name="connsiteY1362" fmla="*/ 660985 h 914263"/>
                <a:gd name="connsiteX1363" fmla="*/ 737574 w 1258521"/>
                <a:gd name="connsiteY1363" fmla="*/ 659236 h 914263"/>
                <a:gd name="connsiteX1364" fmla="*/ 737574 w 1258521"/>
                <a:gd name="connsiteY1364" fmla="*/ 657487 h 914263"/>
                <a:gd name="connsiteX1365" fmla="*/ 740502 w 1258521"/>
                <a:gd name="connsiteY1365" fmla="*/ 655098 h 914263"/>
                <a:gd name="connsiteX1366" fmla="*/ 746560 w 1258521"/>
                <a:gd name="connsiteY1366" fmla="*/ 655165 h 914263"/>
                <a:gd name="connsiteX1367" fmla="*/ 750632 w 1258521"/>
                <a:gd name="connsiteY1367" fmla="*/ 655165 h 914263"/>
                <a:gd name="connsiteX1368" fmla="*/ 752079 w 1258521"/>
                <a:gd name="connsiteY1368" fmla="*/ 655906 h 914263"/>
                <a:gd name="connsiteX1369" fmla="*/ 754401 w 1258521"/>
                <a:gd name="connsiteY1369" fmla="*/ 658361 h 914263"/>
                <a:gd name="connsiteX1370" fmla="*/ 754266 w 1258521"/>
                <a:gd name="connsiteY1370" fmla="*/ 661557 h 914263"/>
                <a:gd name="connsiteX1371" fmla="*/ 752079 w 1258521"/>
                <a:gd name="connsiteY1371" fmla="*/ 664585 h 914263"/>
                <a:gd name="connsiteX1372" fmla="*/ 752079 w 1258521"/>
                <a:gd name="connsiteY1372" fmla="*/ 666771 h 914263"/>
                <a:gd name="connsiteX1373" fmla="*/ 756723 w 1258521"/>
                <a:gd name="connsiteY1373" fmla="*/ 669227 h 914263"/>
                <a:gd name="connsiteX1374" fmla="*/ 759752 w 1258521"/>
                <a:gd name="connsiteY1374" fmla="*/ 668789 h 914263"/>
                <a:gd name="connsiteX1375" fmla="*/ 761502 w 1258521"/>
                <a:gd name="connsiteY1375" fmla="*/ 667209 h 914263"/>
                <a:gd name="connsiteX1376" fmla="*/ 765844 w 1258521"/>
                <a:gd name="connsiteY1376" fmla="*/ 665627 h 914263"/>
                <a:gd name="connsiteX1377" fmla="*/ 769748 w 1258521"/>
                <a:gd name="connsiteY1377" fmla="*/ 664450 h 914263"/>
                <a:gd name="connsiteX1378" fmla="*/ 771935 w 1258521"/>
                <a:gd name="connsiteY1378" fmla="*/ 662701 h 914263"/>
                <a:gd name="connsiteX1379" fmla="*/ 776714 w 1258521"/>
                <a:gd name="connsiteY1379" fmla="*/ 661826 h 914263"/>
                <a:gd name="connsiteX1380" fmla="*/ 783075 w 1258521"/>
                <a:gd name="connsiteY1380" fmla="*/ 661826 h 914263"/>
                <a:gd name="connsiteX1381" fmla="*/ 785834 w 1258521"/>
                <a:gd name="connsiteY1381" fmla="*/ 661725 h 914263"/>
                <a:gd name="connsiteX1382" fmla="*/ 788157 w 1258521"/>
                <a:gd name="connsiteY1382" fmla="*/ 661557 h 914263"/>
                <a:gd name="connsiteX1383" fmla="*/ 792498 w 1258521"/>
                <a:gd name="connsiteY1383" fmla="*/ 662263 h 914263"/>
                <a:gd name="connsiteX1384" fmla="*/ 794248 w 1258521"/>
                <a:gd name="connsiteY1384" fmla="*/ 664585 h 914263"/>
                <a:gd name="connsiteX1385" fmla="*/ 796705 w 1258521"/>
                <a:gd name="connsiteY1385" fmla="*/ 666166 h 914263"/>
                <a:gd name="connsiteX1386" fmla="*/ 796705 w 1258521"/>
                <a:gd name="connsiteY1386" fmla="*/ 669630 h 914263"/>
                <a:gd name="connsiteX1387" fmla="*/ 796705 w 1258521"/>
                <a:gd name="connsiteY1387" fmla="*/ 672961 h 914263"/>
                <a:gd name="connsiteX1388" fmla="*/ 801989 w 1258521"/>
                <a:gd name="connsiteY1388" fmla="*/ 672961 h 914263"/>
                <a:gd name="connsiteX1389" fmla="*/ 805253 w 1258521"/>
                <a:gd name="connsiteY1389" fmla="*/ 672961 h 914263"/>
                <a:gd name="connsiteX1390" fmla="*/ 806128 w 1258521"/>
                <a:gd name="connsiteY1390" fmla="*/ 675147 h 914263"/>
                <a:gd name="connsiteX1391" fmla="*/ 806835 w 1258521"/>
                <a:gd name="connsiteY1391" fmla="*/ 677738 h 914263"/>
                <a:gd name="connsiteX1392" fmla="*/ 808417 w 1258521"/>
                <a:gd name="connsiteY1392" fmla="*/ 678612 h 914263"/>
                <a:gd name="connsiteX1393" fmla="*/ 811479 w 1258521"/>
                <a:gd name="connsiteY1393" fmla="*/ 680934 h 914263"/>
                <a:gd name="connsiteX1394" fmla="*/ 815821 w 1258521"/>
                <a:gd name="connsiteY1394" fmla="*/ 680934 h 914263"/>
                <a:gd name="connsiteX1395" fmla="*/ 819287 w 1258521"/>
                <a:gd name="connsiteY1395" fmla="*/ 683860 h 914263"/>
                <a:gd name="connsiteX1396" fmla="*/ 823864 w 1258521"/>
                <a:gd name="connsiteY1396" fmla="*/ 688301 h 914263"/>
                <a:gd name="connsiteX1397" fmla="*/ 826052 w 1258521"/>
                <a:gd name="connsiteY1397" fmla="*/ 693952 h 914263"/>
                <a:gd name="connsiteX1398" fmla="*/ 828239 w 1258521"/>
                <a:gd name="connsiteY1398" fmla="*/ 697215 h 914263"/>
                <a:gd name="connsiteX1399" fmla="*/ 826927 w 1258521"/>
                <a:gd name="connsiteY1399" fmla="*/ 699839 h 914263"/>
                <a:gd name="connsiteX1400" fmla="*/ 823898 w 1258521"/>
                <a:gd name="connsiteY1400" fmla="*/ 702227 h 914263"/>
                <a:gd name="connsiteX1401" fmla="*/ 824975 w 1258521"/>
                <a:gd name="connsiteY1401" fmla="*/ 706567 h 914263"/>
                <a:gd name="connsiteX1402" fmla="*/ 827364 w 1258521"/>
                <a:gd name="connsiteY1402" fmla="*/ 709830 h 914263"/>
                <a:gd name="connsiteX1403" fmla="*/ 829989 w 1258521"/>
                <a:gd name="connsiteY1403" fmla="*/ 716356 h 914263"/>
                <a:gd name="connsiteX1404" fmla="*/ 835004 w 1258521"/>
                <a:gd name="connsiteY1404" fmla="*/ 721570 h 914263"/>
                <a:gd name="connsiteX1405" fmla="*/ 837393 w 1258521"/>
                <a:gd name="connsiteY1405" fmla="*/ 729610 h 914263"/>
                <a:gd name="connsiteX1406" fmla="*/ 836081 w 1258521"/>
                <a:gd name="connsiteY1406" fmla="*/ 737885 h 914263"/>
                <a:gd name="connsiteX1407" fmla="*/ 835004 w 1258521"/>
                <a:gd name="connsiteY1407" fmla="*/ 744950 h 914263"/>
                <a:gd name="connsiteX1408" fmla="*/ 838033 w 1258521"/>
                <a:gd name="connsiteY1408" fmla="*/ 751375 h 914263"/>
                <a:gd name="connsiteX1409" fmla="*/ 841297 w 1258521"/>
                <a:gd name="connsiteY1409" fmla="*/ 753763 h 914263"/>
                <a:gd name="connsiteX1410" fmla="*/ 843687 w 1258521"/>
                <a:gd name="connsiteY1410" fmla="*/ 758103 h 914263"/>
                <a:gd name="connsiteX1411" fmla="*/ 842812 w 1258521"/>
                <a:gd name="connsiteY1411" fmla="*/ 759852 h 914263"/>
                <a:gd name="connsiteX1412" fmla="*/ 842812 w 1258521"/>
                <a:gd name="connsiteY1412" fmla="*/ 762880 h 914263"/>
                <a:gd name="connsiteX1413" fmla="*/ 846514 w 1258521"/>
                <a:gd name="connsiteY1413" fmla="*/ 764629 h 914263"/>
                <a:gd name="connsiteX1414" fmla="*/ 849105 w 1258521"/>
                <a:gd name="connsiteY1414" fmla="*/ 766378 h 914263"/>
                <a:gd name="connsiteX1415" fmla="*/ 851057 w 1258521"/>
                <a:gd name="connsiteY1415" fmla="*/ 768329 h 914263"/>
                <a:gd name="connsiteX1416" fmla="*/ 854759 w 1258521"/>
                <a:gd name="connsiteY1416" fmla="*/ 770280 h 914263"/>
                <a:gd name="connsiteX1417" fmla="*/ 857350 w 1258521"/>
                <a:gd name="connsiteY1417" fmla="*/ 772030 h 914263"/>
                <a:gd name="connsiteX1418" fmla="*/ 861692 w 1258521"/>
                <a:gd name="connsiteY1418" fmla="*/ 773106 h 914263"/>
                <a:gd name="connsiteX1419" fmla="*/ 868860 w 1258521"/>
                <a:gd name="connsiteY1419" fmla="*/ 776134 h 914263"/>
                <a:gd name="connsiteX1420" fmla="*/ 872764 w 1258521"/>
                <a:gd name="connsiteY1420" fmla="*/ 779834 h 914263"/>
                <a:gd name="connsiteX1421" fmla="*/ 878856 w 1258521"/>
                <a:gd name="connsiteY1421" fmla="*/ 786125 h 914263"/>
                <a:gd name="connsiteX1422" fmla="*/ 879798 w 1258521"/>
                <a:gd name="connsiteY1422" fmla="*/ 791272 h 914263"/>
                <a:gd name="connsiteX1423" fmla="*/ 883870 w 1258521"/>
                <a:gd name="connsiteY1423" fmla="*/ 797226 h 914263"/>
                <a:gd name="connsiteX1424" fmla="*/ 887068 w 1258521"/>
                <a:gd name="connsiteY1424" fmla="*/ 799412 h 914263"/>
                <a:gd name="connsiteX1425" fmla="*/ 889019 w 1258521"/>
                <a:gd name="connsiteY1425" fmla="*/ 800926 h 914263"/>
                <a:gd name="connsiteX1426" fmla="*/ 889087 w 1258521"/>
                <a:gd name="connsiteY1426" fmla="*/ 803247 h 914263"/>
                <a:gd name="connsiteX1427" fmla="*/ 889087 w 1258521"/>
                <a:gd name="connsiteY1427" fmla="*/ 804761 h 914263"/>
                <a:gd name="connsiteX1428" fmla="*/ 890332 w 1258521"/>
                <a:gd name="connsiteY1428" fmla="*/ 806779 h 914263"/>
                <a:gd name="connsiteX1429" fmla="*/ 892217 w 1258521"/>
                <a:gd name="connsiteY1429" fmla="*/ 809807 h 914263"/>
                <a:gd name="connsiteX1430" fmla="*/ 895548 w 1258521"/>
                <a:gd name="connsiteY1430" fmla="*/ 813137 h 914263"/>
                <a:gd name="connsiteX1431" fmla="*/ 898813 w 1258521"/>
                <a:gd name="connsiteY1431" fmla="*/ 815223 h 914263"/>
                <a:gd name="connsiteX1432" fmla="*/ 901842 w 1258521"/>
                <a:gd name="connsiteY1432" fmla="*/ 816602 h 914263"/>
                <a:gd name="connsiteX1433" fmla="*/ 904972 w 1258521"/>
                <a:gd name="connsiteY1433" fmla="*/ 818486 h 914263"/>
                <a:gd name="connsiteX1434" fmla="*/ 907496 w 1258521"/>
                <a:gd name="connsiteY1434" fmla="*/ 821009 h 914263"/>
                <a:gd name="connsiteX1435" fmla="*/ 909246 w 1258521"/>
                <a:gd name="connsiteY1435" fmla="*/ 821009 h 914263"/>
                <a:gd name="connsiteX1436" fmla="*/ 910760 w 1258521"/>
                <a:gd name="connsiteY1436" fmla="*/ 818553 h 914263"/>
                <a:gd name="connsiteX1437" fmla="*/ 911703 w 1258521"/>
                <a:gd name="connsiteY1437" fmla="*/ 816669 h 914263"/>
                <a:gd name="connsiteX1438" fmla="*/ 912645 w 1258521"/>
                <a:gd name="connsiteY1438" fmla="*/ 814853 h 914263"/>
                <a:gd name="connsiteX1439" fmla="*/ 913789 w 1258521"/>
                <a:gd name="connsiteY1439" fmla="*/ 813911 h 914263"/>
                <a:gd name="connsiteX1440" fmla="*/ 915169 w 1258521"/>
                <a:gd name="connsiteY1440" fmla="*/ 814113 h 914263"/>
                <a:gd name="connsiteX1441" fmla="*/ 917626 w 1258521"/>
                <a:gd name="connsiteY1441" fmla="*/ 815997 h 914263"/>
                <a:gd name="connsiteX1442" fmla="*/ 918636 w 1258521"/>
                <a:gd name="connsiteY1442" fmla="*/ 816804 h 914263"/>
                <a:gd name="connsiteX1443" fmla="*/ 918636 w 1258521"/>
                <a:gd name="connsiteY1443" fmla="*/ 819125 h 914263"/>
                <a:gd name="connsiteX1444" fmla="*/ 919443 w 1258521"/>
                <a:gd name="connsiteY1444" fmla="*/ 821009 h 914263"/>
                <a:gd name="connsiteX1445" fmla="*/ 920318 w 1258521"/>
                <a:gd name="connsiteY1445" fmla="*/ 821883 h 914263"/>
                <a:gd name="connsiteX1446" fmla="*/ 921698 w 1258521"/>
                <a:gd name="connsiteY1446" fmla="*/ 824003 h 914263"/>
                <a:gd name="connsiteX1447" fmla="*/ 923381 w 1258521"/>
                <a:gd name="connsiteY1447" fmla="*/ 825517 h 914263"/>
                <a:gd name="connsiteX1448" fmla="*/ 924626 w 1258521"/>
                <a:gd name="connsiteY1448" fmla="*/ 826593 h 914263"/>
                <a:gd name="connsiteX1449" fmla="*/ 927150 w 1258521"/>
                <a:gd name="connsiteY1449" fmla="*/ 826593 h 914263"/>
                <a:gd name="connsiteX1450" fmla="*/ 927655 w 1258521"/>
                <a:gd name="connsiteY1450" fmla="*/ 825954 h 914263"/>
                <a:gd name="connsiteX1451" fmla="*/ 928092 w 1258521"/>
                <a:gd name="connsiteY1451" fmla="*/ 824642 h 914263"/>
                <a:gd name="connsiteX1452" fmla="*/ 929338 w 1258521"/>
                <a:gd name="connsiteY1452" fmla="*/ 823397 h 914263"/>
                <a:gd name="connsiteX1453" fmla="*/ 930650 w 1258521"/>
                <a:gd name="connsiteY1453" fmla="*/ 823767 h 914263"/>
                <a:gd name="connsiteX1454" fmla="*/ 932669 w 1258521"/>
                <a:gd name="connsiteY1454" fmla="*/ 824205 h 914263"/>
                <a:gd name="connsiteX1455" fmla="*/ 932972 w 1258521"/>
                <a:gd name="connsiteY1455" fmla="*/ 823195 h 914263"/>
                <a:gd name="connsiteX1456" fmla="*/ 933107 w 1258521"/>
                <a:gd name="connsiteY1456" fmla="*/ 822052 h 914263"/>
                <a:gd name="connsiteX1457" fmla="*/ 932366 w 1258521"/>
                <a:gd name="connsiteY1457" fmla="*/ 820033 h 914263"/>
                <a:gd name="connsiteX1458" fmla="*/ 932366 w 1258521"/>
                <a:gd name="connsiteY1458" fmla="*/ 815694 h 914263"/>
                <a:gd name="connsiteX1459" fmla="*/ 932366 w 1258521"/>
                <a:gd name="connsiteY1459" fmla="*/ 811354 h 914263"/>
                <a:gd name="connsiteX1460" fmla="*/ 933242 w 1258521"/>
                <a:gd name="connsiteY1460" fmla="*/ 807015 h 914263"/>
                <a:gd name="connsiteX1461" fmla="*/ 934992 w 1258521"/>
                <a:gd name="connsiteY1461" fmla="*/ 805871 h 914263"/>
                <a:gd name="connsiteX1462" fmla="*/ 940208 w 1258521"/>
                <a:gd name="connsiteY1462" fmla="*/ 805299 h 914263"/>
                <a:gd name="connsiteX1463" fmla="*/ 942968 w 1258521"/>
                <a:gd name="connsiteY1463" fmla="*/ 805434 h 914263"/>
                <a:gd name="connsiteX1464" fmla="*/ 944280 w 1258521"/>
                <a:gd name="connsiteY1464" fmla="*/ 803685 h 914263"/>
                <a:gd name="connsiteX1465" fmla="*/ 945424 w 1258521"/>
                <a:gd name="connsiteY1465" fmla="*/ 801801 h 914263"/>
                <a:gd name="connsiteX1466" fmla="*/ 947006 w 1258521"/>
                <a:gd name="connsiteY1466" fmla="*/ 798908 h 914263"/>
                <a:gd name="connsiteX1467" fmla="*/ 950035 w 1258521"/>
                <a:gd name="connsiteY1467" fmla="*/ 797596 h 914263"/>
                <a:gd name="connsiteX1468" fmla="*/ 952795 w 1258521"/>
                <a:gd name="connsiteY1468" fmla="*/ 797158 h 914263"/>
                <a:gd name="connsiteX1469" fmla="*/ 954377 w 1258521"/>
                <a:gd name="connsiteY1469" fmla="*/ 798302 h 914263"/>
                <a:gd name="connsiteX1470" fmla="*/ 951179 w 1258521"/>
                <a:gd name="connsiteY1470" fmla="*/ 801498 h 914263"/>
                <a:gd name="connsiteX1471" fmla="*/ 950607 w 1258521"/>
                <a:gd name="connsiteY1471" fmla="*/ 804088 h 914263"/>
                <a:gd name="connsiteX1472" fmla="*/ 956396 w 1258521"/>
                <a:gd name="connsiteY1472" fmla="*/ 808428 h 914263"/>
                <a:gd name="connsiteX1473" fmla="*/ 958281 w 1258521"/>
                <a:gd name="connsiteY1473" fmla="*/ 811455 h 914263"/>
                <a:gd name="connsiteX1474" fmla="*/ 958146 w 1258521"/>
                <a:gd name="connsiteY1474" fmla="*/ 818251 h 914263"/>
                <a:gd name="connsiteX1475" fmla="*/ 956564 w 1258521"/>
                <a:gd name="connsiteY1475" fmla="*/ 821715 h 914263"/>
                <a:gd name="connsiteX1476" fmla="*/ 955555 w 1258521"/>
                <a:gd name="connsiteY1476" fmla="*/ 825786 h 914263"/>
                <a:gd name="connsiteX1477" fmla="*/ 955555 w 1258521"/>
                <a:gd name="connsiteY1477" fmla="*/ 828107 h 914263"/>
                <a:gd name="connsiteX1478" fmla="*/ 958011 w 1258521"/>
                <a:gd name="connsiteY1478" fmla="*/ 831572 h 914263"/>
                <a:gd name="connsiteX1479" fmla="*/ 959761 w 1258521"/>
                <a:gd name="connsiteY1479" fmla="*/ 832884 h 914263"/>
                <a:gd name="connsiteX1480" fmla="*/ 963396 w 1258521"/>
                <a:gd name="connsiteY1480" fmla="*/ 834027 h 914263"/>
                <a:gd name="connsiteX1481" fmla="*/ 965987 w 1258521"/>
                <a:gd name="connsiteY1481" fmla="*/ 833018 h 914263"/>
                <a:gd name="connsiteX1482" fmla="*/ 967132 w 1258521"/>
                <a:gd name="connsiteY1482" fmla="*/ 829553 h 914263"/>
                <a:gd name="connsiteX1483" fmla="*/ 967132 w 1258521"/>
                <a:gd name="connsiteY1483" fmla="*/ 827804 h 914263"/>
                <a:gd name="connsiteX1484" fmla="*/ 968276 w 1258521"/>
                <a:gd name="connsiteY1484" fmla="*/ 826358 h 914263"/>
                <a:gd name="connsiteX1485" fmla="*/ 970161 w 1258521"/>
                <a:gd name="connsiteY1485" fmla="*/ 822724 h 914263"/>
                <a:gd name="connsiteX1486" fmla="*/ 972617 w 1258521"/>
                <a:gd name="connsiteY1486" fmla="*/ 820841 h 914263"/>
                <a:gd name="connsiteX1487" fmla="*/ 974637 w 1258521"/>
                <a:gd name="connsiteY1487" fmla="*/ 822590 h 914263"/>
                <a:gd name="connsiteX1488" fmla="*/ 980425 w 1258521"/>
                <a:gd name="connsiteY1488" fmla="*/ 824474 h 914263"/>
                <a:gd name="connsiteX1489" fmla="*/ 981166 w 1258521"/>
                <a:gd name="connsiteY1489" fmla="*/ 824339 h 914263"/>
                <a:gd name="connsiteX1490" fmla="*/ 984195 w 1258521"/>
                <a:gd name="connsiteY1490" fmla="*/ 823330 h 914263"/>
                <a:gd name="connsiteX1491" fmla="*/ 985642 w 1258521"/>
                <a:gd name="connsiteY1491" fmla="*/ 822321 h 914263"/>
                <a:gd name="connsiteX1492" fmla="*/ 988671 w 1258521"/>
                <a:gd name="connsiteY1492" fmla="*/ 822456 h 914263"/>
                <a:gd name="connsiteX1493" fmla="*/ 991262 w 1258521"/>
                <a:gd name="connsiteY1493" fmla="*/ 825920 h 914263"/>
                <a:gd name="connsiteX1494" fmla="*/ 992440 w 1258521"/>
                <a:gd name="connsiteY1494" fmla="*/ 829688 h 914263"/>
                <a:gd name="connsiteX1495" fmla="*/ 996344 w 1258521"/>
                <a:gd name="connsiteY1495" fmla="*/ 835474 h 914263"/>
                <a:gd name="connsiteX1496" fmla="*/ 996916 w 1258521"/>
                <a:gd name="connsiteY1496" fmla="*/ 838804 h 914263"/>
                <a:gd name="connsiteX1497" fmla="*/ 996916 w 1258521"/>
                <a:gd name="connsiteY1497" fmla="*/ 840823 h 914263"/>
                <a:gd name="connsiteX1498" fmla="*/ 995469 w 1258521"/>
                <a:gd name="connsiteY1498" fmla="*/ 843850 h 914263"/>
                <a:gd name="connsiteX1499" fmla="*/ 993719 w 1258521"/>
                <a:gd name="connsiteY1499" fmla="*/ 846037 h 914263"/>
                <a:gd name="connsiteX1500" fmla="*/ 991262 w 1258521"/>
                <a:gd name="connsiteY1500" fmla="*/ 849064 h 914263"/>
                <a:gd name="connsiteX1501" fmla="*/ 988671 w 1258521"/>
                <a:gd name="connsiteY1501" fmla="*/ 851823 h 914263"/>
                <a:gd name="connsiteX1502" fmla="*/ 984901 w 1258521"/>
                <a:gd name="connsiteY1502" fmla="*/ 853841 h 914263"/>
                <a:gd name="connsiteX1503" fmla="*/ 984161 w 1258521"/>
                <a:gd name="connsiteY1503" fmla="*/ 855422 h 914263"/>
                <a:gd name="connsiteX1504" fmla="*/ 986349 w 1258521"/>
                <a:gd name="connsiteY1504" fmla="*/ 857878 h 914263"/>
                <a:gd name="connsiteX1505" fmla="*/ 990690 w 1258521"/>
                <a:gd name="connsiteY1505" fmla="*/ 859896 h 914263"/>
                <a:gd name="connsiteX1506" fmla="*/ 995469 w 1258521"/>
                <a:gd name="connsiteY1506" fmla="*/ 859896 h 914263"/>
                <a:gd name="connsiteX1507" fmla="*/ 998801 w 1258521"/>
                <a:gd name="connsiteY1507" fmla="*/ 859324 h 914263"/>
                <a:gd name="connsiteX1508" fmla="*/ 1001830 w 1258521"/>
                <a:gd name="connsiteY1508" fmla="*/ 855557 h 914263"/>
                <a:gd name="connsiteX1509" fmla="*/ 1003580 w 1258521"/>
                <a:gd name="connsiteY1509" fmla="*/ 852092 h 914263"/>
                <a:gd name="connsiteX1510" fmla="*/ 1003580 w 1258521"/>
                <a:gd name="connsiteY1510" fmla="*/ 848896 h 914263"/>
                <a:gd name="connsiteX1511" fmla="*/ 1003882 w 1258521"/>
                <a:gd name="connsiteY1511" fmla="*/ 844691 h 914263"/>
                <a:gd name="connsiteX1512" fmla="*/ 1005902 w 1258521"/>
                <a:gd name="connsiteY1512" fmla="*/ 839780 h 914263"/>
                <a:gd name="connsiteX1513" fmla="*/ 1009671 w 1258521"/>
                <a:gd name="connsiteY1513" fmla="*/ 838199 h 914263"/>
                <a:gd name="connsiteX1514" fmla="*/ 1011253 w 1258521"/>
                <a:gd name="connsiteY1514" fmla="*/ 834868 h 914263"/>
                <a:gd name="connsiteX1515" fmla="*/ 1015729 w 1258521"/>
                <a:gd name="connsiteY1515" fmla="*/ 833422 h 914263"/>
                <a:gd name="connsiteX1516" fmla="*/ 1019431 w 1258521"/>
                <a:gd name="connsiteY1516" fmla="*/ 833321 h 914263"/>
                <a:gd name="connsiteX1517" fmla="*/ 1022056 w 1258521"/>
                <a:gd name="connsiteY1517" fmla="*/ 834969 h 914263"/>
                <a:gd name="connsiteX1518" fmla="*/ 1026734 w 1258521"/>
                <a:gd name="connsiteY1518" fmla="*/ 838871 h 914263"/>
                <a:gd name="connsiteX1519" fmla="*/ 1032489 w 1258521"/>
                <a:gd name="connsiteY1519" fmla="*/ 840823 h 914263"/>
                <a:gd name="connsiteX1520" fmla="*/ 1035518 w 1258521"/>
                <a:gd name="connsiteY1520" fmla="*/ 840823 h 914263"/>
                <a:gd name="connsiteX1521" fmla="*/ 1039657 w 1258521"/>
                <a:gd name="connsiteY1521" fmla="*/ 839746 h 914263"/>
                <a:gd name="connsiteX1522" fmla="*/ 1042148 w 1258521"/>
                <a:gd name="connsiteY1522" fmla="*/ 838569 h 914263"/>
                <a:gd name="connsiteX1523" fmla="*/ 1044773 w 1258521"/>
                <a:gd name="connsiteY1523" fmla="*/ 835945 h 914263"/>
                <a:gd name="connsiteX1524" fmla="*/ 1047263 w 1258521"/>
                <a:gd name="connsiteY1524" fmla="*/ 834431 h 914263"/>
                <a:gd name="connsiteX1525" fmla="*/ 1048576 w 1258521"/>
                <a:gd name="connsiteY1525" fmla="*/ 834633 h 914263"/>
                <a:gd name="connsiteX1526" fmla="*/ 1050326 w 1258521"/>
                <a:gd name="connsiteY1526" fmla="*/ 835945 h 914263"/>
                <a:gd name="connsiteX1527" fmla="*/ 1053153 w 1258521"/>
                <a:gd name="connsiteY1527" fmla="*/ 835171 h 914263"/>
                <a:gd name="connsiteX1528" fmla="*/ 1054802 w 1258521"/>
                <a:gd name="connsiteY1528" fmla="*/ 835171 h 914263"/>
                <a:gd name="connsiteX1529" fmla="*/ 1059917 w 1258521"/>
                <a:gd name="connsiteY1529" fmla="*/ 833758 h 914263"/>
                <a:gd name="connsiteX1530" fmla="*/ 1063384 w 1258521"/>
                <a:gd name="connsiteY1530" fmla="*/ 830933 h 914263"/>
                <a:gd name="connsiteX1531" fmla="*/ 1064360 w 1258521"/>
                <a:gd name="connsiteY1531" fmla="*/ 828645 h 914263"/>
                <a:gd name="connsiteX1532" fmla="*/ 1064461 w 1258521"/>
                <a:gd name="connsiteY1532" fmla="*/ 826021 h 914263"/>
                <a:gd name="connsiteX1533" fmla="*/ 1063922 w 1258521"/>
                <a:gd name="connsiteY1533" fmla="*/ 823296 h 914263"/>
                <a:gd name="connsiteX1534" fmla="*/ 1064999 w 1258521"/>
                <a:gd name="connsiteY1534" fmla="*/ 821009 h 914263"/>
                <a:gd name="connsiteX1535" fmla="*/ 1060220 w 1258521"/>
                <a:gd name="connsiteY1535" fmla="*/ 816333 h 914263"/>
                <a:gd name="connsiteX1536" fmla="*/ 1057932 w 1258521"/>
                <a:gd name="connsiteY1536" fmla="*/ 815559 h 914263"/>
                <a:gd name="connsiteX1537" fmla="*/ 1055340 w 1258521"/>
                <a:gd name="connsiteY1537" fmla="*/ 812935 h 914263"/>
                <a:gd name="connsiteX1538" fmla="*/ 1052749 w 1258521"/>
                <a:gd name="connsiteY1538" fmla="*/ 810211 h 914263"/>
                <a:gd name="connsiteX1539" fmla="*/ 1051874 w 1258521"/>
                <a:gd name="connsiteY1539" fmla="*/ 806174 h 914263"/>
                <a:gd name="connsiteX1540" fmla="*/ 1052413 w 1258521"/>
                <a:gd name="connsiteY1540" fmla="*/ 801834 h 914263"/>
                <a:gd name="connsiteX1541" fmla="*/ 1053287 w 1258521"/>
                <a:gd name="connsiteY1541" fmla="*/ 795645 h 914263"/>
                <a:gd name="connsiteX1542" fmla="*/ 1055139 w 1258521"/>
                <a:gd name="connsiteY1542" fmla="*/ 790632 h 914263"/>
                <a:gd name="connsiteX1543" fmla="*/ 1056888 w 1258521"/>
                <a:gd name="connsiteY1543" fmla="*/ 787470 h 914263"/>
                <a:gd name="connsiteX1544" fmla="*/ 1058739 w 1258521"/>
                <a:gd name="connsiteY1544" fmla="*/ 784308 h 914263"/>
                <a:gd name="connsiteX1545" fmla="*/ 1060927 w 1258521"/>
                <a:gd name="connsiteY1545" fmla="*/ 781684 h 914263"/>
                <a:gd name="connsiteX1546" fmla="*/ 1062677 w 1258521"/>
                <a:gd name="connsiteY1546" fmla="*/ 779733 h 914263"/>
                <a:gd name="connsiteX1547" fmla="*/ 1065066 w 1258521"/>
                <a:gd name="connsiteY1547" fmla="*/ 779094 h 914263"/>
                <a:gd name="connsiteX1548" fmla="*/ 1068971 w 1258521"/>
                <a:gd name="connsiteY1548" fmla="*/ 778993 h 914263"/>
                <a:gd name="connsiteX1549" fmla="*/ 1070586 w 1258521"/>
                <a:gd name="connsiteY1549" fmla="*/ 779868 h 914263"/>
                <a:gd name="connsiteX1550" fmla="*/ 1073312 w 1258521"/>
                <a:gd name="connsiteY1550" fmla="*/ 779868 h 914263"/>
                <a:gd name="connsiteX1551" fmla="*/ 1075500 w 1258521"/>
                <a:gd name="connsiteY1551" fmla="*/ 780944 h 914263"/>
                <a:gd name="connsiteX1552" fmla="*/ 1077889 w 1258521"/>
                <a:gd name="connsiteY1552" fmla="*/ 781819 h 914263"/>
                <a:gd name="connsiteX1553" fmla="*/ 1081153 w 1258521"/>
                <a:gd name="connsiteY1553" fmla="*/ 781718 h 914263"/>
                <a:gd name="connsiteX1554" fmla="*/ 1082129 w 1258521"/>
                <a:gd name="connsiteY1554" fmla="*/ 780641 h 914263"/>
                <a:gd name="connsiteX1555" fmla="*/ 1082769 w 1258521"/>
                <a:gd name="connsiteY1555" fmla="*/ 777816 h 914263"/>
                <a:gd name="connsiteX1556" fmla="*/ 1084283 w 1258521"/>
                <a:gd name="connsiteY1556" fmla="*/ 775764 h 914263"/>
                <a:gd name="connsiteX1557" fmla="*/ 1086471 w 1258521"/>
                <a:gd name="connsiteY1557" fmla="*/ 774889 h 914263"/>
                <a:gd name="connsiteX1558" fmla="*/ 1088860 w 1258521"/>
                <a:gd name="connsiteY1558" fmla="*/ 774990 h 914263"/>
                <a:gd name="connsiteX1559" fmla="*/ 1090913 w 1258521"/>
                <a:gd name="connsiteY1559" fmla="*/ 777580 h 914263"/>
                <a:gd name="connsiteX1560" fmla="*/ 1091889 w 1258521"/>
                <a:gd name="connsiteY1560" fmla="*/ 780608 h 914263"/>
                <a:gd name="connsiteX1561" fmla="*/ 1092966 w 1258521"/>
                <a:gd name="connsiteY1561" fmla="*/ 784745 h 914263"/>
                <a:gd name="connsiteX1562" fmla="*/ 1098082 w 1258521"/>
                <a:gd name="connsiteY1562" fmla="*/ 787033 h 914263"/>
                <a:gd name="connsiteX1563" fmla="*/ 1103635 w 1258521"/>
                <a:gd name="connsiteY1563" fmla="*/ 787033 h 914263"/>
                <a:gd name="connsiteX1564" fmla="*/ 1105149 w 1258521"/>
                <a:gd name="connsiteY1564" fmla="*/ 785856 h 914263"/>
                <a:gd name="connsiteX1565" fmla="*/ 1106899 w 1258521"/>
                <a:gd name="connsiteY1565" fmla="*/ 782492 h 914263"/>
                <a:gd name="connsiteX1566" fmla="*/ 1109928 w 1258521"/>
                <a:gd name="connsiteY1566" fmla="*/ 780103 h 914263"/>
                <a:gd name="connsiteX1567" fmla="*/ 1113529 w 1258521"/>
                <a:gd name="connsiteY1567" fmla="*/ 776941 h 914263"/>
                <a:gd name="connsiteX1568" fmla="*/ 1114943 w 1258521"/>
                <a:gd name="connsiteY1568" fmla="*/ 775528 h 914263"/>
                <a:gd name="connsiteX1569" fmla="*/ 1114943 w 1258521"/>
                <a:gd name="connsiteY1569" fmla="*/ 774452 h 914263"/>
                <a:gd name="connsiteX1570" fmla="*/ 1112217 w 1258521"/>
                <a:gd name="connsiteY1570" fmla="*/ 770549 h 914263"/>
                <a:gd name="connsiteX1571" fmla="*/ 1108750 w 1258521"/>
                <a:gd name="connsiteY1571" fmla="*/ 768161 h 914263"/>
                <a:gd name="connsiteX1572" fmla="*/ 1106899 w 1258521"/>
                <a:gd name="connsiteY1572" fmla="*/ 763922 h 914263"/>
                <a:gd name="connsiteX1573" fmla="*/ 1107875 w 1258521"/>
                <a:gd name="connsiteY1573" fmla="*/ 760020 h 914263"/>
                <a:gd name="connsiteX1574" fmla="*/ 1109188 w 1258521"/>
                <a:gd name="connsiteY1574" fmla="*/ 756993 h 914263"/>
                <a:gd name="connsiteX1575" fmla="*/ 1110803 w 1258521"/>
                <a:gd name="connsiteY1575" fmla="*/ 755916 h 914263"/>
                <a:gd name="connsiteX1576" fmla="*/ 1114269 w 1258521"/>
                <a:gd name="connsiteY1576" fmla="*/ 753427 h 914263"/>
                <a:gd name="connsiteX1577" fmla="*/ 1118847 w 1258521"/>
                <a:gd name="connsiteY1577" fmla="*/ 751476 h 914263"/>
                <a:gd name="connsiteX1578" fmla="*/ 1120159 w 1258521"/>
                <a:gd name="connsiteY1578" fmla="*/ 749525 h 914263"/>
                <a:gd name="connsiteX1579" fmla="*/ 1120159 w 1258521"/>
                <a:gd name="connsiteY1579" fmla="*/ 747237 h 914263"/>
                <a:gd name="connsiteX1580" fmla="*/ 1116895 w 1258521"/>
                <a:gd name="connsiteY1580" fmla="*/ 745757 h 914263"/>
                <a:gd name="connsiteX1581" fmla="*/ 1116827 w 1258521"/>
                <a:gd name="connsiteY1581" fmla="*/ 745555 h 914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</a:cxnLst>
              <a:rect l="l" t="t" r="r" b="b"/>
              <a:pathLst>
                <a:path w="1258521" h="914263">
                  <a:moveTo>
                    <a:pt x="1116827" y="745555"/>
                  </a:moveTo>
                  <a:cubicBezTo>
                    <a:pt x="1116827" y="745555"/>
                    <a:pt x="1114068" y="745992"/>
                    <a:pt x="1113866" y="746060"/>
                  </a:cubicBezTo>
                  <a:cubicBezTo>
                    <a:pt x="1113664" y="746127"/>
                    <a:pt x="1112721" y="747069"/>
                    <a:pt x="1112721" y="747069"/>
                  </a:cubicBezTo>
                  <a:lnTo>
                    <a:pt x="1111846" y="747372"/>
                  </a:lnTo>
                  <a:lnTo>
                    <a:pt x="1109255" y="748684"/>
                  </a:lnTo>
                  <a:lnTo>
                    <a:pt x="1107505" y="749121"/>
                  </a:lnTo>
                  <a:lnTo>
                    <a:pt x="1105620" y="748381"/>
                  </a:lnTo>
                  <a:lnTo>
                    <a:pt x="1104274" y="748381"/>
                  </a:lnTo>
                  <a:cubicBezTo>
                    <a:pt x="1104274" y="748381"/>
                    <a:pt x="1101683" y="747304"/>
                    <a:pt x="1101111" y="746531"/>
                  </a:cubicBezTo>
                  <a:cubicBezTo>
                    <a:pt x="1100572" y="745757"/>
                    <a:pt x="1099798" y="744041"/>
                    <a:pt x="1100135" y="743503"/>
                  </a:cubicBezTo>
                  <a:cubicBezTo>
                    <a:pt x="1100471" y="742965"/>
                    <a:pt x="1100236" y="741855"/>
                    <a:pt x="1100236" y="741855"/>
                  </a:cubicBezTo>
                  <a:cubicBezTo>
                    <a:pt x="1100236" y="741855"/>
                    <a:pt x="1101414" y="740543"/>
                    <a:pt x="1101414" y="740207"/>
                  </a:cubicBezTo>
                  <a:cubicBezTo>
                    <a:pt x="1101414" y="739870"/>
                    <a:pt x="1102288" y="738592"/>
                    <a:pt x="1102288" y="738592"/>
                  </a:cubicBezTo>
                  <a:lnTo>
                    <a:pt x="1102827" y="737818"/>
                  </a:lnTo>
                  <a:lnTo>
                    <a:pt x="1103365" y="735968"/>
                  </a:lnTo>
                  <a:lnTo>
                    <a:pt x="1104240" y="734017"/>
                  </a:lnTo>
                  <a:cubicBezTo>
                    <a:pt x="1104240" y="734017"/>
                    <a:pt x="1104342" y="732167"/>
                    <a:pt x="1104342" y="731729"/>
                  </a:cubicBezTo>
                  <a:cubicBezTo>
                    <a:pt x="1104342" y="731292"/>
                    <a:pt x="1104678" y="730115"/>
                    <a:pt x="1104678" y="730115"/>
                  </a:cubicBezTo>
                  <a:lnTo>
                    <a:pt x="1104678" y="725102"/>
                  </a:lnTo>
                  <a:lnTo>
                    <a:pt x="1100639" y="723017"/>
                  </a:lnTo>
                  <a:lnTo>
                    <a:pt x="1098822" y="722815"/>
                  </a:lnTo>
                  <a:lnTo>
                    <a:pt x="1096870" y="722310"/>
                  </a:lnTo>
                  <a:lnTo>
                    <a:pt x="1096668" y="722310"/>
                  </a:lnTo>
                  <a:lnTo>
                    <a:pt x="1095861" y="722916"/>
                  </a:lnTo>
                  <a:cubicBezTo>
                    <a:pt x="1095861" y="722916"/>
                    <a:pt x="1093841" y="723959"/>
                    <a:pt x="1093404" y="724026"/>
                  </a:cubicBezTo>
                  <a:cubicBezTo>
                    <a:pt x="1092966" y="724093"/>
                    <a:pt x="1090139" y="724901"/>
                    <a:pt x="1089332" y="724968"/>
                  </a:cubicBezTo>
                  <a:cubicBezTo>
                    <a:pt x="1088524" y="725035"/>
                    <a:pt x="1087009" y="725170"/>
                    <a:pt x="1086572" y="725338"/>
                  </a:cubicBezTo>
                  <a:cubicBezTo>
                    <a:pt x="1086134" y="725472"/>
                    <a:pt x="1084553" y="725405"/>
                    <a:pt x="1084553" y="725405"/>
                  </a:cubicBezTo>
                  <a:cubicBezTo>
                    <a:pt x="1084553" y="725405"/>
                    <a:pt x="1083678" y="724329"/>
                    <a:pt x="1083476" y="724228"/>
                  </a:cubicBezTo>
                  <a:cubicBezTo>
                    <a:pt x="1083274" y="724160"/>
                    <a:pt x="1082971" y="724026"/>
                    <a:pt x="1082971" y="724026"/>
                  </a:cubicBezTo>
                  <a:lnTo>
                    <a:pt x="1079134" y="724026"/>
                  </a:lnTo>
                  <a:lnTo>
                    <a:pt x="1077485" y="724194"/>
                  </a:lnTo>
                  <a:cubicBezTo>
                    <a:pt x="1077485" y="724194"/>
                    <a:pt x="1075600" y="725674"/>
                    <a:pt x="1075298" y="725674"/>
                  </a:cubicBezTo>
                  <a:cubicBezTo>
                    <a:pt x="1074995" y="725674"/>
                    <a:pt x="1070956" y="726919"/>
                    <a:pt x="1070721" y="726986"/>
                  </a:cubicBezTo>
                  <a:cubicBezTo>
                    <a:pt x="1070485" y="727053"/>
                    <a:pt x="1067086" y="726683"/>
                    <a:pt x="1066581" y="726616"/>
                  </a:cubicBezTo>
                  <a:cubicBezTo>
                    <a:pt x="1066076" y="726549"/>
                    <a:pt x="1064259" y="726616"/>
                    <a:pt x="1064259" y="726616"/>
                  </a:cubicBezTo>
                  <a:lnTo>
                    <a:pt x="1062879" y="725035"/>
                  </a:lnTo>
                  <a:lnTo>
                    <a:pt x="1062576" y="723353"/>
                  </a:lnTo>
                  <a:lnTo>
                    <a:pt x="1064023" y="721940"/>
                  </a:lnTo>
                  <a:lnTo>
                    <a:pt x="1064999" y="719451"/>
                  </a:lnTo>
                  <a:lnTo>
                    <a:pt x="1065975" y="717500"/>
                  </a:lnTo>
                  <a:cubicBezTo>
                    <a:pt x="1065975" y="717500"/>
                    <a:pt x="1067288" y="715212"/>
                    <a:pt x="1067389" y="714775"/>
                  </a:cubicBezTo>
                  <a:cubicBezTo>
                    <a:pt x="1067490" y="714338"/>
                    <a:pt x="1068028" y="712387"/>
                    <a:pt x="1068028" y="712387"/>
                  </a:cubicBezTo>
                  <a:lnTo>
                    <a:pt x="1067927" y="709897"/>
                  </a:lnTo>
                  <a:lnTo>
                    <a:pt x="1066480" y="708518"/>
                  </a:lnTo>
                  <a:cubicBezTo>
                    <a:pt x="1066480" y="708518"/>
                    <a:pt x="1061768" y="703304"/>
                    <a:pt x="1060624" y="702799"/>
                  </a:cubicBezTo>
                  <a:cubicBezTo>
                    <a:pt x="1059480" y="702295"/>
                    <a:pt x="1056485" y="698527"/>
                    <a:pt x="1056215" y="698224"/>
                  </a:cubicBezTo>
                  <a:cubicBezTo>
                    <a:pt x="1055913" y="697955"/>
                    <a:pt x="1048172" y="690252"/>
                    <a:pt x="1047095" y="688671"/>
                  </a:cubicBezTo>
                  <a:cubicBezTo>
                    <a:pt x="1046018" y="687089"/>
                    <a:pt x="1043696" y="683154"/>
                    <a:pt x="1043696" y="682380"/>
                  </a:cubicBezTo>
                  <a:cubicBezTo>
                    <a:pt x="1043696" y="681573"/>
                    <a:pt x="1039422" y="673465"/>
                    <a:pt x="1039355" y="673264"/>
                  </a:cubicBezTo>
                  <a:cubicBezTo>
                    <a:pt x="1039287" y="673062"/>
                    <a:pt x="1038850" y="670942"/>
                    <a:pt x="1038850" y="670236"/>
                  </a:cubicBezTo>
                  <a:cubicBezTo>
                    <a:pt x="1038850" y="669496"/>
                    <a:pt x="1039220" y="660884"/>
                    <a:pt x="1039220" y="660884"/>
                  </a:cubicBezTo>
                  <a:cubicBezTo>
                    <a:pt x="1039220" y="660884"/>
                    <a:pt x="1038210" y="655435"/>
                    <a:pt x="1038210" y="654863"/>
                  </a:cubicBezTo>
                  <a:cubicBezTo>
                    <a:pt x="1038210" y="654291"/>
                    <a:pt x="1037907" y="651835"/>
                    <a:pt x="1038008" y="651532"/>
                  </a:cubicBezTo>
                  <a:cubicBezTo>
                    <a:pt x="1038076" y="651230"/>
                    <a:pt x="1037268" y="647899"/>
                    <a:pt x="1037268" y="647126"/>
                  </a:cubicBezTo>
                  <a:cubicBezTo>
                    <a:pt x="1037268" y="646318"/>
                    <a:pt x="1037268" y="644165"/>
                    <a:pt x="1037402" y="643728"/>
                  </a:cubicBezTo>
                  <a:cubicBezTo>
                    <a:pt x="1037537" y="643291"/>
                    <a:pt x="1038278" y="641911"/>
                    <a:pt x="1038715" y="641710"/>
                  </a:cubicBezTo>
                  <a:cubicBezTo>
                    <a:pt x="1039153" y="641474"/>
                    <a:pt x="1039792" y="641205"/>
                    <a:pt x="1040398" y="641070"/>
                  </a:cubicBezTo>
                  <a:cubicBezTo>
                    <a:pt x="1040970" y="640936"/>
                    <a:pt x="1044807" y="640869"/>
                    <a:pt x="1045547" y="640869"/>
                  </a:cubicBezTo>
                  <a:cubicBezTo>
                    <a:pt x="1046287" y="640869"/>
                    <a:pt x="1048071" y="640364"/>
                    <a:pt x="1048508" y="640364"/>
                  </a:cubicBezTo>
                  <a:cubicBezTo>
                    <a:pt x="1048946" y="640364"/>
                    <a:pt x="1051201" y="640667"/>
                    <a:pt x="1052850" y="640667"/>
                  </a:cubicBezTo>
                  <a:cubicBezTo>
                    <a:pt x="1054499" y="640667"/>
                    <a:pt x="1055105" y="640970"/>
                    <a:pt x="1055105" y="640970"/>
                  </a:cubicBezTo>
                  <a:cubicBezTo>
                    <a:pt x="1055105" y="640970"/>
                    <a:pt x="1056182" y="641272"/>
                    <a:pt x="1057494" y="641979"/>
                  </a:cubicBezTo>
                  <a:cubicBezTo>
                    <a:pt x="1058807" y="642685"/>
                    <a:pt x="1058874" y="643190"/>
                    <a:pt x="1059076" y="643425"/>
                  </a:cubicBezTo>
                  <a:cubicBezTo>
                    <a:pt x="1059278" y="643627"/>
                    <a:pt x="1060321" y="644233"/>
                    <a:pt x="1061331" y="644300"/>
                  </a:cubicBezTo>
                  <a:cubicBezTo>
                    <a:pt x="1062340" y="644367"/>
                    <a:pt x="1063586" y="644737"/>
                    <a:pt x="1064091" y="644737"/>
                  </a:cubicBezTo>
                  <a:cubicBezTo>
                    <a:pt x="1064595" y="644737"/>
                    <a:pt x="1065605" y="645040"/>
                    <a:pt x="1066278" y="645107"/>
                  </a:cubicBezTo>
                  <a:cubicBezTo>
                    <a:pt x="1066918" y="645175"/>
                    <a:pt x="1068466" y="645982"/>
                    <a:pt x="1068466" y="645982"/>
                  </a:cubicBezTo>
                  <a:lnTo>
                    <a:pt x="1071865" y="646419"/>
                  </a:lnTo>
                  <a:cubicBezTo>
                    <a:pt x="1071865" y="646419"/>
                    <a:pt x="1074052" y="648101"/>
                    <a:pt x="1074187" y="648303"/>
                  </a:cubicBezTo>
                  <a:cubicBezTo>
                    <a:pt x="1074321" y="648505"/>
                    <a:pt x="1077283" y="650691"/>
                    <a:pt x="1077283" y="650691"/>
                  </a:cubicBezTo>
                  <a:lnTo>
                    <a:pt x="1080918" y="653080"/>
                  </a:lnTo>
                  <a:lnTo>
                    <a:pt x="1084250" y="655906"/>
                  </a:lnTo>
                  <a:cubicBezTo>
                    <a:pt x="1084250" y="655906"/>
                    <a:pt x="1087379" y="657588"/>
                    <a:pt x="1088524" y="658092"/>
                  </a:cubicBezTo>
                  <a:cubicBezTo>
                    <a:pt x="1089668" y="658597"/>
                    <a:pt x="1091351" y="660043"/>
                    <a:pt x="1092663" y="660548"/>
                  </a:cubicBezTo>
                  <a:cubicBezTo>
                    <a:pt x="1093976" y="661052"/>
                    <a:pt x="1094851" y="662196"/>
                    <a:pt x="1095120" y="662364"/>
                  </a:cubicBezTo>
                  <a:cubicBezTo>
                    <a:pt x="1095423" y="662499"/>
                    <a:pt x="1097207" y="663306"/>
                    <a:pt x="1098014" y="663441"/>
                  </a:cubicBezTo>
                  <a:cubicBezTo>
                    <a:pt x="1098822" y="663575"/>
                    <a:pt x="1100909" y="664686"/>
                    <a:pt x="1102221" y="665190"/>
                  </a:cubicBezTo>
                  <a:cubicBezTo>
                    <a:pt x="1103534" y="665695"/>
                    <a:pt x="1103971" y="665762"/>
                    <a:pt x="1104409" y="665897"/>
                  </a:cubicBezTo>
                  <a:cubicBezTo>
                    <a:pt x="1104846" y="666031"/>
                    <a:pt x="1106361" y="666771"/>
                    <a:pt x="1107370" y="666973"/>
                  </a:cubicBezTo>
                  <a:cubicBezTo>
                    <a:pt x="1108380" y="667175"/>
                    <a:pt x="1109962" y="668117"/>
                    <a:pt x="1110769" y="668554"/>
                  </a:cubicBezTo>
                  <a:cubicBezTo>
                    <a:pt x="1111577" y="668991"/>
                    <a:pt x="1111274" y="669866"/>
                    <a:pt x="1111510" y="670001"/>
                  </a:cubicBezTo>
                  <a:cubicBezTo>
                    <a:pt x="1111712" y="670135"/>
                    <a:pt x="1112318" y="673028"/>
                    <a:pt x="1112890" y="673465"/>
                  </a:cubicBezTo>
                  <a:cubicBezTo>
                    <a:pt x="1113462" y="673903"/>
                    <a:pt x="1115851" y="675047"/>
                    <a:pt x="1116457" y="675215"/>
                  </a:cubicBezTo>
                  <a:cubicBezTo>
                    <a:pt x="1117029" y="675349"/>
                    <a:pt x="1119149" y="677166"/>
                    <a:pt x="1119486" y="677536"/>
                  </a:cubicBezTo>
                  <a:cubicBezTo>
                    <a:pt x="1119856" y="677906"/>
                    <a:pt x="1121236" y="678982"/>
                    <a:pt x="1121505" y="678982"/>
                  </a:cubicBezTo>
                  <a:cubicBezTo>
                    <a:pt x="1121808" y="678982"/>
                    <a:pt x="1123760" y="681236"/>
                    <a:pt x="1123895" y="681438"/>
                  </a:cubicBezTo>
                  <a:cubicBezTo>
                    <a:pt x="1124029" y="681674"/>
                    <a:pt x="1124972" y="682750"/>
                    <a:pt x="1124972" y="682750"/>
                  </a:cubicBezTo>
                  <a:cubicBezTo>
                    <a:pt x="1124972" y="682750"/>
                    <a:pt x="1126284" y="683490"/>
                    <a:pt x="1127664" y="683187"/>
                  </a:cubicBezTo>
                  <a:cubicBezTo>
                    <a:pt x="1129044" y="682884"/>
                    <a:pt x="1129111" y="683187"/>
                    <a:pt x="1129313" y="683187"/>
                  </a:cubicBezTo>
                  <a:cubicBezTo>
                    <a:pt x="1129515" y="683187"/>
                    <a:pt x="1130626" y="682884"/>
                    <a:pt x="1131130" y="682817"/>
                  </a:cubicBezTo>
                  <a:cubicBezTo>
                    <a:pt x="1131635" y="682750"/>
                    <a:pt x="1132073" y="682245"/>
                    <a:pt x="1132073" y="682245"/>
                  </a:cubicBezTo>
                  <a:lnTo>
                    <a:pt x="1134260" y="681438"/>
                  </a:lnTo>
                  <a:lnTo>
                    <a:pt x="1135203" y="680193"/>
                  </a:lnTo>
                  <a:lnTo>
                    <a:pt x="1135506" y="678680"/>
                  </a:lnTo>
                  <a:lnTo>
                    <a:pt x="1135876" y="677435"/>
                  </a:lnTo>
                  <a:lnTo>
                    <a:pt x="1136381" y="676291"/>
                  </a:lnTo>
                  <a:lnTo>
                    <a:pt x="1137121" y="674845"/>
                  </a:lnTo>
                  <a:lnTo>
                    <a:pt x="1138131" y="673768"/>
                  </a:lnTo>
                  <a:lnTo>
                    <a:pt x="1140015" y="672826"/>
                  </a:lnTo>
                  <a:cubicBezTo>
                    <a:pt x="1140015" y="672826"/>
                    <a:pt x="1140385" y="673264"/>
                    <a:pt x="1141900" y="674340"/>
                  </a:cubicBezTo>
                  <a:cubicBezTo>
                    <a:pt x="1143414" y="675417"/>
                    <a:pt x="1142708" y="676527"/>
                    <a:pt x="1143414" y="676998"/>
                  </a:cubicBezTo>
                  <a:cubicBezTo>
                    <a:pt x="1144121" y="677502"/>
                    <a:pt x="1144828" y="677704"/>
                    <a:pt x="1146443" y="678141"/>
                  </a:cubicBezTo>
                  <a:cubicBezTo>
                    <a:pt x="1148092" y="678579"/>
                    <a:pt x="1147487" y="676729"/>
                    <a:pt x="1147756" y="676358"/>
                  </a:cubicBezTo>
                  <a:cubicBezTo>
                    <a:pt x="1148025" y="675988"/>
                    <a:pt x="1147756" y="673163"/>
                    <a:pt x="1147924" y="672894"/>
                  </a:cubicBezTo>
                  <a:cubicBezTo>
                    <a:pt x="1148092" y="672624"/>
                    <a:pt x="1148732" y="672086"/>
                    <a:pt x="1148833" y="671918"/>
                  </a:cubicBezTo>
                  <a:cubicBezTo>
                    <a:pt x="1148934" y="671750"/>
                    <a:pt x="1150145" y="669866"/>
                    <a:pt x="1150314" y="669630"/>
                  </a:cubicBezTo>
                  <a:cubicBezTo>
                    <a:pt x="1150482" y="669429"/>
                    <a:pt x="1150751" y="667680"/>
                    <a:pt x="1150751" y="667680"/>
                  </a:cubicBezTo>
                  <a:lnTo>
                    <a:pt x="1151088" y="665358"/>
                  </a:lnTo>
                  <a:cubicBezTo>
                    <a:pt x="1151088" y="665358"/>
                    <a:pt x="1152131" y="663475"/>
                    <a:pt x="1152434" y="663306"/>
                  </a:cubicBezTo>
                  <a:cubicBezTo>
                    <a:pt x="1152770" y="663138"/>
                    <a:pt x="1154756" y="660750"/>
                    <a:pt x="1155261" y="660581"/>
                  </a:cubicBezTo>
                  <a:cubicBezTo>
                    <a:pt x="1155766" y="660413"/>
                    <a:pt x="1156944" y="660211"/>
                    <a:pt x="1156944" y="660211"/>
                  </a:cubicBezTo>
                  <a:lnTo>
                    <a:pt x="1160410" y="659404"/>
                  </a:lnTo>
                  <a:lnTo>
                    <a:pt x="1160780" y="658328"/>
                  </a:lnTo>
                  <a:lnTo>
                    <a:pt x="1161554" y="656646"/>
                  </a:lnTo>
                  <a:cubicBezTo>
                    <a:pt x="1161554" y="656646"/>
                    <a:pt x="1164179" y="656477"/>
                    <a:pt x="1164920" y="656208"/>
                  </a:cubicBezTo>
                  <a:cubicBezTo>
                    <a:pt x="1165694" y="655939"/>
                    <a:pt x="1166703" y="655838"/>
                    <a:pt x="1167949" y="655502"/>
                  </a:cubicBezTo>
                  <a:cubicBezTo>
                    <a:pt x="1169194" y="655165"/>
                    <a:pt x="1169026" y="654560"/>
                    <a:pt x="1170439" y="654291"/>
                  </a:cubicBezTo>
                  <a:cubicBezTo>
                    <a:pt x="1171853" y="654022"/>
                    <a:pt x="1171247" y="653517"/>
                    <a:pt x="1171482" y="653248"/>
                  </a:cubicBezTo>
                  <a:cubicBezTo>
                    <a:pt x="1171718" y="652979"/>
                    <a:pt x="1170876" y="651667"/>
                    <a:pt x="1170876" y="651667"/>
                  </a:cubicBezTo>
                  <a:lnTo>
                    <a:pt x="1168050" y="649985"/>
                  </a:lnTo>
                  <a:lnTo>
                    <a:pt x="1167713" y="648034"/>
                  </a:lnTo>
                  <a:lnTo>
                    <a:pt x="1167376" y="644872"/>
                  </a:lnTo>
                  <a:lnTo>
                    <a:pt x="1167478" y="643459"/>
                  </a:lnTo>
                  <a:lnTo>
                    <a:pt x="1166670" y="638346"/>
                  </a:lnTo>
                  <a:lnTo>
                    <a:pt x="1166603" y="637034"/>
                  </a:lnTo>
                  <a:cubicBezTo>
                    <a:pt x="1166603" y="637034"/>
                    <a:pt x="1165357" y="635621"/>
                    <a:pt x="1164751" y="635015"/>
                  </a:cubicBezTo>
                  <a:cubicBezTo>
                    <a:pt x="1164146" y="634410"/>
                    <a:pt x="1160578" y="632997"/>
                    <a:pt x="1160343" y="632963"/>
                  </a:cubicBezTo>
                  <a:cubicBezTo>
                    <a:pt x="1160141" y="632896"/>
                    <a:pt x="1158391" y="633132"/>
                    <a:pt x="1158121" y="633165"/>
                  </a:cubicBezTo>
                  <a:cubicBezTo>
                    <a:pt x="1157852" y="633233"/>
                    <a:pt x="1154150" y="632190"/>
                    <a:pt x="1153679" y="632089"/>
                  </a:cubicBezTo>
                  <a:cubicBezTo>
                    <a:pt x="1153174" y="631988"/>
                    <a:pt x="1150314" y="630508"/>
                    <a:pt x="1149775" y="630474"/>
                  </a:cubicBezTo>
                  <a:cubicBezTo>
                    <a:pt x="1149237" y="630407"/>
                    <a:pt x="1147217" y="628859"/>
                    <a:pt x="1146948" y="628691"/>
                  </a:cubicBezTo>
                  <a:cubicBezTo>
                    <a:pt x="1146679" y="628523"/>
                    <a:pt x="1144727" y="625933"/>
                    <a:pt x="1144727" y="625933"/>
                  </a:cubicBezTo>
                  <a:lnTo>
                    <a:pt x="1144727" y="625293"/>
                  </a:lnTo>
                  <a:cubicBezTo>
                    <a:pt x="1144727" y="625293"/>
                    <a:pt x="1145467" y="623107"/>
                    <a:pt x="1145669" y="623073"/>
                  </a:cubicBezTo>
                  <a:cubicBezTo>
                    <a:pt x="1145871" y="623006"/>
                    <a:pt x="1146309" y="620449"/>
                    <a:pt x="1146578" y="620046"/>
                  </a:cubicBezTo>
                  <a:cubicBezTo>
                    <a:pt x="1146847" y="619608"/>
                    <a:pt x="1146410" y="618397"/>
                    <a:pt x="1146309" y="618128"/>
                  </a:cubicBezTo>
                  <a:cubicBezTo>
                    <a:pt x="1146208" y="617859"/>
                    <a:pt x="1145232" y="616379"/>
                    <a:pt x="1145063" y="616278"/>
                  </a:cubicBezTo>
                  <a:cubicBezTo>
                    <a:pt x="1144895" y="616177"/>
                    <a:pt x="1141631" y="615235"/>
                    <a:pt x="1141631" y="615235"/>
                  </a:cubicBezTo>
                  <a:cubicBezTo>
                    <a:pt x="1141631" y="615235"/>
                    <a:pt x="1138366" y="616278"/>
                    <a:pt x="1138198" y="616312"/>
                  </a:cubicBezTo>
                  <a:cubicBezTo>
                    <a:pt x="1138030" y="616379"/>
                    <a:pt x="1136582" y="617287"/>
                    <a:pt x="1136145" y="618095"/>
                  </a:cubicBezTo>
                  <a:cubicBezTo>
                    <a:pt x="1135708" y="618902"/>
                    <a:pt x="1134563" y="619945"/>
                    <a:pt x="1134193" y="620550"/>
                  </a:cubicBezTo>
                  <a:cubicBezTo>
                    <a:pt x="1133823" y="621156"/>
                    <a:pt x="1132510" y="622468"/>
                    <a:pt x="1131703" y="622872"/>
                  </a:cubicBezTo>
                  <a:cubicBezTo>
                    <a:pt x="1130895" y="623309"/>
                    <a:pt x="1128674" y="622804"/>
                    <a:pt x="1127395" y="622064"/>
                  </a:cubicBezTo>
                  <a:cubicBezTo>
                    <a:pt x="1126150" y="621290"/>
                    <a:pt x="1125611" y="620147"/>
                    <a:pt x="1125611" y="620147"/>
                  </a:cubicBezTo>
                  <a:cubicBezTo>
                    <a:pt x="1125611" y="620147"/>
                    <a:pt x="1124029" y="616345"/>
                    <a:pt x="1123861" y="616009"/>
                  </a:cubicBezTo>
                  <a:cubicBezTo>
                    <a:pt x="1123693" y="615673"/>
                    <a:pt x="1123760" y="614327"/>
                    <a:pt x="1123760" y="614327"/>
                  </a:cubicBezTo>
                  <a:cubicBezTo>
                    <a:pt x="1123760" y="614327"/>
                    <a:pt x="1123962" y="612712"/>
                    <a:pt x="1124097" y="612309"/>
                  </a:cubicBezTo>
                  <a:cubicBezTo>
                    <a:pt x="1124198" y="611939"/>
                    <a:pt x="1124871" y="609752"/>
                    <a:pt x="1125174" y="609416"/>
                  </a:cubicBezTo>
                  <a:cubicBezTo>
                    <a:pt x="1125510" y="609079"/>
                    <a:pt x="1126419" y="607566"/>
                    <a:pt x="1126823" y="607128"/>
                  </a:cubicBezTo>
                  <a:cubicBezTo>
                    <a:pt x="1127193" y="606691"/>
                    <a:pt x="1128472" y="605984"/>
                    <a:pt x="1128876" y="605951"/>
                  </a:cubicBezTo>
                  <a:cubicBezTo>
                    <a:pt x="1129313" y="605884"/>
                    <a:pt x="1130828" y="605312"/>
                    <a:pt x="1131164" y="605143"/>
                  </a:cubicBezTo>
                  <a:cubicBezTo>
                    <a:pt x="1131501" y="604975"/>
                    <a:pt x="1133554" y="604067"/>
                    <a:pt x="1133554" y="604067"/>
                  </a:cubicBezTo>
                  <a:cubicBezTo>
                    <a:pt x="1133554" y="604067"/>
                    <a:pt x="1135910" y="602923"/>
                    <a:pt x="1136111" y="602822"/>
                  </a:cubicBezTo>
                  <a:cubicBezTo>
                    <a:pt x="1136313" y="602721"/>
                    <a:pt x="1137962" y="602183"/>
                    <a:pt x="1138568" y="602385"/>
                  </a:cubicBezTo>
                  <a:cubicBezTo>
                    <a:pt x="1139174" y="602587"/>
                    <a:pt x="1140217" y="604269"/>
                    <a:pt x="1140487" y="604504"/>
                  </a:cubicBezTo>
                  <a:cubicBezTo>
                    <a:pt x="1140756" y="604706"/>
                    <a:pt x="1141732" y="605581"/>
                    <a:pt x="1142270" y="605917"/>
                  </a:cubicBezTo>
                  <a:cubicBezTo>
                    <a:pt x="1142809" y="606254"/>
                    <a:pt x="1143515" y="606556"/>
                    <a:pt x="1144222" y="606422"/>
                  </a:cubicBezTo>
                  <a:cubicBezTo>
                    <a:pt x="1144929" y="606254"/>
                    <a:pt x="1145972" y="606422"/>
                    <a:pt x="1145972" y="606422"/>
                  </a:cubicBezTo>
                  <a:lnTo>
                    <a:pt x="1147217" y="605614"/>
                  </a:lnTo>
                  <a:lnTo>
                    <a:pt x="1147857" y="605244"/>
                  </a:lnTo>
                  <a:lnTo>
                    <a:pt x="1148126" y="603327"/>
                  </a:lnTo>
                  <a:cubicBezTo>
                    <a:pt x="1148126" y="603327"/>
                    <a:pt x="1148025" y="601914"/>
                    <a:pt x="1148025" y="601578"/>
                  </a:cubicBezTo>
                  <a:cubicBezTo>
                    <a:pt x="1148025" y="601241"/>
                    <a:pt x="1148227" y="599828"/>
                    <a:pt x="1148227" y="599828"/>
                  </a:cubicBezTo>
                  <a:lnTo>
                    <a:pt x="1148227" y="597003"/>
                  </a:lnTo>
                  <a:cubicBezTo>
                    <a:pt x="1148227" y="597003"/>
                    <a:pt x="1147588" y="594513"/>
                    <a:pt x="1147588" y="593840"/>
                  </a:cubicBezTo>
                  <a:cubicBezTo>
                    <a:pt x="1147588" y="593201"/>
                    <a:pt x="1147386" y="591351"/>
                    <a:pt x="1147386" y="591351"/>
                  </a:cubicBezTo>
                  <a:cubicBezTo>
                    <a:pt x="1147386" y="591351"/>
                    <a:pt x="1147722" y="588425"/>
                    <a:pt x="1147823" y="588088"/>
                  </a:cubicBezTo>
                  <a:cubicBezTo>
                    <a:pt x="1147924" y="587752"/>
                    <a:pt x="1148597" y="586574"/>
                    <a:pt x="1149573" y="585902"/>
                  </a:cubicBezTo>
                  <a:cubicBezTo>
                    <a:pt x="1150549" y="585262"/>
                    <a:pt x="1150987" y="584388"/>
                    <a:pt x="1151525" y="583950"/>
                  </a:cubicBezTo>
                  <a:cubicBezTo>
                    <a:pt x="1152064" y="583513"/>
                    <a:pt x="1153477" y="582975"/>
                    <a:pt x="1154117" y="582336"/>
                  </a:cubicBezTo>
                  <a:cubicBezTo>
                    <a:pt x="1154756" y="581697"/>
                    <a:pt x="1157583" y="580721"/>
                    <a:pt x="1158895" y="580485"/>
                  </a:cubicBezTo>
                  <a:cubicBezTo>
                    <a:pt x="1160208" y="580284"/>
                    <a:pt x="1161083" y="578972"/>
                    <a:pt x="1161723" y="578972"/>
                  </a:cubicBezTo>
                  <a:cubicBezTo>
                    <a:pt x="1162362" y="578972"/>
                    <a:pt x="1162800" y="578770"/>
                    <a:pt x="1165626" y="578097"/>
                  </a:cubicBezTo>
                  <a:cubicBezTo>
                    <a:pt x="1168453" y="577458"/>
                    <a:pt x="1168992" y="576146"/>
                    <a:pt x="1169429" y="575910"/>
                  </a:cubicBezTo>
                  <a:cubicBezTo>
                    <a:pt x="1169867" y="575709"/>
                    <a:pt x="1171718" y="575036"/>
                    <a:pt x="1171718" y="575036"/>
                  </a:cubicBezTo>
                  <a:cubicBezTo>
                    <a:pt x="1171718" y="575036"/>
                    <a:pt x="1173905" y="574161"/>
                    <a:pt x="1175420" y="574161"/>
                  </a:cubicBezTo>
                  <a:cubicBezTo>
                    <a:pt x="1176934" y="574161"/>
                    <a:pt x="1178247" y="572849"/>
                    <a:pt x="1178247" y="572849"/>
                  </a:cubicBezTo>
                  <a:lnTo>
                    <a:pt x="1181511" y="571235"/>
                  </a:lnTo>
                  <a:cubicBezTo>
                    <a:pt x="1181511" y="571235"/>
                    <a:pt x="1181949" y="569284"/>
                    <a:pt x="1183026" y="568846"/>
                  </a:cubicBezTo>
                  <a:cubicBezTo>
                    <a:pt x="1184103" y="568409"/>
                    <a:pt x="1184776" y="566559"/>
                    <a:pt x="1185113" y="566222"/>
                  </a:cubicBezTo>
                  <a:cubicBezTo>
                    <a:pt x="1185449" y="565886"/>
                    <a:pt x="1186627" y="565146"/>
                    <a:pt x="1187401" y="564809"/>
                  </a:cubicBezTo>
                  <a:cubicBezTo>
                    <a:pt x="1188175" y="564473"/>
                    <a:pt x="1190228" y="562522"/>
                    <a:pt x="1191103" y="562085"/>
                  </a:cubicBezTo>
                  <a:cubicBezTo>
                    <a:pt x="1191978" y="561647"/>
                    <a:pt x="1192954" y="560033"/>
                    <a:pt x="1193156" y="559259"/>
                  </a:cubicBezTo>
                  <a:cubicBezTo>
                    <a:pt x="1193358" y="558485"/>
                    <a:pt x="1194233" y="556332"/>
                    <a:pt x="1194334" y="555794"/>
                  </a:cubicBezTo>
                  <a:cubicBezTo>
                    <a:pt x="1194435" y="555256"/>
                    <a:pt x="1194233" y="554482"/>
                    <a:pt x="1194233" y="554482"/>
                  </a:cubicBezTo>
                  <a:lnTo>
                    <a:pt x="1193694" y="552430"/>
                  </a:lnTo>
                  <a:cubicBezTo>
                    <a:pt x="1193694" y="552430"/>
                    <a:pt x="1191507" y="550042"/>
                    <a:pt x="1191305" y="549268"/>
                  </a:cubicBezTo>
                  <a:cubicBezTo>
                    <a:pt x="1191103" y="548494"/>
                    <a:pt x="1188714" y="548393"/>
                    <a:pt x="1186963" y="548057"/>
                  </a:cubicBezTo>
                  <a:cubicBezTo>
                    <a:pt x="1185213" y="547720"/>
                    <a:pt x="1185113" y="547620"/>
                    <a:pt x="1184237" y="545870"/>
                  </a:cubicBezTo>
                  <a:cubicBezTo>
                    <a:pt x="1183362" y="544121"/>
                    <a:pt x="1183699" y="543919"/>
                    <a:pt x="1183598" y="543381"/>
                  </a:cubicBezTo>
                  <a:cubicBezTo>
                    <a:pt x="1183497" y="542843"/>
                    <a:pt x="1183059" y="540690"/>
                    <a:pt x="1183059" y="540690"/>
                  </a:cubicBezTo>
                  <a:cubicBezTo>
                    <a:pt x="1183059" y="540690"/>
                    <a:pt x="1183059" y="538402"/>
                    <a:pt x="1183059" y="538100"/>
                  </a:cubicBezTo>
                  <a:cubicBezTo>
                    <a:pt x="1183059" y="537763"/>
                    <a:pt x="1183766" y="535476"/>
                    <a:pt x="1184002" y="534500"/>
                  </a:cubicBezTo>
                  <a:cubicBezTo>
                    <a:pt x="1184204" y="533525"/>
                    <a:pt x="1184810" y="532448"/>
                    <a:pt x="1185146" y="531876"/>
                  </a:cubicBezTo>
                  <a:cubicBezTo>
                    <a:pt x="1185483" y="531338"/>
                    <a:pt x="1185685" y="530665"/>
                    <a:pt x="1186223" y="530363"/>
                  </a:cubicBezTo>
                  <a:cubicBezTo>
                    <a:pt x="1186762" y="530026"/>
                    <a:pt x="1187637" y="529488"/>
                    <a:pt x="1189050" y="529152"/>
                  </a:cubicBezTo>
                  <a:cubicBezTo>
                    <a:pt x="1190463" y="528815"/>
                    <a:pt x="1190699" y="529488"/>
                    <a:pt x="1192954" y="529488"/>
                  </a:cubicBezTo>
                  <a:cubicBezTo>
                    <a:pt x="1195243" y="529488"/>
                    <a:pt x="1193492" y="530463"/>
                    <a:pt x="1195142" y="531439"/>
                  </a:cubicBezTo>
                  <a:cubicBezTo>
                    <a:pt x="1196757" y="532414"/>
                    <a:pt x="1196757" y="530564"/>
                    <a:pt x="1197430" y="530026"/>
                  </a:cubicBezTo>
                  <a:cubicBezTo>
                    <a:pt x="1198069" y="529488"/>
                    <a:pt x="1198843" y="528075"/>
                    <a:pt x="1200695" y="527200"/>
                  </a:cubicBezTo>
                  <a:cubicBezTo>
                    <a:pt x="1202546" y="526326"/>
                    <a:pt x="1203421" y="525788"/>
                    <a:pt x="1204598" y="524274"/>
                  </a:cubicBezTo>
                  <a:cubicBezTo>
                    <a:pt x="1205776" y="522760"/>
                    <a:pt x="1205574" y="520573"/>
                    <a:pt x="1206214" y="520136"/>
                  </a:cubicBezTo>
                  <a:cubicBezTo>
                    <a:pt x="1206853" y="519699"/>
                    <a:pt x="1207089" y="518824"/>
                    <a:pt x="1210892" y="518723"/>
                  </a:cubicBezTo>
                  <a:cubicBezTo>
                    <a:pt x="1214695" y="518622"/>
                    <a:pt x="1212945" y="519934"/>
                    <a:pt x="1215570" y="520910"/>
                  </a:cubicBezTo>
                  <a:cubicBezTo>
                    <a:pt x="1218161" y="521885"/>
                    <a:pt x="1216647" y="522760"/>
                    <a:pt x="1218834" y="523399"/>
                  </a:cubicBezTo>
                  <a:cubicBezTo>
                    <a:pt x="1221022" y="524038"/>
                    <a:pt x="1220685" y="523500"/>
                    <a:pt x="1223613" y="522962"/>
                  </a:cubicBezTo>
                  <a:cubicBezTo>
                    <a:pt x="1226541" y="522424"/>
                    <a:pt x="1225464" y="521650"/>
                    <a:pt x="1226238" y="521347"/>
                  </a:cubicBezTo>
                  <a:cubicBezTo>
                    <a:pt x="1227012" y="521011"/>
                    <a:pt x="1227214" y="519160"/>
                    <a:pt x="1227551" y="518521"/>
                  </a:cubicBezTo>
                  <a:cubicBezTo>
                    <a:pt x="1227887" y="517882"/>
                    <a:pt x="1227887" y="515595"/>
                    <a:pt x="1227753" y="514182"/>
                  </a:cubicBezTo>
                  <a:cubicBezTo>
                    <a:pt x="1227652" y="512769"/>
                    <a:pt x="1227854" y="512231"/>
                    <a:pt x="1227854" y="511894"/>
                  </a:cubicBezTo>
                  <a:cubicBezTo>
                    <a:pt x="1227854" y="511558"/>
                    <a:pt x="1227080" y="507454"/>
                    <a:pt x="1227080" y="507454"/>
                  </a:cubicBezTo>
                  <a:cubicBezTo>
                    <a:pt x="1227080" y="507454"/>
                    <a:pt x="1226440" y="505065"/>
                    <a:pt x="1226205" y="504426"/>
                  </a:cubicBezTo>
                  <a:cubicBezTo>
                    <a:pt x="1226003" y="503787"/>
                    <a:pt x="1225431" y="500625"/>
                    <a:pt x="1225431" y="500625"/>
                  </a:cubicBezTo>
                  <a:cubicBezTo>
                    <a:pt x="1225431" y="500625"/>
                    <a:pt x="1225229" y="496824"/>
                    <a:pt x="1225229" y="496386"/>
                  </a:cubicBezTo>
                  <a:cubicBezTo>
                    <a:pt x="1225229" y="495949"/>
                    <a:pt x="1224892" y="494536"/>
                    <a:pt x="1224892" y="494536"/>
                  </a:cubicBezTo>
                  <a:lnTo>
                    <a:pt x="1224354" y="492047"/>
                  </a:lnTo>
                  <a:lnTo>
                    <a:pt x="1223479" y="489120"/>
                  </a:lnTo>
                  <a:lnTo>
                    <a:pt x="1226407" y="488145"/>
                  </a:lnTo>
                  <a:cubicBezTo>
                    <a:pt x="1226407" y="488145"/>
                    <a:pt x="1227282" y="487943"/>
                    <a:pt x="1227719" y="487808"/>
                  </a:cubicBezTo>
                  <a:cubicBezTo>
                    <a:pt x="1228157" y="487707"/>
                    <a:pt x="1229133" y="486732"/>
                    <a:pt x="1231623" y="485958"/>
                  </a:cubicBezTo>
                  <a:cubicBezTo>
                    <a:pt x="1234114" y="485184"/>
                    <a:pt x="1234114" y="484343"/>
                    <a:pt x="1235863" y="483906"/>
                  </a:cubicBezTo>
                  <a:cubicBezTo>
                    <a:pt x="1237614" y="483469"/>
                    <a:pt x="1238892" y="484343"/>
                    <a:pt x="1241417" y="484579"/>
                  </a:cubicBezTo>
                  <a:cubicBezTo>
                    <a:pt x="1243907" y="484781"/>
                    <a:pt x="1242191" y="484915"/>
                    <a:pt x="1244008" y="485353"/>
                  </a:cubicBezTo>
                  <a:cubicBezTo>
                    <a:pt x="1245859" y="485790"/>
                    <a:pt x="1246195" y="486126"/>
                    <a:pt x="1247037" y="485790"/>
                  </a:cubicBezTo>
                  <a:cubicBezTo>
                    <a:pt x="1247912" y="485453"/>
                    <a:pt x="1247912" y="485353"/>
                    <a:pt x="1248249" y="484814"/>
                  </a:cubicBezTo>
                  <a:cubicBezTo>
                    <a:pt x="1248585" y="484276"/>
                    <a:pt x="1248484" y="483637"/>
                    <a:pt x="1248484" y="483637"/>
                  </a:cubicBezTo>
                  <a:lnTo>
                    <a:pt x="1248585" y="482224"/>
                  </a:lnTo>
                  <a:cubicBezTo>
                    <a:pt x="1248585" y="482224"/>
                    <a:pt x="1248921" y="479197"/>
                    <a:pt x="1249023" y="478423"/>
                  </a:cubicBezTo>
                  <a:cubicBezTo>
                    <a:pt x="1249123" y="477649"/>
                    <a:pt x="1249123" y="474722"/>
                    <a:pt x="1249123" y="474722"/>
                  </a:cubicBezTo>
                  <a:cubicBezTo>
                    <a:pt x="1249123" y="474722"/>
                    <a:pt x="1249123" y="471695"/>
                    <a:pt x="1249123" y="471022"/>
                  </a:cubicBezTo>
                  <a:cubicBezTo>
                    <a:pt x="1249123" y="470383"/>
                    <a:pt x="1249023" y="468297"/>
                    <a:pt x="1249023" y="467221"/>
                  </a:cubicBezTo>
                  <a:cubicBezTo>
                    <a:pt x="1249023" y="466144"/>
                    <a:pt x="1249123" y="465808"/>
                    <a:pt x="1249023" y="465472"/>
                  </a:cubicBezTo>
                  <a:cubicBezTo>
                    <a:pt x="1248921" y="465135"/>
                    <a:pt x="1247407" y="463420"/>
                    <a:pt x="1247407" y="462982"/>
                  </a:cubicBezTo>
                  <a:cubicBezTo>
                    <a:pt x="1247407" y="462545"/>
                    <a:pt x="1246970" y="462007"/>
                    <a:pt x="1246768" y="461670"/>
                  </a:cubicBezTo>
                  <a:cubicBezTo>
                    <a:pt x="1246566" y="461334"/>
                    <a:pt x="1245691" y="460022"/>
                    <a:pt x="1245691" y="459181"/>
                  </a:cubicBezTo>
                  <a:cubicBezTo>
                    <a:pt x="1245691" y="458306"/>
                    <a:pt x="1245691" y="457667"/>
                    <a:pt x="1245893" y="457230"/>
                  </a:cubicBezTo>
                  <a:cubicBezTo>
                    <a:pt x="1246095" y="456793"/>
                    <a:pt x="1246229" y="456456"/>
                    <a:pt x="1246229" y="456456"/>
                  </a:cubicBezTo>
                  <a:cubicBezTo>
                    <a:pt x="1246229" y="456456"/>
                    <a:pt x="1247878" y="452857"/>
                    <a:pt x="1248282" y="452655"/>
                  </a:cubicBezTo>
                  <a:cubicBezTo>
                    <a:pt x="1248720" y="452453"/>
                    <a:pt x="1250571" y="451242"/>
                    <a:pt x="1250571" y="451242"/>
                  </a:cubicBezTo>
                  <a:lnTo>
                    <a:pt x="1256326" y="446903"/>
                  </a:lnTo>
                  <a:lnTo>
                    <a:pt x="1257201" y="443303"/>
                  </a:lnTo>
                  <a:cubicBezTo>
                    <a:pt x="1257201" y="443303"/>
                    <a:pt x="1258378" y="440713"/>
                    <a:pt x="1258513" y="440275"/>
                  </a:cubicBezTo>
                  <a:cubicBezTo>
                    <a:pt x="1258614" y="439838"/>
                    <a:pt x="1257739" y="439838"/>
                    <a:pt x="1257739" y="439838"/>
                  </a:cubicBezTo>
                  <a:lnTo>
                    <a:pt x="1255114" y="438863"/>
                  </a:lnTo>
                  <a:lnTo>
                    <a:pt x="1254340" y="437450"/>
                  </a:lnTo>
                  <a:lnTo>
                    <a:pt x="1253902" y="435061"/>
                  </a:lnTo>
                  <a:cubicBezTo>
                    <a:pt x="1253902" y="435061"/>
                    <a:pt x="1251614" y="432471"/>
                    <a:pt x="1251412" y="432034"/>
                  </a:cubicBezTo>
                  <a:cubicBezTo>
                    <a:pt x="1251210" y="431597"/>
                    <a:pt x="1249763" y="431058"/>
                    <a:pt x="1249763" y="431058"/>
                  </a:cubicBezTo>
                  <a:cubicBezTo>
                    <a:pt x="1249763" y="431058"/>
                    <a:pt x="1246734" y="429208"/>
                    <a:pt x="1246195" y="428468"/>
                  </a:cubicBezTo>
                  <a:cubicBezTo>
                    <a:pt x="1245657" y="427694"/>
                    <a:pt x="1242931" y="425104"/>
                    <a:pt x="1242494" y="424768"/>
                  </a:cubicBezTo>
                  <a:cubicBezTo>
                    <a:pt x="1242056" y="424431"/>
                    <a:pt x="1239229" y="422716"/>
                    <a:pt x="1238791" y="422480"/>
                  </a:cubicBezTo>
                  <a:cubicBezTo>
                    <a:pt x="1238354" y="422278"/>
                    <a:pt x="1234753" y="418881"/>
                    <a:pt x="1234753" y="418881"/>
                  </a:cubicBezTo>
                  <a:cubicBezTo>
                    <a:pt x="1234753" y="418881"/>
                    <a:pt x="1233878" y="414205"/>
                    <a:pt x="1233878" y="413566"/>
                  </a:cubicBezTo>
                  <a:cubicBezTo>
                    <a:pt x="1233878" y="412926"/>
                    <a:pt x="1233777" y="409428"/>
                    <a:pt x="1233777" y="409428"/>
                  </a:cubicBezTo>
                  <a:cubicBezTo>
                    <a:pt x="1233777" y="409428"/>
                    <a:pt x="1233777" y="405728"/>
                    <a:pt x="1233676" y="405089"/>
                  </a:cubicBezTo>
                  <a:cubicBezTo>
                    <a:pt x="1233575" y="404449"/>
                    <a:pt x="1232599" y="401388"/>
                    <a:pt x="1232599" y="401388"/>
                  </a:cubicBezTo>
                  <a:lnTo>
                    <a:pt x="1231623" y="398226"/>
                  </a:lnTo>
                  <a:lnTo>
                    <a:pt x="1230849" y="396039"/>
                  </a:lnTo>
                  <a:lnTo>
                    <a:pt x="1229974" y="395400"/>
                  </a:lnTo>
                  <a:cubicBezTo>
                    <a:pt x="1229974" y="395400"/>
                    <a:pt x="1223008" y="392911"/>
                    <a:pt x="1222805" y="392474"/>
                  </a:cubicBezTo>
                  <a:cubicBezTo>
                    <a:pt x="1222570" y="392036"/>
                    <a:pt x="1222368" y="391162"/>
                    <a:pt x="1222368" y="390623"/>
                  </a:cubicBezTo>
                  <a:cubicBezTo>
                    <a:pt x="1222368" y="390085"/>
                    <a:pt x="1222469" y="388437"/>
                    <a:pt x="1222570" y="387798"/>
                  </a:cubicBezTo>
                  <a:cubicBezTo>
                    <a:pt x="1222671" y="387159"/>
                    <a:pt x="1223647" y="386048"/>
                    <a:pt x="1224320" y="384972"/>
                  </a:cubicBezTo>
                  <a:cubicBezTo>
                    <a:pt x="1224959" y="383895"/>
                    <a:pt x="1224959" y="384535"/>
                    <a:pt x="1226272" y="383895"/>
                  </a:cubicBezTo>
                  <a:cubicBezTo>
                    <a:pt x="1227585" y="383256"/>
                    <a:pt x="1227484" y="383256"/>
                    <a:pt x="1228325" y="382819"/>
                  </a:cubicBezTo>
                  <a:cubicBezTo>
                    <a:pt x="1229200" y="382382"/>
                    <a:pt x="1229402" y="381944"/>
                    <a:pt x="1230176" y="380767"/>
                  </a:cubicBezTo>
                  <a:cubicBezTo>
                    <a:pt x="1230950" y="379556"/>
                    <a:pt x="1230176" y="380767"/>
                    <a:pt x="1230714" y="380431"/>
                  </a:cubicBezTo>
                  <a:cubicBezTo>
                    <a:pt x="1231253" y="380094"/>
                    <a:pt x="1231589" y="378917"/>
                    <a:pt x="1232128" y="378379"/>
                  </a:cubicBezTo>
                  <a:cubicBezTo>
                    <a:pt x="1232666" y="377840"/>
                    <a:pt x="1232666" y="376528"/>
                    <a:pt x="1232666" y="376528"/>
                  </a:cubicBezTo>
                  <a:lnTo>
                    <a:pt x="1232431" y="374577"/>
                  </a:lnTo>
                  <a:lnTo>
                    <a:pt x="1231993" y="371415"/>
                  </a:lnTo>
                  <a:lnTo>
                    <a:pt x="1230479" y="369565"/>
                  </a:lnTo>
                  <a:lnTo>
                    <a:pt x="1227753" y="368253"/>
                  </a:lnTo>
                  <a:lnTo>
                    <a:pt x="1224488" y="365629"/>
                  </a:lnTo>
                  <a:cubicBezTo>
                    <a:pt x="1224488" y="365629"/>
                    <a:pt x="1222738" y="363443"/>
                    <a:pt x="1222839" y="364115"/>
                  </a:cubicBezTo>
                  <a:cubicBezTo>
                    <a:pt x="1222940" y="364754"/>
                    <a:pt x="1219373" y="362164"/>
                    <a:pt x="1218700" y="361626"/>
                  </a:cubicBezTo>
                  <a:cubicBezTo>
                    <a:pt x="1218060" y="361088"/>
                    <a:pt x="1214358" y="360415"/>
                    <a:pt x="1213483" y="360112"/>
                  </a:cubicBezTo>
                  <a:cubicBezTo>
                    <a:pt x="1212608" y="359776"/>
                    <a:pt x="1210858" y="359137"/>
                    <a:pt x="1210858" y="358800"/>
                  </a:cubicBezTo>
                  <a:cubicBezTo>
                    <a:pt x="1210858" y="358464"/>
                    <a:pt x="1211397" y="355335"/>
                    <a:pt x="1212373" y="354326"/>
                  </a:cubicBezTo>
                  <a:cubicBezTo>
                    <a:pt x="1213349" y="353351"/>
                    <a:pt x="1213685" y="353553"/>
                    <a:pt x="1214123" y="353351"/>
                  </a:cubicBezTo>
                  <a:cubicBezTo>
                    <a:pt x="1214560" y="353149"/>
                    <a:pt x="1215099" y="351332"/>
                    <a:pt x="1215099" y="351332"/>
                  </a:cubicBezTo>
                  <a:cubicBezTo>
                    <a:pt x="1215099" y="351332"/>
                    <a:pt x="1215301" y="349919"/>
                    <a:pt x="1216176" y="348607"/>
                  </a:cubicBezTo>
                  <a:cubicBezTo>
                    <a:pt x="1217051" y="347296"/>
                    <a:pt x="1217488" y="344571"/>
                    <a:pt x="1217589" y="344167"/>
                  </a:cubicBezTo>
                  <a:cubicBezTo>
                    <a:pt x="1217690" y="343730"/>
                    <a:pt x="1218363" y="341678"/>
                    <a:pt x="1218363" y="341678"/>
                  </a:cubicBezTo>
                  <a:cubicBezTo>
                    <a:pt x="1218363" y="341678"/>
                    <a:pt x="1219137" y="341240"/>
                    <a:pt x="1219878" y="340803"/>
                  </a:cubicBezTo>
                  <a:cubicBezTo>
                    <a:pt x="1220652" y="340366"/>
                    <a:pt x="1221291" y="340366"/>
                    <a:pt x="1222267" y="339929"/>
                  </a:cubicBezTo>
                  <a:cubicBezTo>
                    <a:pt x="1223243" y="339491"/>
                    <a:pt x="1223916" y="339155"/>
                    <a:pt x="1224017" y="338415"/>
                  </a:cubicBezTo>
                  <a:cubicBezTo>
                    <a:pt x="1224118" y="337641"/>
                    <a:pt x="1224118" y="336026"/>
                    <a:pt x="1223916" y="334815"/>
                  </a:cubicBezTo>
                  <a:cubicBezTo>
                    <a:pt x="1223714" y="333604"/>
                    <a:pt x="1222839" y="332629"/>
                    <a:pt x="1222604" y="332225"/>
                  </a:cubicBezTo>
                  <a:cubicBezTo>
                    <a:pt x="1222368" y="331788"/>
                    <a:pt x="1220551" y="330039"/>
                    <a:pt x="1220315" y="329601"/>
                  </a:cubicBezTo>
                  <a:cubicBezTo>
                    <a:pt x="1220079" y="329164"/>
                    <a:pt x="1218902" y="327650"/>
                    <a:pt x="1218902" y="327650"/>
                  </a:cubicBezTo>
                  <a:lnTo>
                    <a:pt x="1216075" y="325161"/>
                  </a:lnTo>
                  <a:lnTo>
                    <a:pt x="1213248" y="321158"/>
                  </a:lnTo>
                  <a:lnTo>
                    <a:pt x="1208469" y="318130"/>
                  </a:lnTo>
                  <a:lnTo>
                    <a:pt x="1205103" y="315641"/>
                  </a:lnTo>
                  <a:lnTo>
                    <a:pt x="1202377" y="312176"/>
                  </a:lnTo>
                  <a:lnTo>
                    <a:pt x="1197060" y="309787"/>
                  </a:lnTo>
                  <a:lnTo>
                    <a:pt x="1195983" y="309451"/>
                  </a:lnTo>
                  <a:lnTo>
                    <a:pt x="1192920" y="308139"/>
                  </a:lnTo>
                  <a:cubicBezTo>
                    <a:pt x="1192920" y="308139"/>
                    <a:pt x="1188141" y="307063"/>
                    <a:pt x="1187603" y="306390"/>
                  </a:cubicBezTo>
                  <a:cubicBezTo>
                    <a:pt x="1187064" y="305751"/>
                    <a:pt x="1183362" y="304203"/>
                    <a:pt x="1182050" y="303463"/>
                  </a:cubicBezTo>
                  <a:cubicBezTo>
                    <a:pt x="1180737" y="302689"/>
                    <a:pt x="1178684" y="301276"/>
                    <a:pt x="1178247" y="300873"/>
                  </a:cubicBezTo>
                  <a:cubicBezTo>
                    <a:pt x="1177809" y="300435"/>
                    <a:pt x="1176934" y="299998"/>
                    <a:pt x="1176934" y="299561"/>
                  </a:cubicBezTo>
                  <a:cubicBezTo>
                    <a:pt x="1176934" y="299124"/>
                    <a:pt x="1177035" y="297173"/>
                    <a:pt x="1177035" y="296836"/>
                  </a:cubicBezTo>
                  <a:cubicBezTo>
                    <a:pt x="1177035" y="296500"/>
                    <a:pt x="1177372" y="295322"/>
                    <a:pt x="1177473" y="294549"/>
                  </a:cubicBezTo>
                  <a:cubicBezTo>
                    <a:pt x="1177574" y="293775"/>
                    <a:pt x="1178146" y="291386"/>
                    <a:pt x="1178247" y="291084"/>
                  </a:cubicBezTo>
                  <a:cubicBezTo>
                    <a:pt x="1178348" y="290747"/>
                    <a:pt x="1179122" y="290983"/>
                    <a:pt x="1179559" y="290310"/>
                  </a:cubicBezTo>
                  <a:cubicBezTo>
                    <a:pt x="1179997" y="289671"/>
                    <a:pt x="1181074" y="289234"/>
                    <a:pt x="1181074" y="288796"/>
                  </a:cubicBezTo>
                  <a:cubicBezTo>
                    <a:pt x="1181074" y="288359"/>
                    <a:pt x="1181612" y="287484"/>
                    <a:pt x="1181713" y="287047"/>
                  </a:cubicBezTo>
                  <a:cubicBezTo>
                    <a:pt x="1181814" y="286610"/>
                    <a:pt x="1182151" y="285836"/>
                    <a:pt x="1182353" y="285399"/>
                  </a:cubicBezTo>
                  <a:cubicBezTo>
                    <a:pt x="1182555" y="284961"/>
                    <a:pt x="1182891" y="283986"/>
                    <a:pt x="1183127" y="283347"/>
                  </a:cubicBezTo>
                  <a:cubicBezTo>
                    <a:pt x="1183329" y="282708"/>
                    <a:pt x="1183564" y="281597"/>
                    <a:pt x="1183564" y="281597"/>
                  </a:cubicBezTo>
                  <a:lnTo>
                    <a:pt x="1183901" y="279646"/>
                  </a:lnTo>
                  <a:cubicBezTo>
                    <a:pt x="1183901" y="279646"/>
                    <a:pt x="1183463" y="278435"/>
                    <a:pt x="1183362" y="277695"/>
                  </a:cubicBezTo>
                  <a:cubicBezTo>
                    <a:pt x="1183261" y="276921"/>
                    <a:pt x="1182050" y="276921"/>
                    <a:pt x="1181410" y="275206"/>
                  </a:cubicBezTo>
                  <a:cubicBezTo>
                    <a:pt x="1180771" y="273457"/>
                    <a:pt x="1179795" y="273457"/>
                    <a:pt x="1179795" y="273457"/>
                  </a:cubicBezTo>
                  <a:lnTo>
                    <a:pt x="1179459" y="271404"/>
                  </a:lnTo>
                  <a:cubicBezTo>
                    <a:pt x="1179459" y="271404"/>
                    <a:pt x="1179459" y="269891"/>
                    <a:pt x="1179459" y="269218"/>
                  </a:cubicBezTo>
                  <a:cubicBezTo>
                    <a:pt x="1179459" y="268579"/>
                    <a:pt x="1179223" y="267805"/>
                    <a:pt x="1179223" y="266830"/>
                  </a:cubicBezTo>
                  <a:cubicBezTo>
                    <a:pt x="1179223" y="265854"/>
                    <a:pt x="1176059" y="264441"/>
                    <a:pt x="1175756" y="264105"/>
                  </a:cubicBezTo>
                  <a:cubicBezTo>
                    <a:pt x="1175420" y="263768"/>
                    <a:pt x="1173030" y="262894"/>
                    <a:pt x="1173030" y="262894"/>
                  </a:cubicBezTo>
                  <a:cubicBezTo>
                    <a:pt x="1173030" y="262894"/>
                    <a:pt x="1171078" y="263432"/>
                    <a:pt x="1170742" y="263667"/>
                  </a:cubicBezTo>
                  <a:cubicBezTo>
                    <a:pt x="1170405" y="263869"/>
                    <a:pt x="1169665" y="264879"/>
                    <a:pt x="1169665" y="264879"/>
                  </a:cubicBezTo>
                  <a:cubicBezTo>
                    <a:pt x="1169665" y="264879"/>
                    <a:pt x="1169665" y="266190"/>
                    <a:pt x="1169564" y="266931"/>
                  </a:cubicBezTo>
                  <a:cubicBezTo>
                    <a:pt x="1169463" y="267704"/>
                    <a:pt x="1169227" y="268680"/>
                    <a:pt x="1169026" y="269117"/>
                  </a:cubicBezTo>
                  <a:cubicBezTo>
                    <a:pt x="1168824" y="269554"/>
                    <a:pt x="1167949" y="271741"/>
                    <a:pt x="1167275" y="272481"/>
                  </a:cubicBezTo>
                  <a:cubicBezTo>
                    <a:pt x="1166636" y="273255"/>
                    <a:pt x="1166401" y="274230"/>
                    <a:pt x="1165626" y="275206"/>
                  </a:cubicBezTo>
                  <a:cubicBezTo>
                    <a:pt x="1164852" y="276181"/>
                    <a:pt x="1164987" y="276080"/>
                    <a:pt x="1164987" y="276080"/>
                  </a:cubicBezTo>
                  <a:cubicBezTo>
                    <a:pt x="1164987" y="276080"/>
                    <a:pt x="1164348" y="277695"/>
                    <a:pt x="1163910" y="278267"/>
                  </a:cubicBezTo>
                  <a:cubicBezTo>
                    <a:pt x="1163473" y="278805"/>
                    <a:pt x="1163809" y="280655"/>
                    <a:pt x="1163809" y="281093"/>
                  </a:cubicBezTo>
                  <a:cubicBezTo>
                    <a:pt x="1163809" y="281530"/>
                    <a:pt x="1164011" y="282943"/>
                    <a:pt x="1164011" y="282943"/>
                  </a:cubicBezTo>
                  <a:cubicBezTo>
                    <a:pt x="1164011" y="282943"/>
                    <a:pt x="1164247" y="284894"/>
                    <a:pt x="1164549" y="285432"/>
                  </a:cubicBezTo>
                  <a:cubicBezTo>
                    <a:pt x="1164886" y="285970"/>
                    <a:pt x="1164650" y="287047"/>
                    <a:pt x="1164650" y="287047"/>
                  </a:cubicBezTo>
                  <a:lnTo>
                    <a:pt x="1162800" y="288796"/>
                  </a:lnTo>
                  <a:lnTo>
                    <a:pt x="1160410" y="289435"/>
                  </a:lnTo>
                  <a:cubicBezTo>
                    <a:pt x="1160410" y="289435"/>
                    <a:pt x="1158458" y="289772"/>
                    <a:pt x="1158121" y="289873"/>
                  </a:cubicBezTo>
                  <a:cubicBezTo>
                    <a:pt x="1157785" y="289974"/>
                    <a:pt x="1156472" y="289772"/>
                    <a:pt x="1156472" y="289772"/>
                  </a:cubicBezTo>
                  <a:lnTo>
                    <a:pt x="1155059" y="286946"/>
                  </a:lnTo>
                  <a:lnTo>
                    <a:pt x="1153309" y="284221"/>
                  </a:lnTo>
                  <a:lnTo>
                    <a:pt x="1150583" y="281631"/>
                  </a:lnTo>
                  <a:lnTo>
                    <a:pt x="1147857" y="277056"/>
                  </a:lnTo>
                  <a:cubicBezTo>
                    <a:pt x="1147857" y="277056"/>
                    <a:pt x="1145669" y="275307"/>
                    <a:pt x="1144828" y="275004"/>
                  </a:cubicBezTo>
                  <a:cubicBezTo>
                    <a:pt x="1143953" y="274668"/>
                    <a:pt x="1143078" y="274567"/>
                    <a:pt x="1142775" y="274466"/>
                  </a:cubicBezTo>
                  <a:cubicBezTo>
                    <a:pt x="1142439" y="274365"/>
                    <a:pt x="1140587" y="273591"/>
                    <a:pt x="1140587" y="273591"/>
                  </a:cubicBezTo>
                  <a:lnTo>
                    <a:pt x="1138534" y="271842"/>
                  </a:lnTo>
                  <a:lnTo>
                    <a:pt x="1134933" y="267805"/>
                  </a:lnTo>
                  <a:lnTo>
                    <a:pt x="1132645" y="264979"/>
                  </a:lnTo>
                  <a:cubicBezTo>
                    <a:pt x="1132645" y="264979"/>
                    <a:pt x="1127429" y="258992"/>
                    <a:pt x="1127327" y="258689"/>
                  </a:cubicBezTo>
                  <a:cubicBezTo>
                    <a:pt x="1127227" y="258352"/>
                    <a:pt x="1123727" y="254988"/>
                    <a:pt x="1123727" y="254988"/>
                  </a:cubicBezTo>
                  <a:lnTo>
                    <a:pt x="1121135" y="253575"/>
                  </a:lnTo>
                  <a:cubicBezTo>
                    <a:pt x="1121135" y="253575"/>
                    <a:pt x="1112116" y="245098"/>
                    <a:pt x="1111140" y="244661"/>
                  </a:cubicBezTo>
                  <a:cubicBezTo>
                    <a:pt x="1110164" y="244224"/>
                    <a:pt x="1106697" y="241196"/>
                    <a:pt x="1105688" y="240422"/>
                  </a:cubicBezTo>
                  <a:cubicBezTo>
                    <a:pt x="1104712" y="239649"/>
                    <a:pt x="1099596" y="235208"/>
                    <a:pt x="1099596" y="235208"/>
                  </a:cubicBezTo>
                  <a:cubicBezTo>
                    <a:pt x="1099596" y="235208"/>
                    <a:pt x="1093303" y="232046"/>
                    <a:pt x="1092865" y="231743"/>
                  </a:cubicBezTo>
                  <a:cubicBezTo>
                    <a:pt x="1092428" y="231407"/>
                    <a:pt x="1089803" y="228918"/>
                    <a:pt x="1089399" y="228817"/>
                  </a:cubicBezTo>
                  <a:cubicBezTo>
                    <a:pt x="1088961" y="228716"/>
                    <a:pt x="1087346" y="227404"/>
                    <a:pt x="1087346" y="227404"/>
                  </a:cubicBezTo>
                  <a:cubicBezTo>
                    <a:pt x="1087346" y="227404"/>
                    <a:pt x="1083004" y="226327"/>
                    <a:pt x="1082668" y="226092"/>
                  </a:cubicBezTo>
                  <a:cubicBezTo>
                    <a:pt x="1082331" y="225890"/>
                    <a:pt x="1079067" y="225116"/>
                    <a:pt x="1078629" y="224881"/>
                  </a:cubicBezTo>
                  <a:cubicBezTo>
                    <a:pt x="1078192" y="224679"/>
                    <a:pt x="1074187" y="221080"/>
                    <a:pt x="1074052" y="220642"/>
                  </a:cubicBezTo>
                  <a:cubicBezTo>
                    <a:pt x="1073951" y="220205"/>
                    <a:pt x="1072437" y="219566"/>
                    <a:pt x="1072100" y="219028"/>
                  </a:cubicBezTo>
                  <a:cubicBezTo>
                    <a:pt x="1071764" y="218489"/>
                    <a:pt x="1069711" y="216538"/>
                    <a:pt x="1069711" y="216538"/>
                  </a:cubicBezTo>
                  <a:cubicBezTo>
                    <a:pt x="1069711" y="216538"/>
                    <a:pt x="1069071" y="216538"/>
                    <a:pt x="1068398" y="216875"/>
                  </a:cubicBezTo>
                  <a:cubicBezTo>
                    <a:pt x="1067759" y="217211"/>
                    <a:pt x="1067086" y="217648"/>
                    <a:pt x="1065235" y="218624"/>
                  </a:cubicBezTo>
                  <a:cubicBezTo>
                    <a:pt x="1063384" y="219600"/>
                    <a:pt x="1061970" y="219061"/>
                    <a:pt x="1060893" y="218960"/>
                  </a:cubicBezTo>
                  <a:cubicBezTo>
                    <a:pt x="1059816" y="218859"/>
                    <a:pt x="1058840" y="216908"/>
                    <a:pt x="1058840" y="216908"/>
                  </a:cubicBezTo>
                  <a:lnTo>
                    <a:pt x="1059379" y="215058"/>
                  </a:lnTo>
                  <a:cubicBezTo>
                    <a:pt x="1059379" y="215058"/>
                    <a:pt x="1059716" y="213309"/>
                    <a:pt x="1059917" y="212333"/>
                  </a:cubicBezTo>
                  <a:cubicBezTo>
                    <a:pt x="1060119" y="211358"/>
                    <a:pt x="1060355" y="210281"/>
                    <a:pt x="1060355" y="210281"/>
                  </a:cubicBezTo>
                  <a:lnTo>
                    <a:pt x="1059379" y="205404"/>
                  </a:lnTo>
                  <a:lnTo>
                    <a:pt x="1059379" y="201804"/>
                  </a:lnTo>
                  <a:lnTo>
                    <a:pt x="1059042" y="197666"/>
                  </a:lnTo>
                  <a:cubicBezTo>
                    <a:pt x="1059042" y="197666"/>
                    <a:pt x="1057528" y="195278"/>
                    <a:pt x="1057292" y="194942"/>
                  </a:cubicBezTo>
                  <a:cubicBezTo>
                    <a:pt x="1057090" y="194605"/>
                    <a:pt x="1051436" y="194067"/>
                    <a:pt x="1051436" y="194067"/>
                  </a:cubicBezTo>
                  <a:lnTo>
                    <a:pt x="1048071" y="192318"/>
                  </a:lnTo>
                  <a:lnTo>
                    <a:pt x="1045379" y="192318"/>
                  </a:lnTo>
                  <a:cubicBezTo>
                    <a:pt x="1045379" y="192318"/>
                    <a:pt x="1042787" y="192049"/>
                    <a:pt x="1041845" y="191410"/>
                  </a:cubicBezTo>
                  <a:cubicBezTo>
                    <a:pt x="1040902" y="190770"/>
                    <a:pt x="1040162" y="190938"/>
                    <a:pt x="1040162" y="190938"/>
                  </a:cubicBezTo>
                  <a:cubicBezTo>
                    <a:pt x="1040162" y="190938"/>
                    <a:pt x="1037571" y="189055"/>
                    <a:pt x="1037268" y="188550"/>
                  </a:cubicBezTo>
                  <a:cubicBezTo>
                    <a:pt x="1036965" y="188046"/>
                    <a:pt x="1036191" y="187608"/>
                    <a:pt x="1035888" y="187171"/>
                  </a:cubicBezTo>
                  <a:cubicBezTo>
                    <a:pt x="1035585" y="186734"/>
                    <a:pt x="1034946" y="186364"/>
                    <a:pt x="1034441" y="185792"/>
                  </a:cubicBezTo>
                  <a:cubicBezTo>
                    <a:pt x="1033936" y="185220"/>
                    <a:pt x="1032994" y="184042"/>
                    <a:pt x="1032859" y="183269"/>
                  </a:cubicBezTo>
                  <a:cubicBezTo>
                    <a:pt x="1032724" y="182461"/>
                    <a:pt x="1031849" y="181620"/>
                    <a:pt x="1031715" y="181015"/>
                  </a:cubicBezTo>
                  <a:cubicBezTo>
                    <a:pt x="1031580" y="180443"/>
                    <a:pt x="1030840" y="179871"/>
                    <a:pt x="1030772" y="179266"/>
                  </a:cubicBezTo>
                  <a:cubicBezTo>
                    <a:pt x="1030705" y="178694"/>
                    <a:pt x="1028686" y="178525"/>
                    <a:pt x="1028686" y="178525"/>
                  </a:cubicBezTo>
                  <a:cubicBezTo>
                    <a:pt x="1028686" y="178525"/>
                    <a:pt x="1026297" y="178155"/>
                    <a:pt x="1025421" y="177012"/>
                  </a:cubicBezTo>
                  <a:cubicBezTo>
                    <a:pt x="1024546" y="175868"/>
                    <a:pt x="1025421" y="174993"/>
                    <a:pt x="1025489" y="174119"/>
                  </a:cubicBezTo>
                  <a:cubicBezTo>
                    <a:pt x="1025556" y="173244"/>
                    <a:pt x="1025186" y="171596"/>
                    <a:pt x="1025186" y="171360"/>
                  </a:cubicBezTo>
                  <a:cubicBezTo>
                    <a:pt x="1025186" y="171125"/>
                    <a:pt x="1024378" y="169342"/>
                    <a:pt x="1023941" y="168669"/>
                  </a:cubicBezTo>
                  <a:cubicBezTo>
                    <a:pt x="1023503" y="168030"/>
                    <a:pt x="1022426" y="166516"/>
                    <a:pt x="1022426" y="166516"/>
                  </a:cubicBezTo>
                  <a:cubicBezTo>
                    <a:pt x="1022426" y="166516"/>
                    <a:pt x="1021114" y="165709"/>
                    <a:pt x="1020676" y="165137"/>
                  </a:cubicBezTo>
                  <a:cubicBezTo>
                    <a:pt x="1020239" y="164565"/>
                    <a:pt x="1019465" y="165002"/>
                    <a:pt x="1019465" y="165002"/>
                  </a:cubicBezTo>
                  <a:lnTo>
                    <a:pt x="1017849" y="165810"/>
                  </a:lnTo>
                  <a:lnTo>
                    <a:pt x="1016099" y="167122"/>
                  </a:lnTo>
                  <a:cubicBezTo>
                    <a:pt x="1016099" y="167122"/>
                    <a:pt x="1015291" y="168635"/>
                    <a:pt x="1015224" y="169073"/>
                  </a:cubicBezTo>
                  <a:cubicBezTo>
                    <a:pt x="1015157" y="169510"/>
                    <a:pt x="1014921" y="170957"/>
                    <a:pt x="1014787" y="171461"/>
                  </a:cubicBezTo>
                  <a:cubicBezTo>
                    <a:pt x="1014652" y="171966"/>
                    <a:pt x="1014282" y="172840"/>
                    <a:pt x="1014214" y="173850"/>
                  </a:cubicBezTo>
                  <a:cubicBezTo>
                    <a:pt x="1014147" y="174859"/>
                    <a:pt x="1014147" y="175801"/>
                    <a:pt x="1014147" y="175801"/>
                  </a:cubicBezTo>
                  <a:cubicBezTo>
                    <a:pt x="1014147" y="175801"/>
                    <a:pt x="1014147" y="177314"/>
                    <a:pt x="1014147" y="177617"/>
                  </a:cubicBezTo>
                  <a:cubicBezTo>
                    <a:pt x="1014147" y="177920"/>
                    <a:pt x="1014484" y="178256"/>
                    <a:pt x="1015426" y="179568"/>
                  </a:cubicBezTo>
                  <a:cubicBezTo>
                    <a:pt x="1016368" y="180880"/>
                    <a:pt x="1016032" y="180813"/>
                    <a:pt x="1016705" y="181385"/>
                  </a:cubicBezTo>
                  <a:cubicBezTo>
                    <a:pt x="1017344" y="181957"/>
                    <a:pt x="1017075" y="183201"/>
                    <a:pt x="1017580" y="183706"/>
                  </a:cubicBezTo>
                  <a:cubicBezTo>
                    <a:pt x="1018085" y="184211"/>
                    <a:pt x="1018017" y="184648"/>
                    <a:pt x="1018825" y="185455"/>
                  </a:cubicBezTo>
                  <a:cubicBezTo>
                    <a:pt x="1019633" y="186263"/>
                    <a:pt x="1019195" y="185893"/>
                    <a:pt x="1019431" y="185960"/>
                  </a:cubicBezTo>
                  <a:cubicBezTo>
                    <a:pt x="1019666" y="186027"/>
                    <a:pt x="1019768" y="187036"/>
                    <a:pt x="1020575" y="187406"/>
                  </a:cubicBezTo>
                  <a:cubicBezTo>
                    <a:pt x="1021383" y="187776"/>
                    <a:pt x="1021719" y="188146"/>
                    <a:pt x="1021719" y="188146"/>
                  </a:cubicBezTo>
                  <a:cubicBezTo>
                    <a:pt x="1021719" y="188146"/>
                    <a:pt x="1025287" y="191847"/>
                    <a:pt x="1025186" y="192789"/>
                  </a:cubicBezTo>
                  <a:cubicBezTo>
                    <a:pt x="1025118" y="193731"/>
                    <a:pt x="1024984" y="194740"/>
                    <a:pt x="1024883" y="195682"/>
                  </a:cubicBezTo>
                  <a:cubicBezTo>
                    <a:pt x="1024816" y="196624"/>
                    <a:pt x="1023571" y="197195"/>
                    <a:pt x="1023133" y="197700"/>
                  </a:cubicBezTo>
                  <a:cubicBezTo>
                    <a:pt x="1022695" y="198205"/>
                    <a:pt x="1019868" y="198777"/>
                    <a:pt x="1019397" y="198777"/>
                  </a:cubicBezTo>
                  <a:cubicBezTo>
                    <a:pt x="1018926" y="198777"/>
                    <a:pt x="1017715" y="198911"/>
                    <a:pt x="1017277" y="198911"/>
                  </a:cubicBezTo>
                  <a:cubicBezTo>
                    <a:pt x="1016840" y="198911"/>
                    <a:pt x="1014955" y="198474"/>
                    <a:pt x="1013878" y="197902"/>
                  </a:cubicBezTo>
                  <a:cubicBezTo>
                    <a:pt x="1012801" y="197330"/>
                    <a:pt x="1012060" y="197027"/>
                    <a:pt x="1011859" y="196960"/>
                  </a:cubicBezTo>
                  <a:cubicBezTo>
                    <a:pt x="1011657" y="196893"/>
                    <a:pt x="1008460" y="195379"/>
                    <a:pt x="1008224" y="195143"/>
                  </a:cubicBezTo>
                  <a:cubicBezTo>
                    <a:pt x="1007988" y="194908"/>
                    <a:pt x="1006575" y="193899"/>
                    <a:pt x="1006575" y="193899"/>
                  </a:cubicBezTo>
                  <a:cubicBezTo>
                    <a:pt x="1006575" y="193899"/>
                    <a:pt x="1006205" y="191275"/>
                    <a:pt x="1006272" y="191073"/>
                  </a:cubicBezTo>
                  <a:cubicBezTo>
                    <a:pt x="1006339" y="190871"/>
                    <a:pt x="1003580" y="188617"/>
                    <a:pt x="1003580" y="188617"/>
                  </a:cubicBezTo>
                  <a:lnTo>
                    <a:pt x="1001695" y="187743"/>
                  </a:lnTo>
                  <a:lnTo>
                    <a:pt x="996983" y="183975"/>
                  </a:lnTo>
                  <a:lnTo>
                    <a:pt x="987493" y="175868"/>
                  </a:lnTo>
                  <a:cubicBezTo>
                    <a:pt x="987493" y="175868"/>
                    <a:pt x="986685" y="175363"/>
                    <a:pt x="986416" y="174993"/>
                  </a:cubicBezTo>
                  <a:cubicBezTo>
                    <a:pt x="986113" y="174623"/>
                    <a:pt x="984666" y="172908"/>
                    <a:pt x="984228" y="172370"/>
                  </a:cubicBezTo>
                  <a:cubicBezTo>
                    <a:pt x="983791" y="171865"/>
                    <a:pt x="982714" y="171058"/>
                    <a:pt x="982579" y="170721"/>
                  </a:cubicBezTo>
                  <a:cubicBezTo>
                    <a:pt x="982445" y="170351"/>
                    <a:pt x="981334" y="169847"/>
                    <a:pt x="981132" y="169712"/>
                  </a:cubicBezTo>
                  <a:cubicBezTo>
                    <a:pt x="980897" y="169577"/>
                    <a:pt x="980055" y="170149"/>
                    <a:pt x="978877" y="170082"/>
                  </a:cubicBezTo>
                  <a:cubicBezTo>
                    <a:pt x="977733" y="170015"/>
                    <a:pt x="977565" y="170082"/>
                    <a:pt x="977127" y="169880"/>
                  </a:cubicBezTo>
                  <a:cubicBezTo>
                    <a:pt x="976690" y="169678"/>
                    <a:pt x="976117" y="168938"/>
                    <a:pt x="976117" y="168938"/>
                  </a:cubicBezTo>
                  <a:cubicBezTo>
                    <a:pt x="976117" y="168938"/>
                    <a:pt x="975040" y="167929"/>
                    <a:pt x="974670" y="167626"/>
                  </a:cubicBezTo>
                  <a:cubicBezTo>
                    <a:pt x="974300" y="167324"/>
                    <a:pt x="974468" y="166314"/>
                    <a:pt x="974536" y="166045"/>
                  </a:cubicBezTo>
                  <a:cubicBezTo>
                    <a:pt x="974603" y="165742"/>
                    <a:pt x="975848" y="164666"/>
                    <a:pt x="976353" y="164296"/>
                  </a:cubicBezTo>
                  <a:cubicBezTo>
                    <a:pt x="976858" y="163926"/>
                    <a:pt x="975848" y="163152"/>
                    <a:pt x="975848" y="163152"/>
                  </a:cubicBezTo>
                  <a:lnTo>
                    <a:pt x="973593" y="161639"/>
                  </a:lnTo>
                  <a:cubicBezTo>
                    <a:pt x="973593" y="161639"/>
                    <a:pt x="972449" y="159620"/>
                    <a:pt x="972281" y="159183"/>
                  </a:cubicBezTo>
                  <a:cubicBezTo>
                    <a:pt x="972146" y="158745"/>
                    <a:pt x="970699" y="158476"/>
                    <a:pt x="970262" y="158174"/>
                  </a:cubicBezTo>
                  <a:cubicBezTo>
                    <a:pt x="969824" y="157871"/>
                    <a:pt x="968680" y="156727"/>
                    <a:pt x="968680" y="156727"/>
                  </a:cubicBezTo>
                  <a:cubicBezTo>
                    <a:pt x="968680" y="156727"/>
                    <a:pt x="967536" y="154271"/>
                    <a:pt x="967367" y="153699"/>
                  </a:cubicBezTo>
                  <a:cubicBezTo>
                    <a:pt x="967233" y="153128"/>
                    <a:pt x="966930" y="150369"/>
                    <a:pt x="966930" y="150369"/>
                  </a:cubicBezTo>
                  <a:lnTo>
                    <a:pt x="965785" y="148048"/>
                  </a:lnTo>
                  <a:cubicBezTo>
                    <a:pt x="965785" y="148048"/>
                    <a:pt x="964036" y="147173"/>
                    <a:pt x="964036" y="146601"/>
                  </a:cubicBezTo>
                  <a:cubicBezTo>
                    <a:pt x="964036" y="146030"/>
                    <a:pt x="961848" y="144852"/>
                    <a:pt x="961579" y="144146"/>
                  </a:cubicBezTo>
                  <a:cubicBezTo>
                    <a:pt x="961276" y="143406"/>
                    <a:pt x="960569" y="141825"/>
                    <a:pt x="960401" y="141387"/>
                  </a:cubicBezTo>
                  <a:cubicBezTo>
                    <a:pt x="960266" y="140950"/>
                    <a:pt x="958651" y="138494"/>
                    <a:pt x="958651" y="137620"/>
                  </a:cubicBezTo>
                  <a:cubicBezTo>
                    <a:pt x="958651" y="136745"/>
                    <a:pt x="955016" y="132843"/>
                    <a:pt x="955016" y="132843"/>
                  </a:cubicBezTo>
                  <a:cubicBezTo>
                    <a:pt x="955016" y="132843"/>
                    <a:pt x="951684" y="130387"/>
                    <a:pt x="951381" y="129512"/>
                  </a:cubicBezTo>
                  <a:cubicBezTo>
                    <a:pt x="951078" y="128638"/>
                    <a:pt x="947477" y="127326"/>
                    <a:pt x="946872" y="127057"/>
                  </a:cubicBezTo>
                  <a:cubicBezTo>
                    <a:pt x="946300" y="126754"/>
                    <a:pt x="944684" y="124298"/>
                    <a:pt x="943102" y="123155"/>
                  </a:cubicBezTo>
                  <a:cubicBezTo>
                    <a:pt x="941521" y="122011"/>
                    <a:pt x="940511" y="121136"/>
                    <a:pt x="939905" y="120564"/>
                  </a:cubicBezTo>
                  <a:cubicBezTo>
                    <a:pt x="939333" y="119993"/>
                    <a:pt x="937886" y="118815"/>
                    <a:pt x="936876" y="117537"/>
                  </a:cubicBezTo>
                  <a:cubicBezTo>
                    <a:pt x="935867" y="116225"/>
                    <a:pt x="935294" y="115956"/>
                    <a:pt x="935294" y="115956"/>
                  </a:cubicBezTo>
                  <a:cubicBezTo>
                    <a:pt x="935294" y="115956"/>
                    <a:pt x="933847" y="114509"/>
                    <a:pt x="933410" y="114072"/>
                  </a:cubicBezTo>
                  <a:cubicBezTo>
                    <a:pt x="932972" y="113635"/>
                    <a:pt x="930650" y="112928"/>
                    <a:pt x="930516" y="112491"/>
                  </a:cubicBezTo>
                  <a:cubicBezTo>
                    <a:pt x="930381" y="112054"/>
                    <a:pt x="929371" y="109732"/>
                    <a:pt x="928934" y="108723"/>
                  </a:cubicBezTo>
                  <a:cubicBezTo>
                    <a:pt x="928496" y="107714"/>
                    <a:pt x="926612" y="104653"/>
                    <a:pt x="926612" y="104653"/>
                  </a:cubicBezTo>
                  <a:lnTo>
                    <a:pt x="922842" y="102063"/>
                  </a:lnTo>
                  <a:cubicBezTo>
                    <a:pt x="922842" y="102063"/>
                    <a:pt x="921664" y="102063"/>
                    <a:pt x="921092" y="102063"/>
                  </a:cubicBezTo>
                  <a:cubicBezTo>
                    <a:pt x="920520" y="102063"/>
                    <a:pt x="919208" y="100481"/>
                    <a:pt x="919073" y="100044"/>
                  </a:cubicBezTo>
                  <a:cubicBezTo>
                    <a:pt x="918938" y="99607"/>
                    <a:pt x="916751" y="97723"/>
                    <a:pt x="916482" y="97151"/>
                  </a:cubicBezTo>
                  <a:cubicBezTo>
                    <a:pt x="916179" y="96579"/>
                    <a:pt x="915472" y="94527"/>
                    <a:pt x="915472" y="93955"/>
                  </a:cubicBezTo>
                  <a:cubicBezTo>
                    <a:pt x="915472" y="93384"/>
                    <a:pt x="914159" y="89751"/>
                    <a:pt x="914159" y="89751"/>
                  </a:cubicBezTo>
                  <a:lnTo>
                    <a:pt x="911703" y="86992"/>
                  </a:lnTo>
                  <a:lnTo>
                    <a:pt x="907227" y="84671"/>
                  </a:lnTo>
                  <a:cubicBezTo>
                    <a:pt x="907227" y="84671"/>
                    <a:pt x="904635" y="84671"/>
                    <a:pt x="904198" y="84671"/>
                  </a:cubicBezTo>
                  <a:cubicBezTo>
                    <a:pt x="903760" y="84671"/>
                    <a:pt x="901303" y="86487"/>
                    <a:pt x="900563" y="87059"/>
                  </a:cubicBezTo>
                  <a:cubicBezTo>
                    <a:pt x="899856" y="87631"/>
                    <a:pt x="898678" y="87867"/>
                    <a:pt x="898678" y="87867"/>
                  </a:cubicBezTo>
                  <a:lnTo>
                    <a:pt x="897534" y="89885"/>
                  </a:lnTo>
                  <a:lnTo>
                    <a:pt x="896524" y="91769"/>
                  </a:lnTo>
                  <a:cubicBezTo>
                    <a:pt x="896524" y="91769"/>
                    <a:pt x="896221" y="93081"/>
                    <a:pt x="896221" y="94225"/>
                  </a:cubicBezTo>
                  <a:cubicBezTo>
                    <a:pt x="896221" y="95368"/>
                    <a:pt x="895649" y="95671"/>
                    <a:pt x="895649" y="95671"/>
                  </a:cubicBezTo>
                  <a:cubicBezTo>
                    <a:pt x="895649" y="95671"/>
                    <a:pt x="894505" y="97858"/>
                    <a:pt x="893899" y="98295"/>
                  </a:cubicBezTo>
                  <a:cubicBezTo>
                    <a:pt x="893327" y="98732"/>
                    <a:pt x="893024" y="99439"/>
                    <a:pt x="893024" y="99439"/>
                  </a:cubicBezTo>
                  <a:cubicBezTo>
                    <a:pt x="893024" y="99439"/>
                    <a:pt x="888548" y="100885"/>
                    <a:pt x="887942" y="101020"/>
                  </a:cubicBezTo>
                  <a:cubicBezTo>
                    <a:pt x="887370" y="101154"/>
                    <a:pt x="879596" y="102264"/>
                    <a:pt x="879596" y="102264"/>
                  </a:cubicBezTo>
                  <a:cubicBezTo>
                    <a:pt x="879596" y="102264"/>
                    <a:pt x="874817" y="101928"/>
                    <a:pt x="873740" y="101625"/>
                  </a:cubicBezTo>
                  <a:cubicBezTo>
                    <a:pt x="872663" y="101289"/>
                    <a:pt x="872529" y="98799"/>
                    <a:pt x="872428" y="98261"/>
                  </a:cubicBezTo>
                  <a:cubicBezTo>
                    <a:pt x="872327" y="97723"/>
                    <a:pt x="870240" y="94998"/>
                    <a:pt x="870240" y="94998"/>
                  </a:cubicBezTo>
                  <a:lnTo>
                    <a:pt x="866538" y="90087"/>
                  </a:lnTo>
                  <a:cubicBezTo>
                    <a:pt x="866538" y="90087"/>
                    <a:pt x="864351" y="89111"/>
                    <a:pt x="863913" y="89111"/>
                  </a:cubicBezTo>
                  <a:cubicBezTo>
                    <a:pt x="863476" y="89111"/>
                    <a:pt x="862836" y="89313"/>
                    <a:pt x="862500" y="89313"/>
                  </a:cubicBezTo>
                  <a:cubicBezTo>
                    <a:pt x="862163" y="89313"/>
                    <a:pt x="861187" y="89414"/>
                    <a:pt x="860548" y="89515"/>
                  </a:cubicBezTo>
                  <a:cubicBezTo>
                    <a:pt x="859908" y="89616"/>
                    <a:pt x="859572" y="90827"/>
                    <a:pt x="859134" y="91802"/>
                  </a:cubicBezTo>
                  <a:cubicBezTo>
                    <a:pt x="858697" y="92778"/>
                    <a:pt x="857721" y="93989"/>
                    <a:pt x="856846" y="94830"/>
                  </a:cubicBezTo>
                  <a:cubicBezTo>
                    <a:pt x="855971" y="95705"/>
                    <a:pt x="855432" y="96243"/>
                    <a:pt x="855432" y="96243"/>
                  </a:cubicBezTo>
                  <a:cubicBezTo>
                    <a:pt x="855432" y="96243"/>
                    <a:pt x="854557" y="98531"/>
                    <a:pt x="853918" y="98968"/>
                  </a:cubicBezTo>
                  <a:cubicBezTo>
                    <a:pt x="853278" y="99405"/>
                    <a:pt x="852605" y="100044"/>
                    <a:pt x="851629" y="100818"/>
                  </a:cubicBezTo>
                  <a:cubicBezTo>
                    <a:pt x="850653" y="101592"/>
                    <a:pt x="850317" y="101255"/>
                    <a:pt x="850317" y="101255"/>
                  </a:cubicBezTo>
                  <a:cubicBezTo>
                    <a:pt x="850317" y="101255"/>
                    <a:pt x="848365" y="102668"/>
                    <a:pt x="847591" y="103307"/>
                  </a:cubicBezTo>
                  <a:cubicBezTo>
                    <a:pt x="846817" y="103946"/>
                    <a:pt x="846177" y="105898"/>
                    <a:pt x="846177" y="106772"/>
                  </a:cubicBezTo>
                  <a:cubicBezTo>
                    <a:pt x="846177" y="107647"/>
                    <a:pt x="845740" y="108387"/>
                    <a:pt x="845302" y="108824"/>
                  </a:cubicBezTo>
                  <a:cubicBezTo>
                    <a:pt x="844865" y="109262"/>
                    <a:pt x="844225" y="111650"/>
                    <a:pt x="843014" y="112525"/>
                  </a:cubicBezTo>
                  <a:cubicBezTo>
                    <a:pt x="841802" y="113399"/>
                    <a:pt x="841937" y="112861"/>
                    <a:pt x="840725" y="113164"/>
                  </a:cubicBezTo>
                  <a:cubicBezTo>
                    <a:pt x="839514" y="113500"/>
                    <a:pt x="837797" y="113265"/>
                    <a:pt x="835711" y="112827"/>
                  </a:cubicBezTo>
                  <a:cubicBezTo>
                    <a:pt x="833658" y="112390"/>
                    <a:pt x="834970" y="111515"/>
                    <a:pt x="834970" y="111515"/>
                  </a:cubicBezTo>
                  <a:lnTo>
                    <a:pt x="834970" y="108791"/>
                  </a:lnTo>
                  <a:cubicBezTo>
                    <a:pt x="834970" y="108791"/>
                    <a:pt x="834869" y="105427"/>
                    <a:pt x="834768" y="104989"/>
                  </a:cubicBezTo>
                  <a:cubicBezTo>
                    <a:pt x="834667" y="104552"/>
                    <a:pt x="830326" y="102601"/>
                    <a:pt x="830326" y="102601"/>
                  </a:cubicBezTo>
                  <a:cubicBezTo>
                    <a:pt x="830326" y="102601"/>
                    <a:pt x="826523" y="101188"/>
                    <a:pt x="825109" y="100111"/>
                  </a:cubicBezTo>
                  <a:cubicBezTo>
                    <a:pt x="823696" y="99035"/>
                    <a:pt x="820431" y="97723"/>
                    <a:pt x="819018" y="97185"/>
                  </a:cubicBezTo>
                  <a:cubicBezTo>
                    <a:pt x="817604" y="96647"/>
                    <a:pt x="815753" y="95335"/>
                    <a:pt x="814239" y="94696"/>
                  </a:cubicBezTo>
                  <a:cubicBezTo>
                    <a:pt x="812724" y="94056"/>
                    <a:pt x="810974" y="93720"/>
                    <a:pt x="808248" y="92744"/>
                  </a:cubicBezTo>
                  <a:cubicBezTo>
                    <a:pt x="805522" y="91769"/>
                    <a:pt x="804647" y="90793"/>
                    <a:pt x="802594" y="89481"/>
                  </a:cubicBezTo>
                  <a:cubicBezTo>
                    <a:pt x="800542" y="88169"/>
                    <a:pt x="799229" y="85882"/>
                    <a:pt x="798590" y="84469"/>
                  </a:cubicBezTo>
                  <a:cubicBezTo>
                    <a:pt x="797950" y="83056"/>
                    <a:pt x="796840" y="82417"/>
                    <a:pt x="796301" y="81643"/>
                  </a:cubicBezTo>
                  <a:cubicBezTo>
                    <a:pt x="795763" y="80870"/>
                    <a:pt x="793272" y="77943"/>
                    <a:pt x="792936" y="76766"/>
                  </a:cubicBezTo>
                  <a:cubicBezTo>
                    <a:pt x="792599" y="75555"/>
                    <a:pt x="790344" y="74142"/>
                    <a:pt x="789772" y="73301"/>
                  </a:cubicBezTo>
                  <a:cubicBezTo>
                    <a:pt x="789234" y="72426"/>
                    <a:pt x="785532" y="68625"/>
                    <a:pt x="784993" y="67986"/>
                  </a:cubicBezTo>
                  <a:cubicBezTo>
                    <a:pt x="784455" y="67347"/>
                    <a:pt x="782368" y="65362"/>
                    <a:pt x="782065" y="64958"/>
                  </a:cubicBezTo>
                  <a:cubicBezTo>
                    <a:pt x="781729" y="64521"/>
                    <a:pt x="779137" y="61796"/>
                    <a:pt x="777926" y="59845"/>
                  </a:cubicBezTo>
                  <a:cubicBezTo>
                    <a:pt x="776748" y="57894"/>
                    <a:pt x="775301" y="57557"/>
                    <a:pt x="774560" y="57120"/>
                  </a:cubicBezTo>
                  <a:cubicBezTo>
                    <a:pt x="773786" y="56683"/>
                    <a:pt x="770320" y="54631"/>
                    <a:pt x="770320" y="54631"/>
                  </a:cubicBezTo>
                  <a:cubicBezTo>
                    <a:pt x="770320" y="54631"/>
                    <a:pt x="765541" y="53857"/>
                    <a:pt x="765204" y="53857"/>
                  </a:cubicBezTo>
                  <a:cubicBezTo>
                    <a:pt x="764868" y="53857"/>
                    <a:pt x="754771" y="53420"/>
                    <a:pt x="753459" y="53420"/>
                  </a:cubicBezTo>
                  <a:cubicBezTo>
                    <a:pt x="752146" y="53420"/>
                    <a:pt x="749992" y="54193"/>
                    <a:pt x="749992" y="54193"/>
                  </a:cubicBezTo>
                  <a:lnTo>
                    <a:pt x="748478" y="55270"/>
                  </a:lnTo>
                  <a:cubicBezTo>
                    <a:pt x="748478" y="55270"/>
                    <a:pt x="745752" y="57860"/>
                    <a:pt x="744877" y="59071"/>
                  </a:cubicBezTo>
                  <a:cubicBezTo>
                    <a:pt x="744002" y="60249"/>
                    <a:pt x="743127" y="61998"/>
                    <a:pt x="743261" y="62435"/>
                  </a:cubicBezTo>
                  <a:cubicBezTo>
                    <a:pt x="743362" y="62872"/>
                    <a:pt x="740670" y="69836"/>
                    <a:pt x="740973" y="70038"/>
                  </a:cubicBezTo>
                  <a:cubicBezTo>
                    <a:pt x="741310" y="70240"/>
                    <a:pt x="744776" y="75353"/>
                    <a:pt x="745853" y="76867"/>
                  </a:cubicBezTo>
                  <a:cubicBezTo>
                    <a:pt x="746930" y="78380"/>
                    <a:pt x="746088" y="78178"/>
                    <a:pt x="745954" y="81206"/>
                  </a:cubicBezTo>
                  <a:cubicBezTo>
                    <a:pt x="745853" y="84234"/>
                    <a:pt x="744877" y="85646"/>
                    <a:pt x="743127" y="87934"/>
                  </a:cubicBezTo>
                  <a:cubicBezTo>
                    <a:pt x="741377" y="90221"/>
                    <a:pt x="741713" y="93148"/>
                    <a:pt x="740199" y="98160"/>
                  </a:cubicBezTo>
                  <a:cubicBezTo>
                    <a:pt x="738684" y="103173"/>
                    <a:pt x="738684" y="105427"/>
                    <a:pt x="737708" y="107512"/>
                  </a:cubicBezTo>
                  <a:cubicBezTo>
                    <a:pt x="736732" y="109564"/>
                    <a:pt x="736632" y="110540"/>
                    <a:pt x="736632" y="112289"/>
                  </a:cubicBezTo>
                  <a:cubicBezTo>
                    <a:pt x="736632" y="114038"/>
                    <a:pt x="737708" y="115552"/>
                    <a:pt x="738247" y="117167"/>
                  </a:cubicBezTo>
                  <a:cubicBezTo>
                    <a:pt x="738785" y="118781"/>
                    <a:pt x="739862" y="121944"/>
                    <a:pt x="740098" y="122280"/>
                  </a:cubicBezTo>
                  <a:cubicBezTo>
                    <a:pt x="740333" y="122616"/>
                    <a:pt x="740636" y="128806"/>
                    <a:pt x="740435" y="129546"/>
                  </a:cubicBezTo>
                  <a:cubicBezTo>
                    <a:pt x="740233" y="130320"/>
                    <a:pt x="740435" y="133549"/>
                    <a:pt x="740233" y="135971"/>
                  </a:cubicBezTo>
                  <a:cubicBezTo>
                    <a:pt x="740031" y="138360"/>
                    <a:pt x="739694" y="140849"/>
                    <a:pt x="739694" y="141186"/>
                  </a:cubicBezTo>
                  <a:cubicBezTo>
                    <a:pt x="739694" y="141522"/>
                    <a:pt x="739593" y="143574"/>
                    <a:pt x="739593" y="145525"/>
                  </a:cubicBezTo>
                  <a:cubicBezTo>
                    <a:pt x="739593" y="147476"/>
                    <a:pt x="739156" y="147274"/>
                    <a:pt x="739055" y="148014"/>
                  </a:cubicBezTo>
                  <a:cubicBezTo>
                    <a:pt x="738954" y="148788"/>
                    <a:pt x="737540" y="149225"/>
                    <a:pt x="736665" y="149528"/>
                  </a:cubicBezTo>
                  <a:cubicBezTo>
                    <a:pt x="735790" y="149865"/>
                    <a:pt x="732963" y="150403"/>
                    <a:pt x="732324" y="150403"/>
                  </a:cubicBezTo>
                  <a:cubicBezTo>
                    <a:pt x="731684" y="150403"/>
                    <a:pt x="729732" y="150739"/>
                    <a:pt x="727881" y="150403"/>
                  </a:cubicBezTo>
                  <a:cubicBezTo>
                    <a:pt x="726030" y="150066"/>
                    <a:pt x="725155" y="151917"/>
                    <a:pt x="724179" y="152051"/>
                  </a:cubicBezTo>
                  <a:cubicBezTo>
                    <a:pt x="723203" y="152152"/>
                    <a:pt x="719737" y="151513"/>
                    <a:pt x="718862" y="151513"/>
                  </a:cubicBezTo>
                  <a:cubicBezTo>
                    <a:pt x="717987" y="151513"/>
                    <a:pt x="716472" y="150302"/>
                    <a:pt x="716472" y="150302"/>
                  </a:cubicBezTo>
                  <a:cubicBezTo>
                    <a:pt x="716472" y="150302"/>
                    <a:pt x="712770" y="147274"/>
                    <a:pt x="712333" y="146938"/>
                  </a:cubicBezTo>
                  <a:cubicBezTo>
                    <a:pt x="711895" y="146601"/>
                    <a:pt x="709742" y="144751"/>
                    <a:pt x="708429" y="143574"/>
                  </a:cubicBezTo>
                  <a:cubicBezTo>
                    <a:pt x="707116" y="142397"/>
                    <a:pt x="705164" y="140210"/>
                    <a:pt x="704626" y="139874"/>
                  </a:cubicBezTo>
                  <a:cubicBezTo>
                    <a:pt x="704088" y="139537"/>
                    <a:pt x="701900" y="139335"/>
                    <a:pt x="701261" y="138999"/>
                  </a:cubicBezTo>
                  <a:cubicBezTo>
                    <a:pt x="700621" y="138663"/>
                    <a:pt x="699510" y="135837"/>
                    <a:pt x="699510" y="135399"/>
                  </a:cubicBezTo>
                  <a:cubicBezTo>
                    <a:pt x="699510" y="134962"/>
                    <a:pt x="699746" y="133347"/>
                    <a:pt x="699746" y="133011"/>
                  </a:cubicBezTo>
                  <a:cubicBezTo>
                    <a:pt x="699746" y="132675"/>
                    <a:pt x="699847" y="127158"/>
                    <a:pt x="699847" y="127158"/>
                  </a:cubicBezTo>
                  <a:cubicBezTo>
                    <a:pt x="699847" y="127158"/>
                    <a:pt x="696246" y="123558"/>
                    <a:pt x="695607" y="123155"/>
                  </a:cubicBezTo>
                  <a:cubicBezTo>
                    <a:pt x="694967" y="122717"/>
                    <a:pt x="691030" y="118277"/>
                    <a:pt x="690727" y="117604"/>
                  </a:cubicBezTo>
                  <a:cubicBezTo>
                    <a:pt x="690390" y="116965"/>
                    <a:pt x="687361" y="115989"/>
                    <a:pt x="686924" y="115754"/>
                  </a:cubicBezTo>
                  <a:cubicBezTo>
                    <a:pt x="686486" y="115552"/>
                    <a:pt x="680832" y="113467"/>
                    <a:pt x="680395" y="113265"/>
                  </a:cubicBezTo>
                  <a:cubicBezTo>
                    <a:pt x="679957" y="113063"/>
                    <a:pt x="677770" y="113265"/>
                    <a:pt x="677770" y="113265"/>
                  </a:cubicBezTo>
                  <a:cubicBezTo>
                    <a:pt x="677770" y="113265"/>
                    <a:pt x="672217" y="110876"/>
                    <a:pt x="671678" y="110439"/>
                  </a:cubicBezTo>
                  <a:cubicBezTo>
                    <a:pt x="671140" y="110002"/>
                    <a:pt x="660034" y="103038"/>
                    <a:pt x="659731" y="102836"/>
                  </a:cubicBezTo>
                  <a:cubicBezTo>
                    <a:pt x="659394" y="102634"/>
                    <a:pt x="655490" y="99035"/>
                    <a:pt x="655288" y="98598"/>
                  </a:cubicBezTo>
                  <a:cubicBezTo>
                    <a:pt x="655087" y="98160"/>
                    <a:pt x="649735" y="92946"/>
                    <a:pt x="648759" y="92307"/>
                  </a:cubicBezTo>
                  <a:cubicBezTo>
                    <a:pt x="647783" y="91668"/>
                    <a:pt x="644283" y="87867"/>
                    <a:pt x="643879" y="87093"/>
                  </a:cubicBezTo>
                  <a:cubicBezTo>
                    <a:pt x="643442" y="86319"/>
                    <a:pt x="641389" y="85041"/>
                    <a:pt x="640952" y="84368"/>
                  </a:cubicBezTo>
                  <a:cubicBezTo>
                    <a:pt x="640514" y="83729"/>
                    <a:pt x="638461" y="82854"/>
                    <a:pt x="638461" y="82854"/>
                  </a:cubicBezTo>
                  <a:cubicBezTo>
                    <a:pt x="638461" y="82854"/>
                    <a:pt x="635096" y="81105"/>
                    <a:pt x="634658" y="81004"/>
                  </a:cubicBezTo>
                  <a:cubicBezTo>
                    <a:pt x="634221" y="80903"/>
                    <a:pt x="633043" y="79692"/>
                    <a:pt x="633043" y="79692"/>
                  </a:cubicBezTo>
                  <a:cubicBezTo>
                    <a:pt x="633043" y="79692"/>
                    <a:pt x="632403" y="75016"/>
                    <a:pt x="631966" y="71551"/>
                  </a:cubicBezTo>
                  <a:cubicBezTo>
                    <a:pt x="631528" y="68087"/>
                    <a:pt x="627389" y="67515"/>
                    <a:pt x="627187" y="67212"/>
                  </a:cubicBezTo>
                  <a:cubicBezTo>
                    <a:pt x="626951" y="66876"/>
                    <a:pt x="625235" y="65160"/>
                    <a:pt x="624898" y="64924"/>
                  </a:cubicBezTo>
                  <a:cubicBezTo>
                    <a:pt x="624562" y="64723"/>
                    <a:pt x="616316" y="58197"/>
                    <a:pt x="615340" y="57322"/>
                  </a:cubicBezTo>
                  <a:cubicBezTo>
                    <a:pt x="614364" y="56447"/>
                    <a:pt x="608172" y="48946"/>
                    <a:pt x="607499" y="47667"/>
                  </a:cubicBezTo>
                  <a:cubicBezTo>
                    <a:pt x="606859" y="46355"/>
                    <a:pt x="604133" y="45279"/>
                    <a:pt x="602720" y="43866"/>
                  </a:cubicBezTo>
                  <a:cubicBezTo>
                    <a:pt x="601306" y="42453"/>
                    <a:pt x="599455" y="38416"/>
                    <a:pt x="599119" y="36163"/>
                  </a:cubicBezTo>
                  <a:cubicBezTo>
                    <a:pt x="598782" y="33875"/>
                    <a:pt x="593566" y="34514"/>
                    <a:pt x="593566" y="34514"/>
                  </a:cubicBezTo>
                  <a:cubicBezTo>
                    <a:pt x="593566" y="34514"/>
                    <a:pt x="585960" y="35725"/>
                    <a:pt x="585320" y="35591"/>
                  </a:cubicBezTo>
                  <a:cubicBezTo>
                    <a:pt x="584681" y="35490"/>
                    <a:pt x="581854" y="33202"/>
                    <a:pt x="580306" y="31890"/>
                  </a:cubicBezTo>
                  <a:cubicBezTo>
                    <a:pt x="578791" y="30578"/>
                    <a:pt x="575426" y="28425"/>
                    <a:pt x="574316" y="27753"/>
                  </a:cubicBezTo>
                  <a:cubicBezTo>
                    <a:pt x="573239" y="27114"/>
                    <a:pt x="569200" y="25802"/>
                    <a:pt x="567887" y="25701"/>
                  </a:cubicBezTo>
                  <a:cubicBezTo>
                    <a:pt x="566575" y="25600"/>
                    <a:pt x="565599" y="25802"/>
                    <a:pt x="563310" y="25802"/>
                  </a:cubicBezTo>
                  <a:cubicBezTo>
                    <a:pt x="561022" y="25802"/>
                    <a:pt x="558296" y="25802"/>
                    <a:pt x="555806" y="25600"/>
                  </a:cubicBezTo>
                  <a:cubicBezTo>
                    <a:pt x="553315" y="25364"/>
                    <a:pt x="550051" y="23951"/>
                    <a:pt x="549377" y="23750"/>
                  </a:cubicBezTo>
                  <a:cubicBezTo>
                    <a:pt x="548738" y="23548"/>
                    <a:pt x="543824" y="20049"/>
                    <a:pt x="542949" y="19410"/>
                  </a:cubicBezTo>
                  <a:cubicBezTo>
                    <a:pt x="542074" y="18771"/>
                    <a:pt x="538709" y="15945"/>
                    <a:pt x="536757" y="14970"/>
                  </a:cubicBezTo>
                  <a:cubicBezTo>
                    <a:pt x="534805" y="13994"/>
                    <a:pt x="533291" y="12783"/>
                    <a:pt x="532954" y="12581"/>
                  </a:cubicBezTo>
                  <a:cubicBezTo>
                    <a:pt x="532617" y="12379"/>
                    <a:pt x="526997" y="11606"/>
                    <a:pt x="526997" y="11606"/>
                  </a:cubicBezTo>
                  <a:cubicBezTo>
                    <a:pt x="526997" y="11606"/>
                    <a:pt x="519290" y="12379"/>
                    <a:pt x="517978" y="12682"/>
                  </a:cubicBezTo>
                  <a:cubicBezTo>
                    <a:pt x="516665" y="13019"/>
                    <a:pt x="514377" y="10630"/>
                    <a:pt x="514377" y="10630"/>
                  </a:cubicBezTo>
                  <a:lnTo>
                    <a:pt x="511651" y="8242"/>
                  </a:lnTo>
                  <a:cubicBezTo>
                    <a:pt x="511651" y="8242"/>
                    <a:pt x="510136" y="6829"/>
                    <a:pt x="509800" y="6829"/>
                  </a:cubicBezTo>
                  <a:cubicBezTo>
                    <a:pt x="509463" y="6829"/>
                    <a:pt x="508386" y="7165"/>
                    <a:pt x="507747" y="7165"/>
                  </a:cubicBezTo>
                  <a:cubicBezTo>
                    <a:pt x="507107" y="7165"/>
                    <a:pt x="505357" y="8040"/>
                    <a:pt x="503708" y="8477"/>
                  </a:cubicBezTo>
                  <a:cubicBezTo>
                    <a:pt x="502093" y="8914"/>
                    <a:pt x="501521" y="9688"/>
                    <a:pt x="500006" y="9991"/>
                  </a:cubicBezTo>
                  <a:cubicBezTo>
                    <a:pt x="498492" y="10327"/>
                    <a:pt x="497415" y="10630"/>
                    <a:pt x="496203" y="10630"/>
                  </a:cubicBezTo>
                  <a:cubicBezTo>
                    <a:pt x="494992" y="10630"/>
                    <a:pt x="493713" y="11707"/>
                    <a:pt x="492737" y="11841"/>
                  </a:cubicBezTo>
                  <a:cubicBezTo>
                    <a:pt x="491761" y="11942"/>
                    <a:pt x="490448" y="11639"/>
                    <a:pt x="489136" y="11639"/>
                  </a:cubicBezTo>
                  <a:cubicBezTo>
                    <a:pt x="487823" y="11639"/>
                    <a:pt x="486208" y="11202"/>
                    <a:pt x="485333" y="11101"/>
                  </a:cubicBezTo>
                  <a:cubicBezTo>
                    <a:pt x="484458" y="11000"/>
                    <a:pt x="483145" y="10125"/>
                    <a:pt x="482068" y="9587"/>
                  </a:cubicBezTo>
                  <a:cubicBezTo>
                    <a:pt x="480991" y="9049"/>
                    <a:pt x="479342" y="8713"/>
                    <a:pt x="478265" y="8174"/>
                  </a:cubicBezTo>
                  <a:cubicBezTo>
                    <a:pt x="477188" y="7636"/>
                    <a:pt x="473284" y="7838"/>
                    <a:pt x="471635" y="7401"/>
                  </a:cubicBezTo>
                  <a:cubicBezTo>
                    <a:pt x="470020" y="6963"/>
                    <a:pt x="465477" y="6425"/>
                    <a:pt x="465477" y="6425"/>
                  </a:cubicBezTo>
                  <a:cubicBezTo>
                    <a:pt x="465477" y="6425"/>
                    <a:pt x="458746" y="6425"/>
                    <a:pt x="458308" y="6425"/>
                  </a:cubicBezTo>
                  <a:cubicBezTo>
                    <a:pt x="457871" y="6425"/>
                    <a:pt x="454169" y="5113"/>
                    <a:pt x="453428" y="5113"/>
                  </a:cubicBezTo>
                  <a:cubicBezTo>
                    <a:pt x="452654" y="5113"/>
                    <a:pt x="450399" y="3801"/>
                    <a:pt x="449827" y="3498"/>
                  </a:cubicBezTo>
                  <a:cubicBezTo>
                    <a:pt x="449289" y="3162"/>
                    <a:pt x="446899" y="2086"/>
                    <a:pt x="446024" y="1884"/>
                  </a:cubicBezTo>
                  <a:cubicBezTo>
                    <a:pt x="445149" y="1648"/>
                    <a:pt x="443971" y="1648"/>
                    <a:pt x="443298" y="1547"/>
                  </a:cubicBezTo>
                  <a:cubicBezTo>
                    <a:pt x="442659" y="1446"/>
                    <a:pt x="442760" y="1884"/>
                    <a:pt x="442760" y="1884"/>
                  </a:cubicBezTo>
                  <a:cubicBezTo>
                    <a:pt x="442760" y="1884"/>
                    <a:pt x="442221" y="3835"/>
                    <a:pt x="442120" y="4272"/>
                  </a:cubicBezTo>
                  <a:cubicBezTo>
                    <a:pt x="442019" y="4710"/>
                    <a:pt x="441043" y="6560"/>
                    <a:pt x="440707" y="7098"/>
                  </a:cubicBezTo>
                  <a:cubicBezTo>
                    <a:pt x="440370" y="7636"/>
                    <a:pt x="438856" y="8612"/>
                    <a:pt x="437880" y="9486"/>
                  </a:cubicBezTo>
                  <a:cubicBezTo>
                    <a:pt x="436904" y="10361"/>
                    <a:pt x="435692" y="9688"/>
                    <a:pt x="434615" y="9688"/>
                  </a:cubicBezTo>
                  <a:cubicBezTo>
                    <a:pt x="433538" y="9688"/>
                    <a:pt x="431788" y="9049"/>
                    <a:pt x="429937" y="8814"/>
                  </a:cubicBezTo>
                  <a:cubicBezTo>
                    <a:pt x="428086" y="8578"/>
                    <a:pt x="428187" y="7502"/>
                    <a:pt x="428187" y="7502"/>
                  </a:cubicBezTo>
                  <a:lnTo>
                    <a:pt x="426134" y="7266"/>
                  </a:lnTo>
                  <a:cubicBezTo>
                    <a:pt x="426134" y="7266"/>
                    <a:pt x="424519" y="9015"/>
                    <a:pt x="424283" y="9453"/>
                  </a:cubicBezTo>
                  <a:cubicBezTo>
                    <a:pt x="424081" y="9890"/>
                    <a:pt x="417216" y="9991"/>
                    <a:pt x="417216" y="9991"/>
                  </a:cubicBezTo>
                  <a:cubicBezTo>
                    <a:pt x="417216" y="9991"/>
                    <a:pt x="409172" y="10327"/>
                    <a:pt x="408735" y="10529"/>
                  </a:cubicBezTo>
                  <a:cubicBezTo>
                    <a:pt x="408297" y="10765"/>
                    <a:pt x="405571" y="10765"/>
                    <a:pt x="405571" y="10765"/>
                  </a:cubicBezTo>
                  <a:cubicBezTo>
                    <a:pt x="405571" y="10765"/>
                    <a:pt x="403821" y="11639"/>
                    <a:pt x="403417" y="11538"/>
                  </a:cubicBezTo>
                  <a:cubicBezTo>
                    <a:pt x="402980" y="11437"/>
                    <a:pt x="402206" y="10563"/>
                    <a:pt x="401567" y="9924"/>
                  </a:cubicBezTo>
                  <a:cubicBezTo>
                    <a:pt x="400927" y="9284"/>
                    <a:pt x="399716" y="8309"/>
                    <a:pt x="398639" y="7333"/>
                  </a:cubicBezTo>
                  <a:cubicBezTo>
                    <a:pt x="397562" y="6358"/>
                    <a:pt x="397225" y="5584"/>
                    <a:pt x="397023" y="5147"/>
                  </a:cubicBezTo>
                  <a:cubicBezTo>
                    <a:pt x="396788" y="4710"/>
                    <a:pt x="396922" y="3532"/>
                    <a:pt x="396922" y="3532"/>
                  </a:cubicBezTo>
                  <a:cubicBezTo>
                    <a:pt x="396922" y="3532"/>
                    <a:pt x="396922" y="1783"/>
                    <a:pt x="396821" y="1480"/>
                  </a:cubicBezTo>
                  <a:cubicBezTo>
                    <a:pt x="396754" y="1312"/>
                    <a:pt x="396754" y="605"/>
                    <a:pt x="396788" y="0"/>
                  </a:cubicBezTo>
                  <a:lnTo>
                    <a:pt x="396720" y="0"/>
                  </a:lnTo>
                  <a:lnTo>
                    <a:pt x="393355" y="2725"/>
                  </a:lnTo>
                  <a:lnTo>
                    <a:pt x="393355" y="7367"/>
                  </a:lnTo>
                  <a:lnTo>
                    <a:pt x="375686" y="10125"/>
                  </a:lnTo>
                  <a:lnTo>
                    <a:pt x="372489" y="11707"/>
                  </a:lnTo>
                  <a:lnTo>
                    <a:pt x="364681" y="11707"/>
                  </a:lnTo>
                  <a:lnTo>
                    <a:pt x="360609" y="7064"/>
                  </a:lnTo>
                  <a:lnTo>
                    <a:pt x="349301" y="11707"/>
                  </a:lnTo>
                  <a:lnTo>
                    <a:pt x="340887" y="18670"/>
                  </a:lnTo>
                  <a:lnTo>
                    <a:pt x="334796" y="20116"/>
                  </a:lnTo>
                  <a:lnTo>
                    <a:pt x="331026" y="15474"/>
                  </a:lnTo>
                  <a:lnTo>
                    <a:pt x="323791" y="18098"/>
                  </a:lnTo>
                  <a:cubicBezTo>
                    <a:pt x="323791" y="18098"/>
                    <a:pt x="317127" y="19847"/>
                    <a:pt x="315983" y="20116"/>
                  </a:cubicBezTo>
                  <a:cubicBezTo>
                    <a:pt x="314839" y="20419"/>
                    <a:pt x="305853" y="20116"/>
                    <a:pt x="305853" y="20116"/>
                  </a:cubicBezTo>
                  <a:lnTo>
                    <a:pt x="302386" y="24591"/>
                  </a:lnTo>
                  <a:lnTo>
                    <a:pt x="297170" y="27349"/>
                  </a:lnTo>
                  <a:lnTo>
                    <a:pt x="288218" y="27349"/>
                  </a:lnTo>
                  <a:lnTo>
                    <a:pt x="281251" y="27349"/>
                  </a:lnTo>
                  <a:lnTo>
                    <a:pt x="271996" y="28796"/>
                  </a:lnTo>
                  <a:lnTo>
                    <a:pt x="253453" y="32260"/>
                  </a:lnTo>
                  <a:lnTo>
                    <a:pt x="238678" y="35288"/>
                  </a:lnTo>
                  <a:lnTo>
                    <a:pt x="223029" y="37744"/>
                  </a:lnTo>
                  <a:lnTo>
                    <a:pt x="206504" y="37744"/>
                  </a:lnTo>
                  <a:lnTo>
                    <a:pt x="194894" y="34279"/>
                  </a:lnTo>
                  <a:lnTo>
                    <a:pt x="187052" y="29637"/>
                  </a:lnTo>
                  <a:lnTo>
                    <a:pt x="177764" y="30511"/>
                  </a:lnTo>
                  <a:lnTo>
                    <a:pt x="173422" y="32832"/>
                  </a:lnTo>
                  <a:lnTo>
                    <a:pt x="168509" y="39493"/>
                  </a:lnTo>
                  <a:lnTo>
                    <a:pt x="159523" y="45279"/>
                  </a:lnTo>
                  <a:lnTo>
                    <a:pt x="155181" y="49181"/>
                  </a:lnTo>
                  <a:lnTo>
                    <a:pt x="151109" y="51637"/>
                  </a:lnTo>
                  <a:lnTo>
                    <a:pt x="140373" y="51637"/>
                  </a:lnTo>
                  <a:lnTo>
                    <a:pt x="136032" y="54833"/>
                  </a:lnTo>
                  <a:lnTo>
                    <a:pt x="136032" y="62940"/>
                  </a:lnTo>
                  <a:lnTo>
                    <a:pt x="141820" y="75117"/>
                  </a:lnTo>
                  <a:lnTo>
                    <a:pt x="148787" y="87867"/>
                  </a:lnTo>
                  <a:lnTo>
                    <a:pt x="153431" y="97420"/>
                  </a:lnTo>
                  <a:lnTo>
                    <a:pt x="155753" y="101491"/>
                  </a:lnTo>
                  <a:lnTo>
                    <a:pt x="153734" y="109598"/>
                  </a:lnTo>
                  <a:lnTo>
                    <a:pt x="147946" y="112491"/>
                  </a:lnTo>
                  <a:lnTo>
                    <a:pt x="147070" y="120026"/>
                  </a:lnTo>
                  <a:lnTo>
                    <a:pt x="145926" y="125812"/>
                  </a:lnTo>
                  <a:lnTo>
                    <a:pt x="154609" y="133347"/>
                  </a:lnTo>
                  <a:lnTo>
                    <a:pt x="162720" y="137990"/>
                  </a:lnTo>
                  <a:lnTo>
                    <a:pt x="167364" y="144079"/>
                  </a:lnTo>
                  <a:lnTo>
                    <a:pt x="176350" y="150436"/>
                  </a:lnTo>
                  <a:lnTo>
                    <a:pt x="180759" y="149562"/>
                  </a:lnTo>
                  <a:lnTo>
                    <a:pt x="181264" y="154776"/>
                  </a:lnTo>
                  <a:lnTo>
                    <a:pt x="181264" y="160293"/>
                  </a:lnTo>
                  <a:lnTo>
                    <a:pt x="180961" y="165810"/>
                  </a:lnTo>
                  <a:lnTo>
                    <a:pt x="186918" y="167996"/>
                  </a:lnTo>
                  <a:lnTo>
                    <a:pt x="193884" y="173211"/>
                  </a:lnTo>
                  <a:lnTo>
                    <a:pt x="197350" y="175666"/>
                  </a:lnTo>
                  <a:lnTo>
                    <a:pt x="200682" y="176406"/>
                  </a:lnTo>
                  <a:lnTo>
                    <a:pt x="200379" y="180880"/>
                  </a:lnTo>
                  <a:lnTo>
                    <a:pt x="202836" y="191611"/>
                  </a:lnTo>
                  <a:lnTo>
                    <a:pt x="204418" y="197969"/>
                  </a:lnTo>
                  <a:lnTo>
                    <a:pt x="209264" y="204193"/>
                  </a:lnTo>
                  <a:lnTo>
                    <a:pt x="214279" y="210584"/>
                  </a:lnTo>
                  <a:lnTo>
                    <a:pt x="214279" y="214217"/>
                  </a:lnTo>
                  <a:lnTo>
                    <a:pt x="213101" y="217682"/>
                  </a:lnTo>
                  <a:lnTo>
                    <a:pt x="211216" y="222459"/>
                  </a:lnTo>
                  <a:lnTo>
                    <a:pt x="209904" y="224040"/>
                  </a:lnTo>
                  <a:lnTo>
                    <a:pt x="208154" y="225486"/>
                  </a:lnTo>
                  <a:lnTo>
                    <a:pt x="206404" y="225486"/>
                  </a:lnTo>
                  <a:lnTo>
                    <a:pt x="202937" y="225486"/>
                  </a:lnTo>
                  <a:lnTo>
                    <a:pt x="199471" y="223737"/>
                  </a:lnTo>
                  <a:lnTo>
                    <a:pt x="196004" y="223737"/>
                  </a:lnTo>
                  <a:lnTo>
                    <a:pt x="194591" y="225486"/>
                  </a:lnTo>
                  <a:lnTo>
                    <a:pt x="192100" y="226899"/>
                  </a:lnTo>
                  <a:lnTo>
                    <a:pt x="190249" y="229389"/>
                  </a:lnTo>
                  <a:lnTo>
                    <a:pt x="186211" y="231340"/>
                  </a:lnTo>
                  <a:cubicBezTo>
                    <a:pt x="186211" y="231340"/>
                    <a:pt x="182408" y="232214"/>
                    <a:pt x="181970" y="232315"/>
                  </a:cubicBezTo>
                  <a:cubicBezTo>
                    <a:pt x="181533" y="232416"/>
                    <a:pt x="173388" y="232315"/>
                    <a:pt x="173388" y="232315"/>
                  </a:cubicBezTo>
                  <a:lnTo>
                    <a:pt x="169047" y="232349"/>
                  </a:lnTo>
                  <a:cubicBezTo>
                    <a:pt x="169047" y="232349"/>
                    <a:pt x="167398" y="233392"/>
                    <a:pt x="166994" y="233594"/>
                  </a:cubicBezTo>
                  <a:cubicBezTo>
                    <a:pt x="166556" y="233829"/>
                    <a:pt x="164268" y="235208"/>
                    <a:pt x="163830" y="235444"/>
                  </a:cubicBezTo>
                  <a:cubicBezTo>
                    <a:pt x="163393" y="235646"/>
                    <a:pt x="158614" y="238068"/>
                    <a:pt x="158614" y="238068"/>
                  </a:cubicBezTo>
                  <a:cubicBezTo>
                    <a:pt x="158614" y="238068"/>
                    <a:pt x="157638" y="239144"/>
                    <a:pt x="156864" y="239480"/>
                  </a:cubicBezTo>
                  <a:cubicBezTo>
                    <a:pt x="156090" y="239817"/>
                    <a:pt x="152825" y="241095"/>
                    <a:pt x="152825" y="241095"/>
                  </a:cubicBezTo>
                  <a:lnTo>
                    <a:pt x="151311" y="243282"/>
                  </a:lnTo>
                  <a:lnTo>
                    <a:pt x="151849" y="245031"/>
                  </a:lnTo>
                  <a:cubicBezTo>
                    <a:pt x="151849" y="245031"/>
                    <a:pt x="151412" y="247083"/>
                    <a:pt x="151950" y="248059"/>
                  </a:cubicBezTo>
                  <a:cubicBezTo>
                    <a:pt x="152489" y="249034"/>
                    <a:pt x="155316" y="250884"/>
                    <a:pt x="155316" y="250884"/>
                  </a:cubicBezTo>
                  <a:cubicBezTo>
                    <a:pt x="155316" y="250884"/>
                    <a:pt x="155316" y="252196"/>
                    <a:pt x="155215" y="252499"/>
                  </a:cubicBezTo>
                  <a:cubicBezTo>
                    <a:pt x="155114" y="252836"/>
                    <a:pt x="153599" y="255661"/>
                    <a:pt x="153599" y="255661"/>
                  </a:cubicBezTo>
                  <a:lnTo>
                    <a:pt x="152960" y="256637"/>
                  </a:lnTo>
                  <a:lnTo>
                    <a:pt x="152253" y="259126"/>
                  </a:lnTo>
                  <a:lnTo>
                    <a:pt x="151648" y="262793"/>
                  </a:lnTo>
                  <a:lnTo>
                    <a:pt x="151648" y="266258"/>
                  </a:lnTo>
                  <a:lnTo>
                    <a:pt x="152422" y="270395"/>
                  </a:lnTo>
                  <a:lnTo>
                    <a:pt x="157638" y="271472"/>
                  </a:lnTo>
                  <a:lnTo>
                    <a:pt x="161542" y="273524"/>
                  </a:lnTo>
                  <a:cubicBezTo>
                    <a:pt x="161542" y="273524"/>
                    <a:pt x="164369" y="274836"/>
                    <a:pt x="164806" y="274836"/>
                  </a:cubicBezTo>
                  <a:cubicBezTo>
                    <a:pt x="165244" y="274836"/>
                    <a:pt x="166859" y="275374"/>
                    <a:pt x="167398" y="275912"/>
                  </a:cubicBezTo>
                  <a:cubicBezTo>
                    <a:pt x="167936" y="276450"/>
                    <a:pt x="172076" y="279613"/>
                    <a:pt x="172076" y="279613"/>
                  </a:cubicBezTo>
                  <a:lnTo>
                    <a:pt x="173860" y="283078"/>
                  </a:lnTo>
                  <a:lnTo>
                    <a:pt x="174230" y="286441"/>
                  </a:lnTo>
                  <a:lnTo>
                    <a:pt x="174230" y="290579"/>
                  </a:lnTo>
                  <a:lnTo>
                    <a:pt x="175105" y="297240"/>
                  </a:lnTo>
                  <a:lnTo>
                    <a:pt x="174802" y="302757"/>
                  </a:lnTo>
                  <a:lnTo>
                    <a:pt x="176249" y="306827"/>
                  </a:lnTo>
                  <a:lnTo>
                    <a:pt x="176821" y="311469"/>
                  </a:lnTo>
                  <a:lnTo>
                    <a:pt x="175946" y="316381"/>
                  </a:lnTo>
                  <a:lnTo>
                    <a:pt x="172480" y="322907"/>
                  </a:lnTo>
                  <a:lnTo>
                    <a:pt x="170460" y="326237"/>
                  </a:lnTo>
                  <a:lnTo>
                    <a:pt x="166388" y="326237"/>
                  </a:lnTo>
                  <a:lnTo>
                    <a:pt x="162316" y="331451"/>
                  </a:lnTo>
                  <a:lnTo>
                    <a:pt x="159422" y="331451"/>
                  </a:lnTo>
                  <a:lnTo>
                    <a:pt x="155955" y="328861"/>
                  </a:lnTo>
                  <a:lnTo>
                    <a:pt x="149864" y="327415"/>
                  </a:lnTo>
                  <a:lnTo>
                    <a:pt x="144344" y="322503"/>
                  </a:lnTo>
                  <a:lnTo>
                    <a:pt x="143470" y="317592"/>
                  </a:lnTo>
                  <a:lnTo>
                    <a:pt x="140844" y="317020"/>
                  </a:lnTo>
                  <a:lnTo>
                    <a:pt x="132162" y="315573"/>
                  </a:lnTo>
                  <a:lnTo>
                    <a:pt x="127517" y="312983"/>
                  </a:lnTo>
                  <a:lnTo>
                    <a:pt x="115065" y="312109"/>
                  </a:lnTo>
                  <a:lnTo>
                    <a:pt x="105776" y="310359"/>
                  </a:lnTo>
                  <a:lnTo>
                    <a:pt x="99988" y="305717"/>
                  </a:lnTo>
                  <a:lnTo>
                    <a:pt x="95343" y="302824"/>
                  </a:lnTo>
                  <a:lnTo>
                    <a:pt x="91002" y="296735"/>
                  </a:lnTo>
                  <a:lnTo>
                    <a:pt x="87233" y="293270"/>
                  </a:lnTo>
                  <a:lnTo>
                    <a:pt x="82891" y="293270"/>
                  </a:lnTo>
                  <a:lnTo>
                    <a:pt x="80502" y="294952"/>
                  </a:lnTo>
                  <a:cubicBezTo>
                    <a:pt x="80502" y="294952"/>
                    <a:pt x="78314" y="297778"/>
                    <a:pt x="78314" y="298081"/>
                  </a:cubicBezTo>
                  <a:cubicBezTo>
                    <a:pt x="78314" y="298384"/>
                    <a:pt x="78752" y="303228"/>
                    <a:pt x="78752" y="303228"/>
                  </a:cubicBezTo>
                  <a:lnTo>
                    <a:pt x="75117" y="303968"/>
                  </a:lnTo>
                  <a:cubicBezTo>
                    <a:pt x="75117" y="303968"/>
                    <a:pt x="73535" y="304607"/>
                    <a:pt x="72929" y="305111"/>
                  </a:cubicBezTo>
                  <a:cubicBezTo>
                    <a:pt x="72357" y="305616"/>
                    <a:pt x="71482" y="309182"/>
                    <a:pt x="71482" y="309182"/>
                  </a:cubicBezTo>
                  <a:lnTo>
                    <a:pt x="66569" y="309417"/>
                  </a:lnTo>
                  <a:lnTo>
                    <a:pt x="61924" y="306592"/>
                  </a:lnTo>
                  <a:cubicBezTo>
                    <a:pt x="61924" y="306592"/>
                    <a:pt x="60679" y="304708"/>
                    <a:pt x="60477" y="304708"/>
                  </a:cubicBezTo>
                  <a:cubicBezTo>
                    <a:pt x="60275" y="304708"/>
                    <a:pt x="57852" y="303059"/>
                    <a:pt x="57583" y="303059"/>
                  </a:cubicBezTo>
                  <a:cubicBezTo>
                    <a:pt x="57280" y="303059"/>
                    <a:pt x="54117" y="302925"/>
                    <a:pt x="54117" y="302925"/>
                  </a:cubicBezTo>
                  <a:lnTo>
                    <a:pt x="50482" y="303261"/>
                  </a:lnTo>
                  <a:lnTo>
                    <a:pt x="44626" y="303799"/>
                  </a:lnTo>
                  <a:lnTo>
                    <a:pt x="41159" y="303799"/>
                  </a:lnTo>
                  <a:lnTo>
                    <a:pt x="39342" y="302992"/>
                  </a:lnTo>
                  <a:lnTo>
                    <a:pt x="35707" y="304506"/>
                  </a:lnTo>
                  <a:cubicBezTo>
                    <a:pt x="35707" y="304506"/>
                    <a:pt x="34193" y="305582"/>
                    <a:pt x="32376" y="306154"/>
                  </a:cubicBezTo>
                  <a:cubicBezTo>
                    <a:pt x="30558" y="306726"/>
                    <a:pt x="28606" y="307668"/>
                    <a:pt x="28606" y="307668"/>
                  </a:cubicBezTo>
                  <a:lnTo>
                    <a:pt x="25477" y="308307"/>
                  </a:lnTo>
                  <a:lnTo>
                    <a:pt x="22448" y="308879"/>
                  </a:lnTo>
                  <a:lnTo>
                    <a:pt x="19688" y="311402"/>
                  </a:lnTo>
                  <a:lnTo>
                    <a:pt x="19385" y="314968"/>
                  </a:lnTo>
                  <a:lnTo>
                    <a:pt x="19385" y="320249"/>
                  </a:lnTo>
                  <a:lnTo>
                    <a:pt x="21034" y="323075"/>
                  </a:lnTo>
                  <a:lnTo>
                    <a:pt x="24568" y="326103"/>
                  </a:lnTo>
                  <a:lnTo>
                    <a:pt x="27832" y="326742"/>
                  </a:lnTo>
                  <a:lnTo>
                    <a:pt x="32981" y="327246"/>
                  </a:lnTo>
                  <a:lnTo>
                    <a:pt x="37020" y="328491"/>
                  </a:lnTo>
                  <a:cubicBezTo>
                    <a:pt x="37020" y="328491"/>
                    <a:pt x="40655" y="330173"/>
                    <a:pt x="41092" y="330577"/>
                  </a:cubicBezTo>
                  <a:cubicBezTo>
                    <a:pt x="41530" y="331014"/>
                    <a:pt x="43414" y="332595"/>
                    <a:pt x="43414" y="332595"/>
                  </a:cubicBezTo>
                  <a:lnTo>
                    <a:pt x="46174" y="335858"/>
                  </a:lnTo>
                  <a:lnTo>
                    <a:pt x="49068" y="339121"/>
                  </a:lnTo>
                  <a:lnTo>
                    <a:pt x="48765" y="341072"/>
                  </a:lnTo>
                  <a:cubicBezTo>
                    <a:pt x="48765" y="341072"/>
                    <a:pt x="47015" y="344402"/>
                    <a:pt x="46881" y="344975"/>
                  </a:cubicBezTo>
                  <a:cubicBezTo>
                    <a:pt x="46746" y="345546"/>
                    <a:pt x="43987" y="348675"/>
                    <a:pt x="43852" y="348877"/>
                  </a:cubicBezTo>
                  <a:cubicBezTo>
                    <a:pt x="43717" y="349078"/>
                    <a:pt x="42270" y="351837"/>
                    <a:pt x="41900" y="352072"/>
                  </a:cubicBezTo>
                  <a:cubicBezTo>
                    <a:pt x="41530" y="352274"/>
                    <a:pt x="39679" y="357858"/>
                    <a:pt x="39679" y="357858"/>
                  </a:cubicBezTo>
                  <a:lnTo>
                    <a:pt x="40217" y="361424"/>
                  </a:lnTo>
                  <a:lnTo>
                    <a:pt x="40217" y="365427"/>
                  </a:lnTo>
                  <a:lnTo>
                    <a:pt x="34698" y="368253"/>
                  </a:lnTo>
                  <a:lnTo>
                    <a:pt x="33453" y="370070"/>
                  </a:lnTo>
                  <a:lnTo>
                    <a:pt x="33756" y="373535"/>
                  </a:lnTo>
                  <a:lnTo>
                    <a:pt x="34496" y="377167"/>
                  </a:lnTo>
                  <a:cubicBezTo>
                    <a:pt x="34496" y="377167"/>
                    <a:pt x="34631" y="378177"/>
                    <a:pt x="34496" y="378849"/>
                  </a:cubicBezTo>
                  <a:cubicBezTo>
                    <a:pt x="34361" y="379489"/>
                    <a:pt x="33183" y="380868"/>
                    <a:pt x="33183" y="380868"/>
                  </a:cubicBezTo>
                  <a:cubicBezTo>
                    <a:pt x="33183" y="380868"/>
                    <a:pt x="31097" y="380801"/>
                    <a:pt x="30861" y="381171"/>
                  </a:cubicBezTo>
                  <a:cubicBezTo>
                    <a:pt x="30626" y="381541"/>
                    <a:pt x="27900" y="380229"/>
                    <a:pt x="27900" y="380229"/>
                  </a:cubicBezTo>
                  <a:lnTo>
                    <a:pt x="25443" y="380229"/>
                  </a:lnTo>
                  <a:cubicBezTo>
                    <a:pt x="25443" y="380229"/>
                    <a:pt x="22616" y="380531"/>
                    <a:pt x="22313" y="380666"/>
                  </a:cubicBezTo>
                  <a:cubicBezTo>
                    <a:pt x="22010" y="380801"/>
                    <a:pt x="16962" y="382684"/>
                    <a:pt x="16962" y="382684"/>
                  </a:cubicBezTo>
                  <a:lnTo>
                    <a:pt x="14640" y="385308"/>
                  </a:lnTo>
                  <a:lnTo>
                    <a:pt x="11813" y="391532"/>
                  </a:lnTo>
                  <a:lnTo>
                    <a:pt x="8986" y="397990"/>
                  </a:lnTo>
                  <a:lnTo>
                    <a:pt x="5654" y="403507"/>
                  </a:lnTo>
                  <a:lnTo>
                    <a:pt x="8178" y="409966"/>
                  </a:lnTo>
                  <a:lnTo>
                    <a:pt x="13596" y="414238"/>
                  </a:lnTo>
                  <a:lnTo>
                    <a:pt x="14337" y="417434"/>
                  </a:lnTo>
                  <a:lnTo>
                    <a:pt x="10938" y="423220"/>
                  </a:lnTo>
                  <a:lnTo>
                    <a:pt x="9928" y="427425"/>
                  </a:lnTo>
                  <a:lnTo>
                    <a:pt x="8616" y="429814"/>
                  </a:lnTo>
                  <a:lnTo>
                    <a:pt x="7168" y="432067"/>
                  </a:lnTo>
                  <a:lnTo>
                    <a:pt x="5654" y="433447"/>
                  </a:lnTo>
                  <a:lnTo>
                    <a:pt x="7236" y="436340"/>
                  </a:lnTo>
                  <a:cubicBezTo>
                    <a:pt x="7236" y="436340"/>
                    <a:pt x="9861" y="437484"/>
                    <a:pt x="10063" y="437484"/>
                  </a:cubicBezTo>
                  <a:cubicBezTo>
                    <a:pt x="10265" y="437484"/>
                    <a:pt x="13327" y="439502"/>
                    <a:pt x="13327" y="439502"/>
                  </a:cubicBezTo>
                  <a:cubicBezTo>
                    <a:pt x="13327" y="439502"/>
                    <a:pt x="15077" y="439872"/>
                    <a:pt x="16222" y="439502"/>
                  </a:cubicBezTo>
                  <a:cubicBezTo>
                    <a:pt x="17399" y="439132"/>
                    <a:pt x="22077" y="438560"/>
                    <a:pt x="22077" y="438560"/>
                  </a:cubicBezTo>
                  <a:lnTo>
                    <a:pt x="23659" y="438694"/>
                  </a:lnTo>
                  <a:cubicBezTo>
                    <a:pt x="23659" y="438694"/>
                    <a:pt x="27428" y="440881"/>
                    <a:pt x="27563" y="441083"/>
                  </a:cubicBezTo>
                  <a:cubicBezTo>
                    <a:pt x="27698" y="441318"/>
                    <a:pt x="29313" y="443707"/>
                    <a:pt x="30188" y="444346"/>
                  </a:cubicBezTo>
                  <a:cubicBezTo>
                    <a:pt x="31063" y="444985"/>
                    <a:pt x="33756" y="447172"/>
                    <a:pt x="33756" y="447172"/>
                  </a:cubicBezTo>
                  <a:cubicBezTo>
                    <a:pt x="33756" y="447172"/>
                    <a:pt x="33453" y="449627"/>
                    <a:pt x="33183" y="449930"/>
                  </a:cubicBezTo>
                  <a:cubicBezTo>
                    <a:pt x="32880" y="450233"/>
                    <a:pt x="31804" y="451747"/>
                    <a:pt x="31602" y="451881"/>
                  </a:cubicBezTo>
                  <a:cubicBezTo>
                    <a:pt x="31400" y="452016"/>
                    <a:pt x="30861" y="452823"/>
                    <a:pt x="30861" y="452823"/>
                  </a:cubicBezTo>
                  <a:lnTo>
                    <a:pt x="28337" y="457297"/>
                  </a:lnTo>
                  <a:lnTo>
                    <a:pt x="22380" y="458811"/>
                  </a:lnTo>
                  <a:lnTo>
                    <a:pt x="18173" y="461199"/>
                  </a:lnTo>
                  <a:lnTo>
                    <a:pt x="16356" y="463016"/>
                  </a:lnTo>
                  <a:lnTo>
                    <a:pt x="14909" y="464698"/>
                  </a:lnTo>
                  <a:lnTo>
                    <a:pt x="14976" y="466514"/>
                  </a:lnTo>
                  <a:lnTo>
                    <a:pt x="16289" y="467759"/>
                  </a:lnTo>
                  <a:lnTo>
                    <a:pt x="17164" y="468634"/>
                  </a:lnTo>
                  <a:lnTo>
                    <a:pt x="18544" y="469206"/>
                  </a:lnTo>
                  <a:lnTo>
                    <a:pt x="20193" y="471157"/>
                  </a:lnTo>
                  <a:lnTo>
                    <a:pt x="20933" y="473175"/>
                  </a:lnTo>
                  <a:lnTo>
                    <a:pt x="21741" y="474622"/>
                  </a:lnTo>
                  <a:lnTo>
                    <a:pt x="22818" y="476438"/>
                  </a:lnTo>
                  <a:lnTo>
                    <a:pt x="22818" y="478457"/>
                  </a:lnTo>
                  <a:cubicBezTo>
                    <a:pt x="22818" y="478457"/>
                    <a:pt x="22347" y="480542"/>
                    <a:pt x="22347" y="480980"/>
                  </a:cubicBezTo>
                  <a:cubicBezTo>
                    <a:pt x="22347" y="481417"/>
                    <a:pt x="22818" y="483570"/>
                    <a:pt x="22818" y="484612"/>
                  </a:cubicBezTo>
                  <a:cubicBezTo>
                    <a:pt x="22818" y="485622"/>
                    <a:pt x="22818" y="487135"/>
                    <a:pt x="22818" y="487135"/>
                  </a:cubicBezTo>
                  <a:cubicBezTo>
                    <a:pt x="22818" y="487135"/>
                    <a:pt x="22616" y="489759"/>
                    <a:pt x="22616" y="490029"/>
                  </a:cubicBezTo>
                  <a:cubicBezTo>
                    <a:pt x="22616" y="490331"/>
                    <a:pt x="22751" y="492552"/>
                    <a:pt x="22751" y="492854"/>
                  </a:cubicBezTo>
                  <a:cubicBezTo>
                    <a:pt x="22751" y="493157"/>
                    <a:pt x="22885" y="495041"/>
                    <a:pt x="22885" y="495243"/>
                  </a:cubicBezTo>
                  <a:cubicBezTo>
                    <a:pt x="22885" y="495445"/>
                    <a:pt x="22683" y="499212"/>
                    <a:pt x="22683" y="499212"/>
                  </a:cubicBezTo>
                  <a:lnTo>
                    <a:pt x="23255" y="501230"/>
                  </a:lnTo>
                  <a:lnTo>
                    <a:pt x="23188" y="503989"/>
                  </a:lnTo>
                  <a:lnTo>
                    <a:pt x="22818" y="508194"/>
                  </a:lnTo>
                  <a:lnTo>
                    <a:pt x="22818" y="511457"/>
                  </a:lnTo>
                  <a:lnTo>
                    <a:pt x="23558" y="513980"/>
                  </a:lnTo>
                  <a:cubicBezTo>
                    <a:pt x="23558" y="513980"/>
                    <a:pt x="22549" y="516604"/>
                    <a:pt x="22313" y="517310"/>
                  </a:cubicBezTo>
                  <a:cubicBezTo>
                    <a:pt x="22111" y="518050"/>
                    <a:pt x="19553" y="520641"/>
                    <a:pt x="19553" y="520641"/>
                  </a:cubicBezTo>
                  <a:cubicBezTo>
                    <a:pt x="19553" y="520641"/>
                    <a:pt x="15919" y="522154"/>
                    <a:pt x="15851" y="522457"/>
                  </a:cubicBezTo>
                  <a:cubicBezTo>
                    <a:pt x="15784" y="522726"/>
                    <a:pt x="14404" y="523836"/>
                    <a:pt x="14404" y="523836"/>
                  </a:cubicBezTo>
                  <a:cubicBezTo>
                    <a:pt x="14404" y="523836"/>
                    <a:pt x="11577" y="525283"/>
                    <a:pt x="11274" y="525283"/>
                  </a:cubicBezTo>
                  <a:cubicBezTo>
                    <a:pt x="10971" y="525283"/>
                    <a:pt x="8750" y="525653"/>
                    <a:pt x="8447" y="525653"/>
                  </a:cubicBezTo>
                  <a:cubicBezTo>
                    <a:pt x="8144" y="525653"/>
                    <a:pt x="4745" y="523567"/>
                    <a:pt x="4476" y="523567"/>
                  </a:cubicBezTo>
                  <a:cubicBezTo>
                    <a:pt x="4173" y="523567"/>
                    <a:pt x="2154" y="523870"/>
                    <a:pt x="2154" y="524139"/>
                  </a:cubicBezTo>
                  <a:cubicBezTo>
                    <a:pt x="2154" y="524442"/>
                    <a:pt x="1716" y="526090"/>
                    <a:pt x="1077" y="526965"/>
                  </a:cubicBezTo>
                  <a:cubicBezTo>
                    <a:pt x="438" y="527840"/>
                    <a:pt x="0" y="530531"/>
                    <a:pt x="0" y="530531"/>
                  </a:cubicBezTo>
                  <a:lnTo>
                    <a:pt x="875" y="536989"/>
                  </a:lnTo>
                  <a:lnTo>
                    <a:pt x="942" y="542069"/>
                  </a:lnTo>
                  <a:lnTo>
                    <a:pt x="1885" y="548225"/>
                  </a:lnTo>
                  <a:cubicBezTo>
                    <a:pt x="1885" y="548225"/>
                    <a:pt x="3904" y="551757"/>
                    <a:pt x="4207" y="552699"/>
                  </a:cubicBezTo>
                  <a:cubicBezTo>
                    <a:pt x="4510" y="553641"/>
                    <a:pt x="8111" y="558923"/>
                    <a:pt x="8111" y="558923"/>
                  </a:cubicBezTo>
                  <a:lnTo>
                    <a:pt x="11745" y="561883"/>
                  </a:lnTo>
                  <a:cubicBezTo>
                    <a:pt x="11745" y="561883"/>
                    <a:pt x="16020" y="562825"/>
                    <a:pt x="16322" y="563026"/>
                  </a:cubicBezTo>
                  <a:cubicBezTo>
                    <a:pt x="16625" y="563262"/>
                    <a:pt x="18207" y="565045"/>
                    <a:pt x="18207" y="565348"/>
                  </a:cubicBezTo>
                  <a:cubicBezTo>
                    <a:pt x="18207" y="565650"/>
                    <a:pt x="18140" y="567602"/>
                    <a:pt x="17972" y="568543"/>
                  </a:cubicBezTo>
                  <a:cubicBezTo>
                    <a:pt x="17837" y="569485"/>
                    <a:pt x="17467" y="570360"/>
                    <a:pt x="17467" y="570360"/>
                  </a:cubicBezTo>
                  <a:lnTo>
                    <a:pt x="14943" y="572681"/>
                  </a:lnTo>
                  <a:lnTo>
                    <a:pt x="15750" y="575641"/>
                  </a:lnTo>
                  <a:lnTo>
                    <a:pt x="18779" y="577323"/>
                  </a:lnTo>
                  <a:lnTo>
                    <a:pt x="20226" y="578400"/>
                  </a:lnTo>
                  <a:lnTo>
                    <a:pt x="21101" y="579712"/>
                  </a:lnTo>
                  <a:lnTo>
                    <a:pt x="21101" y="582739"/>
                  </a:lnTo>
                  <a:cubicBezTo>
                    <a:pt x="21101" y="582739"/>
                    <a:pt x="20597" y="582975"/>
                    <a:pt x="20361" y="583177"/>
                  </a:cubicBezTo>
                  <a:cubicBezTo>
                    <a:pt x="20159" y="583379"/>
                    <a:pt x="19217" y="585431"/>
                    <a:pt x="19217" y="585431"/>
                  </a:cubicBezTo>
                  <a:cubicBezTo>
                    <a:pt x="19217" y="585431"/>
                    <a:pt x="18847" y="586238"/>
                    <a:pt x="18847" y="586507"/>
                  </a:cubicBezTo>
                  <a:cubicBezTo>
                    <a:pt x="18847" y="586810"/>
                    <a:pt x="18779" y="587146"/>
                    <a:pt x="18847" y="587382"/>
                  </a:cubicBezTo>
                  <a:cubicBezTo>
                    <a:pt x="18914" y="587617"/>
                    <a:pt x="18914" y="590073"/>
                    <a:pt x="18914" y="590073"/>
                  </a:cubicBezTo>
                  <a:cubicBezTo>
                    <a:pt x="18914" y="590073"/>
                    <a:pt x="19991" y="591015"/>
                    <a:pt x="20226" y="591216"/>
                  </a:cubicBezTo>
                  <a:cubicBezTo>
                    <a:pt x="20462" y="591418"/>
                    <a:pt x="20529" y="591587"/>
                    <a:pt x="21606" y="591587"/>
                  </a:cubicBezTo>
                  <a:cubicBezTo>
                    <a:pt x="22683" y="591587"/>
                    <a:pt x="22986" y="592024"/>
                    <a:pt x="23996" y="592091"/>
                  </a:cubicBezTo>
                  <a:cubicBezTo>
                    <a:pt x="25005" y="592159"/>
                    <a:pt x="26015" y="592663"/>
                    <a:pt x="26520" y="592898"/>
                  </a:cubicBezTo>
                  <a:cubicBezTo>
                    <a:pt x="27025" y="593100"/>
                    <a:pt x="28539" y="593201"/>
                    <a:pt x="28606" y="593403"/>
                  </a:cubicBezTo>
                  <a:cubicBezTo>
                    <a:pt x="28674" y="593605"/>
                    <a:pt x="29246" y="594345"/>
                    <a:pt x="29616" y="594984"/>
                  </a:cubicBezTo>
                  <a:cubicBezTo>
                    <a:pt x="29986" y="595623"/>
                    <a:pt x="30424" y="596498"/>
                    <a:pt x="30424" y="596498"/>
                  </a:cubicBezTo>
                  <a:lnTo>
                    <a:pt x="31433" y="598886"/>
                  </a:lnTo>
                  <a:cubicBezTo>
                    <a:pt x="31433" y="598886"/>
                    <a:pt x="33385" y="600266"/>
                    <a:pt x="33621" y="600400"/>
                  </a:cubicBezTo>
                  <a:cubicBezTo>
                    <a:pt x="33823" y="600535"/>
                    <a:pt x="37592" y="604033"/>
                    <a:pt x="37592" y="604033"/>
                  </a:cubicBezTo>
                  <a:cubicBezTo>
                    <a:pt x="37592" y="604033"/>
                    <a:pt x="38164" y="604740"/>
                    <a:pt x="38333" y="604975"/>
                  </a:cubicBezTo>
                  <a:cubicBezTo>
                    <a:pt x="38467" y="605177"/>
                    <a:pt x="40015" y="608810"/>
                    <a:pt x="40015" y="608810"/>
                  </a:cubicBezTo>
                  <a:cubicBezTo>
                    <a:pt x="40015" y="608810"/>
                    <a:pt x="40318" y="611434"/>
                    <a:pt x="40318" y="611703"/>
                  </a:cubicBezTo>
                  <a:cubicBezTo>
                    <a:pt x="40318" y="612006"/>
                    <a:pt x="40453" y="614529"/>
                    <a:pt x="40453" y="615235"/>
                  </a:cubicBezTo>
                  <a:cubicBezTo>
                    <a:pt x="40453" y="615975"/>
                    <a:pt x="40587" y="617489"/>
                    <a:pt x="40587" y="617489"/>
                  </a:cubicBezTo>
                  <a:lnTo>
                    <a:pt x="40958" y="619070"/>
                  </a:lnTo>
                  <a:cubicBezTo>
                    <a:pt x="40958" y="619070"/>
                    <a:pt x="42405" y="620079"/>
                    <a:pt x="42775" y="620315"/>
                  </a:cubicBezTo>
                  <a:cubicBezTo>
                    <a:pt x="43145" y="620517"/>
                    <a:pt x="44592" y="621391"/>
                    <a:pt x="44794" y="621560"/>
                  </a:cubicBezTo>
                  <a:cubicBezTo>
                    <a:pt x="45030" y="621694"/>
                    <a:pt x="46174" y="625764"/>
                    <a:pt x="46174" y="625764"/>
                  </a:cubicBezTo>
                  <a:lnTo>
                    <a:pt x="46982" y="627783"/>
                  </a:lnTo>
                  <a:lnTo>
                    <a:pt x="48866" y="630979"/>
                  </a:lnTo>
                  <a:lnTo>
                    <a:pt x="49809" y="633502"/>
                  </a:lnTo>
                  <a:lnTo>
                    <a:pt x="50381" y="634814"/>
                  </a:lnTo>
                  <a:lnTo>
                    <a:pt x="54016" y="637067"/>
                  </a:lnTo>
                  <a:lnTo>
                    <a:pt x="59535" y="638211"/>
                  </a:lnTo>
                  <a:cubicBezTo>
                    <a:pt x="59535" y="638211"/>
                    <a:pt x="63304" y="640599"/>
                    <a:pt x="63506" y="640667"/>
                  </a:cubicBezTo>
                  <a:cubicBezTo>
                    <a:pt x="63708" y="640734"/>
                    <a:pt x="65694" y="643291"/>
                    <a:pt x="65761" y="643493"/>
                  </a:cubicBezTo>
                  <a:cubicBezTo>
                    <a:pt x="65828" y="643694"/>
                    <a:pt x="70338" y="647765"/>
                    <a:pt x="70910" y="648505"/>
                  </a:cubicBezTo>
                  <a:cubicBezTo>
                    <a:pt x="71482" y="649211"/>
                    <a:pt x="77809" y="655233"/>
                    <a:pt x="77809" y="655233"/>
                  </a:cubicBezTo>
                  <a:cubicBezTo>
                    <a:pt x="77809" y="655233"/>
                    <a:pt x="78550" y="657318"/>
                    <a:pt x="78550" y="657621"/>
                  </a:cubicBezTo>
                  <a:cubicBezTo>
                    <a:pt x="78550" y="657924"/>
                    <a:pt x="78550" y="659202"/>
                    <a:pt x="78550" y="659202"/>
                  </a:cubicBezTo>
                  <a:lnTo>
                    <a:pt x="79997" y="661826"/>
                  </a:lnTo>
                  <a:lnTo>
                    <a:pt x="82891" y="661826"/>
                  </a:lnTo>
                  <a:cubicBezTo>
                    <a:pt x="82891" y="661826"/>
                    <a:pt x="86223" y="660884"/>
                    <a:pt x="87367" y="660581"/>
                  </a:cubicBezTo>
                  <a:cubicBezTo>
                    <a:pt x="88512" y="660279"/>
                    <a:pt x="89891" y="659942"/>
                    <a:pt x="90262" y="659774"/>
                  </a:cubicBezTo>
                  <a:cubicBezTo>
                    <a:pt x="90632" y="659640"/>
                    <a:pt x="93391" y="659034"/>
                    <a:pt x="94031" y="658529"/>
                  </a:cubicBezTo>
                  <a:cubicBezTo>
                    <a:pt x="94670" y="658025"/>
                    <a:pt x="95041" y="657150"/>
                    <a:pt x="95613" y="656948"/>
                  </a:cubicBezTo>
                  <a:cubicBezTo>
                    <a:pt x="96185" y="656747"/>
                    <a:pt x="97430" y="654930"/>
                    <a:pt x="97632" y="654627"/>
                  </a:cubicBezTo>
                  <a:cubicBezTo>
                    <a:pt x="97834" y="654324"/>
                    <a:pt x="99012" y="652542"/>
                    <a:pt x="99146" y="652239"/>
                  </a:cubicBezTo>
                  <a:cubicBezTo>
                    <a:pt x="99281" y="651936"/>
                    <a:pt x="100964" y="650557"/>
                    <a:pt x="100964" y="650557"/>
                  </a:cubicBezTo>
                  <a:lnTo>
                    <a:pt x="102916" y="649480"/>
                  </a:lnTo>
                  <a:lnTo>
                    <a:pt x="105608" y="648740"/>
                  </a:lnTo>
                  <a:lnTo>
                    <a:pt x="110959" y="649178"/>
                  </a:lnTo>
                  <a:lnTo>
                    <a:pt x="112911" y="650254"/>
                  </a:lnTo>
                  <a:lnTo>
                    <a:pt x="114863" y="652340"/>
                  </a:lnTo>
                  <a:lnTo>
                    <a:pt x="116377" y="653585"/>
                  </a:lnTo>
                  <a:cubicBezTo>
                    <a:pt x="116377" y="653585"/>
                    <a:pt x="117253" y="653786"/>
                    <a:pt x="117825" y="653786"/>
                  </a:cubicBezTo>
                  <a:cubicBezTo>
                    <a:pt x="118397" y="653786"/>
                    <a:pt x="119272" y="652979"/>
                    <a:pt x="119642" y="652340"/>
                  </a:cubicBezTo>
                  <a:cubicBezTo>
                    <a:pt x="120012" y="651701"/>
                    <a:pt x="120887" y="651263"/>
                    <a:pt x="120887" y="651263"/>
                  </a:cubicBezTo>
                  <a:lnTo>
                    <a:pt x="121695" y="650187"/>
                  </a:lnTo>
                  <a:cubicBezTo>
                    <a:pt x="121695" y="650187"/>
                    <a:pt x="122637" y="648370"/>
                    <a:pt x="122839" y="648303"/>
                  </a:cubicBezTo>
                  <a:cubicBezTo>
                    <a:pt x="123041" y="648236"/>
                    <a:pt x="125094" y="647933"/>
                    <a:pt x="125094" y="647933"/>
                  </a:cubicBezTo>
                  <a:cubicBezTo>
                    <a:pt x="125094" y="647933"/>
                    <a:pt x="126339" y="647193"/>
                    <a:pt x="126609" y="647126"/>
                  </a:cubicBezTo>
                  <a:cubicBezTo>
                    <a:pt x="126911" y="647058"/>
                    <a:pt x="126911" y="646318"/>
                    <a:pt x="127618" y="646116"/>
                  </a:cubicBezTo>
                  <a:cubicBezTo>
                    <a:pt x="128359" y="645915"/>
                    <a:pt x="129301" y="645242"/>
                    <a:pt x="130142" y="645477"/>
                  </a:cubicBezTo>
                  <a:cubicBezTo>
                    <a:pt x="131017" y="645713"/>
                    <a:pt x="132666" y="645477"/>
                    <a:pt x="132969" y="645612"/>
                  </a:cubicBezTo>
                  <a:cubicBezTo>
                    <a:pt x="133272" y="645746"/>
                    <a:pt x="135864" y="646251"/>
                    <a:pt x="136166" y="646352"/>
                  </a:cubicBezTo>
                  <a:cubicBezTo>
                    <a:pt x="136469" y="646419"/>
                    <a:pt x="137479" y="646352"/>
                    <a:pt x="138354" y="646924"/>
                  </a:cubicBezTo>
                  <a:cubicBezTo>
                    <a:pt x="139229" y="647496"/>
                    <a:pt x="143066" y="649817"/>
                    <a:pt x="143066" y="649817"/>
                  </a:cubicBezTo>
                  <a:lnTo>
                    <a:pt x="143200" y="651129"/>
                  </a:lnTo>
                  <a:cubicBezTo>
                    <a:pt x="143200" y="651129"/>
                    <a:pt x="142897" y="652811"/>
                    <a:pt x="142763" y="653012"/>
                  </a:cubicBezTo>
                  <a:cubicBezTo>
                    <a:pt x="142628" y="653214"/>
                    <a:pt x="141719" y="653954"/>
                    <a:pt x="141719" y="653954"/>
                  </a:cubicBezTo>
                  <a:lnTo>
                    <a:pt x="141114" y="654896"/>
                  </a:lnTo>
                  <a:lnTo>
                    <a:pt x="141114" y="655704"/>
                  </a:lnTo>
                  <a:lnTo>
                    <a:pt x="141618" y="658092"/>
                  </a:lnTo>
                  <a:lnTo>
                    <a:pt x="143301" y="658664"/>
                  </a:lnTo>
                  <a:lnTo>
                    <a:pt x="145623" y="660178"/>
                  </a:lnTo>
                  <a:lnTo>
                    <a:pt x="146196" y="660615"/>
                  </a:lnTo>
                  <a:lnTo>
                    <a:pt x="147575" y="662364"/>
                  </a:lnTo>
                  <a:cubicBezTo>
                    <a:pt x="147575" y="662364"/>
                    <a:pt x="147811" y="664181"/>
                    <a:pt x="147946" y="664383"/>
                  </a:cubicBezTo>
                  <a:cubicBezTo>
                    <a:pt x="148080" y="664618"/>
                    <a:pt x="148450" y="665964"/>
                    <a:pt x="148450" y="665964"/>
                  </a:cubicBezTo>
                  <a:lnTo>
                    <a:pt x="149325" y="667478"/>
                  </a:lnTo>
                  <a:lnTo>
                    <a:pt x="150470" y="669160"/>
                  </a:lnTo>
                  <a:lnTo>
                    <a:pt x="152422" y="672927"/>
                  </a:lnTo>
                  <a:cubicBezTo>
                    <a:pt x="152422" y="672927"/>
                    <a:pt x="153936" y="675820"/>
                    <a:pt x="154172" y="676459"/>
                  </a:cubicBezTo>
                  <a:cubicBezTo>
                    <a:pt x="154374" y="677099"/>
                    <a:pt x="156359" y="679588"/>
                    <a:pt x="156561" y="679857"/>
                  </a:cubicBezTo>
                  <a:cubicBezTo>
                    <a:pt x="156763" y="680160"/>
                    <a:pt x="157201" y="680160"/>
                    <a:pt x="157874" y="680664"/>
                  </a:cubicBezTo>
                  <a:cubicBezTo>
                    <a:pt x="158513" y="681169"/>
                    <a:pt x="160768" y="682044"/>
                    <a:pt x="160768" y="682548"/>
                  </a:cubicBezTo>
                  <a:cubicBezTo>
                    <a:pt x="160768" y="683053"/>
                    <a:pt x="161138" y="684499"/>
                    <a:pt x="161205" y="685071"/>
                  </a:cubicBezTo>
                  <a:cubicBezTo>
                    <a:pt x="161273" y="685643"/>
                    <a:pt x="161273" y="686888"/>
                    <a:pt x="162080" y="687392"/>
                  </a:cubicBezTo>
                  <a:cubicBezTo>
                    <a:pt x="162888" y="687897"/>
                    <a:pt x="162955" y="687695"/>
                    <a:pt x="163830" y="688200"/>
                  </a:cubicBezTo>
                  <a:cubicBezTo>
                    <a:pt x="164706" y="688704"/>
                    <a:pt x="166523" y="689882"/>
                    <a:pt x="166960" y="690151"/>
                  </a:cubicBezTo>
                  <a:cubicBezTo>
                    <a:pt x="167398" y="690453"/>
                    <a:pt x="168980" y="692169"/>
                    <a:pt x="168980" y="692169"/>
                  </a:cubicBezTo>
                  <a:cubicBezTo>
                    <a:pt x="168980" y="692169"/>
                    <a:pt x="169283" y="692741"/>
                    <a:pt x="169484" y="692808"/>
                  </a:cubicBezTo>
                  <a:cubicBezTo>
                    <a:pt x="169720" y="692876"/>
                    <a:pt x="173052" y="692741"/>
                    <a:pt x="173489" y="692808"/>
                  </a:cubicBezTo>
                  <a:cubicBezTo>
                    <a:pt x="173927" y="692876"/>
                    <a:pt x="174735" y="692775"/>
                    <a:pt x="175138" y="692842"/>
                  </a:cubicBezTo>
                  <a:cubicBezTo>
                    <a:pt x="175576" y="692909"/>
                    <a:pt x="176384" y="692876"/>
                    <a:pt x="177158" y="692842"/>
                  </a:cubicBezTo>
                  <a:cubicBezTo>
                    <a:pt x="177965" y="692808"/>
                    <a:pt x="178470" y="692909"/>
                    <a:pt x="178908" y="693246"/>
                  </a:cubicBezTo>
                  <a:cubicBezTo>
                    <a:pt x="179345" y="693616"/>
                    <a:pt x="182980" y="697148"/>
                    <a:pt x="182980" y="697148"/>
                  </a:cubicBezTo>
                  <a:cubicBezTo>
                    <a:pt x="182980" y="697148"/>
                    <a:pt x="183889" y="698964"/>
                    <a:pt x="184326" y="699536"/>
                  </a:cubicBezTo>
                  <a:cubicBezTo>
                    <a:pt x="184764" y="700108"/>
                    <a:pt x="186379" y="704448"/>
                    <a:pt x="186379" y="704448"/>
                  </a:cubicBezTo>
                  <a:lnTo>
                    <a:pt x="186379" y="706029"/>
                  </a:lnTo>
                  <a:lnTo>
                    <a:pt x="186009" y="708215"/>
                  </a:lnTo>
                  <a:lnTo>
                    <a:pt x="187389" y="710536"/>
                  </a:lnTo>
                  <a:cubicBezTo>
                    <a:pt x="187389" y="710536"/>
                    <a:pt x="188970" y="711108"/>
                    <a:pt x="189711" y="711344"/>
                  </a:cubicBezTo>
                  <a:cubicBezTo>
                    <a:pt x="190418" y="711546"/>
                    <a:pt x="195735" y="710469"/>
                    <a:pt x="196004" y="710402"/>
                  </a:cubicBezTo>
                  <a:cubicBezTo>
                    <a:pt x="196307" y="710335"/>
                    <a:pt x="197586" y="709325"/>
                    <a:pt x="197889" y="709325"/>
                  </a:cubicBezTo>
                  <a:cubicBezTo>
                    <a:pt x="198192" y="709325"/>
                    <a:pt x="200851" y="708955"/>
                    <a:pt x="201153" y="708821"/>
                  </a:cubicBezTo>
                  <a:cubicBezTo>
                    <a:pt x="201456" y="708686"/>
                    <a:pt x="205865" y="708619"/>
                    <a:pt x="206235" y="708888"/>
                  </a:cubicBezTo>
                  <a:cubicBezTo>
                    <a:pt x="206605" y="709157"/>
                    <a:pt x="209634" y="710637"/>
                    <a:pt x="209634" y="710637"/>
                  </a:cubicBezTo>
                  <a:cubicBezTo>
                    <a:pt x="209634" y="710637"/>
                    <a:pt x="212529" y="712891"/>
                    <a:pt x="212764" y="712958"/>
                  </a:cubicBezTo>
                  <a:cubicBezTo>
                    <a:pt x="213000" y="713026"/>
                    <a:pt x="214952" y="715650"/>
                    <a:pt x="214952" y="715650"/>
                  </a:cubicBezTo>
                  <a:lnTo>
                    <a:pt x="215187" y="717601"/>
                  </a:lnTo>
                  <a:cubicBezTo>
                    <a:pt x="215187" y="717601"/>
                    <a:pt x="215120" y="719619"/>
                    <a:pt x="215120" y="720056"/>
                  </a:cubicBezTo>
                  <a:cubicBezTo>
                    <a:pt x="215120" y="720494"/>
                    <a:pt x="214985" y="721570"/>
                    <a:pt x="214985" y="722007"/>
                  </a:cubicBezTo>
                  <a:cubicBezTo>
                    <a:pt x="214985" y="722445"/>
                    <a:pt x="214346" y="725641"/>
                    <a:pt x="214346" y="725641"/>
                  </a:cubicBezTo>
                  <a:lnTo>
                    <a:pt x="215154" y="729980"/>
                  </a:lnTo>
                  <a:cubicBezTo>
                    <a:pt x="215154" y="729980"/>
                    <a:pt x="215086" y="730182"/>
                    <a:pt x="215961" y="729980"/>
                  </a:cubicBezTo>
                  <a:cubicBezTo>
                    <a:pt x="216836" y="729778"/>
                    <a:pt x="218216" y="728096"/>
                    <a:pt x="218216" y="728096"/>
                  </a:cubicBezTo>
                  <a:cubicBezTo>
                    <a:pt x="218216" y="728096"/>
                    <a:pt x="218351" y="727020"/>
                    <a:pt x="218519" y="726650"/>
                  </a:cubicBezTo>
                  <a:cubicBezTo>
                    <a:pt x="218654" y="726280"/>
                    <a:pt x="218957" y="725338"/>
                    <a:pt x="219394" y="724833"/>
                  </a:cubicBezTo>
                  <a:cubicBezTo>
                    <a:pt x="219832" y="724329"/>
                    <a:pt x="220841" y="723824"/>
                    <a:pt x="221414" y="723689"/>
                  </a:cubicBezTo>
                  <a:cubicBezTo>
                    <a:pt x="221986" y="723555"/>
                    <a:pt x="227135" y="723118"/>
                    <a:pt x="227135" y="723118"/>
                  </a:cubicBezTo>
                  <a:cubicBezTo>
                    <a:pt x="227135" y="723118"/>
                    <a:pt x="228817" y="723555"/>
                    <a:pt x="229457" y="723925"/>
                  </a:cubicBezTo>
                  <a:cubicBezTo>
                    <a:pt x="230096" y="724295"/>
                    <a:pt x="230399" y="724228"/>
                    <a:pt x="231207" y="725170"/>
                  </a:cubicBezTo>
                  <a:cubicBezTo>
                    <a:pt x="232015" y="726112"/>
                    <a:pt x="234236" y="728870"/>
                    <a:pt x="234471" y="729072"/>
                  </a:cubicBezTo>
                  <a:cubicBezTo>
                    <a:pt x="234673" y="729307"/>
                    <a:pt x="235851" y="731326"/>
                    <a:pt x="235851" y="731326"/>
                  </a:cubicBezTo>
                  <a:lnTo>
                    <a:pt x="236491" y="733344"/>
                  </a:lnTo>
                  <a:cubicBezTo>
                    <a:pt x="236491" y="733344"/>
                    <a:pt x="236861" y="734286"/>
                    <a:pt x="237568" y="734286"/>
                  </a:cubicBezTo>
                  <a:cubicBezTo>
                    <a:pt x="238274" y="734286"/>
                    <a:pt x="240159" y="733041"/>
                    <a:pt x="240597" y="732907"/>
                  </a:cubicBezTo>
                  <a:cubicBezTo>
                    <a:pt x="241034" y="732772"/>
                    <a:pt x="242044" y="731763"/>
                    <a:pt x="242347" y="731460"/>
                  </a:cubicBezTo>
                  <a:cubicBezTo>
                    <a:pt x="242650" y="731157"/>
                    <a:pt x="244803" y="730215"/>
                    <a:pt x="244803" y="730215"/>
                  </a:cubicBezTo>
                  <a:cubicBezTo>
                    <a:pt x="244803" y="730215"/>
                    <a:pt x="247563" y="731595"/>
                    <a:pt x="248270" y="732301"/>
                  </a:cubicBezTo>
                  <a:cubicBezTo>
                    <a:pt x="249010" y="733041"/>
                    <a:pt x="250020" y="733815"/>
                    <a:pt x="250020" y="733815"/>
                  </a:cubicBezTo>
                  <a:lnTo>
                    <a:pt x="251467" y="733613"/>
                  </a:lnTo>
                  <a:lnTo>
                    <a:pt x="253991" y="731662"/>
                  </a:lnTo>
                  <a:cubicBezTo>
                    <a:pt x="253991" y="731662"/>
                    <a:pt x="254294" y="731090"/>
                    <a:pt x="254496" y="730855"/>
                  </a:cubicBezTo>
                  <a:cubicBezTo>
                    <a:pt x="254698" y="730653"/>
                    <a:pt x="255573" y="730350"/>
                    <a:pt x="255809" y="730350"/>
                  </a:cubicBezTo>
                  <a:cubicBezTo>
                    <a:pt x="256010" y="730350"/>
                    <a:pt x="259342" y="731662"/>
                    <a:pt x="259342" y="731662"/>
                  </a:cubicBezTo>
                  <a:cubicBezTo>
                    <a:pt x="259342" y="731662"/>
                    <a:pt x="260083" y="731965"/>
                    <a:pt x="260285" y="732301"/>
                  </a:cubicBezTo>
                  <a:cubicBezTo>
                    <a:pt x="260486" y="732671"/>
                    <a:pt x="262035" y="734757"/>
                    <a:pt x="262035" y="734757"/>
                  </a:cubicBezTo>
                  <a:cubicBezTo>
                    <a:pt x="262035" y="734757"/>
                    <a:pt x="263414" y="736136"/>
                    <a:pt x="263616" y="736439"/>
                  </a:cubicBezTo>
                  <a:cubicBezTo>
                    <a:pt x="263818" y="736742"/>
                    <a:pt x="265064" y="737246"/>
                    <a:pt x="265366" y="737313"/>
                  </a:cubicBezTo>
                  <a:cubicBezTo>
                    <a:pt x="265669" y="737381"/>
                    <a:pt x="266814" y="736674"/>
                    <a:pt x="267049" y="736674"/>
                  </a:cubicBezTo>
                  <a:cubicBezTo>
                    <a:pt x="267251" y="736674"/>
                    <a:pt x="268227" y="736540"/>
                    <a:pt x="269237" y="736372"/>
                  </a:cubicBezTo>
                  <a:cubicBezTo>
                    <a:pt x="270246" y="736237"/>
                    <a:pt x="271626" y="736002"/>
                    <a:pt x="272367" y="735800"/>
                  </a:cubicBezTo>
                  <a:cubicBezTo>
                    <a:pt x="273107" y="735598"/>
                    <a:pt x="273814" y="734992"/>
                    <a:pt x="274117" y="734858"/>
                  </a:cubicBezTo>
                  <a:cubicBezTo>
                    <a:pt x="274419" y="734723"/>
                    <a:pt x="275564" y="732907"/>
                    <a:pt x="275867" y="732907"/>
                  </a:cubicBezTo>
                  <a:cubicBezTo>
                    <a:pt x="276169" y="732907"/>
                    <a:pt x="278121" y="732604"/>
                    <a:pt x="278391" y="732604"/>
                  </a:cubicBezTo>
                  <a:cubicBezTo>
                    <a:pt x="278694" y="732604"/>
                    <a:pt x="282463" y="736742"/>
                    <a:pt x="282867" y="737313"/>
                  </a:cubicBezTo>
                  <a:cubicBezTo>
                    <a:pt x="283304" y="737885"/>
                    <a:pt x="283304" y="737751"/>
                    <a:pt x="283742" y="739063"/>
                  </a:cubicBezTo>
                  <a:cubicBezTo>
                    <a:pt x="284179" y="740375"/>
                    <a:pt x="284549" y="743335"/>
                    <a:pt x="284617" y="743638"/>
                  </a:cubicBezTo>
                  <a:cubicBezTo>
                    <a:pt x="284684" y="743941"/>
                    <a:pt x="285122" y="746262"/>
                    <a:pt x="285425" y="746968"/>
                  </a:cubicBezTo>
                  <a:cubicBezTo>
                    <a:pt x="285694" y="747674"/>
                    <a:pt x="286804" y="749289"/>
                    <a:pt x="286804" y="749289"/>
                  </a:cubicBezTo>
                  <a:lnTo>
                    <a:pt x="287679" y="749726"/>
                  </a:lnTo>
                  <a:cubicBezTo>
                    <a:pt x="287679" y="749726"/>
                    <a:pt x="289194" y="750231"/>
                    <a:pt x="289934" y="749996"/>
                  </a:cubicBezTo>
                  <a:cubicBezTo>
                    <a:pt x="290641" y="749794"/>
                    <a:pt x="294410" y="749693"/>
                    <a:pt x="294646" y="749626"/>
                  </a:cubicBezTo>
                  <a:cubicBezTo>
                    <a:pt x="294848" y="749558"/>
                    <a:pt x="297035" y="749054"/>
                    <a:pt x="297338" y="749054"/>
                  </a:cubicBezTo>
                  <a:cubicBezTo>
                    <a:pt x="297641" y="749054"/>
                    <a:pt x="300098" y="748044"/>
                    <a:pt x="300670" y="748044"/>
                  </a:cubicBezTo>
                  <a:cubicBezTo>
                    <a:pt x="301242" y="748044"/>
                    <a:pt x="305079" y="748919"/>
                    <a:pt x="305314" y="748986"/>
                  </a:cubicBezTo>
                  <a:cubicBezTo>
                    <a:pt x="305516" y="749054"/>
                    <a:pt x="306762" y="750366"/>
                    <a:pt x="306896" y="750870"/>
                  </a:cubicBezTo>
                  <a:cubicBezTo>
                    <a:pt x="307031" y="751375"/>
                    <a:pt x="307973" y="754941"/>
                    <a:pt x="308141" y="755580"/>
                  </a:cubicBezTo>
                  <a:cubicBezTo>
                    <a:pt x="308276" y="756219"/>
                    <a:pt x="308781" y="757901"/>
                    <a:pt x="308882" y="758271"/>
                  </a:cubicBezTo>
                  <a:cubicBezTo>
                    <a:pt x="308949" y="758641"/>
                    <a:pt x="308949" y="759650"/>
                    <a:pt x="309016" y="760222"/>
                  </a:cubicBezTo>
                  <a:cubicBezTo>
                    <a:pt x="309084" y="760794"/>
                    <a:pt x="310161" y="761601"/>
                    <a:pt x="310464" y="761736"/>
                  </a:cubicBezTo>
                  <a:cubicBezTo>
                    <a:pt x="310766" y="761870"/>
                    <a:pt x="313223" y="761534"/>
                    <a:pt x="313930" y="761736"/>
                  </a:cubicBezTo>
                  <a:cubicBezTo>
                    <a:pt x="314637" y="761971"/>
                    <a:pt x="315310" y="761870"/>
                    <a:pt x="315310" y="762240"/>
                  </a:cubicBezTo>
                  <a:cubicBezTo>
                    <a:pt x="315310" y="762610"/>
                    <a:pt x="316690" y="765874"/>
                    <a:pt x="316690" y="765874"/>
                  </a:cubicBezTo>
                  <a:cubicBezTo>
                    <a:pt x="316690" y="765874"/>
                    <a:pt x="316488" y="766378"/>
                    <a:pt x="316993" y="767017"/>
                  </a:cubicBezTo>
                  <a:cubicBezTo>
                    <a:pt x="317497" y="767656"/>
                    <a:pt x="318944" y="767085"/>
                    <a:pt x="319180" y="767017"/>
                  </a:cubicBezTo>
                  <a:cubicBezTo>
                    <a:pt x="319382" y="766950"/>
                    <a:pt x="320324" y="766143"/>
                    <a:pt x="320324" y="766143"/>
                  </a:cubicBezTo>
                  <a:cubicBezTo>
                    <a:pt x="320324" y="766143"/>
                    <a:pt x="323522" y="764763"/>
                    <a:pt x="323723" y="764763"/>
                  </a:cubicBezTo>
                  <a:cubicBezTo>
                    <a:pt x="323959" y="764763"/>
                    <a:pt x="325372" y="765705"/>
                    <a:pt x="325372" y="766008"/>
                  </a:cubicBezTo>
                  <a:cubicBezTo>
                    <a:pt x="325372" y="766311"/>
                    <a:pt x="325507" y="767959"/>
                    <a:pt x="325507" y="767959"/>
                  </a:cubicBezTo>
                  <a:lnTo>
                    <a:pt x="325574" y="769204"/>
                  </a:lnTo>
                  <a:lnTo>
                    <a:pt x="325709" y="771390"/>
                  </a:lnTo>
                  <a:cubicBezTo>
                    <a:pt x="325709" y="771390"/>
                    <a:pt x="326584" y="773140"/>
                    <a:pt x="326786" y="773342"/>
                  </a:cubicBezTo>
                  <a:cubicBezTo>
                    <a:pt x="327022" y="773577"/>
                    <a:pt x="326651" y="773913"/>
                    <a:pt x="328098" y="773913"/>
                  </a:cubicBezTo>
                  <a:cubicBezTo>
                    <a:pt x="329546" y="773913"/>
                    <a:pt x="330353" y="774216"/>
                    <a:pt x="330791" y="774351"/>
                  </a:cubicBezTo>
                  <a:cubicBezTo>
                    <a:pt x="331228" y="774485"/>
                    <a:pt x="331666" y="773981"/>
                    <a:pt x="332676" y="775158"/>
                  </a:cubicBezTo>
                  <a:cubicBezTo>
                    <a:pt x="333685" y="776302"/>
                    <a:pt x="333820" y="776605"/>
                    <a:pt x="334560" y="776302"/>
                  </a:cubicBezTo>
                  <a:cubicBezTo>
                    <a:pt x="335301" y="775999"/>
                    <a:pt x="336243" y="774351"/>
                    <a:pt x="336580" y="774284"/>
                  </a:cubicBezTo>
                  <a:cubicBezTo>
                    <a:pt x="336950" y="774216"/>
                    <a:pt x="337757" y="772602"/>
                    <a:pt x="337892" y="772332"/>
                  </a:cubicBezTo>
                  <a:cubicBezTo>
                    <a:pt x="338027" y="772030"/>
                    <a:pt x="338632" y="771121"/>
                    <a:pt x="338834" y="770751"/>
                  </a:cubicBezTo>
                  <a:cubicBezTo>
                    <a:pt x="339036" y="770381"/>
                    <a:pt x="339709" y="769002"/>
                    <a:pt x="339709" y="769002"/>
                  </a:cubicBezTo>
                  <a:cubicBezTo>
                    <a:pt x="339709" y="769002"/>
                    <a:pt x="340854" y="767993"/>
                    <a:pt x="341291" y="767690"/>
                  </a:cubicBezTo>
                  <a:cubicBezTo>
                    <a:pt x="341729" y="767387"/>
                    <a:pt x="342301" y="767387"/>
                    <a:pt x="343041" y="766984"/>
                  </a:cubicBezTo>
                  <a:cubicBezTo>
                    <a:pt x="343782" y="766546"/>
                    <a:pt x="344286" y="765907"/>
                    <a:pt x="344858" y="765806"/>
                  </a:cubicBezTo>
                  <a:cubicBezTo>
                    <a:pt x="345431" y="765739"/>
                    <a:pt x="346676" y="765604"/>
                    <a:pt x="347046" y="765604"/>
                  </a:cubicBezTo>
                  <a:cubicBezTo>
                    <a:pt x="347416" y="765604"/>
                    <a:pt x="349738" y="765403"/>
                    <a:pt x="349738" y="765403"/>
                  </a:cubicBezTo>
                  <a:lnTo>
                    <a:pt x="351623" y="765100"/>
                  </a:lnTo>
                  <a:lnTo>
                    <a:pt x="353508" y="765773"/>
                  </a:lnTo>
                  <a:cubicBezTo>
                    <a:pt x="353508" y="765773"/>
                    <a:pt x="355325" y="765974"/>
                    <a:pt x="355965" y="766210"/>
                  </a:cubicBezTo>
                  <a:cubicBezTo>
                    <a:pt x="356604" y="766412"/>
                    <a:pt x="357849" y="766782"/>
                    <a:pt x="358421" y="767219"/>
                  </a:cubicBezTo>
                  <a:cubicBezTo>
                    <a:pt x="358993" y="767656"/>
                    <a:pt x="360373" y="768228"/>
                    <a:pt x="360945" y="768598"/>
                  </a:cubicBezTo>
                  <a:cubicBezTo>
                    <a:pt x="361517" y="768968"/>
                    <a:pt x="362191" y="769406"/>
                    <a:pt x="362191" y="769675"/>
                  </a:cubicBezTo>
                  <a:cubicBezTo>
                    <a:pt x="362191" y="769978"/>
                    <a:pt x="362628" y="772366"/>
                    <a:pt x="362628" y="772803"/>
                  </a:cubicBezTo>
                  <a:cubicBezTo>
                    <a:pt x="362628" y="773241"/>
                    <a:pt x="362696" y="775764"/>
                    <a:pt x="362696" y="775764"/>
                  </a:cubicBezTo>
                  <a:cubicBezTo>
                    <a:pt x="362696" y="775764"/>
                    <a:pt x="362628" y="779094"/>
                    <a:pt x="362628" y="779397"/>
                  </a:cubicBezTo>
                  <a:cubicBezTo>
                    <a:pt x="362628" y="779699"/>
                    <a:pt x="362561" y="781482"/>
                    <a:pt x="362763" y="781583"/>
                  </a:cubicBezTo>
                  <a:cubicBezTo>
                    <a:pt x="362965" y="781651"/>
                    <a:pt x="363570" y="782323"/>
                    <a:pt x="364008" y="782323"/>
                  </a:cubicBezTo>
                  <a:cubicBezTo>
                    <a:pt x="364445" y="782323"/>
                    <a:pt x="365455" y="781886"/>
                    <a:pt x="365960" y="781381"/>
                  </a:cubicBezTo>
                  <a:cubicBezTo>
                    <a:pt x="366465" y="780877"/>
                    <a:pt x="366700" y="778690"/>
                    <a:pt x="366969" y="778488"/>
                  </a:cubicBezTo>
                  <a:cubicBezTo>
                    <a:pt x="367272" y="778253"/>
                    <a:pt x="367037" y="777546"/>
                    <a:pt x="367609" y="777244"/>
                  </a:cubicBezTo>
                  <a:cubicBezTo>
                    <a:pt x="368181" y="776941"/>
                    <a:pt x="368854" y="776605"/>
                    <a:pt x="368854" y="776605"/>
                  </a:cubicBezTo>
                  <a:lnTo>
                    <a:pt x="370941" y="776470"/>
                  </a:lnTo>
                  <a:lnTo>
                    <a:pt x="372523" y="778219"/>
                  </a:lnTo>
                  <a:lnTo>
                    <a:pt x="376662" y="780608"/>
                  </a:lnTo>
                  <a:lnTo>
                    <a:pt x="379186" y="783063"/>
                  </a:lnTo>
                  <a:lnTo>
                    <a:pt x="381878" y="785452"/>
                  </a:lnTo>
                  <a:cubicBezTo>
                    <a:pt x="381878" y="785452"/>
                    <a:pt x="383629" y="785519"/>
                    <a:pt x="384133" y="785452"/>
                  </a:cubicBezTo>
                  <a:cubicBezTo>
                    <a:pt x="384638" y="785385"/>
                    <a:pt x="385581" y="785519"/>
                    <a:pt x="386758" y="784947"/>
                  </a:cubicBezTo>
                  <a:cubicBezTo>
                    <a:pt x="387903" y="784375"/>
                    <a:pt x="388441" y="784644"/>
                    <a:pt x="389653" y="783568"/>
                  </a:cubicBezTo>
                  <a:cubicBezTo>
                    <a:pt x="390898" y="782492"/>
                    <a:pt x="391235" y="781415"/>
                    <a:pt x="391537" y="781247"/>
                  </a:cubicBezTo>
                  <a:cubicBezTo>
                    <a:pt x="391840" y="781112"/>
                    <a:pt x="393187" y="779868"/>
                    <a:pt x="393624" y="779800"/>
                  </a:cubicBezTo>
                  <a:cubicBezTo>
                    <a:pt x="394061" y="779733"/>
                    <a:pt x="399211" y="778556"/>
                    <a:pt x="399211" y="778556"/>
                  </a:cubicBezTo>
                  <a:cubicBezTo>
                    <a:pt x="399211" y="778556"/>
                    <a:pt x="402677" y="778488"/>
                    <a:pt x="403283" y="778556"/>
                  </a:cubicBezTo>
                  <a:cubicBezTo>
                    <a:pt x="403855" y="778623"/>
                    <a:pt x="406749" y="778556"/>
                    <a:pt x="406749" y="778556"/>
                  </a:cubicBezTo>
                  <a:cubicBezTo>
                    <a:pt x="406749" y="778556"/>
                    <a:pt x="409341" y="777513"/>
                    <a:pt x="409576" y="777446"/>
                  </a:cubicBezTo>
                  <a:cubicBezTo>
                    <a:pt x="409778" y="777378"/>
                    <a:pt x="410283" y="776605"/>
                    <a:pt x="410283" y="776605"/>
                  </a:cubicBezTo>
                  <a:lnTo>
                    <a:pt x="411730" y="776605"/>
                  </a:lnTo>
                  <a:cubicBezTo>
                    <a:pt x="411730" y="776605"/>
                    <a:pt x="414120" y="775797"/>
                    <a:pt x="414322" y="775797"/>
                  </a:cubicBezTo>
                  <a:cubicBezTo>
                    <a:pt x="414523" y="775797"/>
                    <a:pt x="416846" y="776234"/>
                    <a:pt x="417149" y="776369"/>
                  </a:cubicBezTo>
                  <a:cubicBezTo>
                    <a:pt x="417451" y="776504"/>
                    <a:pt x="418528" y="776504"/>
                    <a:pt x="418898" y="776672"/>
                  </a:cubicBezTo>
                  <a:cubicBezTo>
                    <a:pt x="419269" y="776806"/>
                    <a:pt x="421086" y="776605"/>
                    <a:pt x="421423" y="776234"/>
                  </a:cubicBezTo>
                  <a:cubicBezTo>
                    <a:pt x="421793" y="775864"/>
                    <a:pt x="422500" y="774418"/>
                    <a:pt x="422735" y="774149"/>
                  </a:cubicBezTo>
                  <a:cubicBezTo>
                    <a:pt x="422937" y="773846"/>
                    <a:pt x="423880" y="773005"/>
                    <a:pt x="424115" y="772904"/>
                  </a:cubicBezTo>
                  <a:cubicBezTo>
                    <a:pt x="424351" y="772837"/>
                    <a:pt x="424755" y="772904"/>
                    <a:pt x="425495" y="772534"/>
                  </a:cubicBezTo>
                  <a:cubicBezTo>
                    <a:pt x="426235" y="772164"/>
                    <a:pt x="427952" y="771155"/>
                    <a:pt x="428255" y="771155"/>
                  </a:cubicBezTo>
                  <a:cubicBezTo>
                    <a:pt x="428557" y="771155"/>
                    <a:pt x="430139" y="770785"/>
                    <a:pt x="430442" y="770718"/>
                  </a:cubicBezTo>
                  <a:cubicBezTo>
                    <a:pt x="430745" y="770650"/>
                    <a:pt x="431822" y="770079"/>
                    <a:pt x="432024" y="770079"/>
                  </a:cubicBezTo>
                  <a:cubicBezTo>
                    <a:pt x="432259" y="770079"/>
                    <a:pt x="433168" y="769776"/>
                    <a:pt x="433606" y="770146"/>
                  </a:cubicBezTo>
                  <a:cubicBezTo>
                    <a:pt x="434043" y="770516"/>
                    <a:pt x="434615" y="770280"/>
                    <a:pt x="434985" y="770650"/>
                  </a:cubicBezTo>
                  <a:cubicBezTo>
                    <a:pt x="435356" y="771020"/>
                    <a:pt x="437072" y="772097"/>
                    <a:pt x="437375" y="772400"/>
                  </a:cubicBezTo>
                  <a:cubicBezTo>
                    <a:pt x="437678" y="772702"/>
                    <a:pt x="439024" y="773140"/>
                    <a:pt x="439327" y="773409"/>
                  </a:cubicBezTo>
                  <a:cubicBezTo>
                    <a:pt x="439630" y="773712"/>
                    <a:pt x="440774" y="775158"/>
                    <a:pt x="440909" y="775730"/>
                  </a:cubicBezTo>
                  <a:cubicBezTo>
                    <a:pt x="441043" y="776302"/>
                    <a:pt x="441279" y="776369"/>
                    <a:pt x="441918" y="777176"/>
                  </a:cubicBezTo>
                  <a:cubicBezTo>
                    <a:pt x="442558" y="777984"/>
                    <a:pt x="442995" y="777984"/>
                    <a:pt x="443736" y="778690"/>
                  </a:cubicBezTo>
                  <a:cubicBezTo>
                    <a:pt x="444476" y="779430"/>
                    <a:pt x="446765" y="781314"/>
                    <a:pt x="447067" y="781516"/>
                  </a:cubicBezTo>
                  <a:cubicBezTo>
                    <a:pt x="447370" y="781718"/>
                    <a:pt x="448515" y="782525"/>
                    <a:pt x="448515" y="782525"/>
                  </a:cubicBezTo>
                  <a:lnTo>
                    <a:pt x="451342" y="784476"/>
                  </a:lnTo>
                  <a:lnTo>
                    <a:pt x="453664" y="786865"/>
                  </a:lnTo>
                  <a:cubicBezTo>
                    <a:pt x="453664" y="786865"/>
                    <a:pt x="454303" y="789119"/>
                    <a:pt x="454673" y="789892"/>
                  </a:cubicBezTo>
                  <a:cubicBezTo>
                    <a:pt x="455044" y="790700"/>
                    <a:pt x="457803" y="795174"/>
                    <a:pt x="457803" y="795174"/>
                  </a:cubicBezTo>
                  <a:lnTo>
                    <a:pt x="458880" y="798134"/>
                  </a:lnTo>
                  <a:cubicBezTo>
                    <a:pt x="458880" y="798134"/>
                    <a:pt x="460765" y="801464"/>
                    <a:pt x="460765" y="801767"/>
                  </a:cubicBezTo>
                  <a:cubicBezTo>
                    <a:pt x="460765" y="802036"/>
                    <a:pt x="461270" y="805097"/>
                    <a:pt x="461270" y="805097"/>
                  </a:cubicBezTo>
                  <a:lnTo>
                    <a:pt x="462212" y="809672"/>
                  </a:lnTo>
                  <a:cubicBezTo>
                    <a:pt x="462212" y="809672"/>
                    <a:pt x="463457" y="810110"/>
                    <a:pt x="464164" y="810110"/>
                  </a:cubicBezTo>
                  <a:cubicBezTo>
                    <a:pt x="464904" y="810110"/>
                    <a:pt x="466621" y="810311"/>
                    <a:pt x="466924" y="810110"/>
                  </a:cubicBezTo>
                  <a:cubicBezTo>
                    <a:pt x="467227" y="809874"/>
                    <a:pt x="469178" y="809403"/>
                    <a:pt x="469178" y="809403"/>
                  </a:cubicBezTo>
                  <a:cubicBezTo>
                    <a:pt x="469178" y="809403"/>
                    <a:pt x="469986" y="809807"/>
                    <a:pt x="470053" y="810211"/>
                  </a:cubicBezTo>
                  <a:cubicBezTo>
                    <a:pt x="470121" y="810614"/>
                    <a:pt x="472948" y="815458"/>
                    <a:pt x="473082" y="815694"/>
                  </a:cubicBezTo>
                  <a:cubicBezTo>
                    <a:pt x="473217" y="815896"/>
                    <a:pt x="473890" y="817645"/>
                    <a:pt x="473890" y="817645"/>
                  </a:cubicBezTo>
                  <a:lnTo>
                    <a:pt x="475135" y="819596"/>
                  </a:lnTo>
                  <a:lnTo>
                    <a:pt x="475842" y="820908"/>
                  </a:lnTo>
                  <a:cubicBezTo>
                    <a:pt x="475842" y="820908"/>
                    <a:pt x="476145" y="820841"/>
                    <a:pt x="476852" y="820908"/>
                  </a:cubicBezTo>
                  <a:cubicBezTo>
                    <a:pt x="477559" y="820975"/>
                    <a:pt x="478669" y="820538"/>
                    <a:pt x="478938" y="820471"/>
                  </a:cubicBezTo>
                  <a:cubicBezTo>
                    <a:pt x="479241" y="820403"/>
                    <a:pt x="479948" y="820403"/>
                    <a:pt x="480453" y="820403"/>
                  </a:cubicBezTo>
                  <a:cubicBezTo>
                    <a:pt x="480958" y="820403"/>
                    <a:pt x="482203" y="820571"/>
                    <a:pt x="482977" y="820908"/>
                  </a:cubicBezTo>
                  <a:cubicBezTo>
                    <a:pt x="483785" y="821244"/>
                    <a:pt x="485164" y="821345"/>
                    <a:pt x="485366" y="821547"/>
                  </a:cubicBezTo>
                  <a:cubicBezTo>
                    <a:pt x="485568" y="821749"/>
                    <a:pt x="486376" y="821850"/>
                    <a:pt x="486814" y="822119"/>
                  </a:cubicBezTo>
                  <a:cubicBezTo>
                    <a:pt x="487251" y="822422"/>
                    <a:pt x="488261" y="822691"/>
                    <a:pt x="488564" y="822926"/>
                  </a:cubicBezTo>
                  <a:cubicBezTo>
                    <a:pt x="488866" y="823162"/>
                    <a:pt x="490650" y="823498"/>
                    <a:pt x="490886" y="823666"/>
                  </a:cubicBezTo>
                  <a:cubicBezTo>
                    <a:pt x="491121" y="823801"/>
                    <a:pt x="492198" y="823296"/>
                    <a:pt x="492400" y="823666"/>
                  </a:cubicBezTo>
                  <a:cubicBezTo>
                    <a:pt x="492602" y="824036"/>
                    <a:pt x="493545" y="824541"/>
                    <a:pt x="493780" y="824743"/>
                  </a:cubicBezTo>
                  <a:cubicBezTo>
                    <a:pt x="493982" y="824945"/>
                    <a:pt x="495530" y="826761"/>
                    <a:pt x="495530" y="826761"/>
                  </a:cubicBezTo>
                  <a:cubicBezTo>
                    <a:pt x="495530" y="826761"/>
                    <a:pt x="495968" y="828342"/>
                    <a:pt x="496169" y="828948"/>
                  </a:cubicBezTo>
                  <a:cubicBezTo>
                    <a:pt x="496371" y="829520"/>
                    <a:pt x="497246" y="831336"/>
                    <a:pt x="497415" y="831774"/>
                  </a:cubicBezTo>
                  <a:cubicBezTo>
                    <a:pt x="497549" y="832211"/>
                    <a:pt x="498492" y="833590"/>
                    <a:pt x="498492" y="833590"/>
                  </a:cubicBezTo>
                  <a:cubicBezTo>
                    <a:pt x="498492" y="833590"/>
                    <a:pt x="500746" y="836348"/>
                    <a:pt x="500948" y="836550"/>
                  </a:cubicBezTo>
                  <a:cubicBezTo>
                    <a:pt x="501184" y="836786"/>
                    <a:pt x="502025" y="838232"/>
                    <a:pt x="502194" y="838501"/>
                  </a:cubicBezTo>
                  <a:cubicBezTo>
                    <a:pt x="502328" y="838804"/>
                    <a:pt x="501891" y="842135"/>
                    <a:pt x="502194" y="842908"/>
                  </a:cubicBezTo>
                  <a:cubicBezTo>
                    <a:pt x="502497" y="843716"/>
                    <a:pt x="502631" y="847248"/>
                    <a:pt x="502631" y="847248"/>
                  </a:cubicBezTo>
                  <a:lnTo>
                    <a:pt x="502059" y="848560"/>
                  </a:lnTo>
                  <a:cubicBezTo>
                    <a:pt x="502059" y="848560"/>
                    <a:pt x="501992" y="851520"/>
                    <a:pt x="501756" y="851688"/>
                  </a:cubicBezTo>
                  <a:cubicBezTo>
                    <a:pt x="501554" y="851823"/>
                    <a:pt x="499434" y="852698"/>
                    <a:pt x="499434" y="852698"/>
                  </a:cubicBezTo>
                  <a:lnTo>
                    <a:pt x="497549" y="853269"/>
                  </a:lnTo>
                  <a:cubicBezTo>
                    <a:pt x="497549" y="853269"/>
                    <a:pt x="496943" y="854850"/>
                    <a:pt x="496876" y="855086"/>
                  </a:cubicBezTo>
                  <a:cubicBezTo>
                    <a:pt x="496809" y="855321"/>
                    <a:pt x="496035" y="856330"/>
                    <a:pt x="496035" y="857037"/>
                  </a:cubicBezTo>
                  <a:cubicBezTo>
                    <a:pt x="496035" y="857777"/>
                    <a:pt x="496035" y="859123"/>
                    <a:pt x="496035" y="859123"/>
                  </a:cubicBezTo>
                  <a:lnTo>
                    <a:pt x="496775" y="860435"/>
                  </a:lnTo>
                  <a:lnTo>
                    <a:pt x="498525" y="863563"/>
                  </a:lnTo>
                  <a:lnTo>
                    <a:pt x="499165" y="864572"/>
                  </a:lnTo>
                  <a:cubicBezTo>
                    <a:pt x="499165" y="864572"/>
                    <a:pt x="499535" y="866759"/>
                    <a:pt x="499535" y="867028"/>
                  </a:cubicBezTo>
                  <a:cubicBezTo>
                    <a:pt x="499535" y="867331"/>
                    <a:pt x="500410" y="868710"/>
                    <a:pt x="500410" y="869046"/>
                  </a:cubicBezTo>
                  <a:cubicBezTo>
                    <a:pt x="500410" y="869416"/>
                    <a:pt x="501790" y="872377"/>
                    <a:pt x="501790" y="872377"/>
                  </a:cubicBezTo>
                  <a:lnTo>
                    <a:pt x="502093" y="873890"/>
                  </a:lnTo>
                  <a:lnTo>
                    <a:pt x="502665" y="876918"/>
                  </a:lnTo>
                  <a:lnTo>
                    <a:pt x="504415" y="879306"/>
                  </a:lnTo>
                  <a:lnTo>
                    <a:pt x="505559" y="880114"/>
                  </a:lnTo>
                  <a:cubicBezTo>
                    <a:pt x="505559" y="880114"/>
                    <a:pt x="508083" y="881930"/>
                    <a:pt x="508319" y="882065"/>
                  </a:cubicBezTo>
                  <a:cubicBezTo>
                    <a:pt x="508521" y="882199"/>
                    <a:pt x="510641" y="882570"/>
                    <a:pt x="510641" y="882570"/>
                  </a:cubicBezTo>
                  <a:lnTo>
                    <a:pt x="512593" y="882570"/>
                  </a:lnTo>
                  <a:cubicBezTo>
                    <a:pt x="512593" y="882570"/>
                    <a:pt x="513535" y="882940"/>
                    <a:pt x="514107" y="882570"/>
                  </a:cubicBezTo>
                  <a:cubicBezTo>
                    <a:pt x="514679" y="882199"/>
                    <a:pt x="516564" y="881258"/>
                    <a:pt x="516564" y="881258"/>
                  </a:cubicBezTo>
                  <a:cubicBezTo>
                    <a:pt x="516564" y="881258"/>
                    <a:pt x="516934" y="880686"/>
                    <a:pt x="517204" y="880686"/>
                  </a:cubicBezTo>
                  <a:cubicBezTo>
                    <a:pt x="517507" y="880686"/>
                    <a:pt x="518146" y="879878"/>
                    <a:pt x="518146" y="879878"/>
                  </a:cubicBezTo>
                  <a:lnTo>
                    <a:pt x="518954" y="879441"/>
                  </a:lnTo>
                  <a:cubicBezTo>
                    <a:pt x="518954" y="879441"/>
                    <a:pt x="519593" y="879508"/>
                    <a:pt x="519896" y="879508"/>
                  </a:cubicBezTo>
                  <a:cubicBezTo>
                    <a:pt x="520199" y="879508"/>
                    <a:pt x="521579" y="879441"/>
                    <a:pt x="521814" y="879744"/>
                  </a:cubicBezTo>
                  <a:cubicBezTo>
                    <a:pt x="522016" y="880047"/>
                    <a:pt x="522151" y="880988"/>
                    <a:pt x="522151" y="880988"/>
                  </a:cubicBezTo>
                  <a:lnTo>
                    <a:pt x="522151" y="881729"/>
                  </a:lnTo>
                  <a:lnTo>
                    <a:pt x="523901" y="883545"/>
                  </a:lnTo>
                  <a:lnTo>
                    <a:pt x="523901" y="883478"/>
                  </a:lnTo>
                  <a:cubicBezTo>
                    <a:pt x="523901" y="883478"/>
                    <a:pt x="524338" y="885227"/>
                    <a:pt x="524776" y="885361"/>
                  </a:cubicBezTo>
                  <a:cubicBezTo>
                    <a:pt x="525213" y="885496"/>
                    <a:pt x="525920" y="885866"/>
                    <a:pt x="526290" y="885933"/>
                  </a:cubicBezTo>
                  <a:cubicBezTo>
                    <a:pt x="526661" y="886001"/>
                    <a:pt x="528175" y="887178"/>
                    <a:pt x="528478" y="887380"/>
                  </a:cubicBezTo>
                  <a:cubicBezTo>
                    <a:pt x="528781" y="887582"/>
                    <a:pt x="529185" y="888322"/>
                    <a:pt x="529488" y="888961"/>
                  </a:cubicBezTo>
                  <a:cubicBezTo>
                    <a:pt x="529790" y="889600"/>
                    <a:pt x="530295" y="891551"/>
                    <a:pt x="530295" y="891551"/>
                  </a:cubicBezTo>
                  <a:cubicBezTo>
                    <a:pt x="530295" y="891551"/>
                    <a:pt x="530228" y="892426"/>
                    <a:pt x="530295" y="892998"/>
                  </a:cubicBezTo>
                  <a:cubicBezTo>
                    <a:pt x="530362" y="893570"/>
                    <a:pt x="530800" y="893738"/>
                    <a:pt x="530935" y="894142"/>
                  </a:cubicBezTo>
                  <a:cubicBezTo>
                    <a:pt x="531069" y="894579"/>
                    <a:pt x="531002" y="894713"/>
                    <a:pt x="531877" y="894848"/>
                  </a:cubicBezTo>
                  <a:cubicBezTo>
                    <a:pt x="532752" y="894983"/>
                    <a:pt x="532887" y="894713"/>
                    <a:pt x="533762" y="894848"/>
                  </a:cubicBezTo>
                  <a:cubicBezTo>
                    <a:pt x="534637" y="894983"/>
                    <a:pt x="534637" y="894545"/>
                    <a:pt x="535209" y="893704"/>
                  </a:cubicBezTo>
                  <a:cubicBezTo>
                    <a:pt x="535781" y="892830"/>
                    <a:pt x="535714" y="892628"/>
                    <a:pt x="536017" y="892190"/>
                  </a:cubicBezTo>
                  <a:cubicBezTo>
                    <a:pt x="536319" y="891753"/>
                    <a:pt x="536891" y="891248"/>
                    <a:pt x="536891" y="891248"/>
                  </a:cubicBezTo>
                  <a:lnTo>
                    <a:pt x="538709" y="891248"/>
                  </a:lnTo>
                  <a:cubicBezTo>
                    <a:pt x="538709" y="891248"/>
                    <a:pt x="540089" y="890946"/>
                    <a:pt x="540526" y="890946"/>
                  </a:cubicBezTo>
                  <a:cubicBezTo>
                    <a:pt x="540964" y="890946"/>
                    <a:pt x="541267" y="890710"/>
                    <a:pt x="541771" y="891013"/>
                  </a:cubicBezTo>
                  <a:cubicBezTo>
                    <a:pt x="542276" y="891316"/>
                    <a:pt x="542714" y="892022"/>
                    <a:pt x="542916" y="892022"/>
                  </a:cubicBezTo>
                  <a:cubicBezTo>
                    <a:pt x="543118" y="892022"/>
                    <a:pt x="543488" y="893200"/>
                    <a:pt x="544733" y="892157"/>
                  </a:cubicBezTo>
                  <a:cubicBezTo>
                    <a:pt x="545978" y="891148"/>
                    <a:pt x="546180" y="890206"/>
                    <a:pt x="546416" y="890206"/>
                  </a:cubicBezTo>
                  <a:cubicBezTo>
                    <a:pt x="546651" y="890206"/>
                    <a:pt x="546853" y="889903"/>
                    <a:pt x="547560" y="890273"/>
                  </a:cubicBezTo>
                  <a:cubicBezTo>
                    <a:pt x="548300" y="890643"/>
                    <a:pt x="550084" y="891215"/>
                    <a:pt x="551329" y="892157"/>
                  </a:cubicBezTo>
                  <a:cubicBezTo>
                    <a:pt x="552575" y="893099"/>
                    <a:pt x="552911" y="893031"/>
                    <a:pt x="553719" y="893973"/>
                  </a:cubicBezTo>
                  <a:cubicBezTo>
                    <a:pt x="554527" y="894915"/>
                    <a:pt x="554224" y="895487"/>
                    <a:pt x="555974" y="896429"/>
                  </a:cubicBezTo>
                  <a:cubicBezTo>
                    <a:pt x="557724" y="897371"/>
                    <a:pt x="561190" y="899322"/>
                    <a:pt x="561998" y="899456"/>
                  </a:cubicBezTo>
                  <a:cubicBezTo>
                    <a:pt x="562806" y="899591"/>
                    <a:pt x="564758" y="900768"/>
                    <a:pt x="565262" y="901038"/>
                  </a:cubicBezTo>
                  <a:cubicBezTo>
                    <a:pt x="565767" y="901340"/>
                    <a:pt x="566205" y="902551"/>
                    <a:pt x="566205" y="902551"/>
                  </a:cubicBezTo>
                  <a:lnTo>
                    <a:pt x="565700" y="906454"/>
                  </a:lnTo>
                  <a:lnTo>
                    <a:pt x="565700" y="907698"/>
                  </a:lnTo>
                  <a:lnTo>
                    <a:pt x="566205" y="909010"/>
                  </a:lnTo>
                  <a:lnTo>
                    <a:pt x="567450" y="910591"/>
                  </a:lnTo>
                  <a:lnTo>
                    <a:pt x="569503" y="913417"/>
                  </a:lnTo>
                  <a:cubicBezTo>
                    <a:pt x="569503" y="913417"/>
                    <a:pt x="570815" y="913787"/>
                    <a:pt x="571118" y="913787"/>
                  </a:cubicBezTo>
                  <a:cubicBezTo>
                    <a:pt x="571455" y="913787"/>
                    <a:pt x="573508" y="913787"/>
                    <a:pt x="573508" y="913787"/>
                  </a:cubicBezTo>
                  <a:cubicBezTo>
                    <a:pt x="573508" y="913787"/>
                    <a:pt x="578219" y="914426"/>
                    <a:pt x="578455" y="914224"/>
                  </a:cubicBezTo>
                  <a:cubicBezTo>
                    <a:pt x="578691" y="914022"/>
                    <a:pt x="579263" y="912912"/>
                    <a:pt x="579263" y="912710"/>
                  </a:cubicBezTo>
                  <a:cubicBezTo>
                    <a:pt x="579263" y="912475"/>
                    <a:pt x="579330" y="911197"/>
                    <a:pt x="579263" y="910322"/>
                  </a:cubicBezTo>
                  <a:cubicBezTo>
                    <a:pt x="579195" y="909448"/>
                    <a:pt x="579162" y="907396"/>
                    <a:pt x="578993" y="907295"/>
                  </a:cubicBezTo>
                  <a:cubicBezTo>
                    <a:pt x="578825" y="907194"/>
                    <a:pt x="578287" y="905243"/>
                    <a:pt x="578219" y="905007"/>
                  </a:cubicBezTo>
                  <a:cubicBezTo>
                    <a:pt x="578152" y="904805"/>
                    <a:pt x="577714" y="903931"/>
                    <a:pt x="577614" y="903762"/>
                  </a:cubicBezTo>
                  <a:cubicBezTo>
                    <a:pt x="577513" y="903594"/>
                    <a:pt x="577008" y="901576"/>
                    <a:pt x="577008" y="901576"/>
                  </a:cubicBezTo>
                  <a:lnTo>
                    <a:pt x="576200" y="899086"/>
                  </a:lnTo>
                  <a:lnTo>
                    <a:pt x="575157" y="897438"/>
                  </a:lnTo>
                  <a:lnTo>
                    <a:pt x="573205" y="894242"/>
                  </a:lnTo>
                  <a:cubicBezTo>
                    <a:pt x="573205" y="894242"/>
                    <a:pt x="571993" y="892291"/>
                    <a:pt x="571791" y="892190"/>
                  </a:cubicBezTo>
                  <a:cubicBezTo>
                    <a:pt x="571589" y="892089"/>
                    <a:pt x="570580" y="890878"/>
                    <a:pt x="570479" y="890710"/>
                  </a:cubicBezTo>
                  <a:cubicBezTo>
                    <a:pt x="570378" y="890542"/>
                    <a:pt x="569166" y="889096"/>
                    <a:pt x="569133" y="888927"/>
                  </a:cubicBezTo>
                  <a:cubicBezTo>
                    <a:pt x="569065" y="888759"/>
                    <a:pt x="567988" y="885832"/>
                    <a:pt x="567988" y="885664"/>
                  </a:cubicBezTo>
                  <a:cubicBezTo>
                    <a:pt x="567988" y="885496"/>
                    <a:pt x="568089" y="884520"/>
                    <a:pt x="568089" y="884520"/>
                  </a:cubicBezTo>
                  <a:cubicBezTo>
                    <a:pt x="568089" y="884520"/>
                    <a:pt x="569065" y="882401"/>
                    <a:pt x="569570" y="881796"/>
                  </a:cubicBezTo>
                  <a:cubicBezTo>
                    <a:pt x="570075" y="881190"/>
                    <a:pt x="570916" y="880551"/>
                    <a:pt x="571488" y="879845"/>
                  </a:cubicBezTo>
                  <a:cubicBezTo>
                    <a:pt x="572027" y="879138"/>
                    <a:pt x="573710" y="877624"/>
                    <a:pt x="574046" y="877187"/>
                  </a:cubicBezTo>
                  <a:cubicBezTo>
                    <a:pt x="574383" y="876750"/>
                    <a:pt x="576368" y="875505"/>
                    <a:pt x="576368" y="875505"/>
                  </a:cubicBezTo>
                  <a:lnTo>
                    <a:pt x="579633" y="874597"/>
                  </a:lnTo>
                  <a:lnTo>
                    <a:pt x="581417" y="874429"/>
                  </a:lnTo>
                  <a:lnTo>
                    <a:pt x="583200" y="874698"/>
                  </a:lnTo>
                  <a:lnTo>
                    <a:pt x="586397" y="876615"/>
                  </a:lnTo>
                  <a:cubicBezTo>
                    <a:pt x="586397" y="876615"/>
                    <a:pt x="587575" y="877759"/>
                    <a:pt x="587878" y="878196"/>
                  </a:cubicBezTo>
                  <a:cubicBezTo>
                    <a:pt x="588148" y="878634"/>
                    <a:pt x="590099" y="880517"/>
                    <a:pt x="590638" y="881190"/>
                  </a:cubicBezTo>
                  <a:cubicBezTo>
                    <a:pt x="591176" y="881829"/>
                    <a:pt x="595417" y="885160"/>
                    <a:pt x="595518" y="885361"/>
                  </a:cubicBezTo>
                  <a:cubicBezTo>
                    <a:pt x="595619" y="885563"/>
                    <a:pt x="597301" y="888019"/>
                    <a:pt x="597470" y="888524"/>
                  </a:cubicBezTo>
                  <a:cubicBezTo>
                    <a:pt x="597638" y="889028"/>
                    <a:pt x="599422" y="892830"/>
                    <a:pt x="600027" y="893301"/>
                  </a:cubicBezTo>
                  <a:cubicBezTo>
                    <a:pt x="600633" y="893771"/>
                    <a:pt x="602350" y="895756"/>
                    <a:pt x="603292" y="896025"/>
                  </a:cubicBezTo>
                  <a:cubicBezTo>
                    <a:pt x="604201" y="896294"/>
                    <a:pt x="608307" y="896732"/>
                    <a:pt x="608307" y="896732"/>
                  </a:cubicBezTo>
                  <a:lnTo>
                    <a:pt x="610057" y="897976"/>
                  </a:lnTo>
                  <a:cubicBezTo>
                    <a:pt x="610057" y="897976"/>
                    <a:pt x="612648" y="898178"/>
                    <a:pt x="612783" y="898347"/>
                  </a:cubicBezTo>
                  <a:cubicBezTo>
                    <a:pt x="612884" y="898515"/>
                    <a:pt x="615509" y="900668"/>
                    <a:pt x="615711" y="900970"/>
                  </a:cubicBezTo>
                  <a:cubicBezTo>
                    <a:pt x="615913" y="901239"/>
                    <a:pt x="617999" y="902114"/>
                    <a:pt x="618167" y="902551"/>
                  </a:cubicBezTo>
                  <a:cubicBezTo>
                    <a:pt x="618336" y="902989"/>
                    <a:pt x="620490" y="904502"/>
                    <a:pt x="620490" y="904502"/>
                  </a:cubicBezTo>
                  <a:cubicBezTo>
                    <a:pt x="620490" y="904502"/>
                    <a:pt x="620321" y="904132"/>
                    <a:pt x="622778" y="905579"/>
                  </a:cubicBezTo>
                  <a:cubicBezTo>
                    <a:pt x="625235" y="907059"/>
                    <a:pt x="627086" y="907261"/>
                    <a:pt x="627490" y="907328"/>
                  </a:cubicBezTo>
                  <a:cubicBezTo>
                    <a:pt x="627927" y="907396"/>
                    <a:pt x="630048" y="905545"/>
                    <a:pt x="630384" y="905108"/>
                  </a:cubicBezTo>
                  <a:cubicBezTo>
                    <a:pt x="630720" y="904671"/>
                    <a:pt x="632504" y="903964"/>
                    <a:pt x="632168" y="902518"/>
                  </a:cubicBezTo>
                  <a:cubicBezTo>
                    <a:pt x="631831" y="901038"/>
                    <a:pt x="632437" y="899356"/>
                    <a:pt x="630249" y="898178"/>
                  </a:cubicBezTo>
                  <a:cubicBezTo>
                    <a:pt x="628062" y="897001"/>
                    <a:pt x="626917" y="895252"/>
                    <a:pt x="626917" y="895252"/>
                  </a:cubicBezTo>
                  <a:cubicBezTo>
                    <a:pt x="626917" y="895252"/>
                    <a:pt x="623788" y="892863"/>
                    <a:pt x="623788" y="892493"/>
                  </a:cubicBezTo>
                  <a:cubicBezTo>
                    <a:pt x="623788" y="892123"/>
                    <a:pt x="623586" y="890475"/>
                    <a:pt x="623586" y="889600"/>
                  </a:cubicBezTo>
                  <a:cubicBezTo>
                    <a:pt x="623586" y="888725"/>
                    <a:pt x="623889" y="887414"/>
                    <a:pt x="624158" y="887144"/>
                  </a:cubicBezTo>
                  <a:cubicBezTo>
                    <a:pt x="624461" y="886842"/>
                    <a:pt x="627422" y="883949"/>
                    <a:pt x="627624" y="883881"/>
                  </a:cubicBezTo>
                  <a:cubicBezTo>
                    <a:pt x="627860" y="883814"/>
                    <a:pt x="628499" y="883007"/>
                    <a:pt x="628264" y="882199"/>
                  </a:cubicBezTo>
                  <a:cubicBezTo>
                    <a:pt x="628062" y="881392"/>
                    <a:pt x="628634" y="880450"/>
                    <a:pt x="627523" y="878735"/>
                  </a:cubicBezTo>
                  <a:cubicBezTo>
                    <a:pt x="626446" y="876985"/>
                    <a:pt x="625066" y="875909"/>
                    <a:pt x="624999" y="875404"/>
                  </a:cubicBezTo>
                  <a:cubicBezTo>
                    <a:pt x="624932" y="874900"/>
                    <a:pt x="624696" y="873016"/>
                    <a:pt x="624696" y="872713"/>
                  </a:cubicBezTo>
                  <a:cubicBezTo>
                    <a:pt x="624696" y="872410"/>
                    <a:pt x="627826" y="869383"/>
                    <a:pt x="628163" y="868508"/>
                  </a:cubicBezTo>
                  <a:cubicBezTo>
                    <a:pt x="628533" y="867634"/>
                    <a:pt x="628971" y="865985"/>
                    <a:pt x="629240" y="865918"/>
                  </a:cubicBezTo>
                  <a:cubicBezTo>
                    <a:pt x="629543" y="865851"/>
                    <a:pt x="633211" y="867163"/>
                    <a:pt x="633581" y="867364"/>
                  </a:cubicBezTo>
                  <a:cubicBezTo>
                    <a:pt x="633951" y="867566"/>
                    <a:pt x="637721" y="868743"/>
                    <a:pt x="637990" y="869046"/>
                  </a:cubicBezTo>
                  <a:cubicBezTo>
                    <a:pt x="638293" y="869349"/>
                    <a:pt x="641254" y="870425"/>
                    <a:pt x="641894" y="870493"/>
                  </a:cubicBezTo>
                  <a:cubicBezTo>
                    <a:pt x="642533" y="870560"/>
                    <a:pt x="645798" y="869753"/>
                    <a:pt x="645798" y="869753"/>
                  </a:cubicBezTo>
                  <a:lnTo>
                    <a:pt x="646875" y="867499"/>
                  </a:lnTo>
                  <a:lnTo>
                    <a:pt x="648759" y="865245"/>
                  </a:lnTo>
                  <a:cubicBezTo>
                    <a:pt x="648759" y="865245"/>
                    <a:pt x="649702" y="864236"/>
                    <a:pt x="650005" y="864169"/>
                  </a:cubicBezTo>
                  <a:cubicBezTo>
                    <a:pt x="650274" y="864101"/>
                    <a:pt x="652899" y="864370"/>
                    <a:pt x="652899" y="864370"/>
                  </a:cubicBezTo>
                  <a:lnTo>
                    <a:pt x="654043" y="865447"/>
                  </a:lnTo>
                  <a:lnTo>
                    <a:pt x="657947" y="867331"/>
                  </a:lnTo>
                  <a:lnTo>
                    <a:pt x="660202" y="869719"/>
                  </a:lnTo>
                  <a:cubicBezTo>
                    <a:pt x="660202" y="869719"/>
                    <a:pt x="662726" y="871401"/>
                    <a:pt x="664039" y="871300"/>
                  </a:cubicBezTo>
                  <a:cubicBezTo>
                    <a:pt x="665351" y="871233"/>
                    <a:pt x="670500" y="871065"/>
                    <a:pt x="670500" y="871065"/>
                  </a:cubicBezTo>
                  <a:cubicBezTo>
                    <a:pt x="670500" y="871065"/>
                    <a:pt x="671072" y="869484"/>
                    <a:pt x="670870" y="868979"/>
                  </a:cubicBezTo>
                  <a:cubicBezTo>
                    <a:pt x="670668" y="868475"/>
                    <a:pt x="670366" y="865144"/>
                    <a:pt x="670366" y="865144"/>
                  </a:cubicBezTo>
                  <a:lnTo>
                    <a:pt x="672015" y="863395"/>
                  </a:lnTo>
                  <a:cubicBezTo>
                    <a:pt x="672015" y="863395"/>
                    <a:pt x="672957" y="863260"/>
                    <a:pt x="673260" y="863260"/>
                  </a:cubicBezTo>
                  <a:cubicBezTo>
                    <a:pt x="673563" y="863260"/>
                    <a:pt x="675515" y="865447"/>
                    <a:pt x="675515" y="865447"/>
                  </a:cubicBezTo>
                  <a:cubicBezTo>
                    <a:pt x="675515" y="865447"/>
                    <a:pt x="675717" y="866591"/>
                    <a:pt x="676760" y="866019"/>
                  </a:cubicBezTo>
                  <a:cubicBezTo>
                    <a:pt x="677770" y="865447"/>
                    <a:pt x="679082" y="864270"/>
                    <a:pt x="679520" y="862621"/>
                  </a:cubicBezTo>
                  <a:cubicBezTo>
                    <a:pt x="679957" y="860939"/>
                    <a:pt x="680327" y="859493"/>
                    <a:pt x="680327" y="859493"/>
                  </a:cubicBezTo>
                  <a:lnTo>
                    <a:pt x="680327" y="855590"/>
                  </a:lnTo>
                  <a:cubicBezTo>
                    <a:pt x="680327" y="855590"/>
                    <a:pt x="681068" y="854447"/>
                    <a:pt x="681202" y="853572"/>
                  </a:cubicBezTo>
                  <a:cubicBezTo>
                    <a:pt x="681337" y="852698"/>
                    <a:pt x="682784" y="850107"/>
                    <a:pt x="682784" y="850107"/>
                  </a:cubicBezTo>
                  <a:cubicBezTo>
                    <a:pt x="682784" y="850107"/>
                    <a:pt x="683222" y="848795"/>
                    <a:pt x="684803" y="848089"/>
                  </a:cubicBezTo>
                  <a:cubicBezTo>
                    <a:pt x="686385" y="847349"/>
                    <a:pt x="687698" y="845499"/>
                    <a:pt x="688270" y="845196"/>
                  </a:cubicBezTo>
                  <a:cubicBezTo>
                    <a:pt x="688842" y="844893"/>
                    <a:pt x="691299" y="842740"/>
                    <a:pt x="691736" y="842437"/>
                  </a:cubicBezTo>
                  <a:cubicBezTo>
                    <a:pt x="692174" y="842135"/>
                    <a:pt x="693486" y="841428"/>
                    <a:pt x="693486" y="841428"/>
                  </a:cubicBezTo>
                  <a:lnTo>
                    <a:pt x="694294" y="838670"/>
                  </a:lnTo>
                  <a:lnTo>
                    <a:pt x="692779" y="836281"/>
                  </a:lnTo>
                  <a:cubicBezTo>
                    <a:pt x="692779" y="836281"/>
                    <a:pt x="692342" y="835642"/>
                    <a:pt x="692712" y="835474"/>
                  </a:cubicBezTo>
                  <a:cubicBezTo>
                    <a:pt x="693082" y="835339"/>
                    <a:pt x="693722" y="834768"/>
                    <a:pt x="693856" y="834330"/>
                  </a:cubicBezTo>
                  <a:cubicBezTo>
                    <a:pt x="693991" y="833893"/>
                    <a:pt x="694361" y="833960"/>
                    <a:pt x="694294" y="833691"/>
                  </a:cubicBezTo>
                  <a:cubicBezTo>
                    <a:pt x="694227" y="833388"/>
                    <a:pt x="694530" y="832177"/>
                    <a:pt x="693991" y="831370"/>
                  </a:cubicBezTo>
                  <a:cubicBezTo>
                    <a:pt x="693486" y="830563"/>
                    <a:pt x="691299" y="828241"/>
                    <a:pt x="691299" y="828241"/>
                  </a:cubicBezTo>
                  <a:cubicBezTo>
                    <a:pt x="691299" y="828241"/>
                    <a:pt x="690659" y="828881"/>
                    <a:pt x="690289" y="826997"/>
                  </a:cubicBezTo>
                  <a:cubicBezTo>
                    <a:pt x="689919" y="825113"/>
                    <a:pt x="689650" y="824743"/>
                    <a:pt x="689919" y="823734"/>
                  </a:cubicBezTo>
                  <a:cubicBezTo>
                    <a:pt x="690222" y="822724"/>
                    <a:pt x="690053" y="823229"/>
                    <a:pt x="691232" y="821850"/>
                  </a:cubicBezTo>
                  <a:cubicBezTo>
                    <a:pt x="692376" y="820471"/>
                    <a:pt x="691804" y="820269"/>
                    <a:pt x="693251" y="819024"/>
                  </a:cubicBezTo>
                  <a:cubicBezTo>
                    <a:pt x="694698" y="817780"/>
                    <a:pt x="695203" y="817578"/>
                    <a:pt x="696381" y="816770"/>
                  </a:cubicBezTo>
                  <a:cubicBezTo>
                    <a:pt x="697525" y="815963"/>
                    <a:pt x="697761" y="815694"/>
                    <a:pt x="698905" y="815761"/>
                  </a:cubicBezTo>
                  <a:cubicBezTo>
                    <a:pt x="700049" y="815828"/>
                    <a:pt x="704323" y="816770"/>
                    <a:pt x="704323" y="816770"/>
                  </a:cubicBezTo>
                  <a:cubicBezTo>
                    <a:pt x="704323" y="816770"/>
                    <a:pt x="705770" y="817847"/>
                    <a:pt x="706140" y="817948"/>
                  </a:cubicBezTo>
                  <a:cubicBezTo>
                    <a:pt x="706511" y="818015"/>
                    <a:pt x="709842" y="820538"/>
                    <a:pt x="709842" y="820538"/>
                  </a:cubicBezTo>
                  <a:cubicBezTo>
                    <a:pt x="709842" y="820538"/>
                    <a:pt x="711929" y="821985"/>
                    <a:pt x="712669" y="822052"/>
                  </a:cubicBezTo>
                  <a:cubicBezTo>
                    <a:pt x="713410" y="822119"/>
                    <a:pt x="715631" y="823935"/>
                    <a:pt x="716371" y="823935"/>
                  </a:cubicBezTo>
                  <a:cubicBezTo>
                    <a:pt x="717078" y="823935"/>
                    <a:pt x="720208" y="824003"/>
                    <a:pt x="720208" y="824003"/>
                  </a:cubicBezTo>
                  <a:lnTo>
                    <a:pt x="724785" y="823498"/>
                  </a:lnTo>
                  <a:cubicBezTo>
                    <a:pt x="724785" y="823498"/>
                    <a:pt x="728117" y="821985"/>
                    <a:pt x="728319" y="821985"/>
                  </a:cubicBezTo>
                  <a:cubicBezTo>
                    <a:pt x="728521" y="821985"/>
                    <a:pt x="732021" y="820942"/>
                    <a:pt x="732021" y="820942"/>
                  </a:cubicBezTo>
                  <a:lnTo>
                    <a:pt x="727881" y="816165"/>
                  </a:lnTo>
                  <a:lnTo>
                    <a:pt x="722766" y="811724"/>
                  </a:lnTo>
                  <a:lnTo>
                    <a:pt x="718088" y="806611"/>
                  </a:lnTo>
                  <a:cubicBezTo>
                    <a:pt x="718088" y="806611"/>
                    <a:pt x="713309" y="802171"/>
                    <a:pt x="712939" y="801868"/>
                  </a:cubicBezTo>
                  <a:cubicBezTo>
                    <a:pt x="712568" y="801565"/>
                    <a:pt x="709674" y="798975"/>
                    <a:pt x="709540" y="798672"/>
                  </a:cubicBezTo>
                  <a:cubicBezTo>
                    <a:pt x="709405" y="798403"/>
                    <a:pt x="707588" y="797226"/>
                    <a:pt x="707453" y="796923"/>
                  </a:cubicBezTo>
                  <a:cubicBezTo>
                    <a:pt x="707318" y="796620"/>
                    <a:pt x="702607" y="792920"/>
                    <a:pt x="702371" y="792516"/>
                  </a:cubicBezTo>
                  <a:cubicBezTo>
                    <a:pt x="702136" y="792079"/>
                    <a:pt x="700621" y="790431"/>
                    <a:pt x="700621" y="790431"/>
                  </a:cubicBezTo>
                  <a:lnTo>
                    <a:pt x="699544" y="788177"/>
                  </a:lnTo>
                  <a:lnTo>
                    <a:pt x="699342" y="786293"/>
                  </a:lnTo>
                  <a:cubicBezTo>
                    <a:pt x="699342" y="786293"/>
                    <a:pt x="700083" y="784846"/>
                    <a:pt x="700352" y="784274"/>
                  </a:cubicBezTo>
                  <a:cubicBezTo>
                    <a:pt x="700655" y="783703"/>
                    <a:pt x="700857" y="782693"/>
                    <a:pt x="701159" y="782189"/>
                  </a:cubicBezTo>
                  <a:cubicBezTo>
                    <a:pt x="701429" y="781684"/>
                    <a:pt x="701799" y="779868"/>
                    <a:pt x="701799" y="779868"/>
                  </a:cubicBezTo>
                  <a:lnTo>
                    <a:pt x="700487" y="778287"/>
                  </a:lnTo>
                  <a:lnTo>
                    <a:pt x="698669" y="774889"/>
                  </a:lnTo>
                  <a:cubicBezTo>
                    <a:pt x="698669" y="774889"/>
                    <a:pt x="697861" y="772433"/>
                    <a:pt x="697592" y="772063"/>
                  </a:cubicBezTo>
                  <a:cubicBezTo>
                    <a:pt x="697289" y="771693"/>
                    <a:pt x="697962" y="770549"/>
                    <a:pt x="697962" y="770549"/>
                  </a:cubicBezTo>
                  <a:lnTo>
                    <a:pt x="699039" y="769036"/>
                  </a:lnTo>
                  <a:cubicBezTo>
                    <a:pt x="699039" y="769036"/>
                    <a:pt x="700621" y="767219"/>
                    <a:pt x="700857" y="767085"/>
                  </a:cubicBezTo>
                  <a:cubicBezTo>
                    <a:pt x="701092" y="766950"/>
                    <a:pt x="703246" y="766580"/>
                    <a:pt x="703549" y="766445"/>
                  </a:cubicBezTo>
                  <a:cubicBezTo>
                    <a:pt x="703852" y="766311"/>
                    <a:pt x="706746" y="766445"/>
                    <a:pt x="707016" y="766445"/>
                  </a:cubicBezTo>
                  <a:cubicBezTo>
                    <a:pt x="707318" y="766445"/>
                    <a:pt x="710145" y="766311"/>
                    <a:pt x="710145" y="766311"/>
                  </a:cubicBezTo>
                  <a:cubicBezTo>
                    <a:pt x="710145" y="766311"/>
                    <a:pt x="712770" y="765874"/>
                    <a:pt x="712838" y="765604"/>
                  </a:cubicBezTo>
                  <a:cubicBezTo>
                    <a:pt x="712905" y="765302"/>
                    <a:pt x="714150" y="764864"/>
                    <a:pt x="714722" y="764158"/>
                  </a:cubicBezTo>
                  <a:cubicBezTo>
                    <a:pt x="715294" y="763418"/>
                    <a:pt x="715732" y="762779"/>
                    <a:pt x="715799" y="762577"/>
                  </a:cubicBezTo>
                  <a:cubicBezTo>
                    <a:pt x="715867" y="762375"/>
                    <a:pt x="716876" y="760558"/>
                    <a:pt x="716943" y="759818"/>
                  </a:cubicBezTo>
                  <a:cubicBezTo>
                    <a:pt x="717011" y="759078"/>
                    <a:pt x="717078" y="757699"/>
                    <a:pt x="717078" y="757699"/>
                  </a:cubicBezTo>
                  <a:lnTo>
                    <a:pt x="717011" y="756253"/>
                  </a:lnTo>
                  <a:lnTo>
                    <a:pt x="714487" y="754436"/>
                  </a:lnTo>
                  <a:lnTo>
                    <a:pt x="713915" y="752249"/>
                  </a:lnTo>
                  <a:lnTo>
                    <a:pt x="713343" y="750063"/>
                  </a:lnTo>
                  <a:lnTo>
                    <a:pt x="715530" y="746161"/>
                  </a:lnTo>
                  <a:lnTo>
                    <a:pt x="722059" y="742023"/>
                  </a:lnTo>
                  <a:cubicBezTo>
                    <a:pt x="722059" y="742023"/>
                    <a:pt x="727713" y="734185"/>
                    <a:pt x="727915" y="733546"/>
                  </a:cubicBezTo>
                  <a:cubicBezTo>
                    <a:pt x="728117" y="732907"/>
                    <a:pt x="735083" y="727457"/>
                    <a:pt x="735083" y="727457"/>
                  </a:cubicBezTo>
                  <a:lnTo>
                    <a:pt x="738987" y="721166"/>
                  </a:lnTo>
                  <a:lnTo>
                    <a:pt x="740300" y="720090"/>
                  </a:lnTo>
                  <a:lnTo>
                    <a:pt x="741377" y="716625"/>
                  </a:lnTo>
                  <a:lnTo>
                    <a:pt x="740064" y="715313"/>
                  </a:lnTo>
                  <a:lnTo>
                    <a:pt x="738112" y="712925"/>
                  </a:lnTo>
                  <a:cubicBezTo>
                    <a:pt x="738112" y="712925"/>
                    <a:pt x="733535" y="712689"/>
                    <a:pt x="732660" y="713362"/>
                  </a:cubicBezTo>
                  <a:cubicBezTo>
                    <a:pt x="731785" y="714001"/>
                    <a:pt x="729631" y="713564"/>
                    <a:pt x="728083" y="713564"/>
                  </a:cubicBezTo>
                  <a:cubicBezTo>
                    <a:pt x="726569" y="713564"/>
                    <a:pt x="725054" y="713564"/>
                    <a:pt x="718963" y="712925"/>
                  </a:cubicBezTo>
                  <a:cubicBezTo>
                    <a:pt x="712871" y="712286"/>
                    <a:pt x="718761" y="711176"/>
                    <a:pt x="718525" y="710335"/>
                  </a:cubicBezTo>
                  <a:cubicBezTo>
                    <a:pt x="718323" y="709460"/>
                    <a:pt x="718963" y="707711"/>
                    <a:pt x="718963" y="706634"/>
                  </a:cubicBezTo>
                  <a:cubicBezTo>
                    <a:pt x="718963" y="705558"/>
                    <a:pt x="719602" y="702934"/>
                    <a:pt x="719602" y="702934"/>
                  </a:cubicBezTo>
                  <a:cubicBezTo>
                    <a:pt x="719602" y="702934"/>
                    <a:pt x="713746" y="699032"/>
                    <a:pt x="713073" y="698796"/>
                  </a:cubicBezTo>
                  <a:cubicBezTo>
                    <a:pt x="712434" y="698594"/>
                    <a:pt x="711559" y="697484"/>
                    <a:pt x="711559" y="697484"/>
                  </a:cubicBezTo>
                  <a:lnTo>
                    <a:pt x="711559" y="694894"/>
                  </a:lnTo>
                  <a:lnTo>
                    <a:pt x="713746" y="692506"/>
                  </a:lnTo>
                  <a:lnTo>
                    <a:pt x="715261" y="689478"/>
                  </a:lnTo>
                  <a:lnTo>
                    <a:pt x="715698" y="685778"/>
                  </a:lnTo>
                  <a:lnTo>
                    <a:pt x="715900" y="682515"/>
                  </a:lnTo>
                  <a:lnTo>
                    <a:pt x="715025" y="680126"/>
                  </a:lnTo>
                  <a:lnTo>
                    <a:pt x="715025" y="677502"/>
                  </a:lnTo>
                  <a:lnTo>
                    <a:pt x="712838" y="672490"/>
                  </a:lnTo>
                  <a:cubicBezTo>
                    <a:pt x="712838" y="672490"/>
                    <a:pt x="713275" y="672490"/>
                    <a:pt x="712636" y="671413"/>
                  </a:cubicBezTo>
                  <a:cubicBezTo>
                    <a:pt x="711996" y="670337"/>
                    <a:pt x="711559" y="667948"/>
                    <a:pt x="711559" y="667948"/>
                  </a:cubicBezTo>
                  <a:lnTo>
                    <a:pt x="711559" y="667713"/>
                  </a:lnTo>
                  <a:lnTo>
                    <a:pt x="715025" y="665527"/>
                  </a:lnTo>
                  <a:lnTo>
                    <a:pt x="718492" y="664887"/>
                  </a:lnTo>
                  <a:lnTo>
                    <a:pt x="721083" y="665325"/>
                  </a:lnTo>
                  <a:cubicBezTo>
                    <a:pt x="721083" y="665325"/>
                    <a:pt x="723674" y="665325"/>
                    <a:pt x="725424" y="665325"/>
                  </a:cubicBezTo>
                  <a:cubicBezTo>
                    <a:pt x="727175" y="665325"/>
                    <a:pt x="731516" y="665224"/>
                    <a:pt x="733670" y="665224"/>
                  </a:cubicBezTo>
                  <a:cubicBezTo>
                    <a:pt x="735858" y="665224"/>
                    <a:pt x="736497" y="664686"/>
                    <a:pt x="736497" y="664686"/>
                  </a:cubicBezTo>
                  <a:lnTo>
                    <a:pt x="737574" y="662734"/>
                  </a:lnTo>
                  <a:lnTo>
                    <a:pt x="737574" y="660985"/>
                  </a:lnTo>
                  <a:lnTo>
                    <a:pt x="737574" y="659236"/>
                  </a:lnTo>
                  <a:lnTo>
                    <a:pt x="737574" y="657487"/>
                  </a:lnTo>
                  <a:lnTo>
                    <a:pt x="740502" y="655098"/>
                  </a:lnTo>
                  <a:lnTo>
                    <a:pt x="746560" y="655165"/>
                  </a:lnTo>
                  <a:cubicBezTo>
                    <a:pt x="746560" y="655165"/>
                    <a:pt x="750026" y="655031"/>
                    <a:pt x="750632" y="655165"/>
                  </a:cubicBezTo>
                  <a:cubicBezTo>
                    <a:pt x="751204" y="655300"/>
                    <a:pt x="752079" y="655906"/>
                    <a:pt x="752079" y="655906"/>
                  </a:cubicBezTo>
                  <a:cubicBezTo>
                    <a:pt x="752079" y="655906"/>
                    <a:pt x="753964" y="657789"/>
                    <a:pt x="754401" y="658361"/>
                  </a:cubicBezTo>
                  <a:cubicBezTo>
                    <a:pt x="754839" y="658933"/>
                    <a:pt x="754401" y="660817"/>
                    <a:pt x="754266" y="661557"/>
                  </a:cubicBezTo>
                  <a:cubicBezTo>
                    <a:pt x="754132" y="662263"/>
                    <a:pt x="753829" y="662869"/>
                    <a:pt x="752079" y="664585"/>
                  </a:cubicBezTo>
                  <a:cubicBezTo>
                    <a:pt x="750329" y="666334"/>
                    <a:pt x="752079" y="666771"/>
                    <a:pt x="752079" y="666771"/>
                  </a:cubicBezTo>
                  <a:cubicBezTo>
                    <a:pt x="752079" y="666771"/>
                    <a:pt x="754266" y="668352"/>
                    <a:pt x="756723" y="669227"/>
                  </a:cubicBezTo>
                  <a:cubicBezTo>
                    <a:pt x="759180" y="670101"/>
                    <a:pt x="759045" y="669362"/>
                    <a:pt x="759752" y="668789"/>
                  </a:cubicBezTo>
                  <a:cubicBezTo>
                    <a:pt x="760492" y="668218"/>
                    <a:pt x="761199" y="667646"/>
                    <a:pt x="761502" y="667209"/>
                  </a:cubicBezTo>
                  <a:cubicBezTo>
                    <a:pt x="761805" y="666771"/>
                    <a:pt x="763387" y="666199"/>
                    <a:pt x="765844" y="665627"/>
                  </a:cubicBezTo>
                  <a:cubicBezTo>
                    <a:pt x="768300" y="665056"/>
                    <a:pt x="768906" y="665190"/>
                    <a:pt x="769748" y="664450"/>
                  </a:cubicBezTo>
                  <a:cubicBezTo>
                    <a:pt x="770623" y="663744"/>
                    <a:pt x="771935" y="662701"/>
                    <a:pt x="771935" y="662701"/>
                  </a:cubicBezTo>
                  <a:cubicBezTo>
                    <a:pt x="771935" y="662701"/>
                    <a:pt x="775267" y="662398"/>
                    <a:pt x="776714" y="661826"/>
                  </a:cubicBezTo>
                  <a:lnTo>
                    <a:pt x="783075" y="661826"/>
                  </a:lnTo>
                  <a:cubicBezTo>
                    <a:pt x="783075" y="661826"/>
                    <a:pt x="784387" y="661860"/>
                    <a:pt x="785834" y="661725"/>
                  </a:cubicBezTo>
                  <a:cubicBezTo>
                    <a:pt x="787282" y="661591"/>
                    <a:pt x="788157" y="661557"/>
                    <a:pt x="788157" y="661557"/>
                  </a:cubicBezTo>
                  <a:cubicBezTo>
                    <a:pt x="788157" y="661557"/>
                    <a:pt x="790344" y="661860"/>
                    <a:pt x="792498" y="662263"/>
                  </a:cubicBezTo>
                  <a:cubicBezTo>
                    <a:pt x="794686" y="662701"/>
                    <a:pt x="794248" y="664585"/>
                    <a:pt x="794248" y="664585"/>
                  </a:cubicBezTo>
                  <a:lnTo>
                    <a:pt x="796705" y="666166"/>
                  </a:lnTo>
                  <a:lnTo>
                    <a:pt x="796705" y="669630"/>
                  </a:lnTo>
                  <a:lnTo>
                    <a:pt x="796705" y="672961"/>
                  </a:lnTo>
                  <a:cubicBezTo>
                    <a:pt x="796705" y="672961"/>
                    <a:pt x="800542" y="672692"/>
                    <a:pt x="801989" y="672961"/>
                  </a:cubicBezTo>
                  <a:cubicBezTo>
                    <a:pt x="803436" y="673264"/>
                    <a:pt x="805253" y="672961"/>
                    <a:pt x="805253" y="672961"/>
                  </a:cubicBezTo>
                  <a:cubicBezTo>
                    <a:pt x="805253" y="672961"/>
                    <a:pt x="805556" y="673835"/>
                    <a:pt x="806128" y="675147"/>
                  </a:cubicBezTo>
                  <a:cubicBezTo>
                    <a:pt x="806700" y="676459"/>
                    <a:pt x="806835" y="677738"/>
                    <a:pt x="806835" y="677738"/>
                  </a:cubicBezTo>
                  <a:lnTo>
                    <a:pt x="808417" y="678612"/>
                  </a:lnTo>
                  <a:lnTo>
                    <a:pt x="811479" y="680934"/>
                  </a:lnTo>
                  <a:lnTo>
                    <a:pt x="815821" y="680934"/>
                  </a:lnTo>
                  <a:lnTo>
                    <a:pt x="819287" y="683860"/>
                  </a:lnTo>
                  <a:cubicBezTo>
                    <a:pt x="819287" y="683860"/>
                    <a:pt x="822114" y="686585"/>
                    <a:pt x="823864" y="688301"/>
                  </a:cubicBezTo>
                  <a:cubicBezTo>
                    <a:pt x="825614" y="690050"/>
                    <a:pt x="826052" y="693952"/>
                    <a:pt x="826052" y="693952"/>
                  </a:cubicBezTo>
                  <a:cubicBezTo>
                    <a:pt x="826052" y="693952"/>
                    <a:pt x="828239" y="696340"/>
                    <a:pt x="828239" y="697215"/>
                  </a:cubicBezTo>
                  <a:cubicBezTo>
                    <a:pt x="828239" y="698090"/>
                    <a:pt x="827600" y="699402"/>
                    <a:pt x="826927" y="699839"/>
                  </a:cubicBezTo>
                  <a:cubicBezTo>
                    <a:pt x="826287" y="700276"/>
                    <a:pt x="823898" y="702227"/>
                    <a:pt x="823898" y="702227"/>
                  </a:cubicBezTo>
                  <a:lnTo>
                    <a:pt x="824975" y="706567"/>
                  </a:lnTo>
                  <a:lnTo>
                    <a:pt x="827364" y="709830"/>
                  </a:lnTo>
                  <a:cubicBezTo>
                    <a:pt x="827364" y="709830"/>
                    <a:pt x="829552" y="715481"/>
                    <a:pt x="829989" y="716356"/>
                  </a:cubicBezTo>
                  <a:cubicBezTo>
                    <a:pt x="830427" y="717231"/>
                    <a:pt x="833691" y="720696"/>
                    <a:pt x="835004" y="721570"/>
                  </a:cubicBezTo>
                  <a:cubicBezTo>
                    <a:pt x="836316" y="722445"/>
                    <a:pt x="837393" y="729610"/>
                    <a:pt x="837393" y="729610"/>
                  </a:cubicBezTo>
                  <a:lnTo>
                    <a:pt x="836081" y="737885"/>
                  </a:lnTo>
                  <a:lnTo>
                    <a:pt x="835004" y="744950"/>
                  </a:lnTo>
                  <a:cubicBezTo>
                    <a:pt x="835004" y="744950"/>
                    <a:pt x="835441" y="747237"/>
                    <a:pt x="838033" y="751375"/>
                  </a:cubicBezTo>
                  <a:cubicBezTo>
                    <a:pt x="840658" y="755513"/>
                    <a:pt x="840658" y="753326"/>
                    <a:pt x="841297" y="753763"/>
                  </a:cubicBezTo>
                  <a:cubicBezTo>
                    <a:pt x="841937" y="754201"/>
                    <a:pt x="843047" y="755950"/>
                    <a:pt x="843687" y="758103"/>
                  </a:cubicBezTo>
                  <a:cubicBezTo>
                    <a:pt x="844326" y="760289"/>
                    <a:pt x="843249" y="759179"/>
                    <a:pt x="842812" y="759852"/>
                  </a:cubicBezTo>
                  <a:cubicBezTo>
                    <a:pt x="842374" y="760491"/>
                    <a:pt x="842812" y="762880"/>
                    <a:pt x="842812" y="762880"/>
                  </a:cubicBezTo>
                  <a:cubicBezTo>
                    <a:pt x="842812" y="762880"/>
                    <a:pt x="845201" y="764192"/>
                    <a:pt x="846514" y="764629"/>
                  </a:cubicBezTo>
                  <a:cubicBezTo>
                    <a:pt x="847826" y="765066"/>
                    <a:pt x="848466" y="765941"/>
                    <a:pt x="849105" y="766378"/>
                  </a:cubicBezTo>
                  <a:cubicBezTo>
                    <a:pt x="849745" y="766815"/>
                    <a:pt x="851057" y="768329"/>
                    <a:pt x="851057" y="768329"/>
                  </a:cubicBezTo>
                  <a:cubicBezTo>
                    <a:pt x="851057" y="768329"/>
                    <a:pt x="853682" y="770280"/>
                    <a:pt x="854759" y="770280"/>
                  </a:cubicBezTo>
                  <a:cubicBezTo>
                    <a:pt x="855836" y="770280"/>
                    <a:pt x="857350" y="772030"/>
                    <a:pt x="857350" y="772030"/>
                  </a:cubicBezTo>
                  <a:lnTo>
                    <a:pt x="861692" y="773106"/>
                  </a:lnTo>
                  <a:lnTo>
                    <a:pt x="868860" y="776134"/>
                  </a:lnTo>
                  <a:lnTo>
                    <a:pt x="872764" y="779834"/>
                  </a:lnTo>
                  <a:lnTo>
                    <a:pt x="878856" y="786125"/>
                  </a:lnTo>
                  <a:lnTo>
                    <a:pt x="879798" y="791272"/>
                  </a:lnTo>
                  <a:cubicBezTo>
                    <a:pt x="879798" y="791272"/>
                    <a:pt x="882120" y="796116"/>
                    <a:pt x="883870" y="797226"/>
                  </a:cubicBezTo>
                  <a:cubicBezTo>
                    <a:pt x="885620" y="798302"/>
                    <a:pt x="886563" y="799311"/>
                    <a:pt x="887068" y="799412"/>
                  </a:cubicBezTo>
                  <a:cubicBezTo>
                    <a:pt x="887572" y="799480"/>
                    <a:pt x="889087" y="800657"/>
                    <a:pt x="889019" y="800926"/>
                  </a:cubicBezTo>
                  <a:cubicBezTo>
                    <a:pt x="888952" y="801229"/>
                    <a:pt x="889221" y="802238"/>
                    <a:pt x="889087" y="803247"/>
                  </a:cubicBezTo>
                  <a:cubicBezTo>
                    <a:pt x="888952" y="804256"/>
                    <a:pt x="889087" y="804492"/>
                    <a:pt x="889087" y="804761"/>
                  </a:cubicBezTo>
                  <a:cubicBezTo>
                    <a:pt x="889087" y="805064"/>
                    <a:pt x="890231" y="806577"/>
                    <a:pt x="890332" y="806779"/>
                  </a:cubicBezTo>
                  <a:cubicBezTo>
                    <a:pt x="890399" y="806981"/>
                    <a:pt x="891779" y="809100"/>
                    <a:pt x="892217" y="809807"/>
                  </a:cubicBezTo>
                  <a:cubicBezTo>
                    <a:pt x="892654" y="810547"/>
                    <a:pt x="894976" y="812431"/>
                    <a:pt x="895548" y="813137"/>
                  </a:cubicBezTo>
                  <a:cubicBezTo>
                    <a:pt x="896121" y="813844"/>
                    <a:pt x="898140" y="814887"/>
                    <a:pt x="898813" y="815223"/>
                  </a:cubicBezTo>
                  <a:cubicBezTo>
                    <a:pt x="899452" y="815593"/>
                    <a:pt x="901842" y="816602"/>
                    <a:pt x="901842" y="816602"/>
                  </a:cubicBezTo>
                  <a:lnTo>
                    <a:pt x="904972" y="818486"/>
                  </a:lnTo>
                  <a:cubicBezTo>
                    <a:pt x="904972" y="818486"/>
                    <a:pt x="906217" y="819798"/>
                    <a:pt x="907496" y="821009"/>
                  </a:cubicBezTo>
                  <a:cubicBezTo>
                    <a:pt x="908808" y="822253"/>
                    <a:pt x="908640" y="821211"/>
                    <a:pt x="909246" y="821009"/>
                  </a:cubicBezTo>
                  <a:cubicBezTo>
                    <a:pt x="909818" y="820807"/>
                    <a:pt x="910424" y="819058"/>
                    <a:pt x="910760" y="818553"/>
                  </a:cubicBezTo>
                  <a:cubicBezTo>
                    <a:pt x="911130" y="818049"/>
                    <a:pt x="910996" y="817309"/>
                    <a:pt x="911703" y="816669"/>
                  </a:cubicBezTo>
                  <a:cubicBezTo>
                    <a:pt x="912443" y="816030"/>
                    <a:pt x="912342" y="815593"/>
                    <a:pt x="912645" y="814853"/>
                  </a:cubicBezTo>
                  <a:cubicBezTo>
                    <a:pt x="912948" y="814113"/>
                    <a:pt x="913385" y="813978"/>
                    <a:pt x="913789" y="813911"/>
                  </a:cubicBezTo>
                  <a:cubicBezTo>
                    <a:pt x="914227" y="813844"/>
                    <a:pt x="914866" y="814046"/>
                    <a:pt x="915169" y="814113"/>
                  </a:cubicBezTo>
                  <a:cubicBezTo>
                    <a:pt x="915472" y="814180"/>
                    <a:pt x="916919" y="815559"/>
                    <a:pt x="917626" y="815997"/>
                  </a:cubicBezTo>
                  <a:cubicBezTo>
                    <a:pt x="918366" y="816434"/>
                    <a:pt x="918265" y="816501"/>
                    <a:pt x="918636" y="816804"/>
                  </a:cubicBezTo>
                  <a:cubicBezTo>
                    <a:pt x="919006" y="817107"/>
                    <a:pt x="918636" y="818822"/>
                    <a:pt x="918636" y="819125"/>
                  </a:cubicBezTo>
                  <a:cubicBezTo>
                    <a:pt x="918636" y="819428"/>
                    <a:pt x="919443" y="821009"/>
                    <a:pt x="919443" y="821009"/>
                  </a:cubicBezTo>
                  <a:cubicBezTo>
                    <a:pt x="919443" y="821009"/>
                    <a:pt x="919948" y="821581"/>
                    <a:pt x="920318" y="821883"/>
                  </a:cubicBezTo>
                  <a:cubicBezTo>
                    <a:pt x="920688" y="822186"/>
                    <a:pt x="921193" y="823128"/>
                    <a:pt x="921698" y="824003"/>
                  </a:cubicBezTo>
                  <a:cubicBezTo>
                    <a:pt x="922203" y="824877"/>
                    <a:pt x="922573" y="824709"/>
                    <a:pt x="923381" y="825517"/>
                  </a:cubicBezTo>
                  <a:cubicBezTo>
                    <a:pt x="924188" y="826324"/>
                    <a:pt x="924088" y="826257"/>
                    <a:pt x="924626" y="826593"/>
                  </a:cubicBezTo>
                  <a:cubicBezTo>
                    <a:pt x="925131" y="826963"/>
                    <a:pt x="926443" y="826593"/>
                    <a:pt x="927150" y="826593"/>
                  </a:cubicBezTo>
                  <a:cubicBezTo>
                    <a:pt x="927857" y="826593"/>
                    <a:pt x="927655" y="825954"/>
                    <a:pt x="927655" y="825954"/>
                  </a:cubicBezTo>
                  <a:cubicBezTo>
                    <a:pt x="927655" y="825954"/>
                    <a:pt x="928092" y="824877"/>
                    <a:pt x="928092" y="824642"/>
                  </a:cubicBezTo>
                  <a:cubicBezTo>
                    <a:pt x="928092" y="824440"/>
                    <a:pt x="929035" y="823397"/>
                    <a:pt x="929338" y="823397"/>
                  </a:cubicBezTo>
                  <a:cubicBezTo>
                    <a:pt x="929640" y="823397"/>
                    <a:pt x="930650" y="823767"/>
                    <a:pt x="930650" y="823767"/>
                  </a:cubicBezTo>
                  <a:lnTo>
                    <a:pt x="932669" y="824205"/>
                  </a:lnTo>
                  <a:lnTo>
                    <a:pt x="932972" y="823195"/>
                  </a:lnTo>
                  <a:lnTo>
                    <a:pt x="933107" y="822052"/>
                  </a:lnTo>
                  <a:cubicBezTo>
                    <a:pt x="933107" y="822052"/>
                    <a:pt x="933107" y="820605"/>
                    <a:pt x="932366" y="820033"/>
                  </a:cubicBezTo>
                  <a:cubicBezTo>
                    <a:pt x="931626" y="819462"/>
                    <a:pt x="932366" y="815694"/>
                    <a:pt x="932366" y="815694"/>
                  </a:cubicBezTo>
                  <a:cubicBezTo>
                    <a:pt x="932366" y="815694"/>
                    <a:pt x="932366" y="811926"/>
                    <a:pt x="932366" y="811354"/>
                  </a:cubicBezTo>
                  <a:cubicBezTo>
                    <a:pt x="932366" y="810782"/>
                    <a:pt x="933242" y="807015"/>
                    <a:pt x="933242" y="807015"/>
                  </a:cubicBezTo>
                  <a:lnTo>
                    <a:pt x="934992" y="805871"/>
                  </a:lnTo>
                  <a:cubicBezTo>
                    <a:pt x="934992" y="805871"/>
                    <a:pt x="939636" y="805434"/>
                    <a:pt x="940208" y="805299"/>
                  </a:cubicBezTo>
                  <a:cubicBezTo>
                    <a:pt x="940780" y="805165"/>
                    <a:pt x="942968" y="805434"/>
                    <a:pt x="942968" y="805434"/>
                  </a:cubicBezTo>
                  <a:lnTo>
                    <a:pt x="944280" y="803685"/>
                  </a:lnTo>
                  <a:lnTo>
                    <a:pt x="945424" y="801801"/>
                  </a:lnTo>
                  <a:lnTo>
                    <a:pt x="947006" y="798908"/>
                  </a:lnTo>
                  <a:cubicBezTo>
                    <a:pt x="947006" y="798908"/>
                    <a:pt x="949463" y="797596"/>
                    <a:pt x="950035" y="797596"/>
                  </a:cubicBezTo>
                  <a:cubicBezTo>
                    <a:pt x="950607" y="797596"/>
                    <a:pt x="952795" y="797158"/>
                    <a:pt x="952795" y="797158"/>
                  </a:cubicBezTo>
                  <a:lnTo>
                    <a:pt x="954377" y="798302"/>
                  </a:lnTo>
                  <a:lnTo>
                    <a:pt x="951179" y="801498"/>
                  </a:lnTo>
                  <a:lnTo>
                    <a:pt x="950607" y="804088"/>
                  </a:lnTo>
                  <a:cubicBezTo>
                    <a:pt x="950607" y="804088"/>
                    <a:pt x="953367" y="806275"/>
                    <a:pt x="956396" y="808428"/>
                  </a:cubicBezTo>
                  <a:cubicBezTo>
                    <a:pt x="959425" y="810614"/>
                    <a:pt x="957540" y="810311"/>
                    <a:pt x="958281" y="811455"/>
                  </a:cubicBezTo>
                  <a:cubicBezTo>
                    <a:pt x="958987" y="812599"/>
                    <a:pt x="958281" y="817813"/>
                    <a:pt x="958146" y="818251"/>
                  </a:cubicBezTo>
                  <a:cubicBezTo>
                    <a:pt x="958011" y="818688"/>
                    <a:pt x="957405" y="819832"/>
                    <a:pt x="956564" y="821715"/>
                  </a:cubicBezTo>
                  <a:cubicBezTo>
                    <a:pt x="955689" y="823599"/>
                    <a:pt x="955555" y="824608"/>
                    <a:pt x="955555" y="825786"/>
                  </a:cubicBezTo>
                  <a:cubicBezTo>
                    <a:pt x="955555" y="826929"/>
                    <a:pt x="955420" y="827670"/>
                    <a:pt x="955555" y="828107"/>
                  </a:cubicBezTo>
                  <a:cubicBezTo>
                    <a:pt x="955689" y="828544"/>
                    <a:pt x="957574" y="831134"/>
                    <a:pt x="958011" y="831572"/>
                  </a:cubicBezTo>
                  <a:cubicBezTo>
                    <a:pt x="958449" y="832009"/>
                    <a:pt x="959761" y="832884"/>
                    <a:pt x="959761" y="832884"/>
                  </a:cubicBezTo>
                  <a:lnTo>
                    <a:pt x="963396" y="834027"/>
                  </a:lnTo>
                  <a:cubicBezTo>
                    <a:pt x="963396" y="834027"/>
                    <a:pt x="965584" y="833456"/>
                    <a:pt x="965987" y="833018"/>
                  </a:cubicBezTo>
                  <a:cubicBezTo>
                    <a:pt x="966425" y="832581"/>
                    <a:pt x="967132" y="829553"/>
                    <a:pt x="967132" y="829553"/>
                  </a:cubicBezTo>
                  <a:lnTo>
                    <a:pt x="967132" y="827804"/>
                  </a:lnTo>
                  <a:lnTo>
                    <a:pt x="968276" y="826358"/>
                  </a:lnTo>
                  <a:cubicBezTo>
                    <a:pt x="968276" y="826358"/>
                    <a:pt x="969286" y="823330"/>
                    <a:pt x="970161" y="822724"/>
                  </a:cubicBezTo>
                  <a:cubicBezTo>
                    <a:pt x="971036" y="822153"/>
                    <a:pt x="972617" y="820841"/>
                    <a:pt x="972617" y="820841"/>
                  </a:cubicBezTo>
                  <a:lnTo>
                    <a:pt x="974637" y="822590"/>
                  </a:lnTo>
                  <a:cubicBezTo>
                    <a:pt x="974637" y="822590"/>
                    <a:pt x="978406" y="824036"/>
                    <a:pt x="980425" y="824474"/>
                  </a:cubicBezTo>
                  <a:cubicBezTo>
                    <a:pt x="982445" y="824911"/>
                    <a:pt x="981166" y="824339"/>
                    <a:pt x="981166" y="824339"/>
                  </a:cubicBezTo>
                  <a:cubicBezTo>
                    <a:pt x="981166" y="824339"/>
                    <a:pt x="981738" y="823465"/>
                    <a:pt x="984195" y="823330"/>
                  </a:cubicBezTo>
                  <a:cubicBezTo>
                    <a:pt x="986651" y="823195"/>
                    <a:pt x="985507" y="822893"/>
                    <a:pt x="985642" y="822321"/>
                  </a:cubicBezTo>
                  <a:cubicBezTo>
                    <a:pt x="985776" y="821749"/>
                    <a:pt x="987964" y="822018"/>
                    <a:pt x="988671" y="822456"/>
                  </a:cubicBezTo>
                  <a:cubicBezTo>
                    <a:pt x="989377" y="822893"/>
                    <a:pt x="990858" y="824911"/>
                    <a:pt x="991262" y="825920"/>
                  </a:cubicBezTo>
                  <a:cubicBezTo>
                    <a:pt x="991700" y="826929"/>
                    <a:pt x="992440" y="829116"/>
                    <a:pt x="992440" y="829688"/>
                  </a:cubicBezTo>
                  <a:cubicBezTo>
                    <a:pt x="992440" y="830260"/>
                    <a:pt x="996209" y="835037"/>
                    <a:pt x="996344" y="835474"/>
                  </a:cubicBezTo>
                  <a:cubicBezTo>
                    <a:pt x="996478" y="835911"/>
                    <a:pt x="996647" y="837930"/>
                    <a:pt x="996916" y="838804"/>
                  </a:cubicBezTo>
                  <a:cubicBezTo>
                    <a:pt x="997219" y="839679"/>
                    <a:pt x="996916" y="840823"/>
                    <a:pt x="996916" y="840823"/>
                  </a:cubicBezTo>
                  <a:cubicBezTo>
                    <a:pt x="996916" y="840823"/>
                    <a:pt x="995604" y="843278"/>
                    <a:pt x="995469" y="843850"/>
                  </a:cubicBezTo>
                  <a:cubicBezTo>
                    <a:pt x="995334" y="844422"/>
                    <a:pt x="994459" y="845431"/>
                    <a:pt x="993719" y="846037"/>
                  </a:cubicBezTo>
                  <a:cubicBezTo>
                    <a:pt x="992978" y="846609"/>
                    <a:pt x="991834" y="848930"/>
                    <a:pt x="991262" y="849064"/>
                  </a:cubicBezTo>
                  <a:cubicBezTo>
                    <a:pt x="990690" y="849199"/>
                    <a:pt x="988671" y="851823"/>
                    <a:pt x="988671" y="851823"/>
                  </a:cubicBezTo>
                  <a:lnTo>
                    <a:pt x="984901" y="853841"/>
                  </a:lnTo>
                  <a:lnTo>
                    <a:pt x="984161" y="855422"/>
                  </a:lnTo>
                  <a:cubicBezTo>
                    <a:pt x="984161" y="855422"/>
                    <a:pt x="985911" y="857441"/>
                    <a:pt x="986349" y="857878"/>
                  </a:cubicBezTo>
                  <a:cubicBezTo>
                    <a:pt x="986786" y="858315"/>
                    <a:pt x="990252" y="859459"/>
                    <a:pt x="990690" y="859896"/>
                  </a:cubicBezTo>
                  <a:cubicBezTo>
                    <a:pt x="991127" y="860334"/>
                    <a:pt x="993719" y="859896"/>
                    <a:pt x="995469" y="859896"/>
                  </a:cubicBezTo>
                  <a:cubicBezTo>
                    <a:pt x="997219" y="859896"/>
                    <a:pt x="998801" y="859324"/>
                    <a:pt x="998801" y="859324"/>
                  </a:cubicBezTo>
                  <a:lnTo>
                    <a:pt x="1001830" y="855557"/>
                  </a:lnTo>
                  <a:lnTo>
                    <a:pt x="1003580" y="852092"/>
                  </a:lnTo>
                  <a:lnTo>
                    <a:pt x="1003580" y="848896"/>
                  </a:lnTo>
                  <a:lnTo>
                    <a:pt x="1003882" y="844691"/>
                  </a:lnTo>
                  <a:lnTo>
                    <a:pt x="1005902" y="839780"/>
                  </a:lnTo>
                  <a:lnTo>
                    <a:pt x="1009671" y="838199"/>
                  </a:lnTo>
                  <a:lnTo>
                    <a:pt x="1011253" y="834868"/>
                  </a:lnTo>
                  <a:lnTo>
                    <a:pt x="1015729" y="833422"/>
                  </a:lnTo>
                  <a:lnTo>
                    <a:pt x="1019431" y="833321"/>
                  </a:lnTo>
                  <a:lnTo>
                    <a:pt x="1022056" y="834969"/>
                  </a:lnTo>
                  <a:cubicBezTo>
                    <a:pt x="1022056" y="834969"/>
                    <a:pt x="1025220" y="837694"/>
                    <a:pt x="1026734" y="838871"/>
                  </a:cubicBezTo>
                  <a:cubicBezTo>
                    <a:pt x="1028248" y="840083"/>
                    <a:pt x="1030200" y="840284"/>
                    <a:pt x="1032489" y="840823"/>
                  </a:cubicBezTo>
                  <a:cubicBezTo>
                    <a:pt x="1034777" y="841361"/>
                    <a:pt x="1035215" y="840924"/>
                    <a:pt x="1035518" y="840823"/>
                  </a:cubicBezTo>
                  <a:cubicBezTo>
                    <a:pt x="1035854" y="840722"/>
                    <a:pt x="1039422" y="840049"/>
                    <a:pt x="1039657" y="839746"/>
                  </a:cubicBezTo>
                  <a:cubicBezTo>
                    <a:pt x="1039893" y="839410"/>
                    <a:pt x="1041609" y="838871"/>
                    <a:pt x="1042148" y="838569"/>
                  </a:cubicBezTo>
                  <a:cubicBezTo>
                    <a:pt x="1042686" y="838232"/>
                    <a:pt x="1044773" y="835945"/>
                    <a:pt x="1044773" y="835945"/>
                  </a:cubicBezTo>
                  <a:lnTo>
                    <a:pt x="1047263" y="834431"/>
                  </a:lnTo>
                  <a:lnTo>
                    <a:pt x="1048576" y="834633"/>
                  </a:lnTo>
                  <a:lnTo>
                    <a:pt x="1050326" y="835945"/>
                  </a:lnTo>
                  <a:cubicBezTo>
                    <a:pt x="1050326" y="835945"/>
                    <a:pt x="1052816" y="835743"/>
                    <a:pt x="1053153" y="835171"/>
                  </a:cubicBezTo>
                  <a:cubicBezTo>
                    <a:pt x="1053489" y="834633"/>
                    <a:pt x="1054802" y="835171"/>
                    <a:pt x="1054802" y="835171"/>
                  </a:cubicBezTo>
                  <a:lnTo>
                    <a:pt x="1059917" y="833758"/>
                  </a:lnTo>
                  <a:lnTo>
                    <a:pt x="1063384" y="830933"/>
                  </a:lnTo>
                  <a:lnTo>
                    <a:pt x="1064360" y="828645"/>
                  </a:lnTo>
                  <a:lnTo>
                    <a:pt x="1064461" y="826021"/>
                  </a:lnTo>
                  <a:lnTo>
                    <a:pt x="1063922" y="823296"/>
                  </a:lnTo>
                  <a:lnTo>
                    <a:pt x="1064999" y="821009"/>
                  </a:lnTo>
                  <a:lnTo>
                    <a:pt x="1060220" y="816333"/>
                  </a:lnTo>
                  <a:lnTo>
                    <a:pt x="1057932" y="815559"/>
                  </a:lnTo>
                  <a:lnTo>
                    <a:pt x="1055340" y="812935"/>
                  </a:lnTo>
                  <a:lnTo>
                    <a:pt x="1052749" y="810211"/>
                  </a:lnTo>
                  <a:lnTo>
                    <a:pt x="1051874" y="806174"/>
                  </a:lnTo>
                  <a:lnTo>
                    <a:pt x="1052413" y="801834"/>
                  </a:lnTo>
                  <a:lnTo>
                    <a:pt x="1053287" y="795645"/>
                  </a:lnTo>
                  <a:cubicBezTo>
                    <a:pt x="1053287" y="795645"/>
                    <a:pt x="1054903" y="791204"/>
                    <a:pt x="1055139" y="790632"/>
                  </a:cubicBezTo>
                  <a:cubicBezTo>
                    <a:pt x="1055340" y="790094"/>
                    <a:pt x="1056888" y="787470"/>
                    <a:pt x="1056888" y="787470"/>
                  </a:cubicBezTo>
                  <a:lnTo>
                    <a:pt x="1058739" y="784308"/>
                  </a:lnTo>
                  <a:cubicBezTo>
                    <a:pt x="1058739" y="784308"/>
                    <a:pt x="1060490" y="782357"/>
                    <a:pt x="1060927" y="781684"/>
                  </a:cubicBezTo>
                  <a:cubicBezTo>
                    <a:pt x="1061365" y="781045"/>
                    <a:pt x="1062677" y="779733"/>
                    <a:pt x="1062677" y="779733"/>
                  </a:cubicBezTo>
                  <a:lnTo>
                    <a:pt x="1065066" y="779094"/>
                  </a:lnTo>
                  <a:cubicBezTo>
                    <a:pt x="1065066" y="779094"/>
                    <a:pt x="1067994" y="778993"/>
                    <a:pt x="1068971" y="778993"/>
                  </a:cubicBezTo>
                  <a:cubicBezTo>
                    <a:pt x="1069946" y="778993"/>
                    <a:pt x="1070586" y="779868"/>
                    <a:pt x="1070586" y="779868"/>
                  </a:cubicBezTo>
                  <a:lnTo>
                    <a:pt x="1073312" y="779868"/>
                  </a:lnTo>
                  <a:cubicBezTo>
                    <a:pt x="1073312" y="779868"/>
                    <a:pt x="1074624" y="780742"/>
                    <a:pt x="1075500" y="780944"/>
                  </a:cubicBezTo>
                  <a:cubicBezTo>
                    <a:pt x="1076375" y="781146"/>
                    <a:pt x="1077889" y="781819"/>
                    <a:pt x="1077889" y="781819"/>
                  </a:cubicBezTo>
                  <a:lnTo>
                    <a:pt x="1081153" y="781718"/>
                  </a:lnTo>
                  <a:lnTo>
                    <a:pt x="1082129" y="780641"/>
                  </a:lnTo>
                  <a:lnTo>
                    <a:pt x="1082769" y="777816"/>
                  </a:lnTo>
                  <a:lnTo>
                    <a:pt x="1084283" y="775764"/>
                  </a:lnTo>
                  <a:lnTo>
                    <a:pt x="1086471" y="774889"/>
                  </a:lnTo>
                  <a:lnTo>
                    <a:pt x="1088860" y="774990"/>
                  </a:lnTo>
                  <a:cubicBezTo>
                    <a:pt x="1088860" y="774990"/>
                    <a:pt x="1089634" y="776302"/>
                    <a:pt x="1090913" y="777580"/>
                  </a:cubicBezTo>
                  <a:cubicBezTo>
                    <a:pt x="1092226" y="778892"/>
                    <a:pt x="1091250" y="779329"/>
                    <a:pt x="1091889" y="780608"/>
                  </a:cubicBezTo>
                  <a:cubicBezTo>
                    <a:pt x="1092529" y="781920"/>
                    <a:pt x="1092529" y="783433"/>
                    <a:pt x="1092966" y="784745"/>
                  </a:cubicBezTo>
                  <a:cubicBezTo>
                    <a:pt x="1093404" y="786057"/>
                    <a:pt x="1095692" y="786057"/>
                    <a:pt x="1098082" y="787033"/>
                  </a:cubicBezTo>
                  <a:cubicBezTo>
                    <a:pt x="1100471" y="788008"/>
                    <a:pt x="1103635" y="787033"/>
                    <a:pt x="1103635" y="787033"/>
                  </a:cubicBezTo>
                  <a:cubicBezTo>
                    <a:pt x="1103635" y="787033"/>
                    <a:pt x="1104947" y="786394"/>
                    <a:pt x="1105149" y="785856"/>
                  </a:cubicBezTo>
                  <a:cubicBezTo>
                    <a:pt x="1105351" y="785317"/>
                    <a:pt x="1106765" y="782693"/>
                    <a:pt x="1106899" y="782492"/>
                  </a:cubicBezTo>
                  <a:cubicBezTo>
                    <a:pt x="1107000" y="782256"/>
                    <a:pt x="1109524" y="780204"/>
                    <a:pt x="1109928" y="780103"/>
                  </a:cubicBezTo>
                  <a:cubicBezTo>
                    <a:pt x="1110366" y="780002"/>
                    <a:pt x="1113529" y="776941"/>
                    <a:pt x="1113529" y="776941"/>
                  </a:cubicBezTo>
                  <a:lnTo>
                    <a:pt x="1114943" y="775528"/>
                  </a:lnTo>
                  <a:lnTo>
                    <a:pt x="1114943" y="774452"/>
                  </a:lnTo>
                  <a:cubicBezTo>
                    <a:pt x="1114943" y="774452"/>
                    <a:pt x="1112553" y="770852"/>
                    <a:pt x="1112217" y="770549"/>
                  </a:cubicBezTo>
                  <a:cubicBezTo>
                    <a:pt x="1111880" y="770213"/>
                    <a:pt x="1108750" y="768161"/>
                    <a:pt x="1108750" y="768161"/>
                  </a:cubicBezTo>
                  <a:lnTo>
                    <a:pt x="1106899" y="763922"/>
                  </a:lnTo>
                  <a:lnTo>
                    <a:pt x="1107875" y="760020"/>
                  </a:lnTo>
                  <a:lnTo>
                    <a:pt x="1109188" y="756993"/>
                  </a:lnTo>
                  <a:lnTo>
                    <a:pt x="1110803" y="755916"/>
                  </a:lnTo>
                  <a:lnTo>
                    <a:pt x="1114269" y="753427"/>
                  </a:lnTo>
                  <a:lnTo>
                    <a:pt x="1118847" y="751476"/>
                  </a:lnTo>
                  <a:lnTo>
                    <a:pt x="1120159" y="749525"/>
                  </a:lnTo>
                  <a:lnTo>
                    <a:pt x="1120159" y="747237"/>
                  </a:lnTo>
                  <a:lnTo>
                    <a:pt x="1116895" y="745757"/>
                  </a:lnTo>
                  <a:lnTo>
                    <a:pt x="1116827" y="74555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44" name="Freeform 910">
              <a:extLst>
                <a:ext uri="{FF2B5EF4-FFF2-40B4-BE49-F238E27FC236}">
                  <a16:creationId xmlns:a16="http://schemas.microsoft.com/office/drawing/2014/main" id="{E649F3B0-B6E3-5DFA-F3D5-B82686FB10B6}"/>
                </a:ext>
              </a:extLst>
            </p:cNvPr>
            <p:cNvSpPr/>
            <p:nvPr/>
          </p:nvSpPr>
          <p:spPr>
            <a:xfrm>
              <a:off x="7188590" y="1736685"/>
              <a:ext cx="1193060" cy="935511"/>
            </a:xfrm>
            <a:custGeom>
              <a:avLst/>
              <a:gdLst>
                <a:gd name="connsiteX0" fmla="*/ 2222549 w 2290556"/>
                <a:gd name="connsiteY0" fmla="*/ 1067285 h 1796087"/>
                <a:gd name="connsiteX1" fmla="*/ 2222246 w 2290556"/>
                <a:gd name="connsiteY1" fmla="*/ 1063652 h 1796087"/>
                <a:gd name="connsiteX2" fmla="*/ 2221371 w 2290556"/>
                <a:gd name="connsiteY2" fmla="*/ 1061465 h 1796087"/>
                <a:gd name="connsiteX3" fmla="*/ 2220428 w 2290556"/>
                <a:gd name="connsiteY3" fmla="*/ 1059379 h 1796087"/>
                <a:gd name="connsiteX4" fmla="*/ 2218981 w 2290556"/>
                <a:gd name="connsiteY4" fmla="*/ 1060321 h 1796087"/>
                <a:gd name="connsiteX5" fmla="*/ 2216154 w 2290556"/>
                <a:gd name="connsiteY5" fmla="*/ 1060321 h 1796087"/>
                <a:gd name="connsiteX6" fmla="*/ 2213866 w 2290556"/>
                <a:gd name="connsiteY6" fmla="*/ 1061364 h 1796087"/>
                <a:gd name="connsiteX7" fmla="*/ 2211039 w 2290556"/>
                <a:gd name="connsiteY7" fmla="*/ 1060658 h 1796087"/>
                <a:gd name="connsiteX8" fmla="*/ 2209524 w 2290556"/>
                <a:gd name="connsiteY8" fmla="*/ 1058269 h 1796087"/>
                <a:gd name="connsiteX9" fmla="*/ 2208111 w 2290556"/>
                <a:gd name="connsiteY9" fmla="*/ 1057193 h 1796087"/>
                <a:gd name="connsiteX10" fmla="*/ 2205183 w 2290556"/>
                <a:gd name="connsiteY10" fmla="*/ 1057092 h 1796087"/>
                <a:gd name="connsiteX11" fmla="*/ 2204745 w 2290556"/>
                <a:gd name="connsiteY11" fmla="*/ 1058404 h 1796087"/>
                <a:gd name="connsiteX12" fmla="*/ 2206832 w 2290556"/>
                <a:gd name="connsiteY12" fmla="*/ 1060691 h 1796087"/>
                <a:gd name="connsiteX13" fmla="*/ 2206058 w 2290556"/>
                <a:gd name="connsiteY13" fmla="*/ 1064055 h 1796087"/>
                <a:gd name="connsiteX14" fmla="*/ 2203769 w 2290556"/>
                <a:gd name="connsiteY14" fmla="*/ 1063416 h 1796087"/>
                <a:gd name="connsiteX15" fmla="*/ 2200942 w 2290556"/>
                <a:gd name="connsiteY15" fmla="*/ 1062777 h 1796087"/>
                <a:gd name="connsiteX16" fmla="*/ 2198452 w 2290556"/>
                <a:gd name="connsiteY16" fmla="*/ 1060725 h 1796087"/>
                <a:gd name="connsiteX17" fmla="*/ 2197375 w 2290556"/>
                <a:gd name="connsiteY17" fmla="*/ 1059649 h 1796087"/>
                <a:gd name="connsiteX18" fmla="*/ 2196500 w 2290556"/>
                <a:gd name="connsiteY18" fmla="*/ 1058337 h 1796087"/>
                <a:gd name="connsiteX19" fmla="*/ 2192159 w 2290556"/>
                <a:gd name="connsiteY19" fmla="*/ 1057697 h 1796087"/>
                <a:gd name="connsiteX20" fmla="*/ 2189668 w 2290556"/>
                <a:gd name="connsiteY20" fmla="*/ 1057058 h 1796087"/>
                <a:gd name="connsiteX21" fmla="*/ 2187582 w 2290556"/>
                <a:gd name="connsiteY21" fmla="*/ 1055107 h 1796087"/>
                <a:gd name="connsiteX22" fmla="*/ 2186808 w 2290556"/>
                <a:gd name="connsiteY22" fmla="*/ 1053055 h 1796087"/>
                <a:gd name="connsiteX23" fmla="*/ 2187447 w 2290556"/>
                <a:gd name="connsiteY23" fmla="*/ 1051104 h 1796087"/>
                <a:gd name="connsiteX24" fmla="*/ 2188759 w 2290556"/>
                <a:gd name="connsiteY24" fmla="*/ 1048817 h 1796087"/>
                <a:gd name="connsiteX25" fmla="*/ 2191048 w 2290556"/>
                <a:gd name="connsiteY25" fmla="*/ 1048043 h 1796087"/>
                <a:gd name="connsiteX26" fmla="*/ 2192361 w 2290556"/>
                <a:gd name="connsiteY26" fmla="*/ 1047067 h 1796087"/>
                <a:gd name="connsiteX27" fmla="*/ 2195289 w 2290556"/>
                <a:gd name="connsiteY27" fmla="*/ 1046529 h 1796087"/>
                <a:gd name="connsiteX28" fmla="*/ 2197577 w 2290556"/>
                <a:gd name="connsiteY28" fmla="*/ 1045991 h 1796087"/>
                <a:gd name="connsiteX29" fmla="*/ 2199967 w 2290556"/>
                <a:gd name="connsiteY29" fmla="*/ 1044477 h 1796087"/>
                <a:gd name="connsiteX30" fmla="*/ 2203332 w 2290556"/>
                <a:gd name="connsiteY30" fmla="*/ 1042290 h 1796087"/>
                <a:gd name="connsiteX31" fmla="*/ 2205284 w 2290556"/>
                <a:gd name="connsiteY31" fmla="*/ 1038691 h 1796087"/>
                <a:gd name="connsiteX32" fmla="*/ 2206058 w 2290556"/>
                <a:gd name="connsiteY32" fmla="*/ 1036841 h 1796087"/>
                <a:gd name="connsiteX33" fmla="*/ 2206394 w 2290556"/>
                <a:gd name="connsiteY33" fmla="*/ 1034452 h 1796087"/>
                <a:gd name="connsiteX34" fmla="*/ 2205755 w 2290556"/>
                <a:gd name="connsiteY34" fmla="*/ 1031828 h 1796087"/>
                <a:gd name="connsiteX35" fmla="*/ 2203702 w 2290556"/>
                <a:gd name="connsiteY35" fmla="*/ 1029541 h 1796087"/>
                <a:gd name="connsiteX36" fmla="*/ 2201649 w 2290556"/>
                <a:gd name="connsiteY36" fmla="*/ 1028902 h 1796087"/>
                <a:gd name="connsiteX37" fmla="*/ 2196634 w 2290556"/>
                <a:gd name="connsiteY37" fmla="*/ 1026614 h 1796087"/>
                <a:gd name="connsiteX38" fmla="*/ 2194683 w 2290556"/>
                <a:gd name="connsiteY38" fmla="*/ 1023351 h 1796087"/>
                <a:gd name="connsiteX39" fmla="*/ 2194582 w 2290556"/>
                <a:gd name="connsiteY39" fmla="*/ 1021737 h 1796087"/>
                <a:gd name="connsiteX40" fmla="*/ 2194683 w 2290556"/>
                <a:gd name="connsiteY40" fmla="*/ 1016522 h 1796087"/>
                <a:gd name="connsiteX41" fmla="*/ 2194784 w 2290556"/>
                <a:gd name="connsiteY41" fmla="*/ 1014033 h 1796087"/>
                <a:gd name="connsiteX42" fmla="*/ 2194447 w 2290556"/>
                <a:gd name="connsiteY42" fmla="*/ 1011207 h 1796087"/>
                <a:gd name="connsiteX43" fmla="*/ 2193471 w 2290556"/>
                <a:gd name="connsiteY43" fmla="*/ 1007742 h 1796087"/>
                <a:gd name="connsiteX44" fmla="*/ 2192394 w 2290556"/>
                <a:gd name="connsiteY44" fmla="*/ 1007204 h 1796087"/>
                <a:gd name="connsiteX45" fmla="*/ 2188389 w 2290556"/>
                <a:gd name="connsiteY45" fmla="*/ 1003941 h 1796087"/>
                <a:gd name="connsiteX46" fmla="*/ 2184351 w 2290556"/>
                <a:gd name="connsiteY46" fmla="*/ 1000241 h 1796087"/>
                <a:gd name="connsiteX47" fmla="*/ 2184149 w 2290556"/>
                <a:gd name="connsiteY47" fmla="*/ 996541 h 1796087"/>
                <a:gd name="connsiteX48" fmla="*/ 2183375 w 2290556"/>
                <a:gd name="connsiteY48" fmla="*/ 992067 h 1796087"/>
                <a:gd name="connsiteX49" fmla="*/ 2183812 w 2290556"/>
                <a:gd name="connsiteY49" fmla="*/ 988299 h 1796087"/>
                <a:gd name="connsiteX50" fmla="*/ 2184182 w 2290556"/>
                <a:gd name="connsiteY50" fmla="*/ 984733 h 1796087"/>
                <a:gd name="connsiteX51" fmla="*/ 2183476 w 2290556"/>
                <a:gd name="connsiteY51" fmla="*/ 981167 h 1796087"/>
                <a:gd name="connsiteX52" fmla="*/ 2180379 w 2290556"/>
                <a:gd name="connsiteY52" fmla="*/ 977030 h 1796087"/>
                <a:gd name="connsiteX53" fmla="*/ 2176980 w 2290556"/>
                <a:gd name="connsiteY53" fmla="*/ 975146 h 1796087"/>
                <a:gd name="connsiteX54" fmla="*/ 2173783 w 2290556"/>
                <a:gd name="connsiteY54" fmla="*/ 971883 h 1796087"/>
                <a:gd name="connsiteX55" fmla="*/ 2171596 w 2290556"/>
                <a:gd name="connsiteY55" fmla="*/ 969696 h 1796087"/>
                <a:gd name="connsiteX56" fmla="*/ 2169341 w 2290556"/>
                <a:gd name="connsiteY56" fmla="*/ 967745 h 1796087"/>
                <a:gd name="connsiteX57" fmla="*/ 2165370 w 2290556"/>
                <a:gd name="connsiteY57" fmla="*/ 964617 h 1796087"/>
                <a:gd name="connsiteX58" fmla="*/ 2163182 w 2290556"/>
                <a:gd name="connsiteY58" fmla="*/ 961723 h 1796087"/>
                <a:gd name="connsiteX59" fmla="*/ 2161668 w 2290556"/>
                <a:gd name="connsiteY59" fmla="*/ 960142 h 1796087"/>
                <a:gd name="connsiteX60" fmla="*/ 2160725 w 2290556"/>
                <a:gd name="connsiteY60" fmla="*/ 958326 h 1796087"/>
                <a:gd name="connsiteX61" fmla="*/ 2160355 w 2290556"/>
                <a:gd name="connsiteY61" fmla="*/ 956139 h 1796087"/>
                <a:gd name="connsiteX62" fmla="*/ 2160187 w 2290556"/>
                <a:gd name="connsiteY62" fmla="*/ 953886 h 1796087"/>
                <a:gd name="connsiteX63" fmla="*/ 2160423 w 2290556"/>
                <a:gd name="connsiteY63" fmla="*/ 951497 h 1796087"/>
                <a:gd name="connsiteX64" fmla="*/ 2160927 w 2290556"/>
                <a:gd name="connsiteY64" fmla="*/ 949613 h 1796087"/>
                <a:gd name="connsiteX65" fmla="*/ 2161567 w 2290556"/>
                <a:gd name="connsiteY65" fmla="*/ 947797 h 1796087"/>
                <a:gd name="connsiteX66" fmla="*/ 2162643 w 2290556"/>
                <a:gd name="connsiteY66" fmla="*/ 945476 h 1796087"/>
                <a:gd name="connsiteX67" fmla="*/ 2162711 w 2290556"/>
                <a:gd name="connsiteY67" fmla="*/ 943020 h 1796087"/>
                <a:gd name="connsiteX68" fmla="*/ 2162509 w 2290556"/>
                <a:gd name="connsiteY68" fmla="*/ 941708 h 1796087"/>
                <a:gd name="connsiteX69" fmla="*/ 2159985 w 2290556"/>
                <a:gd name="connsiteY69" fmla="*/ 939454 h 1796087"/>
                <a:gd name="connsiteX70" fmla="*/ 2157090 w 2290556"/>
                <a:gd name="connsiteY70" fmla="*/ 938882 h 1796087"/>
                <a:gd name="connsiteX71" fmla="*/ 2155139 w 2290556"/>
                <a:gd name="connsiteY71" fmla="*/ 939690 h 1796087"/>
                <a:gd name="connsiteX72" fmla="*/ 2153388 w 2290556"/>
                <a:gd name="connsiteY72" fmla="*/ 941439 h 1796087"/>
                <a:gd name="connsiteX73" fmla="*/ 2149989 w 2290556"/>
                <a:gd name="connsiteY73" fmla="*/ 942751 h 1796087"/>
                <a:gd name="connsiteX74" fmla="*/ 2146657 w 2290556"/>
                <a:gd name="connsiteY74" fmla="*/ 944433 h 1796087"/>
                <a:gd name="connsiteX75" fmla="*/ 2144975 w 2290556"/>
                <a:gd name="connsiteY75" fmla="*/ 947965 h 1796087"/>
                <a:gd name="connsiteX76" fmla="*/ 2140768 w 2290556"/>
                <a:gd name="connsiteY76" fmla="*/ 952170 h 1796087"/>
                <a:gd name="connsiteX77" fmla="*/ 2135552 w 2290556"/>
                <a:gd name="connsiteY77" fmla="*/ 955937 h 1796087"/>
                <a:gd name="connsiteX78" fmla="*/ 2131278 w 2290556"/>
                <a:gd name="connsiteY78" fmla="*/ 961354 h 1796087"/>
                <a:gd name="connsiteX79" fmla="*/ 2124244 w 2290556"/>
                <a:gd name="connsiteY79" fmla="*/ 967812 h 1796087"/>
                <a:gd name="connsiteX80" fmla="*/ 2122292 w 2290556"/>
                <a:gd name="connsiteY80" fmla="*/ 971075 h 1796087"/>
                <a:gd name="connsiteX81" fmla="*/ 2119027 w 2290556"/>
                <a:gd name="connsiteY81" fmla="*/ 975415 h 1796087"/>
                <a:gd name="connsiteX82" fmla="*/ 2115897 w 2290556"/>
                <a:gd name="connsiteY82" fmla="*/ 977938 h 1796087"/>
                <a:gd name="connsiteX83" fmla="*/ 2111825 w 2290556"/>
                <a:gd name="connsiteY83" fmla="*/ 980326 h 1796087"/>
                <a:gd name="connsiteX84" fmla="*/ 2108056 w 2290556"/>
                <a:gd name="connsiteY84" fmla="*/ 982412 h 1796087"/>
                <a:gd name="connsiteX85" fmla="*/ 2103714 w 2290556"/>
                <a:gd name="connsiteY85" fmla="*/ 982984 h 1796087"/>
                <a:gd name="connsiteX86" fmla="*/ 2100080 w 2290556"/>
                <a:gd name="connsiteY86" fmla="*/ 982984 h 1796087"/>
                <a:gd name="connsiteX87" fmla="*/ 2096613 w 2290556"/>
                <a:gd name="connsiteY87" fmla="*/ 982614 h 1796087"/>
                <a:gd name="connsiteX88" fmla="*/ 2093651 w 2290556"/>
                <a:gd name="connsiteY88" fmla="*/ 981033 h 1796087"/>
                <a:gd name="connsiteX89" fmla="*/ 2091700 w 2290556"/>
                <a:gd name="connsiteY89" fmla="*/ 979586 h 1796087"/>
                <a:gd name="connsiteX90" fmla="*/ 2089950 w 2290556"/>
                <a:gd name="connsiteY90" fmla="*/ 977938 h 1796087"/>
                <a:gd name="connsiteX91" fmla="*/ 2089243 w 2290556"/>
                <a:gd name="connsiteY91" fmla="*/ 976121 h 1796087"/>
                <a:gd name="connsiteX92" fmla="*/ 2089041 w 2290556"/>
                <a:gd name="connsiteY92" fmla="*/ 973531 h 1796087"/>
                <a:gd name="connsiteX93" fmla="*/ 2089478 w 2290556"/>
                <a:gd name="connsiteY93" fmla="*/ 971647 h 1796087"/>
                <a:gd name="connsiteX94" fmla="*/ 2090556 w 2290556"/>
                <a:gd name="connsiteY94" fmla="*/ 970705 h 1796087"/>
                <a:gd name="connsiteX95" fmla="*/ 2091195 w 2290556"/>
                <a:gd name="connsiteY95" fmla="*/ 968081 h 1796087"/>
                <a:gd name="connsiteX96" fmla="*/ 2091767 w 2290556"/>
                <a:gd name="connsiteY96" fmla="*/ 966198 h 1796087"/>
                <a:gd name="connsiteX97" fmla="*/ 2092137 w 2290556"/>
                <a:gd name="connsiteY97" fmla="*/ 964011 h 1796087"/>
                <a:gd name="connsiteX98" fmla="*/ 2092507 w 2290556"/>
                <a:gd name="connsiteY98" fmla="*/ 960983 h 1796087"/>
                <a:gd name="connsiteX99" fmla="*/ 2092070 w 2290556"/>
                <a:gd name="connsiteY99" fmla="*/ 958595 h 1796087"/>
                <a:gd name="connsiteX100" fmla="*/ 2088738 w 2290556"/>
                <a:gd name="connsiteY100" fmla="*/ 956644 h 1796087"/>
                <a:gd name="connsiteX101" fmla="*/ 2085406 w 2290556"/>
                <a:gd name="connsiteY101" fmla="*/ 954054 h 1796087"/>
                <a:gd name="connsiteX102" fmla="*/ 2080997 w 2290556"/>
                <a:gd name="connsiteY102" fmla="*/ 948772 h 1796087"/>
                <a:gd name="connsiteX103" fmla="*/ 2076858 w 2290556"/>
                <a:gd name="connsiteY103" fmla="*/ 945307 h 1796087"/>
                <a:gd name="connsiteX104" fmla="*/ 2072079 w 2290556"/>
                <a:gd name="connsiteY104" fmla="*/ 942549 h 1796087"/>
                <a:gd name="connsiteX105" fmla="*/ 2069252 w 2290556"/>
                <a:gd name="connsiteY105" fmla="*/ 940093 h 1796087"/>
                <a:gd name="connsiteX106" fmla="*/ 2068882 w 2290556"/>
                <a:gd name="connsiteY106" fmla="*/ 938008 h 1796087"/>
                <a:gd name="connsiteX107" fmla="*/ 2069319 w 2290556"/>
                <a:gd name="connsiteY107" fmla="*/ 934677 h 1796087"/>
                <a:gd name="connsiteX108" fmla="*/ 2069521 w 2290556"/>
                <a:gd name="connsiteY108" fmla="*/ 931414 h 1796087"/>
                <a:gd name="connsiteX109" fmla="*/ 2071103 w 2290556"/>
                <a:gd name="connsiteY109" fmla="*/ 927344 h 1796087"/>
                <a:gd name="connsiteX110" fmla="*/ 2072281 w 2290556"/>
                <a:gd name="connsiteY110" fmla="*/ 923576 h 1796087"/>
                <a:gd name="connsiteX111" fmla="*/ 2072146 w 2290556"/>
                <a:gd name="connsiteY111" fmla="*/ 921053 h 1796087"/>
                <a:gd name="connsiteX112" fmla="*/ 2066930 w 2290556"/>
                <a:gd name="connsiteY112" fmla="*/ 920919 h 1796087"/>
                <a:gd name="connsiteX113" fmla="*/ 2066122 w 2290556"/>
                <a:gd name="connsiteY113" fmla="*/ 918093 h 1796087"/>
                <a:gd name="connsiteX114" fmla="*/ 2065752 w 2290556"/>
                <a:gd name="connsiteY114" fmla="*/ 911432 h 1796087"/>
                <a:gd name="connsiteX115" fmla="*/ 2065011 w 2290556"/>
                <a:gd name="connsiteY115" fmla="*/ 908741 h 1796087"/>
                <a:gd name="connsiteX116" fmla="*/ 2065584 w 2290556"/>
                <a:gd name="connsiteY116" fmla="*/ 904772 h 1796087"/>
                <a:gd name="connsiteX117" fmla="*/ 2066156 w 2290556"/>
                <a:gd name="connsiteY117" fmla="*/ 901374 h 1796087"/>
                <a:gd name="connsiteX118" fmla="*/ 2068781 w 2290556"/>
                <a:gd name="connsiteY118" fmla="*/ 898683 h 1796087"/>
                <a:gd name="connsiteX119" fmla="*/ 2069858 w 2290556"/>
                <a:gd name="connsiteY119" fmla="*/ 895050 h 1796087"/>
                <a:gd name="connsiteX120" fmla="*/ 2068781 w 2290556"/>
                <a:gd name="connsiteY120" fmla="*/ 892291 h 1796087"/>
                <a:gd name="connsiteX121" fmla="*/ 2065819 w 2290556"/>
                <a:gd name="connsiteY121" fmla="*/ 888456 h 1796087"/>
                <a:gd name="connsiteX122" fmla="*/ 2068646 w 2290556"/>
                <a:gd name="connsiteY122" fmla="*/ 887447 h 1796087"/>
                <a:gd name="connsiteX123" fmla="*/ 2068411 w 2290556"/>
                <a:gd name="connsiteY123" fmla="*/ 880282 h 1796087"/>
                <a:gd name="connsiteX124" fmla="*/ 2069420 w 2290556"/>
                <a:gd name="connsiteY124" fmla="*/ 876144 h 1796087"/>
                <a:gd name="connsiteX125" fmla="*/ 2070497 w 2290556"/>
                <a:gd name="connsiteY125" fmla="*/ 874933 h 1796087"/>
                <a:gd name="connsiteX126" fmla="*/ 2073695 w 2290556"/>
                <a:gd name="connsiteY126" fmla="*/ 873487 h 1796087"/>
                <a:gd name="connsiteX127" fmla="*/ 2077262 w 2290556"/>
                <a:gd name="connsiteY127" fmla="*/ 870089 h 1796087"/>
                <a:gd name="connsiteX128" fmla="*/ 2077262 w 2290556"/>
                <a:gd name="connsiteY128" fmla="*/ 869450 h 1796087"/>
                <a:gd name="connsiteX129" fmla="*/ 2074334 w 2290556"/>
                <a:gd name="connsiteY129" fmla="*/ 864438 h 1796087"/>
                <a:gd name="connsiteX130" fmla="*/ 2070968 w 2290556"/>
                <a:gd name="connsiteY130" fmla="*/ 861982 h 1796087"/>
                <a:gd name="connsiteX131" fmla="*/ 2070026 w 2290556"/>
                <a:gd name="connsiteY131" fmla="*/ 861915 h 1796087"/>
                <a:gd name="connsiteX132" fmla="*/ 2064305 w 2290556"/>
                <a:gd name="connsiteY132" fmla="*/ 859156 h 1796087"/>
                <a:gd name="connsiteX133" fmla="*/ 2065247 w 2290556"/>
                <a:gd name="connsiteY133" fmla="*/ 857474 h 1796087"/>
                <a:gd name="connsiteX134" fmla="*/ 2067064 w 2290556"/>
                <a:gd name="connsiteY134" fmla="*/ 856465 h 1796087"/>
                <a:gd name="connsiteX135" fmla="*/ 2071036 w 2290556"/>
                <a:gd name="connsiteY135" fmla="*/ 855019 h 1796087"/>
                <a:gd name="connsiteX136" fmla="*/ 2072483 w 2290556"/>
                <a:gd name="connsiteY136" fmla="*/ 853438 h 1796087"/>
                <a:gd name="connsiteX137" fmla="*/ 2070733 w 2290556"/>
                <a:gd name="connsiteY137" fmla="*/ 851049 h 1796087"/>
                <a:gd name="connsiteX138" fmla="*/ 2067771 w 2290556"/>
                <a:gd name="connsiteY138" fmla="*/ 847584 h 1796087"/>
                <a:gd name="connsiteX139" fmla="*/ 2063800 w 2290556"/>
                <a:gd name="connsiteY139" fmla="*/ 845196 h 1796087"/>
                <a:gd name="connsiteX140" fmla="*/ 2061545 w 2290556"/>
                <a:gd name="connsiteY140" fmla="*/ 843615 h 1796087"/>
                <a:gd name="connsiteX141" fmla="*/ 2057978 w 2290556"/>
                <a:gd name="connsiteY141" fmla="*/ 841159 h 1796087"/>
                <a:gd name="connsiteX142" fmla="*/ 2054511 w 2290556"/>
                <a:gd name="connsiteY142" fmla="*/ 839141 h 1796087"/>
                <a:gd name="connsiteX143" fmla="*/ 2050742 w 2290556"/>
                <a:gd name="connsiteY143" fmla="*/ 838333 h 1796087"/>
                <a:gd name="connsiteX144" fmla="*/ 2048487 w 2290556"/>
                <a:gd name="connsiteY144" fmla="*/ 837829 h 1796087"/>
                <a:gd name="connsiteX145" fmla="*/ 2047410 w 2290556"/>
                <a:gd name="connsiteY145" fmla="*/ 834700 h 1796087"/>
                <a:gd name="connsiteX146" fmla="*/ 2050170 w 2290556"/>
                <a:gd name="connsiteY146" fmla="*/ 832379 h 1796087"/>
                <a:gd name="connsiteX147" fmla="*/ 2053064 w 2290556"/>
                <a:gd name="connsiteY147" fmla="*/ 827535 h 1796087"/>
                <a:gd name="connsiteX148" fmla="*/ 2052997 w 2290556"/>
                <a:gd name="connsiteY148" fmla="*/ 825449 h 1796087"/>
                <a:gd name="connsiteX149" fmla="*/ 2052795 w 2290556"/>
                <a:gd name="connsiteY149" fmla="*/ 822624 h 1796087"/>
                <a:gd name="connsiteX150" fmla="*/ 2049160 w 2290556"/>
                <a:gd name="connsiteY150" fmla="*/ 819865 h 1796087"/>
                <a:gd name="connsiteX151" fmla="*/ 2045828 w 2290556"/>
                <a:gd name="connsiteY151" fmla="*/ 818049 h 1796087"/>
                <a:gd name="connsiteX152" fmla="*/ 2041823 w 2290556"/>
                <a:gd name="connsiteY152" fmla="*/ 819697 h 1796087"/>
                <a:gd name="connsiteX153" fmla="*/ 2041453 w 2290556"/>
                <a:gd name="connsiteY153" fmla="*/ 821379 h 1796087"/>
                <a:gd name="connsiteX154" fmla="*/ 2038121 w 2290556"/>
                <a:gd name="connsiteY154" fmla="*/ 823565 h 1796087"/>
                <a:gd name="connsiteX155" fmla="*/ 2033410 w 2290556"/>
                <a:gd name="connsiteY155" fmla="*/ 823633 h 1796087"/>
                <a:gd name="connsiteX156" fmla="*/ 2030515 w 2290556"/>
                <a:gd name="connsiteY156" fmla="*/ 822489 h 1796087"/>
                <a:gd name="connsiteX157" fmla="*/ 2027621 w 2290556"/>
                <a:gd name="connsiteY157" fmla="*/ 821345 h 1796087"/>
                <a:gd name="connsiteX158" fmla="*/ 2026612 w 2290556"/>
                <a:gd name="connsiteY158" fmla="*/ 819159 h 1796087"/>
                <a:gd name="connsiteX159" fmla="*/ 2025905 w 2290556"/>
                <a:gd name="connsiteY159" fmla="*/ 815526 h 1796087"/>
                <a:gd name="connsiteX160" fmla="*/ 2026847 w 2290556"/>
                <a:gd name="connsiteY160" fmla="*/ 814079 h 1796087"/>
                <a:gd name="connsiteX161" fmla="*/ 2028665 w 2290556"/>
                <a:gd name="connsiteY161" fmla="*/ 812195 h 1796087"/>
                <a:gd name="connsiteX162" fmla="*/ 2030549 w 2290556"/>
                <a:gd name="connsiteY162" fmla="*/ 810816 h 1796087"/>
                <a:gd name="connsiteX163" fmla="*/ 2032434 w 2290556"/>
                <a:gd name="connsiteY163" fmla="*/ 809437 h 1796087"/>
                <a:gd name="connsiteX164" fmla="*/ 2033881 w 2290556"/>
                <a:gd name="connsiteY164" fmla="*/ 808495 h 1796087"/>
                <a:gd name="connsiteX165" fmla="*/ 2034756 w 2290556"/>
                <a:gd name="connsiteY165" fmla="*/ 807183 h 1796087"/>
                <a:gd name="connsiteX166" fmla="*/ 2035396 w 2290556"/>
                <a:gd name="connsiteY166" fmla="*/ 805669 h 1796087"/>
                <a:gd name="connsiteX167" fmla="*/ 2035463 w 2290556"/>
                <a:gd name="connsiteY167" fmla="*/ 802978 h 1796087"/>
                <a:gd name="connsiteX168" fmla="*/ 2035328 w 2290556"/>
                <a:gd name="connsiteY168" fmla="*/ 800657 h 1796087"/>
                <a:gd name="connsiteX169" fmla="*/ 2034891 w 2290556"/>
                <a:gd name="connsiteY169" fmla="*/ 798033 h 1796087"/>
                <a:gd name="connsiteX170" fmla="*/ 2034588 w 2290556"/>
                <a:gd name="connsiteY170" fmla="*/ 795947 h 1796087"/>
                <a:gd name="connsiteX171" fmla="*/ 2031895 w 2290556"/>
                <a:gd name="connsiteY171" fmla="*/ 793559 h 1796087"/>
                <a:gd name="connsiteX172" fmla="*/ 2027184 w 2290556"/>
                <a:gd name="connsiteY172" fmla="*/ 790868 h 1796087"/>
                <a:gd name="connsiteX173" fmla="*/ 2027991 w 2290556"/>
                <a:gd name="connsiteY173" fmla="*/ 787605 h 1796087"/>
                <a:gd name="connsiteX174" fmla="*/ 2031559 w 2290556"/>
                <a:gd name="connsiteY174" fmla="*/ 786226 h 1796087"/>
                <a:gd name="connsiteX175" fmla="*/ 2035900 w 2290556"/>
                <a:gd name="connsiteY175" fmla="*/ 785519 h 1796087"/>
                <a:gd name="connsiteX176" fmla="*/ 2037347 w 2290556"/>
                <a:gd name="connsiteY176" fmla="*/ 785385 h 1796087"/>
                <a:gd name="connsiteX177" fmla="*/ 2039973 w 2290556"/>
                <a:gd name="connsiteY177" fmla="*/ 784745 h 1796087"/>
                <a:gd name="connsiteX178" fmla="*/ 2042665 w 2290556"/>
                <a:gd name="connsiteY178" fmla="*/ 785183 h 1796087"/>
                <a:gd name="connsiteX179" fmla="*/ 2045256 w 2290556"/>
                <a:gd name="connsiteY179" fmla="*/ 785687 h 1796087"/>
                <a:gd name="connsiteX180" fmla="*/ 2048588 w 2290556"/>
                <a:gd name="connsiteY180" fmla="*/ 787504 h 1796087"/>
                <a:gd name="connsiteX181" fmla="*/ 2050978 w 2290556"/>
                <a:gd name="connsiteY181" fmla="*/ 789522 h 1796087"/>
                <a:gd name="connsiteX182" fmla="*/ 2053602 w 2290556"/>
                <a:gd name="connsiteY182" fmla="*/ 792785 h 1796087"/>
                <a:gd name="connsiteX183" fmla="*/ 2055353 w 2290556"/>
                <a:gd name="connsiteY183" fmla="*/ 795039 h 1796087"/>
                <a:gd name="connsiteX184" fmla="*/ 2056598 w 2290556"/>
                <a:gd name="connsiteY184" fmla="*/ 797428 h 1796087"/>
                <a:gd name="connsiteX185" fmla="*/ 2058617 w 2290556"/>
                <a:gd name="connsiteY185" fmla="*/ 796990 h 1796087"/>
                <a:gd name="connsiteX186" fmla="*/ 2061007 w 2290556"/>
                <a:gd name="connsiteY186" fmla="*/ 795914 h 1796087"/>
                <a:gd name="connsiteX187" fmla="*/ 2062521 w 2290556"/>
                <a:gd name="connsiteY187" fmla="*/ 797798 h 1796087"/>
                <a:gd name="connsiteX188" fmla="*/ 2063396 w 2290556"/>
                <a:gd name="connsiteY188" fmla="*/ 798874 h 1796087"/>
                <a:gd name="connsiteX189" fmla="*/ 2066223 w 2290556"/>
                <a:gd name="connsiteY189" fmla="*/ 801195 h 1796087"/>
                <a:gd name="connsiteX190" fmla="*/ 2066593 w 2290556"/>
                <a:gd name="connsiteY190" fmla="*/ 803079 h 1796087"/>
                <a:gd name="connsiteX191" fmla="*/ 2069689 w 2290556"/>
                <a:gd name="connsiteY191" fmla="*/ 805400 h 1796087"/>
                <a:gd name="connsiteX192" fmla="*/ 2071877 w 2290556"/>
                <a:gd name="connsiteY192" fmla="*/ 805030 h 1796087"/>
                <a:gd name="connsiteX193" fmla="*/ 2074704 w 2290556"/>
                <a:gd name="connsiteY193" fmla="*/ 803012 h 1796087"/>
                <a:gd name="connsiteX194" fmla="*/ 2076286 w 2290556"/>
                <a:gd name="connsiteY194" fmla="*/ 799984 h 1796087"/>
                <a:gd name="connsiteX195" fmla="*/ 2077531 w 2290556"/>
                <a:gd name="connsiteY195" fmla="*/ 798100 h 1796087"/>
                <a:gd name="connsiteX196" fmla="*/ 2079180 w 2290556"/>
                <a:gd name="connsiteY196" fmla="*/ 795846 h 1796087"/>
                <a:gd name="connsiteX197" fmla="*/ 2080257 w 2290556"/>
                <a:gd name="connsiteY197" fmla="*/ 794164 h 1796087"/>
                <a:gd name="connsiteX198" fmla="*/ 2082512 w 2290556"/>
                <a:gd name="connsiteY198" fmla="*/ 792516 h 1796087"/>
                <a:gd name="connsiteX199" fmla="*/ 2083521 w 2290556"/>
                <a:gd name="connsiteY199" fmla="*/ 792516 h 1796087"/>
                <a:gd name="connsiteX200" fmla="*/ 2085272 w 2290556"/>
                <a:gd name="connsiteY200" fmla="*/ 792954 h 1796087"/>
                <a:gd name="connsiteX201" fmla="*/ 2087022 w 2290556"/>
                <a:gd name="connsiteY201" fmla="*/ 794400 h 1796087"/>
                <a:gd name="connsiteX202" fmla="*/ 2087964 w 2290556"/>
                <a:gd name="connsiteY202" fmla="*/ 795914 h 1796087"/>
                <a:gd name="connsiteX203" fmla="*/ 2089647 w 2290556"/>
                <a:gd name="connsiteY203" fmla="*/ 798168 h 1796087"/>
                <a:gd name="connsiteX204" fmla="*/ 2090522 w 2290556"/>
                <a:gd name="connsiteY204" fmla="*/ 800623 h 1796087"/>
                <a:gd name="connsiteX205" fmla="*/ 2091026 w 2290556"/>
                <a:gd name="connsiteY205" fmla="*/ 803079 h 1796087"/>
                <a:gd name="connsiteX206" fmla="*/ 2092844 w 2290556"/>
                <a:gd name="connsiteY206" fmla="*/ 805097 h 1796087"/>
                <a:gd name="connsiteX207" fmla="*/ 2094661 w 2290556"/>
                <a:gd name="connsiteY207" fmla="*/ 807351 h 1796087"/>
                <a:gd name="connsiteX208" fmla="*/ 2096916 w 2290556"/>
                <a:gd name="connsiteY208" fmla="*/ 807351 h 1796087"/>
                <a:gd name="connsiteX209" fmla="*/ 2097724 w 2290556"/>
                <a:gd name="connsiteY209" fmla="*/ 805972 h 1796087"/>
                <a:gd name="connsiteX210" fmla="*/ 2098868 w 2290556"/>
                <a:gd name="connsiteY210" fmla="*/ 805266 h 1796087"/>
                <a:gd name="connsiteX211" fmla="*/ 2100887 w 2290556"/>
                <a:gd name="connsiteY211" fmla="*/ 805636 h 1796087"/>
                <a:gd name="connsiteX212" fmla="*/ 2102200 w 2290556"/>
                <a:gd name="connsiteY212" fmla="*/ 807721 h 1796087"/>
                <a:gd name="connsiteX213" fmla="*/ 2102570 w 2290556"/>
                <a:gd name="connsiteY213" fmla="*/ 810917 h 1796087"/>
                <a:gd name="connsiteX214" fmla="*/ 2103647 w 2290556"/>
                <a:gd name="connsiteY214" fmla="*/ 812431 h 1796087"/>
                <a:gd name="connsiteX215" fmla="*/ 2104388 w 2290556"/>
                <a:gd name="connsiteY215" fmla="*/ 814517 h 1796087"/>
                <a:gd name="connsiteX216" fmla="*/ 2106272 w 2290556"/>
                <a:gd name="connsiteY216" fmla="*/ 816905 h 1796087"/>
                <a:gd name="connsiteX217" fmla="*/ 2108460 w 2290556"/>
                <a:gd name="connsiteY217" fmla="*/ 817611 h 1796087"/>
                <a:gd name="connsiteX218" fmla="*/ 2110916 w 2290556"/>
                <a:gd name="connsiteY218" fmla="*/ 816602 h 1796087"/>
                <a:gd name="connsiteX219" fmla="*/ 2111219 w 2290556"/>
                <a:gd name="connsiteY219" fmla="*/ 814718 h 1796087"/>
                <a:gd name="connsiteX220" fmla="*/ 2112734 w 2290556"/>
                <a:gd name="connsiteY220" fmla="*/ 810951 h 1796087"/>
                <a:gd name="connsiteX221" fmla="*/ 2114417 w 2290556"/>
                <a:gd name="connsiteY221" fmla="*/ 809000 h 1796087"/>
                <a:gd name="connsiteX222" fmla="*/ 2115662 w 2290556"/>
                <a:gd name="connsiteY222" fmla="*/ 807553 h 1796087"/>
                <a:gd name="connsiteX223" fmla="*/ 2115662 w 2290556"/>
                <a:gd name="connsiteY223" fmla="*/ 803987 h 1796087"/>
                <a:gd name="connsiteX224" fmla="*/ 2115931 w 2290556"/>
                <a:gd name="connsiteY224" fmla="*/ 801094 h 1796087"/>
                <a:gd name="connsiteX225" fmla="*/ 2115224 w 2290556"/>
                <a:gd name="connsiteY225" fmla="*/ 794064 h 1796087"/>
                <a:gd name="connsiteX226" fmla="*/ 2114585 w 2290556"/>
                <a:gd name="connsiteY226" fmla="*/ 791238 h 1796087"/>
                <a:gd name="connsiteX227" fmla="*/ 2113945 w 2290556"/>
                <a:gd name="connsiteY227" fmla="*/ 787975 h 1796087"/>
                <a:gd name="connsiteX228" fmla="*/ 2111354 w 2290556"/>
                <a:gd name="connsiteY228" fmla="*/ 782963 h 1796087"/>
                <a:gd name="connsiteX229" fmla="*/ 2109469 w 2290556"/>
                <a:gd name="connsiteY229" fmla="*/ 780877 h 1796087"/>
                <a:gd name="connsiteX230" fmla="*/ 2106945 w 2290556"/>
                <a:gd name="connsiteY230" fmla="*/ 776739 h 1796087"/>
                <a:gd name="connsiteX231" fmla="*/ 2107315 w 2290556"/>
                <a:gd name="connsiteY231" fmla="*/ 772837 h 1796087"/>
                <a:gd name="connsiteX232" fmla="*/ 2108460 w 2290556"/>
                <a:gd name="connsiteY232" fmla="*/ 770449 h 1796087"/>
                <a:gd name="connsiteX233" fmla="*/ 2113104 w 2290556"/>
                <a:gd name="connsiteY233" fmla="*/ 769574 h 1796087"/>
                <a:gd name="connsiteX234" fmla="*/ 2115056 w 2290556"/>
                <a:gd name="connsiteY234" fmla="*/ 768935 h 1796087"/>
                <a:gd name="connsiteX235" fmla="*/ 2117580 w 2290556"/>
                <a:gd name="connsiteY235" fmla="*/ 768363 h 1796087"/>
                <a:gd name="connsiteX236" fmla="*/ 2122662 w 2290556"/>
                <a:gd name="connsiteY236" fmla="*/ 768800 h 1796087"/>
                <a:gd name="connsiteX237" fmla="*/ 2127373 w 2290556"/>
                <a:gd name="connsiteY237" fmla="*/ 767556 h 1796087"/>
                <a:gd name="connsiteX238" fmla="*/ 2129494 w 2290556"/>
                <a:gd name="connsiteY238" fmla="*/ 767186 h 1796087"/>
                <a:gd name="connsiteX239" fmla="*/ 2131749 w 2290556"/>
                <a:gd name="connsiteY239" fmla="*/ 765806 h 1796087"/>
                <a:gd name="connsiteX240" fmla="*/ 2133128 w 2290556"/>
                <a:gd name="connsiteY240" fmla="*/ 764427 h 1796087"/>
                <a:gd name="connsiteX241" fmla="*/ 2133128 w 2290556"/>
                <a:gd name="connsiteY241" fmla="*/ 761803 h 1796087"/>
                <a:gd name="connsiteX242" fmla="*/ 2133128 w 2290556"/>
                <a:gd name="connsiteY242" fmla="*/ 759718 h 1796087"/>
                <a:gd name="connsiteX243" fmla="*/ 2133701 w 2290556"/>
                <a:gd name="connsiteY243" fmla="*/ 754873 h 1796087"/>
                <a:gd name="connsiteX244" fmla="*/ 2133128 w 2290556"/>
                <a:gd name="connsiteY244" fmla="*/ 753629 h 1796087"/>
                <a:gd name="connsiteX245" fmla="*/ 2133128 w 2290556"/>
                <a:gd name="connsiteY245" fmla="*/ 750500 h 1796087"/>
                <a:gd name="connsiteX246" fmla="*/ 2133734 w 2290556"/>
                <a:gd name="connsiteY246" fmla="*/ 748112 h 1796087"/>
                <a:gd name="connsiteX247" fmla="*/ 2133398 w 2290556"/>
                <a:gd name="connsiteY247" fmla="*/ 744041 h 1796087"/>
                <a:gd name="connsiteX248" fmla="*/ 2130806 w 2290556"/>
                <a:gd name="connsiteY248" fmla="*/ 740408 h 1796087"/>
                <a:gd name="connsiteX249" fmla="*/ 2128046 w 2290556"/>
                <a:gd name="connsiteY249" fmla="*/ 734757 h 1796087"/>
                <a:gd name="connsiteX250" fmla="*/ 2127037 w 2290556"/>
                <a:gd name="connsiteY250" fmla="*/ 733209 h 1796087"/>
                <a:gd name="connsiteX251" fmla="*/ 2123570 w 2290556"/>
                <a:gd name="connsiteY251" fmla="*/ 729139 h 1796087"/>
                <a:gd name="connsiteX252" fmla="*/ 2122426 w 2290556"/>
                <a:gd name="connsiteY252" fmla="*/ 726246 h 1796087"/>
                <a:gd name="connsiteX253" fmla="*/ 2121989 w 2290556"/>
                <a:gd name="connsiteY253" fmla="*/ 720023 h 1796087"/>
                <a:gd name="connsiteX254" fmla="*/ 2121686 w 2290556"/>
                <a:gd name="connsiteY254" fmla="*/ 716390 h 1796087"/>
                <a:gd name="connsiteX255" fmla="*/ 2122258 w 2290556"/>
                <a:gd name="connsiteY255" fmla="*/ 712925 h 1796087"/>
                <a:gd name="connsiteX256" fmla="*/ 2124143 w 2290556"/>
                <a:gd name="connsiteY256" fmla="*/ 709292 h 1796087"/>
                <a:gd name="connsiteX257" fmla="*/ 2127912 w 2290556"/>
                <a:gd name="connsiteY257" fmla="*/ 708283 h 1796087"/>
                <a:gd name="connsiteX258" fmla="*/ 2131244 w 2290556"/>
                <a:gd name="connsiteY258" fmla="*/ 707408 h 1796087"/>
                <a:gd name="connsiteX259" fmla="*/ 2134710 w 2290556"/>
                <a:gd name="connsiteY259" fmla="*/ 705221 h 1796087"/>
                <a:gd name="connsiteX260" fmla="*/ 2138480 w 2290556"/>
                <a:gd name="connsiteY260" fmla="*/ 707542 h 1796087"/>
                <a:gd name="connsiteX261" fmla="*/ 2140802 w 2290556"/>
                <a:gd name="connsiteY261" fmla="*/ 709998 h 1796087"/>
                <a:gd name="connsiteX262" fmla="*/ 2142383 w 2290556"/>
                <a:gd name="connsiteY262" fmla="*/ 709123 h 1796087"/>
                <a:gd name="connsiteX263" fmla="*/ 2143258 w 2290556"/>
                <a:gd name="connsiteY263" fmla="*/ 706230 h 1796087"/>
                <a:gd name="connsiteX264" fmla="*/ 2145446 w 2290556"/>
                <a:gd name="connsiteY264" fmla="*/ 703909 h 1796087"/>
                <a:gd name="connsiteX265" fmla="*/ 2147634 w 2290556"/>
                <a:gd name="connsiteY265" fmla="*/ 702160 h 1796087"/>
                <a:gd name="connsiteX266" fmla="*/ 2149518 w 2290556"/>
                <a:gd name="connsiteY266" fmla="*/ 700142 h 1796087"/>
                <a:gd name="connsiteX267" fmla="*/ 2152715 w 2290556"/>
                <a:gd name="connsiteY267" fmla="*/ 698695 h 1796087"/>
                <a:gd name="connsiteX268" fmla="*/ 2154600 w 2290556"/>
                <a:gd name="connsiteY268" fmla="*/ 697686 h 1796087"/>
                <a:gd name="connsiteX269" fmla="*/ 2156047 w 2290556"/>
                <a:gd name="connsiteY269" fmla="*/ 697114 h 1796087"/>
                <a:gd name="connsiteX270" fmla="*/ 2159817 w 2290556"/>
                <a:gd name="connsiteY270" fmla="*/ 696677 h 1796087"/>
                <a:gd name="connsiteX271" fmla="*/ 2160961 w 2290556"/>
                <a:gd name="connsiteY271" fmla="*/ 696105 h 1796087"/>
                <a:gd name="connsiteX272" fmla="*/ 2163586 w 2290556"/>
                <a:gd name="connsiteY272" fmla="*/ 692909 h 1796087"/>
                <a:gd name="connsiteX273" fmla="*/ 2166615 w 2290556"/>
                <a:gd name="connsiteY273" fmla="*/ 690588 h 1796087"/>
                <a:gd name="connsiteX274" fmla="*/ 2167355 w 2290556"/>
                <a:gd name="connsiteY274" fmla="*/ 689142 h 1796087"/>
                <a:gd name="connsiteX275" fmla="*/ 2167490 w 2290556"/>
                <a:gd name="connsiteY275" fmla="*/ 687560 h 1796087"/>
                <a:gd name="connsiteX276" fmla="*/ 2166918 w 2290556"/>
                <a:gd name="connsiteY276" fmla="*/ 685374 h 1796087"/>
                <a:gd name="connsiteX277" fmla="*/ 2166043 w 2290556"/>
                <a:gd name="connsiteY277" fmla="*/ 684802 h 1796087"/>
                <a:gd name="connsiteX278" fmla="*/ 2167052 w 2290556"/>
                <a:gd name="connsiteY278" fmla="*/ 681472 h 1796087"/>
                <a:gd name="connsiteX279" fmla="*/ 2168062 w 2290556"/>
                <a:gd name="connsiteY279" fmla="*/ 678579 h 1796087"/>
                <a:gd name="connsiteX280" fmla="*/ 2167759 w 2290556"/>
                <a:gd name="connsiteY280" fmla="*/ 674946 h 1796087"/>
                <a:gd name="connsiteX281" fmla="*/ 2165302 w 2290556"/>
                <a:gd name="connsiteY281" fmla="*/ 673062 h 1796087"/>
                <a:gd name="connsiteX282" fmla="*/ 2162846 w 2290556"/>
                <a:gd name="connsiteY282" fmla="*/ 674811 h 1796087"/>
                <a:gd name="connsiteX283" fmla="*/ 2162542 w 2290556"/>
                <a:gd name="connsiteY283" fmla="*/ 677704 h 1796087"/>
                <a:gd name="connsiteX284" fmla="*/ 2161668 w 2290556"/>
                <a:gd name="connsiteY284" fmla="*/ 680900 h 1796087"/>
                <a:gd name="connsiteX285" fmla="*/ 2158908 w 2290556"/>
                <a:gd name="connsiteY285" fmla="*/ 682044 h 1796087"/>
                <a:gd name="connsiteX286" fmla="*/ 2154398 w 2290556"/>
                <a:gd name="connsiteY286" fmla="*/ 679285 h 1796087"/>
                <a:gd name="connsiteX287" fmla="*/ 2154701 w 2290556"/>
                <a:gd name="connsiteY287" fmla="*/ 676527 h 1796087"/>
                <a:gd name="connsiteX288" fmla="*/ 2155711 w 2290556"/>
                <a:gd name="connsiteY288" fmla="*/ 673634 h 1796087"/>
                <a:gd name="connsiteX289" fmla="*/ 2155711 w 2290556"/>
                <a:gd name="connsiteY289" fmla="*/ 667982 h 1796087"/>
                <a:gd name="connsiteX290" fmla="*/ 2152951 w 2290556"/>
                <a:gd name="connsiteY290" fmla="*/ 666401 h 1796087"/>
                <a:gd name="connsiteX291" fmla="*/ 2150763 w 2290556"/>
                <a:gd name="connsiteY291" fmla="*/ 665829 h 1796087"/>
                <a:gd name="connsiteX292" fmla="*/ 2148004 w 2290556"/>
                <a:gd name="connsiteY292" fmla="*/ 665257 h 1796087"/>
                <a:gd name="connsiteX293" fmla="*/ 2145110 w 2290556"/>
                <a:gd name="connsiteY293" fmla="*/ 665123 h 1796087"/>
                <a:gd name="connsiteX294" fmla="*/ 2142922 w 2290556"/>
                <a:gd name="connsiteY294" fmla="*/ 666704 h 1796087"/>
                <a:gd name="connsiteX295" fmla="*/ 2142619 w 2290556"/>
                <a:gd name="connsiteY295" fmla="*/ 668722 h 1796087"/>
                <a:gd name="connsiteX296" fmla="*/ 2146388 w 2290556"/>
                <a:gd name="connsiteY296" fmla="*/ 672187 h 1796087"/>
                <a:gd name="connsiteX297" fmla="*/ 2147095 w 2290556"/>
                <a:gd name="connsiteY297" fmla="*/ 672490 h 1796087"/>
                <a:gd name="connsiteX298" fmla="*/ 2146086 w 2290556"/>
                <a:gd name="connsiteY298" fmla="*/ 675820 h 1796087"/>
                <a:gd name="connsiteX299" fmla="*/ 2144941 w 2290556"/>
                <a:gd name="connsiteY299" fmla="*/ 678713 h 1796087"/>
                <a:gd name="connsiteX300" fmla="*/ 2143932 w 2290556"/>
                <a:gd name="connsiteY300" fmla="*/ 679588 h 1796087"/>
                <a:gd name="connsiteX301" fmla="*/ 2140869 w 2290556"/>
                <a:gd name="connsiteY301" fmla="*/ 679722 h 1796087"/>
                <a:gd name="connsiteX302" fmla="*/ 2137672 w 2290556"/>
                <a:gd name="connsiteY302" fmla="*/ 679722 h 1796087"/>
                <a:gd name="connsiteX303" fmla="*/ 2134912 w 2290556"/>
                <a:gd name="connsiteY303" fmla="*/ 680093 h 1796087"/>
                <a:gd name="connsiteX304" fmla="*/ 2133028 w 2290556"/>
                <a:gd name="connsiteY304" fmla="*/ 682346 h 1796087"/>
                <a:gd name="connsiteX305" fmla="*/ 2133028 w 2290556"/>
                <a:gd name="connsiteY305" fmla="*/ 685677 h 1796087"/>
                <a:gd name="connsiteX306" fmla="*/ 2134475 w 2290556"/>
                <a:gd name="connsiteY306" fmla="*/ 689579 h 1796087"/>
                <a:gd name="connsiteX307" fmla="*/ 2131849 w 2290556"/>
                <a:gd name="connsiteY307" fmla="*/ 692606 h 1796087"/>
                <a:gd name="connsiteX308" fmla="*/ 2131547 w 2290556"/>
                <a:gd name="connsiteY308" fmla="*/ 694793 h 1796087"/>
                <a:gd name="connsiteX309" fmla="*/ 2127205 w 2290556"/>
                <a:gd name="connsiteY309" fmla="*/ 695365 h 1796087"/>
                <a:gd name="connsiteX310" fmla="*/ 2124580 w 2290556"/>
                <a:gd name="connsiteY310" fmla="*/ 695668 h 1796087"/>
                <a:gd name="connsiteX311" fmla="*/ 2117782 w 2290556"/>
                <a:gd name="connsiteY311" fmla="*/ 695970 h 1796087"/>
                <a:gd name="connsiteX312" fmla="*/ 2114753 w 2290556"/>
                <a:gd name="connsiteY312" fmla="*/ 694827 h 1796087"/>
                <a:gd name="connsiteX313" fmla="*/ 2113440 w 2290556"/>
                <a:gd name="connsiteY313" fmla="*/ 693246 h 1796087"/>
                <a:gd name="connsiteX314" fmla="*/ 2113138 w 2290556"/>
                <a:gd name="connsiteY314" fmla="*/ 690790 h 1796087"/>
                <a:gd name="connsiteX315" fmla="*/ 2111825 w 2290556"/>
                <a:gd name="connsiteY315" fmla="*/ 687762 h 1796087"/>
                <a:gd name="connsiteX316" fmla="*/ 2110815 w 2290556"/>
                <a:gd name="connsiteY316" fmla="*/ 686316 h 1796087"/>
                <a:gd name="connsiteX317" fmla="*/ 2108359 w 2290556"/>
                <a:gd name="connsiteY317" fmla="*/ 685307 h 1796087"/>
                <a:gd name="connsiteX318" fmla="*/ 2108493 w 2290556"/>
                <a:gd name="connsiteY318" fmla="*/ 683423 h 1796087"/>
                <a:gd name="connsiteX319" fmla="*/ 2108931 w 2290556"/>
                <a:gd name="connsiteY319" fmla="*/ 680530 h 1796087"/>
                <a:gd name="connsiteX320" fmla="*/ 2107921 w 2290556"/>
                <a:gd name="connsiteY320" fmla="*/ 678343 h 1796087"/>
                <a:gd name="connsiteX321" fmla="*/ 2106912 w 2290556"/>
                <a:gd name="connsiteY321" fmla="*/ 678041 h 1796087"/>
                <a:gd name="connsiteX322" fmla="*/ 2105599 w 2290556"/>
                <a:gd name="connsiteY322" fmla="*/ 678612 h 1796087"/>
                <a:gd name="connsiteX323" fmla="*/ 2098363 w 2290556"/>
                <a:gd name="connsiteY323" fmla="*/ 678478 h 1796087"/>
                <a:gd name="connsiteX324" fmla="*/ 2096344 w 2290556"/>
                <a:gd name="connsiteY324" fmla="*/ 675147 h 1796087"/>
                <a:gd name="connsiteX325" fmla="*/ 2097219 w 2290556"/>
                <a:gd name="connsiteY325" fmla="*/ 671245 h 1796087"/>
                <a:gd name="connsiteX326" fmla="*/ 2098969 w 2290556"/>
                <a:gd name="connsiteY326" fmla="*/ 668352 h 1796087"/>
                <a:gd name="connsiteX327" fmla="*/ 2100988 w 2290556"/>
                <a:gd name="connsiteY327" fmla="*/ 666906 h 1796087"/>
                <a:gd name="connsiteX328" fmla="*/ 2104758 w 2290556"/>
                <a:gd name="connsiteY328" fmla="*/ 663273 h 1796087"/>
                <a:gd name="connsiteX329" fmla="*/ 2101426 w 2290556"/>
                <a:gd name="connsiteY329" fmla="*/ 661086 h 1796087"/>
                <a:gd name="connsiteX330" fmla="*/ 2094628 w 2290556"/>
                <a:gd name="connsiteY330" fmla="*/ 660649 h 1796087"/>
                <a:gd name="connsiteX331" fmla="*/ 2092474 w 2290556"/>
                <a:gd name="connsiteY331" fmla="*/ 658328 h 1796087"/>
                <a:gd name="connsiteX332" fmla="*/ 2088570 w 2290556"/>
                <a:gd name="connsiteY332" fmla="*/ 657016 h 1796087"/>
                <a:gd name="connsiteX333" fmla="*/ 2083219 w 2290556"/>
                <a:gd name="connsiteY333" fmla="*/ 657318 h 1796087"/>
                <a:gd name="connsiteX334" fmla="*/ 2076387 w 2290556"/>
                <a:gd name="connsiteY334" fmla="*/ 654997 h 1796087"/>
                <a:gd name="connsiteX335" fmla="*/ 2074502 w 2290556"/>
                <a:gd name="connsiteY335" fmla="*/ 652542 h 1796087"/>
                <a:gd name="connsiteX336" fmla="*/ 2067839 w 2290556"/>
                <a:gd name="connsiteY336" fmla="*/ 646318 h 1796087"/>
                <a:gd name="connsiteX337" fmla="*/ 2066526 w 2290556"/>
                <a:gd name="connsiteY337" fmla="*/ 643291 h 1796087"/>
                <a:gd name="connsiteX338" fmla="*/ 2065516 w 2290556"/>
                <a:gd name="connsiteY338" fmla="*/ 640263 h 1796087"/>
                <a:gd name="connsiteX339" fmla="*/ 2065651 w 2290556"/>
                <a:gd name="connsiteY339" fmla="*/ 636496 h 1796087"/>
                <a:gd name="connsiteX340" fmla="*/ 2066795 w 2290556"/>
                <a:gd name="connsiteY340" fmla="*/ 632593 h 1796087"/>
                <a:gd name="connsiteX341" fmla="*/ 2066930 w 2290556"/>
                <a:gd name="connsiteY341" fmla="*/ 631853 h 1796087"/>
                <a:gd name="connsiteX342" fmla="*/ 2068680 w 2290556"/>
                <a:gd name="connsiteY342" fmla="*/ 627514 h 1796087"/>
                <a:gd name="connsiteX343" fmla="*/ 2069824 w 2290556"/>
                <a:gd name="connsiteY343" fmla="*/ 622737 h 1796087"/>
                <a:gd name="connsiteX344" fmla="*/ 2069387 w 2290556"/>
                <a:gd name="connsiteY344" fmla="*/ 619272 h 1796087"/>
                <a:gd name="connsiteX345" fmla="*/ 2069959 w 2290556"/>
                <a:gd name="connsiteY345" fmla="*/ 614933 h 1796087"/>
                <a:gd name="connsiteX346" fmla="*/ 2074603 w 2290556"/>
                <a:gd name="connsiteY346" fmla="*/ 613049 h 1796087"/>
                <a:gd name="connsiteX347" fmla="*/ 2080829 w 2290556"/>
                <a:gd name="connsiteY347" fmla="*/ 607835 h 1796087"/>
                <a:gd name="connsiteX348" fmla="*/ 2084295 w 2290556"/>
                <a:gd name="connsiteY348" fmla="*/ 604201 h 1796087"/>
                <a:gd name="connsiteX349" fmla="*/ 2089377 w 2290556"/>
                <a:gd name="connsiteY349" fmla="*/ 600131 h 1796087"/>
                <a:gd name="connsiteX350" fmla="*/ 2095166 w 2290556"/>
                <a:gd name="connsiteY350" fmla="*/ 595220 h 1796087"/>
                <a:gd name="connsiteX351" fmla="*/ 2099373 w 2290556"/>
                <a:gd name="connsiteY351" fmla="*/ 592024 h 1796087"/>
                <a:gd name="connsiteX352" fmla="*/ 2102267 w 2290556"/>
                <a:gd name="connsiteY352" fmla="*/ 589266 h 1796087"/>
                <a:gd name="connsiteX353" fmla="*/ 2105296 w 2290556"/>
                <a:gd name="connsiteY353" fmla="*/ 587079 h 1796087"/>
                <a:gd name="connsiteX354" fmla="*/ 2109200 w 2290556"/>
                <a:gd name="connsiteY354" fmla="*/ 584489 h 1796087"/>
                <a:gd name="connsiteX355" fmla="*/ 2111825 w 2290556"/>
                <a:gd name="connsiteY355" fmla="*/ 580856 h 1796087"/>
                <a:gd name="connsiteX356" fmla="*/ 2115292 w 2290556"/>
                <a:gd name="connsiteY356" fmla="*/ 578972 h 1796087"/>
                <a:gd name="connsiteX357" fmla="*/ 2118489 w 2290556"/>
                <a:gd name="connsiteY357" fmla="*/ 579544 h 1796087"/>
                <a:gd name="connsiteX358" fmla="*/ 2121080 w 2290556"/>
                <a:gd name="connsiteY358" fmla="*/ 579241 h 1796087"/>
                <a:gd name="connsiteX359" fmla="*/ 2123672 w 2290556"/>
                <a:gd name="connsiteY359" fmla="*/ 577357 h 1796087"/>
                <a:gd name="connsiteX360" fmla="*/ 2124244 w 2290556"/>
                <a:gd name="connsiteY360" fmla="*/ 574901 h 1796087"/>
                <a:gd name="connsiteX361" fmla="*/ 2124681 w 2290556"/>
                <a:gd name="connsiteY361" fmla="*/ 571436 h 1796087"/>
                <a:gd name="connsiteX362" fmla="*/ 2124950 w 2290556"/>
                <a:gd name="connsiteY362" fmla="*/ 570696 h 1796087"/>
                <a:gd name="connsiteX363" fmla="*/ 2126263 w 2290556"/>
                <a:gd name="connsiteY363" fmla="*/ 567063 h 1796087"/>
                <a:gd name="connsiteX364" fmla="*/ 2126835 w 2290556"/>
                <a:gd name="connsiteY364" fmla="*/ 564170 h 1796087"/>
                <a:gd name="connsiteX365" fmla="*/ 2127542 w 2290556"/>
                <a:gd name="connsiteY365" fmla="*/ 562724 h 1796087"/>
                <a:gd name="connsiteX366" fmla="*/ 2128417 w 2290556"/>
                <a:gd name="connsiteY366" fmla="*/ 559528 h 1796087"/>
                <a:gd name="connsiteX367" fmla="*/ 2130167 w 2290556"/>
                <a:gd name="connsiteY367" fmla="*/ 557779 h 1796087"/>
                <a:gd name="connsiteX368" fmla="*/ 2134508 w 2290556"/>
                <a:gd name="connsiteY368" fmla="*/ 555895 h 1796087"/>
                <a:gd name="connsiteX369" fmla="*/ 2137268 w 2290556"/>
                <a:gd name="connsiteY369" fmla="*/ 554886 h 1796087"/>
                <a:gd name="connsiteX370" fmla="*/ 2139287 w 2290556"/>
                <a:gd name="connsiteY370" fmla="*/ 554011 h 1796087"/>
                <a:gd name="connsiteX371" fmla="*/ 2142316 w 2290556"/>
                <a:gd name="connsiteY371" fmla="*/ 551993 h 1796087"/>
                <a:gd name="connsiteX372" fmla="*/ 2145951 w 2290556"/>
                <a:gd name="connsiteY372" fmla="*/ 548797 h 1796087"/>
                <a:gd name="connsiteX373" fmla="*/ 2149283 w 2290556"/>
                <a:gd name="connsiteY373" fmla="*/ 545164 h 1796087"/>
                <a:gd name="connsiteX374" fmla="*/ 2151033 w 2290556"/>
                <a:gd name="connsiteY374" fmla="*/ 542977 h 1796087"/>
                <a:gd name="connsiteX375" fmla="*/ 2152042 w 2290556"/>
                <a:gd name="connsiteY375" fmla="*/ 541228 h 1796087"/>
                <a:gd name="connsiteX376" fmla="*/ 2154499 w 2290556"/>
                <a:gd name="connsiteY376" fmla="*/ 537023 h 1796087"/>
                <a:gd name="connsiteX377" fmla="*/ 2155643 w 2290556"/>
                <a:gd name="connsiteY377" fmla="*/ 534567 h 1796087"/>
                <a:gd name="connsiteX378" fmla="*/ 2154768 w 2290556"/>
                <a:gd name="connsiteY378" fmla="*/ 531372 h 1796087"/>
                <a:gd name="connsiteX379" fmla="*/ 2158538 w 2290556"/>
                <a:gd name="connsiteY379" fmla="*/ 526595 h 1796087"/>
                <a:gd name="connsiteX380" fmla="*/ 2160692 w 2290556"/>
                <a:gd name="connsiteY380" fmla="*/ 523567 h 1796087"/>
                <a:gd name="connsiteX381" fmla="*/ 2162879 w 2290556"/>
                <a:gd name="connsiteY381" fmla="*/ 519497 h 1796087"/>
                <a:gd name="connsiteX382" fmla="*/ 2167658 w 2290556"/>
                <a:gd name="connsiteY382" fmla="*/ 516301 h 1796087"/>
                <a:gd name="connsiteX383" fmla="*/ 2170552 w 2290556"/>
                <a:gd name="connsiteY383" fmla="*/ 514855 h 1796087"/>
                <a:gd name="connsiteX384" fmla="*/ 2172437 w 2290556"/>
                <a:gd name="connsiteY384" fmla="*/ 512096 h 1796087"/>
                <a:gd name="connsiteX385" fmla="*/ 2173177 w 2290556"/>
                <a:gd name="connsiteY385" fmla="*/ 510952 h 1796087"/>
                <a:gd name="connsiteX386" fmla="*/ 2173750 w 2290556"/>
                <a:gd name="connsiteY386" fmla="*/ 507488 h 1796087"/>
                <a:gd name="connsiteX387" fmla="*/ 2174456 w 2290556"/>
                <a:gd name="connsiteY387" fmla="*/ 505604 h 1796087"/>
                <a:gd name="connsiteX388" fmla="*/ 2177923 w 2290556"/>
                <a:gd name="connsiteY388" fmla="*/ 503585 h 1796087"/>
                <a:gd name="connsiteX389" fmla="*/ 2180682 w 2290556"/>
                <a:gd name="connsiteY389" fmla="*/ 501836 h 1796087"/>
                <a:gd name="connsiteX390" fmla="*/ 2183576 w 2290556"/>
                <a:gd name="connsiteY390" fmla="*/ 500961 h 1796087"/>
                <a:gd name="connsiteX391" fmla="*/ 2185159 w 2290556"/>
                <a:gd name="connsiteY391" fmla="*/ 499515 h 1796087"/>
                <a:gd name="connsiteX392" fmla="*/ 2186471 w 2290556"/>
                <a:gd name="connsiteY392" fmla="*/ 496487 h 1796087"/>
                <a:gd name="connsiteX393" fmla="*/ 2186909 w 2290556"/>
                <a:gd name="connsiteY393" fmla="*/ 495175 h 1796087"/>
                <a:gd name="connsiteX394" fmla="*/ 2185461 w 2290556"/>
                <a:gd name="connsiteY394" fmla="*/ 491845 h 1796087"/>
                <a:gd name="connsiteX395" fmla="*/ 2185596 w 2290556"/>
                <a:gd name="connsiteY395" fmla="*/ 488380 h 1796087"/>
                <a:gd name="connsiteX396" fmla="*/ 2187043 w 2290556"/>
                <a:gd name="connsiteY396" fmla="*/ 485184 h 1796087"/>
                <a:gd name="connsiteX397" fmla="*/ 2189634 w 2290556"/>
                <a:gd name="connsiteY397" fmla="*/ 482426 h 1796087"/>
                <a:gd name="connsiteX398" fmla="*/ 2193404 w 2290556"/>
                <a:gd name="connsiteY398" fmla="*/ 486934 h 1796087"/>
                <a:gd name="connsiteX399" fmla="*/ 2195423 w 2290556"/>
                <a:gd name="connsiteY399" fmla="*/ 489961 h 1796087"/>
                <a:gd name="connsiteX400" fmla="*/ 2197745 w 2290556"/>
                <a:gd name="connsiteY400" fmla="*/ 491711 h 1796087"/>
                <a:gd name="connsiteX401" fmla="*/ 2198183 w 2290556"/>
                <a:gd name="connsiteY401" fmla="*/ 495344 h 1796087"/>
                <a:gd name="connsiteX402" fmla="*/ 2197611 w 2290556"/>
                <a:gd name="connsiteY402" fmla="*/ 498405 h 1796087"/>
                <a:gd name="connsiteX403" fmla="*/ 2197173 w 2290556"/>
                <a:gd name="connsiteY403" fmla="*/ 499986 h 1796087"/>
                <a:gd name="connsiteX404" fmla="*/ 2196736 w 2290556"/>
                <a:gd name="connsiteY404" fmla="*/ 501870 h 1796087"/>
                <a:gd name="connsiteX405" fmla="*/ 2197005 w 2290556"/>
                <a:gd name="connsiteY405" fmla="*/ 503451 h 1796087"/>
                <a:gd name="connsiteX406" fmla="*/ 2197139 w 2290556"/>
                <a:gd name="connsiteY406" fmla="*/ 507218 h 1796087"/>
                <a:gd name="connsiteX407" fmla="*/ 2197712 w 2290556"/>
                <a:gd name="connsiteY407" fmla="*/ 508530 h 1796087"/>
                <a:gd name="connsiteX408" fmla="*/ 2200337 w 2290556"/>
                <a:gd name="connsiteY408" fmla="*/ 511423 h 1796087"/>
                <a:gd name="connsiteX409" fmla="*/ 2202356 w 2290556"/>
                <a:gd name="connsiteY409" fmla="*/ 514182 h 1796087"/>
                <a:gd name="connsiteX410" fmla="*/ 2205250 w 2290556"/>
                <a:gd name="connsiteY410" fmla="*/ 516637 h 1796087"/>
                <a:gd name="connsiteX411" fmla="*/ 2207707 w 2290556"/>
                <a:gd name="connsiteY411" fmla="*/ 517344 h 1796087"/>
                <a:gd name="connsiteX412" fmla="*/ 2209289 w 2290556"/>
                <a:gd name="connsiteY412" fmla="*/ 518521 h 1796087"/>
                <a:gd name="connsiteX413" fmla="*/ 2211173 w 2290556"/>
                <a:gd name="connsiteY413" fmla="*/ 519833 h 1796087"/>
                <a:gd name="connsiteX414" fmla="*/ 2211039 w 2290556"/>
                <a:gd name="connsiteY414" fmla="*/ 522861 h 1796087"/>
                <a:gd name="connsiteX415" fmla="*/ 2210029 w 2290556"/>
                <a:gd name="connsiteY415" fmla="*/ 524005 h 1796087"/>
                <a:gd name="connsiteX416" fmla="*/ 2210164 w 2290556"/>
                <a:gd name="connsiteY416" fmla="*/ 525888 h 1796087"/>
                <a:gd name="connsiteX417" fmla="*/ 2211039 w 2290556"/>
                <a:gd name="connsiteY417" fmla="*/ 527907 h 1796087"/>
                <a:gd name="connsiteX418" fmla="*/ 2212183 w 2290556"/>
                <a:gd name="connsiteY418" fmla="*/ 530800 h 1796087"/>
                <a:gd name="connsiteX419" fmla="*/ 2213765 w 2290556"/>
                <a:gd name="connsiteY419" fmla="*/ 533827 h 1796087"/>
                <a:gd name="connsiteX420" fmla="*/ 2215078 w 2290556"/>
                <a:gd name="connsiteY420" fmla="*/ 536283 h 1796087"/>
                <a:gd name="connsiteX421" fmla="*/ 2217972 w 2290556"/>
                <a:gd name="connsiteY421" fmla="*/ 537595 h 1796087"/>
                <a:gd name="connsiteX422" fmla="*/ 2218678 w 2290556"/>
                <a:gd name="connsiteY422" fmla="*/ 534399 h 1796087"/>
                <a:gd name="connsiteX423" fmla="*/ 2218544 w 2290556"/>
                <a:gd name="connsiteY423" fmla="*/ 530497 h 1796087"/>
                <a:gd name="connsiteX424" fmla="*/ 2218544 w 2290556"/>
                <a:gd name="connsiteY424" fmla="*/ 526729 h 1796087"/>
                <a:gd name="connsiteX425" fmla="*/ 2218981 w 2290556"/>
                <a:gd name="connsiteY425" fmla="*/ 522962 h 1796087"/>
                <a:gd name="connsiteX426" fmla="*/ 2217972 w 2290556"/>
                <a:gd name="connsiteY426" fmla="*/ 520203 h 1796087"/>
                <a:gd name="connsiteX427" fmla="*/ 2215953 w 2290556"/>
                <a:gd name="connsiteY427" fmla="*/ 516570 h 1796087"/>
                <a:gd name="connsiteX428" fmla="*/ 2215818 w 2290556"/>
                <a:gd name="connsiteY428" fmla="*/ 513240 h 1796087"/>
                <a:gd name="connsiteX429" fmla="*/ 2218847 w 2290556"/>
                <a:gd name="connsiteY429" fmla="*/ 511491 h 1796087"/>
                <a:gd name="connsiteX430" fmla="*/ 2219991 w 2290556"/>
                <a:gd name="connsiteY430" fmla="*/ 508732 h 1796087"/>
                <a:gd name="connsiteX431" fmla="*/ 2216659 w 2290556"/>
                <a:gd name="connsiteY431" fmla="*/ 508026 h 1796087"/>
                <a:gd name="connsiteX432" fmla="*/ 2215044 w 2290556"/>
                <a:gd name="connsiteY432" fmla="*/ 505267 h 1796087"/>
                <a:gd name="connsiteX433" fmla="*/ 2213899 w 2290556"/>
                <a:gd name="connsiteY433" fmla="*/ 500760 h 1796087"/>
                <a:gd name="connsiteX434" fmla="*/ 2212318 w 2290556"/>
                <a:gd name="connsiteY434" fmla="*/ 497867 h 1796087"/>
                <a:gd name="connsiteX435" fmla="*/ 2212587 w 2290556"/>
                <a:gd name="connsiteY435" fmla="*/ 490466 h 1796087"/>
                <a:gd name="connsiteX436" fmla="*/ 2213024 w 2290556"/>
                <a:gd name="connsiteY436" fmla="*/ 488279 h 1796087"/>
                <a:gd name="connsiteX437" fmla="*/ 2212721 w 2290556"/>
                <a:gd name="connsiteY437" fmla="*/ 485252 h 1796087"/>
                <a:gd name="connsiteX438" fmla="*/ 2212284 w 2290556"/>
                <a:gd name="connsiteY438" fmla="*/ 482628 h 1796087"/>
                <a:gd name="connsiteX439" fmla="*/ 2212419 w 2290556"/>
                <a:gd name="connsiteY439" fmla="*/ 480744 h 1796087"/>
                <a:gd name="connsiteX440" fmla="*/ 2215313 w 2290556"/>
                <a:gd name="connsiteY440" fmla="*/ 476842 h 1796087"/>
                <a:gd name="connsiteX441" fmla="*/ 2217501 w 2290556"/>
                <a:gd name="connsiteY441" fmla="*/ 475530 h 1796087"/>
                <a:gd name="connsiteX442" fmla="*/ 2218376 w 2290556"/>
                <a:gd name="connsiteY442" fmla="*/ 468129 h 1796087"/>
                <a:gd name="connsiteX443" fmla="*/ 2217198 w 2290556"/>
                <a:gd name="connsiteY443" fmla="*/ 462040 h 1796087"/>
                <a:gd name="connsiteX444" fmla="*/ 2216323 w 2290556"/>
                <a:gd name="connsiteY444" fmla="*/ 457398 h 1796087"/>
                <a:gd name="connsiteX445" fmla="*/ 2216625 w 2290556"/>
                <a:gd name="connsiteY445" fmla="*/ 453193 h 1796087"/>
                <a:gd name="connsiteX446" fmla="*/ 2217198 w 2290556"/>
                <a:gd name="connsiteY446" fmla="*/ 447676 h 1796087"/>
                <a:gd name="connsiteX447" fmla="*/ 2217635 w 2290556"/>
                <a:gd name="connsiteY447" fmla="*/ 445221 h 1796087"/>
                <a:gd name="connsiteX448" fmla="*/ 2219654 w 2290556"/>
                <a:gd name="connsiteY448" fmla="*/ 442630 h 1796087"/>
                <a:gd name="connsiteX449" fmla="*/ 2222986 w 2290556"/>
                <a:gd name="connsiteY449" fmla="*/ 440309 h 1796087"/>
                <a:gd name="connsiteX450" fmla="*/ 2223558 w 2290556"/>
                <a:gd name="connsiteY450" fmla="*/ 439300 h 1796087"/>
                <a:gd name="connsiteX451" fmla="*/ 2224299 w 2290556"/>
                <a:gd name="connsiteY451" fmla="*/ 436104 h 1796087"/>
                <a:gd name="connsiteX452" fmla="*/ 2225443 w 2290556"/>
                <a:gd name="connsiteY452" fmla="*/ 433077 h 1796087"/>
                <a:gd name="connsiteX453" fmla="*/ 2226318 w 2290556"/>
                <a:gd name="connsiteY453" fmla="*/ 429612 h 1796087"/>
                <a:gd name="connsiteX454" fmla="*/ 2225005 w 2290556"/>
                <a:gd name="connsiteY454" fmla="*/ 426281 h 1796087"/>
                <a:gd name="connsiteX455" fmla="*/ 2222414 w 2290556"/>
                <a:gd name="connsiteY455" fmla="*/ 423086 h 1796087"/>
                <a:gd name="connsiteX456" fmla="*/ 2222414 w 2290556"/>
                <a:gd name="connsiteY456" fmla="*/ 419621 h 1796087"/>
                <a:gd name="connsiteX457" fmla="*/ 2223996 w 2290556"/>
                <a:gd name="connsiteY457" fmla="*/ 413667 h 1796087"/>
                <a:gd name="connsiteX458" fmla="*/ 2228909 w 2290556"/>
                <a:gd name="connsiteY458" fmla="*/ 410336 h 1796087"/>
                <a:gd name="connsiteX459" fmla="*/ 2233419 w 2290556"/>
                <a:gd name="connsiteY459" fmla="*/ 409024 h 1796087"/>
                <a:gd name="connsiteX460" fmla="*/ 2237491 w 2290556"/>
                <a:gd name="connsiteY460" fmla="*/ 409462 h 1796087"/>
                <a:gd name="connsiteX461" fmla="*/ 2241126 w 2290556"/>
                <a:gd name="connsiteY461" fmla="*/ 412220 h 1796087"/>
                <a:gd name="connsiteX462" fmla="*/ 2245467 w 2290556"/>
                <a:gd name="connsiteY462" fmla="*/ 414541 h 1796087"/>
                <a:gd name="connsiteX463" fmla="*/ 2249237 w 2290556"/>
                <a:gd name="connsiteY463" fmla="*/ 413969 h 1796087"/>
                <a:gd name="connsiteX464" fmla="*/ 2252266 w 2290556"/>
                <a:gd name="connsiteY464" fmla="*/ 411076 h 1796087"/>
                <a:gd name="connsiteX465" fmla="*/ 2255025 w 2290556"/>
                <a:gd name="connsiteY465" fmla="*/ 405290 h 1796087"/>
                <a:gd name="connsiteX466" fmla="*/ 2257482 w 2290556"/>
                <a:gd name="connsiteY466" fmla="*/ 399639 h 1796087"/>
                <a:gd name="connsiteX467" fmla="*/ 2255160 w 2290556"/>
                <a:gd name="connsiteY467" fmla="*/ 394122 h 1796087"/>
                <a:gd name="connsiteX468" fmla="*/ 2255597 w 2290556"/>
                <a:gd name="connsiteY468" fmla="*/ 390489 h 1796087"/>
                <a:gd name="connsiteX469" fmla="*/ 2256035 w 2290556"/>
                <a:gd name="connsiteY469" fmla="*/ 386721 h 1796087"/>
                <a:gd name="connsiteX470" fmla="*/ 2256170 w 2290556"/>
                <a:gd name="connsiteY470" fmla="*/ 383694 h 1796087"/>
                <a:gd name="connsiteX471" fmla="*/ 2254420 w 2290556"/>
                <a:gd name="connsiteY471" fmla="*/ 381103 h 1796087"/>
                <a:gd name="connsiteX472" fmla="*/ 2252973 w 2290556"/>
                <a:gd name="connsiteY472" fmla="*/ 377908 h 1796087"/>
                <a:gd name="connsiteX473" fmla="*/ 2254285 w 2290556"/>
                <a:gd name="connsiteY473" fmla="*/ 375889 h 1796087"/>
                <a:gd name="connsiteX474" fmla="*/ 2253847 w 2290556"/>
                <a:gd name="connsiteY474" fmla="*/ 374746 h 1796087"/>
                <a:gd name="connsiteX475" fmla="*/ 2252266 w 2290556"/>
                <a:gd name="connsiteY475" fmla="*/ 371415 h 1796087"/>
                <a:gd name="connsiteX476" fmla="*/ 2247487 w 2290556"/>
                <a:gd name="connsiteY476" fmla="*/ 367076 h 1796087"/>
                <a:gd name="connsiteX477" fmla="*/ 2244289 w 2290556"/>
                <a:gd name="connsiteY477" fmla="*/ 363308 h 1796087"/>
                <a:gd name="connsiteX478" fmla="*/ 2242405 w 2290556"/>
                <a:gd name="connsiteY478" fmla="*/ 358800 h 1796087"/>
                <a:gd name="connsiteX479" fmla="*/ 2243280 w 2290556"/>
                <a:gd name="connsiteY479" fmla="*/ 356345 h 1796087"/>
                <a:gd name="connsiteX480" fmla="*/ 2245467 w 2290556"/>
                <a:gd name="connsiteY480" fmla="*/ 354764 h 1796087"/>
                <a:gd name="connsiteX481" fmla="*/ 2248227 w 2290556"/>
                <a:gd name="connsiteY481" fmla="*/ 350996 h 1796087"/>
                <a:gd name="connsiteX482" fmla="*/ 2248362 w 2290556"/>
                <a:gd name="connsiteY482" fmla="*/ 348237 h 1796087"/>
                <a:gd name="connsiteX483" fmla="*/ 2245905 w 2290556"/>
                <a:gd name="connsiteY483" fmla="*/ 343898 h 1796087"/>
                <a:gd name="connsiteX484" fmla="*/ 2245333 w 2290556"/>
                <a:gd name="connsiteY484" fmla="*/ 339390 h 1796087"/>
                <a:gd name="connsiteX485" fmla="*/ 2242741 w 2290556"/>
                <a:gd name="connsiteY485" fmla="*/ 331149 h 1796087"/>
                <a:gd name="connsiteX486" fmla="*/ 2242876 w 2290556"/>
                <a:gd name="connsiteY486" fmla="*/ 326641 h 1796087"/>
                <a:gd name="connsiteX487" fmla="*/ 2244188 w 2290556"/>
                <a:gd name="connsiteY487" fmla="*/ 322167 h 1796087"/>
                <a:gd name="connsiteX488" fmla="*/ 2245636 w 2290556"/>
                <a:gd name="connsiteY488" fmla="*/ 319274 h 1796087"/>
                <a:gd name="connsiteX489" fmla="*/ 2248227 w 2290556"/>
                <a:gd name="connsiteY489" fmla="*/ 315069 h 1796087"/>
                <a:gd name="connsiteX490" fmla="*/ 2247520 w 2290556"/>
                <a:gd name="connsiteY490" fmla="*/ 311873 h 1796087"/>
                <a:gd name="connsiteX491" fmla="*/ 2246948 w 2290556"/>
                <a:gd name="connsiteY491" fmla="*/ 307399 h 1796087"/>
                <a:gd name="connsiteX492" fmla="*/ 2248092 w 2290556"/>
                <a:gd name="connsiteY492" fmla="*/ 303631 h 1796087"/>
                <a:gd name="connsiteX493" fmla="*/ 2250987 w 2290556"/>
                <a:gd name="connsiteY493" fmla="*/ 301310 h 1796087"/>
                <a:gd name="connsiteX494" fmla="*/ 2254016 w 2290556"/>
                <a:gd name="connsiteY494" fmla="*/ 297845 h 1796087"/>
                <a:gd name="connsiteX495" fmla="*/ 2256910 w 2290556"/>
                <a:gd name="connsiteY495" fmla="*/ 290478 h 1796087"/>
                <a:gd name="connsiteX496" fmla="*/ 2257650 w 2290556"/>
                <a:gd name="connsiteY496" fmla="*/ 288594 h 1796087"/>
                <a:gd name="connsiteX497" fmla="*/ 2258525 w 2290556"/>
                <a:gd name="connsiteY497" fmla="*/ 282808 h 1796087"/>
                <a:gd name="connsiteX498" fmla="*/ 2259973 w 2290556"/>
                <a:gd name="connsiteY498" fmla="*/ 276417 h 1796087"/>
                <a:gd name="connsiteX499" fmla="*/ 2259838 w 2290556"/>
                <a:gd name="connsiteY499" fmla="*/ 272515 h 1796087"/>
                <a:gd name="connsiteX500" fmla="*/ 2260578 w 2290556"/>
                <a:gd name="connsiteY500" fmla="*/ 267435 h 1796087"/>
                <a:gd name="connsiteX501" fmla="*/ 2264920 w 2290556"/>
                <a:gd name="connsiteY501" fmla="*/ 266729 h 1796087"/>
                <a:gd name="connsiteX502" fmla="*/ 2267242 w 2290556"/>
                <a:gd name="connsiteY502" fmla="*/ 265854 h 1796087"/>
                <a:gd name="connsiteX503" fmla="*/ 2272593 w 2290556"/>
                <a:gd name="connsiteY503" fmla="*/ 262961 h 1796087"/>
                <a:gd name="connsiteX504" fmla="*/ 2275218 w 2290556"/>
                <a:gd name="connsiteY504" fmla="*/ 259496 h 1796087"/>
                <a:gd name="connsiteX505" fmla="*/ 2278112 w 2290556"/>
                <a:gd name="connsiteY505" fmla="*/ 255426 h 1796087"/>
                <a:gd name="connsiteX506" fmla="*/ 2278415 w 2290556"/>
                <a:gd name="connsiteY506" fmla="*/ 248328 h 1796087"/>
                <a:gd name="connsiteX507" fmla="*/ 2277540 w 2290556"/>
                <a:gd name="connsiteY507" fmla="*/ 243416 h 1796087"/>
                <a:gd name="connsiteX508" fmla="*/ 2276968 w 2290556"/>
                <a:gd name="connsiteY508" fmla="*/ 241398 h 1796087"/>
                <a:gd name="connsiteX509" fmla="*/ 2275824 w 2290556"/>
                <a:gd name="connsiteY509" fmla="*/ 238808 h 1796087"/>
                <a:gd name="connsiteX510" fmla="*/ 2273232 w 2290556"/>
                <a:gd name="connsiteY510" fmla="*/ 235040 h 1796087"/>
                <a:gd name="connsiteX511" fmla="*/ 2271348 w 2290556"/>
                <a:gd name="connsiteY511" fmla="*/ 231272 h 1796087"/>
                <a:gd name="connsiteX512" fmla="*/ 2272660 w 2290556"/>
                <a:gd name="connsiteY512" fmla="*/ 228817 h 1796087"/>
                <a:gd name="connsiteX513" fmla="*/ 2277742 w 2290556"/>
                <a:gd name="connsiteY513" fmla="*/ 226933 h 1796087"/>
                <a:gd name="connsiteX514" fmla="*/ 2278045 w 2290556"/>
                <a:gd name="connsiteY514" fmla="*/ 225352 h 1796087"/>
                <a:gd name="connsiteX515" fmla="*/ 2279627 w 2290556"/>
                <a:gd name="connsiteY515" fmla="*/ 222593 h 1796087"/>
                <a:gd name="connsiteX516" fmla="*/ 2282252 w 2290556"/>
                <a:gd name="connsiteY516" fmla="*/ 221584 h 1796087"/>
                <a:gd name="connsiteX517" fmla="*/ 2284574 w 2290556"/>
                <a:gd name="connsiteY517" fmla="*/ 220272 h 1796087"/>
                <a:gd name="connsiteX518" fmla="*/ 2286896 w 2290556"/>
                <a:gd name="connsiteY518" fmla="*/ 218254 h 1796087"/>
                <a:gd name="connsiteX519" fmla="*/ 2288646 w 2290556"/>
                <a:gd name="connsiteY519" fmla="*/ 216067 h 1796087"/>
                <a:gd name="connsiteX520" fmla="*/ 2290531 w 2290556"/>
                <a:gd name="connsiteY520" fmla="*/ 213174 h 1796087"/>
                <a:gd name="connsiteX521" fmla="*/ 2290228 w 2290556"/>
                <a:gd name="connsiteY521" fmla="*/ 210147 h 1796087"/>
                <a:gd name="connsiteX522" fmla="*/ 2288478 w 2290556"/>
                <a:gd name="connsiteY522" fmla="*/ 207691 h 1796087"/>
                <a:gd name="connsiteX523" fmla="*/ 2287738 w 2290556"/>
                <a:gd name="connsiteY523" fmla="*/ 204798 h 1796087"/>
                <a:gd name="connsiteX524" fmla="*/ 2288310 w 2290556"/>
                <a:gd name="connsiteY524" fmla="*/ 201905 h 1796087"/>
                <a:gd name="connsiteX525" fmla="*/ 2289622 w 2290556"/>
                <a:gd name="connsiteY525" fmla="*/ 199719 h 1796087"/>
                <a:gd name="connsiteX526" fmla="*/ 2289622 w 2290556"/>
                <a:gd name="connsiteY526" fmla="*/ 196826 h 1796087"/>
                <a:gd name="connsiteX527" fmla="*/ 2287738 w 2290556"/>
                <a:gd name="connsiteY527" fmla="*/ 194807 h 1796087"/>
                <a:gd name="connsiteX528" fmla="*/ 2285988 w 2290556"/>
                <a:gd name="connsiteY528" fmla="*/ 193226 h 1796087"/>
                <a:gd name="connsiteX529" fmla="*/ 2283968 w 2290556"/>
                <a:gd name="connsiteY529" fmla="*/ 193529 h 1796087"/>
                <a:gd name="connsiteX530" fmla="*/ 2281646 w 2290556"/>
                <a:gd name="connsiteY530" fmla="*/ 194101 h 1796087"/>
                <a:gd name="connsiteX531" fmla="*/ 2278180 w 2290556"/>
                <a:gd name="connsiteY531" fmla="*/ 194673 h 1796087"/>
                <a:gd name="connsiteX532" fmla="*/ 2276733 w 2290556"/>
                <a:gd name="connsiteY532" fmla="*/ 192654 h 1796087"/>
                <a:gd name="connsiteX533" fmla="*/ 2275992 w 2290556"/>
                <a:gd name="connsiteY533" fmla="*/ 189627 h 1796087"/>
                <a:gd name="connsiteX534" fmla="*/ 2273536 w 2290556"/>
                <a:gd name="connsiteY534" fmla="*/ 186734 h 1796087"/>
                <a:gd name="connsiteX535" fmla="*/ 2270338 w 2290556"/>
                <a:gd name="connsiteY535" fmla="*/ 186162 h 1796087"/>
                <a:gd name="connsiteX536" fmla="*/ 2268150 w 2290556"/>
                <a:gd name="connsiteY536" fmla="*/ 186027 h 1796087"/>
                <a:gd name="connsiteX537" fmla="*/ 2266401 w 2290556"/>
                <a:gd name="connsiteY537" fmla="*/ 184009 h 1796087"/>
                <a:gd name="connsiteX538" fmla="*/ 2266704 w 2290556"/>
                <a:gd name="connsiteY538" fmla="*/ 181822 h 1796087"/>
                <a:gd name="connsiteX539" fmla="*/ 2266704 w 2290556"/>
                <a:gd name="connsiteY539" fmla="*/ 178626 h 1796087"/>
                <a:gd name="connsiteX540" fmla="*/ 2265324 w 2290556"/>
                <a:gd name="connsiteY540" fmla="*/ 177045 h 1796087"/>
                <a:gd name="connsiteX541" fmla="*/ 2263237 w 2290556"/>
                <a:gd name="connsiteY541" fmla="*/ 174018 h 1796087"/>
                <a:gd name="connsiteX542" fmla="*/ 2259468 w 2290556"/>
                <a:gd name="connsiteY542" fmla="*/ 168938 h 1796087"/>
                <a:gd name="connsiteX543" fmla="*/ 2255564 w 2290556"/>
                <a:gd name="connsiteY543" fmla="*/ 167492 h 1796087"/>
                <a:gd name="connsiteX544" fmla="*/ 2252232 w 2290556"/>
                <a:gd name="connsiteY544" fmla="*/ 166348 h 1796087"/>
                <a:gd name="connsiteX545" fmla="*/ 2249338 w 2290556"/>
                <a:gd name="connsiteY545" fmla="*/ 163320 h 1796087"/>
                <a:gd name="connsiteX546" fmla="*/ 2248766 w 2290556"/>
                <a:gd name="connsiteY546" fmla="*/ 159250 h 1796087"/>
                <a:gd name="connsiteX547" fmla="*/ 2247184 w 2290556"/>
                <a:gd name="connsiteY547" fmla="*/ 157938 h 1796087"/>
                <a:gd name="connsiteX548" fmla="*/ 2244155 w 2290556"/>
                <a:gd name="connsiteY548" fmla="*/ 155617 h 1796087"/>
                <a:gd name="connsiteX549" fmla="*/ 2243414 w 2290556"/>
                <a:gd name="connsiteY549" fmla="*/ 154877 h 1796087"/>
                <a:gd name="connsiteX550" fmla="*/ 2242102 w 2290556"/>
                <a:gd name="connsiteY550" fmla="*/ 152287 h 1796087"/>
                <a:gd name="connsiteX551" fmla="*/ 2240352 w 2290556"/>
                <a:gd name="connsiteY551" fmla="*/ 150268 h 1796087"/>
                <a:gd name="connsiteX552" fmla="*/ 2238333 w 2290556"/>
                <a:gd name="connsiteY552" fmla="*/ 149125 h 1796087"/>
                <a:gd name="connsiteX553" fmla="*/ 2235136 w 2290556"/>
                <a:gd name="connsiteY553" fmla="*/ 147543 h 1796087"/>
                <a:gd name="connsiteX554" fmla="*/ 2232679 w 2290556"/>
                <a:gd name="connsiteY554" fmla="*/ 145794 h 1796087"/>
                <a:gd name="connsiteX555" fmla="*/ 2229347 w 2290556"/>
                <a:gd name="connsiteY555" fmla="*/ 143910 h 1796087"/>
                <a:gd name="connsiteX556" fmla="*/ 2224130 w 2290556"/>
                <a:gd name="connsiteY556" fmla="*/ 142733 h 1796087"/>
                <a:gd name="connsiteX557" fmla="*/ 2222986 w 2290556"/>
                <a:gd name="connsiteY557" fmla="*/ 142733 h 1796087"/>
                <a:gd name="connsiteX558" fmla="*/ 2220530 w 2290556"/>
                <a:gd name="connsiteY558" fmla="*/ 144112 h 1796087"/>
                <a:gd name="connsiteX559" fmla="*/ 2217198 w 2290556"/>
                <a:gd name="connsiteY559" fmla="*/ 145491 h 1796087"/>
                <a:gd name="connsiteX560" fmla="*/ 2215144 w 2290556"/>
                <a:gd name="connsiteY560" fmla="*/ 143910 h 1796087"/>
                <a:gd name="connsiteX561" fmla="*/ 2215717 w 2290556"/>
                <a:gd name="connsiteY561" fmla="*/ 140715 h 1796087"/>
                <a:gd name="connsiteX562" fmla="*/ 2216154 w 2290556"/>
                <a:gd name="connsiteY562" fmla="*/ 137250 h 1796087"/>
                <a:gd name="connsiteX563" fmla="*/ 2213125 w 2290556"/>
                <a:gd name="connsiteY563" fmla="*/ 135231 h 1796087"/>
                <a:gd name="connsiteX564" fmla="*/ 2209491 w 2290556"/>
                <a:gd name="connsiteY564" fmla="*/ 135097 h 1796087"/>
                <a:gd name="connsiteX565" fmla="*/ 2208347 w 2290556"/>
                <a:gd name="connsiteY565" fmla="*/ 136543 h 1796087"/>
                <a:gd name="connsiteX566" fmla="*/ 2208784 w 2290556"/>
                <a:gd name="connsiteY566" fmla="*/ 138864 h 1796087"/>
                <a:gd name="connsiteX567" fmla="*/ 2210231 w 2290556"/>
                <a:gd name="connsiteY567" fmla="*/ 140883 h 1796087"/>
                <a:gd name="connsiteX568" fmla="*/ 2209524 w 2290556"/>
                <a:gd name="connsiteY568" fmla="*/ 143507 h 1796087"/>
                <a:gd name="connsiteX569" fmla="*/ 2209524 w 2290556"/>
                <a:gd name="connsiteY569" fmla="*/ 148149 h 1796087"/>
                <a:gd name="connsiteX570" fmla="*/ 2208784 w 2290556"/>
                <a:gd name="connsiteY570" fmla="*/ 150033 h 1796087"/>
                <a:gd name="connsiteX571" fmla="*/ 2208515 w 2290556"/>
                <a:gd name="connsiteY571" fmla="*/ 153363 h 1796087"/>
                <a:gd name="connsiteX572" fmla="*/ 2209390 w 2290556"/>
                <a:gd name="connsiteY572" fmla="*/ 154070 h 1796087"/>
                <a:gd name="connsiteX573" fmla="*/ 2209390 w 2290556"/>
                <a:gd name="connsiteY573" fmla="*/ 158274 h 1796087"/>
                <a:gd name="connsiteX574" fmla="*/ 2206866 w 2290556"/>
                <a:gd name="connsiteY574" fmla="*/ 160596 h 1796087"/>
                <a:gd name="connsiteX575" fmla="*/ 2204611 w 2290556"/>
                <a:gd name="connsiteY575" fmla="*/ 158005 h 1796087"/>
                <a:gd name="connsiteX576" fmla="*/ 2200269 w 2290556"/>
                <a:gd name="connsiteY576" fmla="*/ 158005 h 1796087"/>
                <a:gd name="connsiteX577" fmla="*/ 2198688 w 2290556"/>
                <a:gd name="connsiteY577" fmla="*/ 160024 h 1796087"/>
                <a:gd name="connsiteX578" fmla="*/ 2201716 w 2290556"/>
                <a:gd name="connsiteY578" fmla="*/ 165238 h 1796087"/>
                <a:gd name="connsiteX579" fmla="*/ 2198957 w 2290556"/>
                <a:gd name="connsiteY579" fmla="*/ 170317 h 1796087"/>
                <a:gd name="connsiteX580" fmla="*/ 2190846 w 2290556"/>
                <a:gd name="connsiteY580" fmla="*/ 173782 h 1796087"/>
                <a:gd name="connsiteX581" fmla="*/ 2188389 w 2290556"/>
                <a:gd name="connsiteY581" fmla="*/ 176675 h 1796087"/>
                <a:gd name="connsiteX582" fmla="*/ 2188154 w 2290556"/>
                <a:gd name="connsiteY582" fmla="*/ 179097 h 1796087"/>
                <a:gd name="connsiteX583" fmla="*/ 2188086 w 2290556"/>
                <a:gd name="connsiteY583" fmla="*/ 181015 h 1796087"/>
                <a:gd name="connsiteX584" fmla="*/ 2186336 w 2290556"/>
                <a:gd name="connsiteY584" fmla="*/ 183773 h 1796087"/>
                <a:gd name="connsiteX585" fmla="*/ 2183307 w 2290556"/>
                <a:gd name="connsiteY585" fmla="*/ 182461 h 1796087"/>
                <a:gd name="connsiteX586" fmla="*/ 2180548 w 2290556"/>
                <a:gd name="connsiteY586" fmla="*/ 180140 h 1796087"/>
                <a:gd name="connsiteX587" fmla="*/ 2177788 w 2290556"/>
                <a:gd name="connsiteY587" fmla="*/ 178122 h 1796087"/>
                <a:gd name="connsiteX588" fmla="*/ 2173581 w 2290556"/>
                <a:gd name="connsiteY588" fmla="*/ 176675 h 1796087"/>
                <a:gd name="connsiteX589" fmla="*/ 2170552 w 2290556"/>
                <a:gd name="connsiteY589" fmla="*/ 176978 h 1796087"/>
                <a:gd name="connsiteX590" fmla="*/ 2169374 w 2290556"/>
                <a:gd name="connsiteY590" fmla="*/ 181890 h 1796087"/>
                <a:gd name="connsiteX591" fmla="*/ 2169374 w 2290556"/>
                <a:gd name="connsiteY591" fmla="*/ 183471 h 1796087"/>
                <a:gd name="connsiteX592" fmla="*/ 2166345 w 2290556"/>
                <a:gd name="connsiteY592" fmla="*/ 189694 h 1796087"/>
                <a:gd name="connsiteX593" fmla="*/ 2164326 w 2290556"/>
                <a:gd name="connsiteY593" fmla="*/ 187676 h 1796087"/>
                <a:gd name="connsiteX594" fmla="*/ 2161432 w 2290556"/>
                <a:gd name="connsiteY594" fmla="*/ 190266 h 1796087"/>
                <a:gd name="connsiteX595" fmla="*/ 2159547 w 2290556"/>
                <a:gd name="connsiteY595" fmla="*/ 190703 h 1796087"/>
                <a:gd name="connsiteX596" fmla="*/ 2155475 w 2290556"/>
                <a:gd name="connsiteY596" fmla="*/ 190131 h 1796087"/>
                <a:gd name="connsiteX597" fmla="*/ 2155744 w 2290556"/>
                <a:gd name="connsiteY597" fmla="*/ 188113 h 1796087"/>
                <a:gd name="connsiteX598" fmla="*/ 2156047 w 2290556"/>
                <a:gd name="connsiteY598" fmla="*/ 186229 h 1796087"/>
                <a:gd name="connsiteX599" fmla="*/ 2149249 w 2290556"/>
                <a:gd name="connsiteY599" fmla="*/ 185489 h 1796087"/>
                <a:gd name="connsiteX600" fmla="*/ 2145614 w 2290556"/>
                <a:gd name="connsiteY600" fmla="*/ 186633 h 1796087"/>
                <a:gd name="connsiteX601" fmla="*/ 2144739 w 2290556"/>
                <a:gd name="connsiteY601" fmla="*/ 188651 h 1796087"/>
                <a:gd name="connsiteX602" fmla="*/ 2144167 w 2290556"/>
                <a:gd name="connsiteY602" fmla="*/ 191847 h 1796087"/>
                <a:gd name="connsiteX603" fmla="*/ 2142283 w 2290556"/>
                <a:gd name="connsiteY603" fmla="*/ 194471 h 1796087"/>
                <a:gd name="connsiteX604" fmla="*/ 2138076 w 2290556"/>
                <a:gd name="connsiteY604" fmla="*/ 194605 h 1796087"/>
                <a:gd name="connsiteX605" fmla="*/ 2136898 w 2290556"/>
                <a:gd name="connsiteY605" fmla="*/ 191712 h 1796087"/>
                <a:gd name="connsiteX606" fmla="*/ 2132826 w 2290556"/>
                <a:gd name="connsiteY606" fmla="*/ 191712 h 1796087"/>
                <a:gd name="connsiteX607" fmla="*/ 2130369 w 2290556"/>
                <a:gd name="connsiteY607" fmla="*/ 190838 h 1796087"/>
                <a:gd name="connsiteX608" fmla="*/ 2123705 w 2290556"/>
                <a:gd name="connsiteY608" fmla="*/ 190131 h 1796087"/>
                <a:gd name="connsiteX609" fmla="*/ 2120239 w 2290556"/>
                <a:gd name="connsiteY609" fmla="*/ 189559 h 1796087"/>
                <a:gd name="connsiteX610" fmla="*/ 2116032 w 2290556"/>
                <a:gd name="connsiteY610" fmla="*/ 187104 h 1796087"/>
                <a:gd name="connsiteX611" fmla="*/ 2111825 w 2290556"/>
                <a:gd name="connsiteY611" fmla="*/ 183773 h 1796087"/>
                <a:gd name="connsiteX612" fmla="*/ 2108493 w 2290556"/>
                <a:gd name="connsiteY612" fmla="*/ 179871 h 1796087"/>
                <a:gd name="connsiteX613" fmla="*/ 2106171 w 2290556"/>
                <a:gd name="connsiteY613" fmla="*/ 180578 h 1796087"/>
                <a:gd name="connsiteX614" fmla="*/ 2106608 w 2290556"/>
                <a:gd name="connsiteY614" fmla="*/ 185085 h 1796087"/>
                <a:gd name="connsiteX615" fmla="*/ 2107349 w 2290556"/>
                <a:gd name="connsiteY615" fmla="*/ 188281 h 1796087"/>
                <a:gd name="connsiteX616" fmla="*/ 2102873 w 2290556"/>
                <a:gd name="connsiteY616" fmla="*/ 190165 h 1796087"/>
                <a:gd name="connsiteX617" fmla="*/ 2101560 w 2290556"/>
                <a:gd name="connsiteY617" fmla="*/ 193495 h 1796087"/>
                <a:gd name="connsiteX618" fmla="*/ 2098363 w 2290556"/>
                <a:gd name="connsiteY618" fmla="*/ 197263 h 1796087"/>
                <a:gd name="connsiteX619" fmla="*/ 2092844 w 2290556"/>
                <a:gd name="connsiteY619" fmla="*/ 200728 h 1796087"/>
                <a:gd name="connsiteX620" fmla="*/ 2091531 w 2290556"/>
                <a:gd name="connsiteY620" fmla="*/ 203486 h 1796087"/>
                <a:gd name="connsiteX621" fmla="*/ 2085002 w 2290556"/>
                <a:gd name="connsiteY621" fmla="*/ 209138 h 1796087"/>
                <a:gd name="connsiteX622" fmla="*/ 2082815 w 2290556"/>
                <a:gd name="connsiteY622" fmla="*/ 205673 h 1796087"/>
                <a:gd name="connsiteX623" fmla="*/ 2078473 w 2290556"/>
                <a:gd name="connsiteY623" fmla="*/ 201771 h 1796087"/>
                <a:gd name="connsiteX624" fmla="*/ 2074670 w 2290556"/>
                <a:gd name="connsiteY624" fmla="*/ 202141 h 1796087"/>
                <a:gd name="connsiteX625" fmla="*/ 2068579 w 2290556"/>
                <a:gd name="connsiteY625" fmla="*/ 204865 h 1796087"/>
                <a:gd name="connsiteX626" fmla="*/ 2068579 w 2290556"/>
                <a:gd name="connsiteY626" fmla="*/ 199988 h 1796087"/>
                <a:gd name="connsiteX627" fmla="*/ 2063026 w 2290556"/>
                <a:gd name="connsiteY627" fmla="*/ 200425 h 1796087"/>
                <a:gd name="connsiteX628" fmla="*/ 2063026 w 2290556"/>
                <a:gd name="connsiteY628" fmla="*/ 198575 h 1796087"/>
                <a:gd name="connsiteX629" fmla="*/ 2060300 w 2290556"/>
                <a:gd name="connsiteY629" fmla="*/ 195211 h 1796087"/>
                <a:gd name="connsiteX630" fmla="*/ 2059088 w 2290556"/>
                <a:gd name="connsiteY630" fmla="*/ 195211 h 1796087"/>
                <a:gd name="connsiteX631" fmla="*/ 2053232 w 2290556"/>
                <a:gd name="connsiteY631" fmla="*/ 194000 h 1796087"/>
                <a:gd name="connsiteX632" fmla="*/ 2052795 w 2290556"/>
                <a:gd name="connsiteY632" fmla="*/ 192385 h 1796087"/>
                <a:gd name="connsiteX633" fmla="*/ 2052795 w 2290556"/>
                <a:gd name="connsiteY633" fmla="*/ 186734 h 1796087"/>
                <a:gd name="connsiteX634" fmla="*/ 2053939 w 2290556"/>
                <a:gd name="connsiteY634" fmla="*/ 181755 h 1796087"/>
                <a:gd name="connsiteX635" fmla="*/ 2053468 w 2290556"/>
                <a:gd name="connsiteY635" fmla="*/ 171865 h 1796087"/>
                <a:gd name="connsiteX636" fmla="*/ 2050439 w 2290556"/>
                <a:gd name="connsiteY636" fmla="*/ 169376 h 1796087"/>
                <a:gd name="connsiteX637" fmla="*/ 2046098 w 2290556"/>
                <a:gd name="connsiteY637" fmla="*/ 163926 h 1796087"/>
                <a:gd name="connsiteX638" fmla="*/ 2046199 w 2290556"/>
                <a:gd name="connsiteY638" fmla="*/ 161302 h 1796087"/>
                <a:gd name="connsiteX639" fmla="*/ 2043708 w 2290556"/>
                <a:gd name="connsiteY639" fmla="*/ 159351 h 1796087"/>
                <a:gd name="connsiteX640" fmla="*/ 2040242 w 2290556"/>
                <a:gd name="connsiteY640" fmla="*/ 156424 h 1796087"/>
                <a:gd name="connsiteX641" fmla="*/ 2037852 w 2290556"/>
                <a:gd name="connsiteY641" fmla="*/ 153262 h 1796087"/>
                <a:gd name="connsiteX642" fmla="*/ 2037516 w 2290556"/>
                <a:gd name="connsiteY642" fmla="*/ 148822 h 1796087"/>
                <a:gd name="connsiteX643" fmla="*/ 2037852 w 2290556"/>
                <a:gd name="connsiteY643" fmla="*/ 146534 h 1796087"/>
                <a:gd name="connsiteX644" fmla="*/ 2036439 w 2290556"/>
                <a:gd name="connsiteY644" fmla="*/ 143507 h 1796087"/>
                <a:gd name="connsiteX645" fmla="*/ 2033612 w 2290556"/>
                <a:gd name="connsiteY645" fmla="*/ 140143 h 1796087"/>
                <a:gd name="connsiteX646" fmla="*/ 2031761 w 2290556"/>
                <a:gd name="connsiteY646" fmla="*/ 137317 h 1796087"/>
                <a:gd name="connsiteX647" fmla="*/ 2031424 w 2290556"/>
                <a:gd name="connsiteY647" fmla="*/ 133852 h 1796087"/>
                <a:gd name="connsiteX648" fmla="*/ 2030886 w 2290556"/>
                <a:gd name="connsiteY648" fmla="*/ 130589 h 1796087"/>
                <a:gd name="connsiteX649" fmla="*/ 2029910 w 2290556"/>
                <a:gd name="connsiteY649" fmla="*/ 127326 h 1796087"/>
                <a:gd name="connsiteX650" fmla="*/ 2028496 w 2290556"/>
                <a:gd name="connsiteY650" fmla="*/ 124837 h 1796087"/>
                <a:gd name="connsiteX651" fmla="*/ 2025568 w 2290556"/>
                <a:gd name="connsiteY651" fmla="*/ 120598 h 1796087"/>
                <a:gd name="connsiteX652" fmla="*/ 2024492 w 2290556"/>
                <a:gd name="connsiteY652" fmla="*/ 120060 h 1796087"/>
                <a:gd name="connsiteX653" fmla="*/ 2024256 w 2290556"/>
                <a:gd name="connsiteY653" fmla="*/ 116359 h 1796087"/>
                <a:gd name="connsiteX654" fmla="*/ 2025333 w 2290556"/>
                <a:gd name="connsiteY654" fmla="*/ 113096 h 1796087"/>
                <a:gd name="connsiteX655" fmla="*/ 2028799 w 2290556"/>
                <a:gd name="connsiteY655" fmla="*/ 111246 h 1796087"/>
                <a:gd name="connsiteX656" fmla="*/ 2030549 w 2290556"/>
                <a:gd name="connsiteY656" fmla="*/ 109396 h 1796087"/>
                <a:gd name="connsiteX657" fmla="*/ 2033814 w 2290556"/>
                <a:gd name="connsiteY657" fmla="*/ 107781 h 1796087"/>
                <a:gd name="connsiteX658" fmla="*/ 2034150 w 2290556"/>
                <a:gd name="connsiteY658" fmla="*/ 106705 h 1796087"/>
                <a:gd name="connsiteX659" fmla="*/ 2033376 w 2290556"/>
                <a:gd name="connsiteY659" fmla="*/ 105494 h 1796087"/>
                <a:gd name="connsiteX660" fmla="*/ 2030886 w 2290556"/>
                <a:gd name="connsiteY660" fmla="*/ 103980 h 1796087"/>
                <a:gd name="connsiteX661" fmla="*/ 2025467 w 2290556"/>
                <a:gd name="connsiteY661" fmla="*/ 102466 h 1796087"/>
                <a:gd name="connsiteX662" fmla="*/ 2021126 w 2290556"/>
                <a:gd name="connsiteY662" fmla="*/ 102264 h 1796087"/>
                <a:gd name="connsiteX663" fmla="*/ 2018837 w 2290556"/>
                <a:gd name="connsiteY663" fmla="*/ 101928 h 1796087"/>
                <a:gd name="connsiteX664" fmla="*/ 2017087 w 2290556"/>
                <a:gd name="connsiteY664" fmla="*/ 104216 h 1796087"/>
                <a:gd name="connsiteX665" fmla="*/ 2012847 w 2290556"/>
                <a:gd name="connsiteY665" fmla="*/ 106268 h 1796087"/>
                <a:gd name="connsiteX666" fmla="*/ 2009919 w 2290556"/>
                <a:gd name="connsiteY666" fmla="*/ 105729 h 1796087"/>
                <a:gd name="connsiteX667" fmla="*/ 2007530 w 2290556"/>
                <a:gd name="connsiteY667" fmla="*/ 105830 h 1796087"/>
                <a:gd name="connsiteX668" fmla="*/ 2005578 w 2290556"/>
                <a:gd name="connsiteY668" fmla="*/ 103879 h 1796087"/>
                <a:gd name="connsiteX669" fmla="*/ 2005477 w 2290556"/>
                <a:gd name="connsiteY669" fmla="*/ 102029 h 1796087"/>
                <a:gd name="connsiteX670" fmla="*/ 2004703 w 2290556"/>
                <a:gd name="connsiteY670" fmla="*/ 99977 h 1796087"/>
                <a:gd name="connsiteX671" fmla="*/ 2003727 w 2290556"/>
                <a:gd name="connsiteY671" fmla="*/ 98665 h 1796087"/>
                <a:gd name="connsiteX672" fmla="*/ 2002515 w 2290556"/>
                <a:gd name="connsiteY672" fmla="*/ 96378 h 1796087"/>
                <a:gd name="connsiteX673" fmla="*/ 2001539 w 2290556"/>
                <a:gd name="connsiteY673" fmla="*/ 95167 h 1796087"/>
                <a:gd name="connsiteX674" fmla="*/ 1999486 w 2290556"/>
                <a:gd name="connsiteY674" fmla="*/ 92677 h 1796087"/>
                <a:gd name="connsiteX675" fmla="*/ 1998409 w 2290556"/>
                <a:gd name="connsiteY675" fmla="*/ 90491 h 1796087"/>
                <a:gd name="connsiteX676" fmla="*/ 1997298 w 2290556"/>
                <a:gd name="connsiteY676" fmla="*/ 88203 h 1796087"/>
                <a:gd name="connsiteX677" fmla="*/ 1995683 w 2290556"/>
                <a:gd name="connsiteY677" fmla="*/ 87026 h 1796087"/>
                <a:gd name="connsiteX678" fmla="*/ 1992957 w 2290556"/>
                <a:gd name="connsiteY678" fmla="*/ 86252 h 1796087"/>
                <a:gd name="connsiteX679" fmla="*/ 1990231 w 2290556"/>
                <a:gd name="connsiteY679" fmla="*/ 84301 h 1796087"/>
                <a:gd name="connsiteX680" fmla="*/ 1987842 w 2290556"/>
                <a:gd name="connsiteY680" fmla="*/ 82114 h 1796087"/>
                <a:gd name="connsiteX681" fmla="*/ 1986764 w 2290556"/>
                <a:gd name="connsiteY681" fmla="*/ 81576 h 1796087"/>
                <a:gd name="connsiteX682" fmla="*/ 1984712 w 2290556"/>
                <a:gd name="connsiteY682" fmla="*/ 81913 h 1796087"/>
                <a:gd name="connsiteX683" fmla="*/ 1983399 w 2290556"/>
                <a:gd name="connsiteY683" fmla="*/ 85176 h 1796087"/>
                <a:gd name="connsiteX684" fmla="*/ 1982423 w 2290556"/>
                <a:gd name="connsiteY684" fmla="*/ 88001 h 1796087"/>
                <a:gd name="connsiteX685" fmla="*/ 1981010 w 2290556"/>
                <a:gd name="connsiteY685" fmla="*/ 90726 h 1796087"/>
                <a:gd name="connsiteX686" fmla="*/ 1980370 w 2290556"/>
                <a:gd name="connsiteY686" fmla="*/ 92240 h 1796087"/>
                <a:gd name="connsiteX687" fmla="*/ 1979394 w 2290556"/>
                <a:gd name="connsiteY687" fmla="*/ 95839 h 1796087"/>
                <a:gd name="connsiteX688" fmla="*/ 1978317 w 2290556"/>
                <a:gd name="connsiteY688" fmla="*/ 98564 h 1796087"/>
                <a:gd name="connsiteX689" fmla="*/ 1976904 w 2290556"/>
                <a:gd name="connsiteY689" fmla="*/ 99775 h 1796087"/>
                <a:gd name="connsiteX690" fmla="*/ 1974851 w 2290556"/>
                <a:gd name="connsiteY690" fmla="*/ 100212 h 1796087"/>
                <a:gd name="connsiteX691" fmla="*/ 1972798 w 2290556"/>
                <a:gd name="connsiteY691" fmla="*/ 101188 h 1796087"/>
                <a:gd name="connsiteX692" fmla="*/ 1975188 w 2290556"/>
                <a:gd name="connsiteY692" fmla="*/ 105528 h 1796087"/>
                <a:gd name="connsiteX693" fmla="*/ 1974312 w 2290556"/>
                <a:gd name="connsiteY693" fmla="*/ 107142 h 1796087"/>
                <a:gd name="connsiteX694" fmla="*/ 1971586 w 2290556"/>
                <a:gd name="connsiteY694" fmla="*/ 109093 h 1796087"/>
                <a:gd name="connsiteX695" fmla="*/ 1970173 w 2290556"/>
                <a:gd name="connsiteY695" fmla="*/ 109732 h 1796087"/>
                <a:gd name="connsiteX696" fmla="*/ 1967009 w 2290556"/>
                <a:gd name="connsiteY696" fmla="*/ 110069 h 1796087"/>
                <a:gd name="connsiteX697" fmla="*/ 1964519 w 2290556"/>
                <a:gd name="connsiteY697" fmla="*/ 110405 h 1796087"/>
                <a:gd name="connsiteX698" fmla="*/ 1961927 w 2290556"/>
                <a:gd name="connsiteY698" fmla="*/ 109329 h 1796087"/>
                <a:gd name="connsiteX699" fmla="*/ 1960077 w 2290556"/>
                <a:gd name="connsiteY699" fmla="*/ 107479 h 1796087"/>
                <a:gd name="connsiteX700" fmla="*/ 1958225 w 2290556"/>
                <a:gd name="connsiteY700" fmla="*/ 106268 h 1796087"/>
                <a:gd name="connsiteX701" fmla="*/ 1956173 w 2290556"/>
                <a:gd name="connsiteY701" fmla="*/ 103442 h 1796087"/>
                <a:gd name="connsiteX702" fmla="*/ 1955399 w 2290556"/>
                <a:gd name="connsiteY702" fmla="*/ 101356 h 1796087"/>
                <a:gd name="connsiteX703" fmla="*/ 1955298 w 2290556"/>
                <a:gd name="connsiteY703" fmla="*/ 98631 h 1796087"/>
                <a:gd name="connsiteX704" fmla="*/ 1954860 w 2290556"/>
                <a:gd name="connsiteY704" fmla="*/ 95267 h 1796087"/>
                <a:gd name="connsiteX705" fmla="*/ 1951932 w 2290556"/>
                <a:gd name="connsiteY705" fmla="*/ 93653 h 1796087"/>
                <a:gd name="connsiteX706" fmla="*/ 1947590 w 2290556"/>
                <a:gd name="connsiteY706" fmla="*/ 93888 h 1796087"/>
                <a:gd name="connsiteX707" fmla="*/ 1944225 w 2290556"/>
                <a:gd name="connsiteY707" fmla="*/ 94763 h 1796087"/>
                <a:gd name="connsiteX708" fmla="*/ 1942475 w 2290556"/>
                <a:gd name="connsiteY708" fmla="*/ 96075 h 1796087"/>
                <a:gd name="connsiteX709" fmla="*/ 1936720 w 2290556"/>
                <a:gd name="connsiteY709" fmla="*/ 96613 h 1796087"/>
                <a:gd name="connsiteX710" fmla="*/ 1932379 w 2290556"/>
                <a:gd name="connsiteY710" fmla="*/ 93350 h 1796087"/>
                <a:gd name="connsiteX711" fmla="*/ 1930528 w 2290556"/>
                <a:gd name="connsiteY711" fmla="*/ 92576 h 1796087"/>
                <a:gd name="connsiteX712" fmla="*/ 1929014 w 2290556"/>
                <a:gd name="connsiteY712" fmla="*/ 90188 h 1796087"/>
                <a:gd name="connsiteX713" fmla="*/ 1926086 w 2290556"/>
                <a:gd name="connsiteY713" fmla="*/ 87362 h 1796087"/>
                <a:gd name="connsiteX714" fmla="*/ 1922956 w 2290556"/>
                <a:gd name="connsiteY714" fmla="*/ 87564 h 1796087"/>
                <a:gd name="connsiteX715" fmla="*/ 1920667 w 2290556"/>
                <a:gd name="connsiteY715" fmla="*/ 88001 h 1796087"/>
                <a:gd name="connsiteX716" fmla="*/ 1915248 w 2290556"/>
                <a:gd name="connsiteY716" fmla="*/ 90053 h 1796087"/>
                <a:gd name="connsiteX717" fmla="*/ 1914037 w 2290556"/>
                <a:gd name="connsiteY717" fmla="*/ 89280 h 1796087"/>
                <a:gd name="connsiteX718" fmla="*/ 1915248 w 2290556"/>
                <a:gd name="connsiteY718" fmla="*/ 83527 h 1796087"/>
                <a:gd name="connsiteX719" fmla="*/ 1915248 w 2290556"/>
                <a:gd name="connsiteY719" fmla="*/ 82114 h 1796087"/>
                <a:gd name="connsiteX720" fmla="*/ 1918614 w 2290556"/>
                <a:gd name="connsiteY720" fmla="*/ 80601 h 1796087"/>
                <a:gd name="connsiteX721" fmla="*/ 1921004 w 2290556"/>
                <a:gd name="connsiteY721" fmla="*/ 79087 h 1796087"/>
                <a:gd name="connsiteX722" fmla="*/ 1924605 w 2290556"/>
                <a:gd name="connsiteY722" fmla="*/ 74848 h 1796087"/>
                <a:gd name="connsiteX723" fmla="*/ 1925244 w 2290556"/>
                <a:gd name="connsiteY723" fmla="*/ 73772 h 1796087"/>
                <a:gd name="connsiteX724" fmla="*/ 1924605 w 2290556"/>
                <a:gd name="connsiteY724" fmla="*/ 72022 h 1796087"/>
                <a:gd name="connsiteX725" fmla="*/ 1922417 w 2290556"/>
                <a:gd name="connsiteY725" fmla="*/ 70946 h 1796087"/>
                <a:gd name="connsiteX726" fmla="*/ 1923932 w 2290556"/>
                <a:gd name="connsiteY726" fmla="*/ 68356 h 1796087"/>
                <a:gd name="connsiteX727" fmla="*/ 1928374 w 2290556"/>
                <a:gd name="connsiteY727" fmla="*/ 66741 h 1796087"/>
                <a:gd name="connsiteX728" fmla="*/ 1932379 w 2290556"/>
                <a:gd name="connsiteY728" fmla="*/ 63713 h 1796087"/>
                <a:gd name="connsiteX729" fmla="*/ 1933893 w 2290556"/>
                <a:gd name="connsiteY729" fmla="*/ 61661 h 1796087"/>
                <a:gd name="connsiteX730" fmla="*/ 1934970 w 2290556"/>
                <a:gd name="connsiteY730" fmla="*/ 59071 h 1796087"/>
                <a:gd name="connsiteX731" fmla="*/ 1938235 w 2290556"/>
                <a:gd name="connsiteY731" fmla="*/ 56447 h 1796087"/>
                <a:gd name="connsiteX732" fmla="*/ 1939648 w 2290556"/>
                <a:gd name="connsiteY732" fmla="*/ 53823 h 1796087"/>
                <a:gd name="connsiteX733" fmla="*/ 1940826 w 2290556"/>
                <a:gd name="connsiteY733" fmla="*/ 51536 h 1796087"/>
                <a:gd name="connsiteX734" fmla="*/ 1942004 w 2290556"/>
                <a:gd name="connsiteY734" fmla="*/ 48508 h 1796087"/>
                <a:gd name="connsiteX735" fmla="*/ 1942341 w 2290556"/>
                <a:gd name="connsiteY735" fmla="*/ 45245 h 1796087"/>
                <a:gd name="connsiteX736" fmla="*/ 1941466 w 2290556"/>
                <a:gd name="connsiteY736" fmla="*/ 43765 h 1796087"/>
                <a:gd name="connsiteX737" fmla="*/ 1940725 w 2290556"/>
                <a:gd name="connsiteY737" fmla="*/ 38887 h 1796087"/>
                <a:gd name="connsiteX738" fmla="*/ 1942576 w 2290556"/>
                <a:gd name="connsiteY738" fmla="*/ 37273 h 1796087"/>
                <a:gd name="connsiteX739" fmla="*/ 1944326 w 2290556"/>
                <a:gd name="connsiteY739" fmla="*/ 36398 h 1796087"/>
                <a:gd name="connsiteX740" fmla="*/ 1948331 w 2290556"/>
                <a:gd name="connsiteY740" fmla="*/ 34649 h 1796087"/>
                <a:gd name="connsiteX741" fmla="*/ 1951596 w 2290556"/>
                <a:gd name="connsiteY741" fmla="*/ 32260 h 1796087"/>
                <a:gd name="connsiteX742" fmla="*/ 1951898 w 2290556"/>
                <a:gd name="connsiteY742" fmla="*/ 30074 h 1796087"/>
                <a:gd name="connsiteX743" fmla="*/ 1950048 w 2290556"/>
                <a:gd name="connsiteY743" fmla="*/ 27585 h 1796087"/>
                <a:gd name="connsiteX744" fmla="*/ 1949173 w 2290556"/>
                <a:gd name="connsiteY744" fmla="*/ 25633 h 1796087"/>
                <a:gd name="connsiteX745" fmla="*/ 1945370 w 2290556"/>
                <a:gd name="connsiteY745" fmla="*/ 21832 h 1796087"/>
                <a:gd name="connsiteX746" fmla="*/ 1940793 w 2290556"/>
                <a:gd name="connsiteY746" fmla="*/ 18031 h 1796087"/>
                <a:gd name="connsiteX747" fmla="*/ 1937090 w 2290556"/>
                <a:gd name="connsiteY747" fmla="*/ 13052 h 1796087"/>
                <a:gd name="connsiteX748" fmla="*/ 1931335 w 2290556"/>
                <a:gd name="connsiteY748" fmla="*/ 8376 h 1796087"/>
                <a:gd name="connsiteX749" fmla="*/ 1927634 w 2290556"/>
                <a:gd name="connsiteY749" fmla="*/ 4373 h 1796087"/>
                <a:gd name="connsiteX750" fmla="*/ 1927634 w 2290556"/>
                <a:gd name="connsiteY750" fmla="*/ 34 h 1796087"/>
                <a:gd name="connsiteX751" fmla="*/ 1926759 w 2290556"/>
                <a:gd name="connsiteY751" fmla="*/ 0 h 1796087"/>
                <a:gd name="connsiteX752" fmla="*/ 1925008 w 2290556"/>
                <a:gd name="connsiteY752" fmla="*/ 0 h 1796087"/>
                <a:gd name="connsiteX753" fmla="*/ 1921979 w 2290556"/>
                <a:gd name="connsiteY753" fmla="*/ 0 h 1796087"/>
                <a:gd name="connsiteX754" fmla="*/ 1918210 w 2290556"/>
                <a:gd name="connsiteY754" fmla="*/ 706 h 1796087"/>
                <a:gd name="connsiteX755" fmla="*/ 1912859 w 2290556"/>
                <a:gd name="connsiteY755" fmla="*/ 1716 h 1796087"/>
                <a:gd name="connsiteX756" fmla="*/ 1910537 w 2290556"/>
                <a:gd name="connsiteY756" fmla="*/ 1716 h 1796087"/>
                <a:gd name="connsiteX757" fmla="*/ 1907643 w 2290556"/>
                <a:gd name="connsiteY757" fmla="*/ 1716 h 1796087"/>
                <a:gd name="connsiteX758" fmla="*/ 1905758 w 2290556"/>
                <a:gd name="connsiteY758" fmla="*/ 1716 h 1796087"/>
                <a:gd name="connsiteX759" fmla="*/ 1903133 w 2290556"/>
                <a:gd name="connsiteY759" fmla="*/ 3364 h 1796087"/>
                <a:gd name="connsiteX760" fmla="*/ 1898791 w 2290556"/>
                <a:gd name="connsiteY760" fmla="*/ 6930 h 1796087"/>
                <a:gd name="connsiteX761" fmla="*/ 1897479 w 2290556"/>
                <a:gd name="connsiteY761" fmla="*/ 9385 h 1796087"/>
                <a:gd name="connsiteX762" fmla="*/ 1893710 w 2290556"/>
                <a:gd name="connsiteY762" fmla="*/ 10395 h 1796087"/>
                <a:gd name="connsiteX763" fmla="*/ 1874594 w 2290556"/>
                <a:gd name="connsiteY763" fmla="*/ 10395 h 1796087"/>
                <a:gd name="connsiteX764" fmla="*/ 1872002 w 2290556"/>
                <a:gd name="connsiteY764" fmla="*/ 10395 h 1796087"/>
                <a:gd name="connsiteX765" fmla="*/ 1870252 w 2290556"/>
                <a:gd name="connsiteY765" fmla="*/ 11471 h 1796087"/>
                <a:gd name="connsiteX766" fmla="*/ 1868502 w 2290556"/>
                <a:gd name="connsiteY766" fmla="*/ 12850 h 1796087"/>
                <a:gd name="connsiteX767" fmla="*/ 1864733 w 2290556"/>
                <a:gd name="connsiteY767" fmla="*/ 14734 h 1796087"/>
                <a:gd name="connsiteX768" fmla="*/ 1862276 w 2290556"/>
                <a:gd name="connsiteY768" fmla="*/ 16315 h 1796087"/>
                <a:gd name="connsiteX769" fmla="*/ 1861570 w 2290556"/>
                <a:gd name="connsiteY769" fmla="*/ 17190 h 1796087"/>
                <a:gd name="connsiteX770" fmla="*/ 1860425 w 2290556"/>
                <a:gd name="connsiteY770" fmla="*/ 20083 h 1796087"/>
                <a:gd name="connsiteX771" fmla="*/ 1860291 w 2290556"/>
                <a:gd name="connsiteY771" fmla="*/ 22101 h 1796087"/>
                <a:gd name="connsiteX772" fmla="*/ 1859853 w 2290556"/>
                <a:gd name="connsiteY772" fmla="*/ 23985 h 1796087"/>
                <a:gd name="connsiteX773" fmla="*/ 1859281 w 2290556"/>
                <a:gd name="connsiteY773" fmla="*/ 25734 h 1796087"/>
                <a:gd name="connsiteX774" fmla="*/ 1858541 w 2290556"/>
                <a:gd name="connsiteY774" fmla="*/ 27484 h 1796087"/>
                <a:gd name="connsiteX775" fmla="*/ 1857396 w 2290556"/>
                <a:gd name="connsiteY775" fmla="*/ 29065 h 1796087"/>
                <a:gd name="connsiteX776" fmla="*/ 1855646 w 2290556"/>
                <a:gd name="connsiteY776" fmla="*/ 31958 h 1796087"/>
                <a:gd name="connsiteX777" fmla="*/ 1854199 w 2290556"/>
                <a:gd name="connsiteY777" fmla="*/ 34582 h 1796087"/>
                <a:gd name="connsiteX778" fmla="*/ 1852315 w 2290556"/>
                <a:gd name="connsiteY778" fmla="*/ 36903 h 1796087"/>
                <a:gd name="connsiteX779" fmla="*/ 1851002 w 2290556"/>
                <a:gd name="connsiteY779" fmla="*/ 38786 h 1796087"/>
                <a:gd name="connsiteX780" fmla="*/ 1849420 w 2290556"/>
                <a:gd name="connsiteY780" fmla="*/ 39796 h 1796087"/>
                <a:gd name="connsiteX781" fmla="*/ 1847839 w 2290556"/>
                <a:gd name="connsiteY781" fmla="*/ 41545 h 1796087"/>
                <a:gd name="connsiteX782" fmla="*/ 1845954 w 2290556"/>
                <a:gd name="connsiteY782" fmla="*/ 43732 h 1796087"/>
                <a:gd name="connsiteX783" fmla="*/ 1843497 w 2290556"/>
                <a:gd name="connsiteY783" fmla="*/ 44741 h 1796087"/>
                <a:gd name="connsiteX784" fmla="*/ 1841747 w 2290556"/>
                <a:gd name="connsiteY784" fmla="*/ 45481 h 1796087"/>
                <a:gd name="connsiteX785" fmla="*/ 1838853 w 2290556"/>
                <a:gd name="connsiteY785" fmla="*/ 48105 h 1796087"/>
                <a:gd name="connsiteX786" fmla="*/ 1837540 w 2290556"/>
                <a:gd name="connsiteY786" fmla="*/ 49114 h 1796087"/>
                <a:gd name="connsiteX787" fmla="*/ 1835790 w 2290556"/>
                <a:gd name="connsiteY787" fmla="*/ 50426 h 1796087"/>
                <a:gd name="connsiteX788" fmla="*/ 1835487 w 2290556"/>
                <a:gd name="connsiteY788" fmla="*/ 51300 h 1796087"/>
                <a:gd name="connsiteX789" fmla="*/ 1835487 w 2290556"/>
                <a:gd name="connsiteY789" fmla="*/ 53184 h 1796087"/>
                <a:gd name="connsiteX790" fmla="*/ 1835622 w 2290556"/>
                <a:gd name="connsiteY790" fmla="*/ 55943 h 1796087"/>
                <a:gd name="connsiteX791" fmla="*/ 1833737 w 2290556"/>
                <a:gd name="connsiteY791" fmla="*/ 58701 h 1796087"/>
                <a:gd name="connsiteX792" fmla="*/ 1833434 w 2290556"/>
                <a:gd name="connsiteY792" fmla="*/ 61460 h 1796087"/>
                <a:gd name="connsiteX793" fmla="*/ 1831684 w 2290556"/>
                <a:gd name="connsiteY793" fmla="*/ 63915 h 1796087"/>
                <a:gd name="connsiteX794" fmla="*/ 1829799 w 2290556"/>
                <a:gd name="connsiteY794" fmla="*/ 65227 h 1796087"/>
                <a:gd name="connsiteX795" fmla="*/ 1827612 w 2290556"/>
                <a:gd name="connsiteY795" fmla="*/ 67246 h 1796087"/>
                <a:gd name="connsiteX796" fmla="*/ 1822396 w 2290556"/>
                <a:gd name="connsiteY796" fmla="*/ 67818 h 1796087"/>
                <a:gd name="connsiteX797" fmla="*/ 1819804 w 2290556"/>
                <a:gd name="connsiteY797" fmla="*/ 67818 h 1796087"/>
                <a:gd name="connsiteX798" fmla="*/ 1817920 w 2290556"/>
                <a:gd name="connsiteY798" fmla="*/ 69129 h 1796087"/>
                <a:gd name="connsiteX799" fmla="*/ 1815463 w 2290556"/>
                <a:gd name="connsiteY799" fmla="*/ 71316 h 1796087"/>
                <a:gd name="connsiteX800" fmla="*/ 1815025 w 2290556"/>
                <a:gd name="connsiteY800" fmla="*/ 71316 h 1796087"/>
                <a:gd name="connsiteX801" fmla="*/ 1814016 w 2290556"/>
                <a:gd name="connsiteY801" fmla="*/ 72527 h 1796087"/>
                <a:gd name="connsiteX802" fmla="*/ 1814588 w 2290556"/>
                <a:gd name="connsiteY802" fmla="*/ 75656 h 1796087"/>
                <a:gd name="connsiteX803" fmla="*/ 1814588 w 2290556"/>
                <a:gd name="connsiteY803" fmla="*/ 77102 h 1796087"/>
                <a:gd name="connsiteX804" fmla="*/ 1814285 w 2290556"/>
                <a:gd name="connsiteY804" fmla="*/ 78111 h 1796087"/>
                <a:gd name="connsiteX805" fmla="*/ 1813275 w 2290556"/>
                <a:gd name="connsiteY805" fmla="*/ 81576 h 1796087"/>
                <a:gd name="connsiteX806" fmla="*/ 1812838 w 2290556"/>
                <a:gd name="connsiteY806" fmla="*/ 86050 h 1796087"/>
                <a:gd name="connsiteX807" fmla="*/ 1812838 w 2290556"/>
                <a:gd name="connsiteY807" fmla="*/ 88371 h 1796087"/>
                <a:gd name="connsiteX808" fmla="*/ 1813343 w 2290556"/>
                <a:gd name="connsiteY808" fmla="*/ 90827 h 1796087"/>
                <a:gd name="connsiteX809" fmla="*/ 1813982 w 2290556"/>
                <a:gd name="connsiteY809" fmla="*/ 92845 h 1796087"/>
                <a:gd name="connsiteX810" fmla="*/ 1814857 w 2290556"/>
                <a:gd name="connsiteY810" fmla="*/ 94426 h 1796087"/>
                <a:gd name="connsiteX811" fmla="*/ 1815732 w 2290556"/>
                <a:gd name="connsiteY811" fmla="*/ 95301 h 1796087"/>
                <a:gd name="connsiteX812" fmla="*/ 1817482 w 2290556"/>
                <a:gd name="connsiteY812" fmla="*/ 95604 h 1796087"/>
                <a:gd name="connsiteX813" fmla="*/ 1821117 w 2290556"/>
                <a:gd name="connsiteY813" fmla="*/ 96344 h 1796087"/>
                <a:gd name="connsiteX814" fmla="*/ 1823708 w 2290556"/>
                <a:gd name="connsiteY814" fmla="*/ 96209 h 1796087"/>
                <a:gd name="connsiteX815" fmla="*/ 1825896 w 2290556"/>
                <a:gd name="connsiteY815" fmla="*/ 95469 h 1796087"/>
                <a:gd name="connsiteX816" fmla="*/ 1827477 w 2290556"/>
                <a:gd name="connsiteY816" fmla="*/ 94595 h 1796087"/>
                <a:gd name="connsiteX817" fmla="*/ 1829665 w 2290556"/>
                <a:gd name="connsiteY817" fmla="*/ 93148 h 1796087"/>
                <a:gd name="connsiteX818" fmla="*/ 1831247 w 2290556"/>
                <a:gd name="connsiteY818" fmla="*/ 90692 h 1796087"/>
                <a:gd name="connsiteX819" fmla="*/ 1833132 w 2290556"/>
                <a:gd name="connsiteY819" fmla="*/ 88237 h 1796087"/>
                <a:gd name="connsiteX820" fmla="*/ 1836766 w 2290556"/>
                <a:gd name="connsiteY820" fmla="*/ 86555 h 1796087"/>
                <a:gd name="connsiteX821" fmla="*/ 1839526 w 2290556"/>
                <a:gd name="connsiteY821" fmla="*/ 86723 h 1796087"/>
                <a:gd name="connsiteX822" fmla="*/ 1843295 w 2290556"/>
                <a:gd name="connsiteY822" fmla="*/ 86790 h 1796087"/>
                <a:gd name="connsiteX823" fmla="*/ 1846627 w 2290556"/>
                <a:gd name="connsiteY823" fmla="*/ 86790 h 1796087"/>
                <a:gd name="connsiteX824" fmla="*/ 1849656 w 2290556"/>
                <a:gd name="connsiteY824" fmla="*/ 87665 h 1796087"/>
                <a:gd name="connsiteX825" fmla="*/ 1852685 w 2290556"/>
                <a:gd name="connsiteY825" fmla="*/ 89111 h 1796087"/>
                <a:gd name="connsiteX826" fmla="*/ 1855007 w 2290556"/>
                <a:gd name="connsiteY826" fmla="*/ 90255 h 1796087"/>
                <a:gd name="connsiteX827" fmla="*/ 1858069 w 2290556"/>
                <a:gd name="connsiteY827" fmla="*/ 92274 h 1796087"/>
                <a:gd name="connsiteX828" fmla="*/ 1858776 w 2290556"/>
                <a:gd name="connsiteY828" fmla="*/ 93148 h 1796087"/>
                <a:gd name="connsiteX829" fmla="*/ 1859786 w 2290556"/>
                <a:gd name="connsiteY829" fmla="*/ 94595 h 1796087"/>
                <a:gd name="connsiteX830" fmla="*/ 1861098 w 2290556"/>
                <a:gd name="connsiteY830" fmla="*/ 96344 h 1796087"/>
                <a:gd name="connsiteX831" fmla="*/ 1863252 w 2290556"/>
                <a:gd name="connsiteY831" fmla="*/ 99977 h 1796087"/>
                <a:gd name="connsiteX832" fmla="*/ 1863252 w 2290556"/>
                <a:gd name="connsiteY832" fmla="*/ 102433 h 1796087"/>
                <a:gd name="connsiteX833" fmla="*/ 1861872 w 2290556"/>
                <a:gd name="connsiteY833" fmla="*/ 104754 h 1796087"/>
                <a:gd name="connsiteX834" fmla="*/ 1860358 w 2290556"/>
                <a:gd name="connsiteY834" fmla="*/ 106940 h 1796087"/>
                <a:gd name="connsiteX835" fmla="*/ 1859921 w 2290556"/>
                <a:gd name="connsiteY835" fmla="*/ 109564 h 1796087"/>
                <a:gd name="connsiteX836" fmla="*/ 1859786 w 2290556"/>
                <a:gd name="connsiteY836" fmla="*/ 112188 h 1796087"/>
                <a:gd name="connsiteX837" fmla="*/ 1859786 w 2290556"/>
                <a:gd name="connsiteY837" fmla="*/ 115081 h 1796087"/>
                <a:gd name="connsiteX838" fmla="*/ 1862175 w 2290556"/>
                <a:gd name="connsiteY838" fmla="*/ 117402 h 1796087"/>
                <a:gd name="connsiteX839" fmla="*/ 1865574 w 2290556"/>
                <a:gd name="connsiteY839" fmla="*/ 119152 h 1796087"/>
                <a:gd name="connsiteX840" fmla="*/ 1867324 w 2290556"/>
                <a:gd name="connsiteY840" fmla="*/ 120901 h 1796087"/>
                <a:gd name="connsiteX841" fmla="*/ 1870084 w 2290556"/>
                <a:gd name="connsiteY841" fmla="*/ 122045 h 1796087"/>
                <a:gd name="connsiteX842" fmla="*/ 1872104 w 2290556"/>
                <a:gd name="connsiteY842" fmla="*/ 123491 h 1796087"/>
                <a:gd name="connsiteX843" fmla="*/ 1874291 w 2290556"/>
                <a:gd name="connsiteY843" fmla="*/ 124938 h 1796087"/>
                <a:gd name="connsiteX844" fmla="*/ 1875435 w 2290556"/>
                <a:gd name="connsiteY844" fmla="*/ 129580 h 1796087"/>
                <a:gd name="connsiteX845" fmla="*/ 1875435 w 2290556"/>
                <a:gd name="connsiteY845" fmla="*/ 135231 h 1796087"/>
                <a:gd name="connsiteX846" fmla="*/ 1874224 w 2290556"/>
                <a:gd name="connsiteY846" fmla="*/ 141017 h 1796087"/>
                <a:gd name="connsiteX847" fmla="*/ 1872709 w 2290556"/>
                <a:gd name="connsiteY847" fmla="*/ 146803 h 1796087"/>
                <a:gd name="connsiteX848" fmla="*/ 1869377 w 2290556"/>
                <a:gd name="connsiteY848" fmla="*/ 152589 h 1796087"/>
                <a:gd name="connsiteX849" fmla="*/ 1862714 w 2290556"/>
                <a:gd name="connsiteY849" fmla="*/ 159553 h 1796087"/>
                <a:gd name="connsiteX850" fmla="*/ 1854738 w 2290556"/>
                <a:gd name="connsiteY850" fmla="*/ 165507 h 1796087"/>
                <a:gd name="connsiteX851" fmla="*/ 1848781 w 2290556"/>
                <a:gd name="connsiteY851" fmla="*/ 170418 h 1796087"/>
                <a:gd name="connsiteX852" fmla="*/ 1840233 w 2290556"/>
                <a:gd name="connsiteY852" fmla="*/ 177382 h 1796087"/>
                <a:gd name="connsiteX853" fmla="*/ 1833838 w 2290556"/>
                <a:gd name="connsiteY853" fmla="*/ 183033 h 1796087"/>
                <a:gd name="connsiteX854" fmla="*/ 1829766 w 2290556"/>
                <a:gd name="connsiteY854" fmla="*/ 191578 h 1796087"/>
                <a:gd name="connsiteX855" fmla="*/ 1825425 w 2290556"/>
                <a:gd name="connsiteY855" fmla="*/ 198978 h 1796087"/>
                <a:gd name="connsiteX856" fmla="*/ 1823977 w 2290556"/>
                <a:gd name="connsiteY856" fmla="*/ 206951 h 1796087"/>
                <a:gd name="connsiteX857" fmla="*/ 1823102 w 2290556"/>
                <a:gd name="connsiteY857" fmla="*/ 218254 h 1796087"/>
                <a:gd name="connsiteX858" fmla="*/ 1821521 w 2290556"/>
                <a:gd name="connsiteY858" fmla="*/ 226058 h 1796087"/>
                <a:gd name="connsiteX859" fmla="*/ 1817448 w 2290556"/>
                <a:gd name="connsiteY859" fmla="*/ 233459 h 1796087"/>
                <a:gd name="connsiteX860" fmla="*/ 1812098 w 2290556"/>
                <a:gd name="connsiteY860" fmla="*/ 242575 h 1796087"/>
                <a:gd name="connsiteX861" fmla="*/ 1810953 w 2290556"/>
                <a:gd name="connsiteY861" fmla="*/ 248799 h 1796087"/>
                <a:gd name="connsiteX862" fmla="*/ 1804727 w 2290556"/>
                <a:gd name="connsiteY862" fmla="*/ 261851 h 1796087"/>
                <a:gd name="connsiteX863" fmla="*/ 1798400 w 2290556"/>
                <a:gd name="connsiteY863" fmla="*/ 274096 h 1796087"/>
                <a:gd name="connsiteX864" fmla="*/ 1795640 w 2290556"/>
                <a:gd name="connsiteY864" fmla="*/ 279680 h 1796087"/>
                <a:gd name="connsiteX865" fmla="*/ 1793688 w 2290556"/>
                <a:gd name="connsiteY865" fmla="*/ 282708 h 1796087"/>
                <a:gd name="connsiteX866" fmla="*/ 1790929 w 2290556"/>
                <a:gd name="connsiteY866" fmla="*/ 287282 h 1796087"/>
                <a:gd name="connsiteX867" fmla="*/ 1789919 w 2290556"/>
                <a:gd name="connsiteY867" fmla="*/ 292295 h 1796087"/>
                <a:gd name="connsiteX868" fmla="*/ 1789414 w 2290556"/>
                <a:gd name="connsiteY868" fmla="*/ 298081 h 1796087"/>
                <a:gd name="connsiteX869" fmla="*/ 1785342 w 2290556"/>
                <a:gd name="connsiteY869" fmla="*/ 306423 h 1796087"/>
                <a:gd name="connsiteX870" fmla="*/ 1783020 w 2290556"/>
                <a:gd name="connsiteY870" fmla="*/ 310763 h 1796087"/>
                <a:gd name="connsiteX871" fmla="*/ 1782650 w 2290556"/>
                <a:gd name="connsiteY871" fmla="*/ 311638 h 1796087"/>
                <a:gd name="connsiteX872" fmla="*/ 1781573 w 2290556"/>
                <a:gd name="connsiteY872" fmla="*/ 313589 h 1796087"/>
                <a:gd name="connsiteX873" fmla="*/ 1780765 w 2290556"/>
                <a:gd name="connsiteY873" fmla="*/ 315540 h 1796087"/>
                <a:gd name="connsiteX874" fmla="*/ 1780496 w 2290556"/>
                <a:gd name="connsiteY874" fmla="*/ 317625 h 1796087"/>
                <a:gd name="connsiteX875" fmla="*/ 1779755 w 2290556"/>
                <a:gd name="connsiteY875" fmla="*/ 319072 h 1796087"/>
                <a:gd name="connsiteX876" fmla="*/ 1779755 w 2290556"/>
                <a:gd name="connsiteY876" fmla="*/ 321326 h 1796087"/>
                <a:gd name="connsiteX877" fmla="*/ 1779755 w 2290556"/>
                <a:gd name="connsiteY877" fmla="*/ 323210 h 1796087"/>
                <a:gd name="connsiteX878" fmla="*/ 1779755 w 2290556"/>
                <a:gd name="connsiteY878" fmla="*/ 324959 h 1796087"/>
                <a:gd name="connsiteX879" fmla="*/ 1778880 w 2290556"/>
                <a:gd name="connsiteY879" fmla="*/ 327650 h 1796087"/>
                <a:gd name="connsiteX880" fmla="*/ 1777433 w 2290556"/>
                <a:gd name="connsiteY880" fmla="*/ 329164 h 1796087"/>
                <a:gd name="connsiteX881" fmla="*/ 1775851 w 2290556"/>
                <a:gd name="connsiteY881" fmla="*/ 330173 h 1796087"/>
                <a:gd name="connsiteX882" fmla="*/ 1774472 w 2290556"/>
                <a:gd name="connsiteY882" fmla="*/ 330980 h 1796087"/>
                <a:gd name="connsiteX883" fmla="*/ 1771947 w 2290556"/>
                <a:gd name="connsiteY883" fmla="*/ 332292 h 1796087"/>
                <a:gd name="connsiteX884" fmla="*/ 1770567 w 2290556"/>
                <a:gd name="connsiteY884" fmla="*/ 333234 h 1796087"/>
                <a:gd name="connsiteX885" fmla="*/ 1769895 w 2290556"/>
                <a:gd name="connsiteY885" fmla="*/ 335051 h 1796087"/>
                <a:gd name="connsiteX886" fmla="*/ 1768952 w 2290556"/>
                <a:gd name="connsiteY886" fmla="*/ 337439 h 1796087"/>
                <a:gd name="connsiteX887" fmla="*/ 1768380 w 2290556"/>
                <a:gd name="connsiteY887" fmla="*/ 339323 h 1796087"/>
                <a:gd name="connsiteX888" fmla="*/ 1769524 w 2290556"/>
                <a:gd name="connsiteY888" fmla="*/ 340332 h 1796087"/>
                <a:gd name="connsiteX889" fmla="*/ 1771914 w 2290556"/>
                <a:gd name="connsiteY889" fmla="*/ 342149 h 1796087"/>
                <a:gd name="connsiteX890" fmla="*/ 1773495 w 2290556"/>
                <a:gd name="connsiteY890" fmla="*/ 342283 h 1796087"/>
                <a:gd name="connsiteX891" fmla="*/ 1775818 w 2290556"/>
                <a:gd name="connsiteY891" fmla="*/ 342283 h 1796087"/>
                <a:gd name="connsiteX892" fmla="*/ 1777770 w 2290556"/>
                <a:gd name="connsiteY892" fmla="*/ 342081 h 1796087"/>
                <a:gd name="connsiteX893" fmla="*/ 1779082 w 2290556"/>
                <a:gd name="connsiteY893" fmla="*/ 341644 h 1796087"/>
                <a:gd name="connsiteX894" fmla="*/ 1780462 w 2290556"/>
                <a:gd name="connsiteY894" fmla="*/ 341140 h 1796087"/>
                <a:gd name="connsiteX895" fmla="*/ 1782347 w 2290556"/>
                <a:gd name="connsiteY895" fmla="*/ 341140 h 1796087"/>
                <a:gd name="connsiteX896" fmla="*/ 1783524 w 2290556"/>
                <a:gd name="connsiteY896" fmla="*/ 341140 h 1796087"/>
                <a:gd name="connsiteX897" fmla="*/ 1785712 w 2290556"/>
                <a:gd name="connsiteY897" fmla="*/ 342653 h 1796087"/>
                <a:gd name="connsiteX898" fmla="*/ 1786587 w 2290556"/>
                <a:gd name="connsiteY898" fmla="*/ 344604 h 1796087"/>
                <a:gd name="connsiteX899" fmla="*/ 1787092 w 2290556"/>
                <a:gd name="connsiteY899" fmla="*/ 349684 h 1796087"/>
                <a:gd name="connsiteX900" fmla="*/ 1786957 w 2290556"/>
                <a:gd name="connsiteY900" fmla="*/ 353452 h 1796087"/>
                <a:gd name="connsiteX901" fmla="*/ 1786823 w 2290556"/>
                <a:gd name="connsiteY901" fmla="*/ 356917 h 1796087"/>
                <a:gd name="connsiteX902" fmla="*/ 1786385 w 2290556"/>
                <a:gd name="connsiteY902" fmla="*/ 359608 h 1796087"/>
                <a:gd name="connsiteX903" fmla="*/ 1785510 w 2290556"/>
                <a:gd name="connsiteY903" fmla="*/ 362501 h 1796087"/>
                <a:gd name="connsiteX904" fmla="*/ 1783693 w 2290556"/>
                <a:gd name="connsiteY904" fmla="*/ 365764 h 1796087"/>
                <a:gd name="connsiteX905" fmla="*/ 1782077 w 2290556"/>
                <a:gd name="connsiteY905" fmla="*/ 367950 h 1796087"/>
                <a:gd name="connsiteX906" fmla="*/ 1779822 w 2290556"/>
                <a:gd name="connsiteY906" fmla="*/ 370406 h 1796087"/>
                <a:gd name="connsiteX907" fmla="*/ 1777298 w 2290556"/>
                <a:gd name="connsiteY907" fmla="*/ 372794 h 1796087"/>
                <a:gd name="connsiteX908" fmla="*/ 1773664 w 2290556"/>
                <a:gd name="connsiteY908" fmla="*/ 374981 h 1796087"/>
                <a:gd name="connsiteX909" fmla="*/ 1768447 w 2290556"/>
                <a:gd name="connsiteY909" fmla="*/ 379119 h 1796087"/>
                <a:gd name="connsiteX910" fmla="*/ 1762558 w 2290556"/>
                <a:gd name="connsiteY910" fmla="*/ 379119 h 1796087"/>
                <a:gd name="connsiteX911" fmla="*/ 1756264 w 2290556"/>
                <a:gd name="connsiteY911" fmla="*/ 380868 h 1796087"/>
                <a:gd name="connsiteX912" fmla="*/ 1752798 w 2290556"/>
                <a:gd name="connsiteY912" fmla="*/ 380868 h 1796087"/>
                <a:gd name="connsiteX913" fmla="*/ 1750207 w 2290556"/>
                <a:gd name="connsiteY913" fmla="*/ 382516 h 1796087"/>
                <a:gd name="connsiteX914" fmla="*/ 1745865 w 2290556"/>
                <a:gd name="connsiteY914" fmla="*/ 385880 h 1796087"/>
                <a:gd name="connsiteX915" fmla="*/ 1729778 w 2290556"/>
                <a:gd name="connsiteY915" fmla="*/ 396510 h 1796087"/>
                <a:gd name="connsiteX916" fmla="*/ 1709014 w 2290556"/>
                <a:gd name="connsiteY916" fmla="*/ 411076 h 1796087"/>
                <a:gd name="connsiteX917" fmla="*/ 1706388 w 2290556"/>
                <a:gd name="connsiteY917" fmla="*/ 414339 h 1796087"/>
                <a:gd name="connsiteX918" fmla="*/ 1703999 w 2290556"/>
                <a:gd name="connsiteY918" fmla="*/ 416526 h 1796087"/>
                <a:gd name="connsiteX919" fmla="*/ 1700398 w 2290556"/>
                <a:gd name="connsiteY919" fmla="*/ 420092 h 1796087"/>
                <a:gd name="connsiteX920" fmla="*/ 1695484 w 2290556"/>
                <a:gd name="connsiteY920" fmla="*/ 423119 h 1796087"/>
                <a:gd name="connsiteX921" fmla="*/ 1692321 w 2290556"/>
                <a:gd name="connsiteY921" fmla="*/ 425945 h 1796087"/>
                <a:gd name="connsiteX922" fmla="*/ 1689258 w 2290556"/>
                <a:gd name="connsiteY922" fmla="*/ 425844 h 1796087"/>
                <a:gd name="connsiteX923" fmla="*/ 1684580 w 2290556"/>
                <a:gd name="connsiteY923" fmla="*/ 428132 h 1796087"/>
                <a:gd name="connsiteX924" fmla="*/ 1682965 w 2290556"/>
                <a:gd name="connsiteY924" fmla="*/ 428132 h 1796087"/>
                <a:gd name="connsiteX925" fmla="*/ 1681215 w 2290556"/>
                <a:gd name="connsiteY925" fmla="*/ 429107 h 1796087"/>
                <a:gd name="connsiteX926" fmla="*/ 1679700 w 2290556"/>
                <a:gd name="connsiteY926" fmla="*/ 431058 h 1796087"/>
                <a:gd name="connsiteX927" fmla="*/ 1676234 w 2290556"/>
                <a:gd name="connsiteY927" fmla="*/ 432034 h 1796087"/>
                <a:gd name="connsiteX928" fmla="*/ 1673306 w 2290556"/>
                <a:gd name="connsiteY928" fmla="*/ 432471 h 1796087"/>
                <a:gd name="connsiteX929" fmla="*/ 1668863 w 2290556"/>
                <a:gd name="connsiteY929" fmla="*/ 432572 h 1796087"/>
                <a:gd name="connsiteX930" fmla="*/ 1667012 w 2290556"/>
                <a:gd name="connsiteY930" fmla="*/ 432370 h 1796087"/>
                <a:gd name="connsiteX931" fmla="*/ 1665263 w 2290556"/>
                <a:gd name="connsiteY931" fmla="*/ 431395 h 1796087"/>
                <a:gd name="connsiteX932" fmla="*/ 1662873 w 2290556"/>
                <a:gd name="connsiteY932" fmla="*/ 429780 h 1796087"/>
                <a:gd name="connsiteX933" fmla="*/ 1660685 w 2290556"/>
                <a:gd name="connsiteY933" fmla="*/ 427392 h 1796087"/>
                <a:gd name="connsiteX934" fmla="*/ 1658296 w 2290556"/>
                <a:gd name="connsiteY934" fmla="*/ 423691 h 1796087"/>
                <a:gd name="connsiteX935" fmla="*/ 1655772 w 2290556"/>
                <a:gd name="connsiteY935" fmla="*/ 421101 h 1796087"/>
                <a:gd name="connsiteX936" fmla="*/ 1653618 w 2290556"/>
                <a:gd name="connsiteY936" fmla="*/ 420865 h 1796087"/>
                <a:gd name="connsiteX937" fmla="*/ 1650993 w 2290556"/>
                <a:gd name="connsiteY937" fmla="*/ 420865 h 1796087"/>
                <a:gd name="connsiteX938" fmla="*/ 1647392 w 2290556"/>
                <a:gd name="connsiteY938" fmla="*/ 421572 h 1796087"/>
                <a:gd name="connsiteX939" fmla="*/ 1642950 w 2290556"/>
                <a:gd name="connsiteY939" fmla="*/ 422278 h 1796087"/>
                <a:gd name="connsiteX940" fmla="*/ 1635209 w 2290556"/>
                <a:gd name="connsiteY940" fmla="*/ 423893 h 1796087"/>
                <a:gd name="connsiteX941" fmla="*/ 1631204 w 2290556"/>
                <a:gd name="connsiteY941" fmla="*/ 423557 h 1796087"/>
                <a:gd name="connsiteX942" fmla="*/ 1625785 w 2290556"/>
                <a:gd name="connsiteY942" fmla="*/ 421269 h 1796087"/>
                <a:gd name="connsiteX943" fmla="*/ 1621646 w 2290556"/>
                <a:gd name="connsiteY943" fmla="*/ 419856 h 1796087"/>
                <a:gd name="connsiteX944" fmla="*/ 1617843 w 2290556"/>
                <a:gd name="connsiteY944" fmla="*/ 417905 h 1796087"/>
                <a:gd name="connsiteX945" fmla="*/ 1615016 w 2290556"/>
                <a:gd name="connsiteY945" fmla="*/ 416156 h 1796087"/>
                <a:gd name="connsiteX946" fmla="*/ 1611987 w 2290556"/>
                <a:gd name="connsiteY946" fmla="*/ 414541 h 1796087"/>
                <a:gd name="connsiteX947" fmla="*/ 1609261 w 2290556"/>
                <a:gd name="connsiteY947" fmla="*/ 413128 h 1796087"/>
                <a:gd name="connsiteX948" fmla="*/ 1605896 w 2290556"/>
                <a:gd name="connsiteY948" fmla="*/ 410639 h 1796087"/>
                <a:gd name="connsiteX949" fmla="*/ 1603069 w 2290556"/>
                <a:gd name="connsiteY949" fmla="*/ 408789 h 1796087"/>
                <a:gd name="connsiteX950" fmla="*/ 1599804 w 2290556"/>
                <a:gd name="connsiteY950" fmla="*/ 406300 h 1796087"/>
                <a:gd name="connsiteX951" fmla="*/ 1596741 w 2290556"/>
                <a:gd name="connsiteY951" fmla="*/ 404550 h 1796087"/>
                <a:gd name="connsiteX952" fmla="*/ 1593915 w 2290556"/>
                <a:gd name="connsiteY952" fmla="*/ 403137 h 1796087"/>
                <a:gd name="connsiteX953" fmla="*/ 1590314 w 2290556"/>
                <a:gd name="connsiteY953" fmla="*/ 401725 h 1796087"/>
                <a:gd name="connsiteX954" fmla="*/ 1587486 w 2290556"/>
                <a:gd name="connsiteY954" fmla="*/ 401725 h 1796087"/>
                <a:gd name="connsiteX955" fmla="*/ 1586511 w 2290556"/>
                <a:gd name="connsiteY955" fmla="*/ 401725 h 1796087"/>
                <a:gd name="connsiteX956" fmla="*/ 1584660 w 2290556"/>
                <a:gd name="connsiteY956" fmla="*/ 402532 h 1796087"/>
                <a:gd name="connsiteX957" fmla="*/ 1581833 w 2290556"/>
                <a:gd name="connsiteY957" fmla="*/ 405829 h 1796087"/>
                <a:gd name="connsiteX958" fmla="*/ 1578568 w 2290556"/>
                <a:gd name="connsiteY958" fmla="*/ 412691 h 1796087"/>
                <a:gd name="connsiteX959" fmla="*/ 1575741 w 2290556"/>
                <a:gd name="connsiteY959" fmla="*/ 416930 h 1796087"/>
                <a:gd name="connsiteX960" fmla="*/ 1573352 w 2290556"/>
                <a:gd name="connsiteY960" fmla="*/ 424532 h 1796087"/>
                <a:gd name="connsiteX961" fmla="*/ 1569885 w 2290556"/>
                <a:gd name="connsiteY961" fmla="*/ 430957 h 1796087"/>
                <a:gd name="connsiteX962" fmla="*/ 1566520 w 2290556"/>
                <a:gd name="connsiteY962" fmla="*/ 439771 h 1796087"/>
                <a:gd name="connsiteX963" fmla="*/ 1561068 w 2290556"/>
                <a:gd name="connsiteY963" fmla="*/ 452588 h 1796087"/>
                <a:gd name="connsiteX964" fmla="*/ 1560092 w 2290556"/>
                <a:gd name="connsiteY964" fmla="*/ 457364 h 1796087"/>
                <a:gd name="connsiteX965" fmla="*/ 1558443 w 2290556"/>
                <a:gd name="connsiteY965" fmla="*/ 466178 h 1796087"/>
                <a:gd name="connsiteX966" fmla="*/ 1555515 w 2290556"/>
                <a:gd name="connsiteY966" fmla="*/ 471830 h 1796087"/>
                <a:gd name="connsiteX967" fmla="*/ 1554303 w 2290556"/>
                <a:gd name="connsiteY967" fmla="*/ 476068 h 1796087"/>
                <a:gd name="connsiteX968" fmla="*/ 1550399 w 2290556"/>
                <a:gd name="connsiteY968" fmla="*/ 480206 h 1796087"/>
                <a:gd name="connsiteX969" fmla="*/ 1548111 w 2290556"/>
                <a:gd name="connsiteY969" fmla="*/ 486395 h 1796087"/>
                <a:gd name="connsiteX970" fmla="*/ 1545620 w 2290556"/>
                <a:gd name="connsiteY970" fmla="*/ 491408 h 1796087"/>
                <a:gd name="connsiteX971" fmla="*/ 1544544 w 2290556"/>
                <a:gd name="connsiteY971" fmla="*/ 499650 h 1796087"/>
                <a:gd name="connsiteX972" fmla="*/ 1540000 w 2290556"/>
                <a:gd name="connsiteY972" fmla="*/ 510313 h 1796087"/>
                <a:gd name="connsiteX973" fmla="*/ 1540202 w 2290556"/>
                <a:gd name="connsiteY973" fmla="*/ 514552 h 1796087"/>
                <a:gd name="connsiteX974" fmla="*/ 1540101 w 2290556"/>
                <a:gd name="connsiteY974" fmla="*/ 521818 h 1796087"/>
                <a:gd name="connsiteX975" fmla="*/ 1539024 w 2290556"/>
                <a:gd name="connsiteY975" fmla="*/ 528109 h 1796087"/>
                <a:gd name="connsiteX976" fmla="*/ 1535221 w 2290556"/>
                <a:gd name="connsiteY976" fmla="*/ 531809 h 1796087"/>
                <a:gd name="connsiteX977" fmla="*/ 1532596 w 2290556"/>
                <a:gd name="connsiteY977" fmla="*/ 535274 h 1796087"/>
                <a:gd name="connsiteX978" fmla="*/ 1526740 w 2290556"/>
                <a:gd name="connsiteY978" fmla="*/ 540824 h 1796087"/>
                <a:gd name="connsiteX979" fmla="*/ 1524351 w 2290556"/>
                <a:gd name="connsiteY979" fmla="*/ 545265 h 1796087"/>
                <a:gd name="connsiteX980" fmla="*/ 1521086 w 2290556"/>
                <a:gd name="connsiteY980" fmla="*/ 548091 h 1796087"/>
                <a:gd name="connsiteX981" fmla="*/ 1520009 w 2290556"/>
                <a:gd name="connsiteY981" fmla="*/ 552329 h 1796087"/>
                <a:gd name="connsiteX982" fmla="*/ 1519773 w 2290556"/>
                <a:gd name="connsiteY982" fmla="*/ 556904 h 1796087"/>
                <a:gd name="connsiteX983" fmla="*/ 1520413 w 2290556"/>
                <a:gd name="connsiteY983" fmla="*/ 561244 h 1796087"/>
                <a:gd name="connsiteX984" fmla="*/ 1520649 w 2290556"/>
                <a:gd name="connsiteY984" fmla="*/ 569485 h 1796087"/>
                <a:gd name="connsiteX985" fmla="*/ 1524115 w 2290556"/>
                <a:gd name="connsiteY985" fmla="*/ 574700 h 1796087"/>
                <a:gd name="connsiteX986" fmla="*/ 1524553 w 2290556"/>
                <a:gd name="connsiteY986" fmla="*/ 578938 h 1796087"/>
                <a:gd name="connsiteX987" fmla="*/ 1521625 w 2290556"/>
                <a:gd name="connsiteY987" fmla="*/ 583076 h 1796087"/>
                <a:gd name="connsiteX988" fmla="*/ 1517822 w 2290556"/>
                <a:gd name="connsiteY988" fmla="*/ 586238 h 1796087"/>
                <a:gd name="connsiteX989" fmla="*/ 1512942 w 2290556"/>
                <a:gd name="connsiteY989" fmla="*/ 590477 h 1796087"/>
                <a:gd name="connsiteX990" fmla="*/ 1509879 w 2290556"/>
                <a:gd name="connsiteY990" fmla="*/ 592327 h 1796087"/>
                <a:gd name="connsiteX991" fmla="*/ 1505201 w 2290556"/>
                <a:gd name="connsiteY991" fmla="*/ 594715 h 1796087"/>
                <a:gd name="connsiteX992" fmla="*/ 1504764 w 2290556"/>
                <a:gd name="connsiteY992" fmla="*/ 596666 h 1796087"/>
                <a:gd name="connsiteX993" fmla="*/ 1504663 w 2290556"/>
                <a:gd name="connsiteY993" fmla="*/ 601880 h 1796087"/>
                <a:gd name="connsiteX994" fmla="*/ 1504764 w 2290556"/>
                <a:gd name="connsiteY994" fmla="*/ 607431 h 1796087"/>
                <a:gd name="connsiteX995" fmla="*/ 1505538 w 2290556"/>
                <a:gd name="connsiteY995" fmla="*/ 611333 h 1796087"/>
                <a:gd name="connsiteX996" fmla="*/ 1505975 w 2290556"/>
                <a:gd name="connsiteY996" fmla="*/ 613183 h 1796087"/>
                <a:gd name="connsiteX997" fmla="*/ 1507591 w 2290556"/>
                <a:gd name="connsiteY997" fmla="*/ 619474 h 1796087"/>
                <a:gd name="connsiteX998" fmla="*/ 1508903 w 2290556"/>
                <a:gd name="connsiteY998" fmla="*/ 621223 h 1796087"/>
                <a:gd name="connsiteX999" fmla="*/ 1512706 w 2290556"/>
                <a:gd name="connsiteY999" fmla="*/ 625563 h 1796087"/>
                <a:gd name="connsiteX1000" fmla="*/ 1515870 w 2290556"/>
                <a:gd name="connsiteY1000" fmla="*/ 629263 h 1796087"/>
                <a:gd name="connsiteX1001" fmla="*/ 1521086 w 2290556"/>
                <a:gd name="connsiteY1001" fmla="*/ 635251 h 1796087"/>
                <a:gd name="connsiteX1002" fmla="*/ 1524149 w 2290556"/>
                <a:gd name="connsiteY1002" fmla="*/ 638850 h 1796087"/>
                <a:gd name="connsiteX1003" fmla="*/ 1532966 w 2290556"/>
                <a:gd name="connsiteY1003" fmla="*/ 643526 h 1796087"/>
                <a:gd name="connsiteX1004" fmla="*/ 1535457 w 2290556"/>
                <a:gd name="connsiteY1004" fmla="*/ 645814 h 1796087"/>
                <a:gd name="connsiteX1005" fmla="*/ 1537207 w 2290556"/>
                <a:gd name="connsiteY1005" fmla="*/ 645814 h 1796087"/>
                <a:gd name="connsiteX1006" fmla="*/ 1541010 w 2290556"/>
                <a:gd name="connsiteY1006" fmla="*/ 644737 h 1796087"/>
                <a:gd name="connsiteX1007" fmla="*/ 1543399 w 2290556"/>
                <a:gd name="connsiteY1007" fmla="*/ 641272 h 1796087"/>
                <a:gd name="connsiteX1008" fmla="*/ 1541986 w 2290556"/>
                <a:gd name="connsiteY1008" fmla="*/ 635285 h 1796087"/>
                <a:gd name="connsiteX1009" fmla="*/ 1544914 w 2290556"/>
                <a:gd name="connsiteY1009" fmla="*/ 632021 h 1796087"/>
                <a:gd name="connsiteX1010" fmla="*/ 1549827 w 2290556"/>
                <a:gd name="connsiteY1010" fmla="*/ 629835 h 1796087"/>
                <a:gd name="connsiteX1011" fmla="*/ 1556020 w 2290556"/>
                <a:gd name="connsiteY1011" fmla="*/ 627648 h 1796087"/>
                <a:gd name="connsiteX1012" fmla="*/ 1561674 w 2290556"/>
                <a:gd name="connsiteY1012" fmla="*/ 626336 h 1796087"/>
                <a:gd name="connsiteX1013" fmla="*/ 1567428 w 2290556"/>
                <a:gd name="connsiteY1013" fmla="*/ 624587 h 1796087"/>
                <a:gd name="connsiteX1014" fmla="*/ 1577121 w 2290556"/>
                <a:gd name="connsiteY1014" fmla="*/ 624251 h 1796087"/>
                <a:gd name="connsiteX1015" fmla="*/ 1579746 w 2290556"/>
                <a:gd name="connsiteY1015" fmla="*/ 624251 h 1796087"/>
                <a:gd name="connsiteX1016" fmla="*/ 1584525 w 2290556"/>
                <a:gd name="connsiteY1016" fmla="*/ 625933 h 1796087"/>
                <a:gd name="connsiteX1017" fmla="*/ 1588429 w 2290556"/>
                <a:gd name="connsiteY1017" fmla="*/ 623914 h 1796087"/>
                <a:gd name="connsiteX1018" fmla="*/ 1594857 w 2290556"/>
                <a:gd name="connsiteY1018" fmla="*/ 622401 h 1796087"/>
                <a:gd name="connsiteX1019" fmla="*/ 1598996 w 2290556"/>
                <a:gd name="connsiteY1019" fmla="*/ 621425 h 1796087"/>
                <a:gd name="connsiteX1020" fmla="*/ 1606064 w 2290556"/>
                <a:gd name="connsiteY1020" fmla="*/ 621189 h 1796087"/>
                <a:gd name="connsiteX1021" fmla="*/ 1611281 w 2290556"/>
                <a:gd name="connsiteY1021" fmla="*/ 620214 h 1796087"/>
                <a:gd name="connsiteX1022" fmla="*/ 1617035 w 2290556"/>
                <a:gd name="connsiteY1022" fmla="*/ 620113 h 1796087"/>
                <a:gd name="connsiteX1023" fmla="*/ 1624002 w 2290556"/>
                <a:gd name="connsiteY1023" fmla="*/ 621526 h 1796087"/>
                <a:gd name="connsiteX1024" fmla="*/ 1637598 w 2290556"/>
                <a:gd name="connsiteY1024" fmla="*/ 629128 h 1796087"/>
                <a:gd name="connsiteX1025" fmla="*/ 1641199 w 2290556"/>
                <a:gd name="connsiteY1025" fmla="*/ 633266 h 1796087"/>
                <a:gd name="connsiteX1026" fmla="*/ 1648704 w 2290556"/>
                <a:gd name="connsiteY1026" fmla="*/ 637168 h 1796087"/>
                <a:gd name="connsiteX1027" fmla="*/ 1653921 w 2290556"/>
                <a:gd name="connsiteY1027" fmla="*/ 637942 h 1796087"/>
                <a:gd name="connsiteX1028" fmla="*/ 1660214 w 2290556"/>
                <a:gd name="connsiteY1028" fmla="*/ 637067 h 1796087"/>
                <a:gd name="connsiteX1029" fmla="*/ 1662907 w 2290556"/>
                <a:gd name="connsiteY1029" fmla="*/ 635015 h 1796087"/>
                <a:gd name="connsiteX1030" fmla="*/ 1663782 w 2290556"/>
                <a:gd name="connsiteY1030" fmla="*/ 630878 h 1796087"/>
                <a:gd name="connsiteX1031" fmla="*/ 1664421 w 2290556"/>
                <a:gd name="connsiteY1031" fmla="*/ 628927 h 1796087"/>
                <a:gd name="connsiteX1032" fmla="*/ 1664959 w 2290556"/>
                <a:gd name="connsiteY1032" fmla="*/ 626875 h 1796087"/>
                <a:gd name="connsiteX1033" fmla="*/ 1664959 w 2290556"/>
                <a:gd name="connsiteY1033" fmla="*/ 624385 h 1796087"/>
                <a:gd name="connsiteX1034" fmla="*/ 1668157 w 2290556"/>
                <a:gd name="connsiteY1034" fmla="*/ 620786 h 1796087"/>
                <a:gd name="connsiteX1035" fmla="*/ 1669940 w 2290556"/>
                <a:gd name="connsiteY1035" fmla="*/ 618196 h 1796087"/>
                <a:gd name="connsiteX1036" fmla="*/ 1671892 w 2290556"/>
                <a:gd name="connsiteY1036" fmla="*/ 615706 h 1796087"/>
                <a:gd name="connsiteX1037" fmla="*/ 1674383 w 2290556"/>
                <a:gd name="connsiteY1037" fmla="*/ 612006 h 1796087"/>
                <a:gd name="connsiteX1038" fmla="*/ 1678085 w 2290556"/>
                <a:gd name="connsiteY1038" fmla="*/ 608406 h 1796087"/>
                <a:gd name="connsiteX1039" fmla="*/ 1682426 w 2290556"/>
                <a:gd name="connsiteY1039" fmla="*/ 606119 h 1796087"/>
                <a:gd name="connsiteX1040" fmla="*/ 1686431 w 2290556"/>
                <a:gd name="connsiteY1040" fmla="*/ 603831 h 1796087"/>
                <a:gd name="connsiteX1041" fmla="*/ 1691446 w 2290556"/>
                <a:gd name="connsiteY1041" fmla="*/ 601006 h 1796087"/>
                <a:gd name="connsiteX1042" fmla="*/ 1694037 w 2290556"/>
                <a:gd name="connsiteY1042" fmla="*/ 599694 h 1796087"/>
                <a:gd name="connsiteX1043" fmla="*/ 1700364 w 2290556"/>
                <a:gd name="connsiteY1043" fmla="*/ 596229 h 1796087"/>
                <a:gd name="connsiteX1044" fmla="*/ 1707768 w 2290556"/>
                <a:gd name="connsiteY1044" fmla="*/ 596128 h 1796087"/>
                <a:gd name="connsiteX1045" fmla="*/ 1714499 w 2290556"/>
                <a:gd name="connsiteY1045" fmla="*/ 594715 h 1796087"/>
                <a:gd name="connsiteX1046" fmla="*/ 1719177 w 2290556"/>
                <a:gd name="connsiteY1046" fmla="*/ 594715 h 1796087"/>
                <a:gd name="connsiteX1047" fmla="*/ 1722341 w 2290556"/>
                <a:gd name="connsiteY1047" fmla="*/ 595859 h 1796087"/>
                <a:gd name="connsiteX1048" fmla="*/ 1725066 w 2290556"/>
                <a:gd name="connsiteY1048" fmla="*/ 596229 h 1796087"/>
                <a:gd name="connsiteX1049" fmla="*/ 1729105 w 2290556"/>
                <a:gd name="connsiteY1049" fmla="*/ 597440 h 1796087"/>
                <a:gd name="connsiteX1050" fmla="*/ 1733009 w 2290556"/>
                <a:gd name="connsiteY1050" fmla="*/ 601039 h 1796087"/>
                <a:gd name="connsiteX1051" fmla="*/ 1734422 w 2290556"/>
                <a:gd name="connsiteY1051" fmla="*/ 602116 h 1796087"/>
                <a:gd name="connsiteX1052" fmla="*/ 1735836 w 2290556"/>
                <a:gd name="connsiteY1052" fmla="*/ 602890 h 1796087"/>
                <a:gd name="connsiteX1053" fmla="*/ 1739303 w 2290556"/>
                <a:gd name="connsiteY1053" fmla="*/ 602890 h 1796087"/>
                <a:gd name="connsiteX1054" fmla="*/ 1742466 w 2290556"/>
                <a:gd name="connsiteY1054" fmla="*/ 603529 h 1796087"/>
                <a:gd name="connsiteX1055" fmla="*/ 1746067 w 2290556"/>
                <a:gd name="connsiteY1055" fmla="*/ 606253 h 1796087"/>
                <a:gd name="connsiteX1056" fmla="*/ 1748457 w 2290556"/>
                <a:gd name="connsiteY1056" fmla="*/ 608642 h 1796087"/>
                <a:gd name="connsiteX1057" fmla="*/ 1750509 w 2290556"/>
                <a:gd name="connsiteY1057" fmla="*/ 611030 h 1796087"/>
                <a:gd name="connsiteX1058" fmla="*/ 1753875 w 2290556"/>
                <a:gd name="connsiteY1058" fmla="*/ 613856 h 1796087"/>
                <a:gd name="connsiteX1059" fmla="*/ 1757678 w 2290556"/>
                <a:gd name="connsiteY1059" fmla="*/ 617556 h 1796087"/>
                <a:gd name="connsiteX1060" fmla="*/ 1760303 w 2290556"/>
                <a:gd name="connsiteY1060" fmla="*/ 619608 h 1796087"/>
                <a:gd name="connsiteX1061" fmla="*/ 1764308 w 2290556"/>
                <a:gd name="connsiteY1061" fmla="*/ 620248 h 1796087"/>
                <a:gd name="connsiteX1062" fmla="*/ 1769524 w 2290556"/>
                <a:gd name="connsiteY1062" fmla="*/ 620248 h 1796087"/>
                <a:gd name="connsiteX1063" fmla="*/ 1773664 w 2290556"/>
                <a:gd name="connsiteY1063" fmla="*/ 621122 h 1796087"/>
                <a:gd name="connsiteX1064" fmla="*/ 1776289 w 2290556"/>
                <a:gd name="connsiteY1064" fmla="*/ 621660 h 1796087"/>
                <a:gd name="connsiteX1065" fmla="*/ 1781404 w 2290556"/>
                <a:gd name="connsiteY1065" fmla="*/ 625462 h 1796087"/>
                <a:gd name="connsiteX1066" fmla="*/ 1785005 w 2290556"/>
                <a:gd name="connsiteY1066" fmla="*/ 627514 h 1796087"/>
                <a:gd name="connsiteX1067" fmla="*/ 1787159 w 2290556"/>
                <a:gd name="connsiteY1067" fmla="*/ 628927 h 1796087"/>
                <a:gd name="connsiteX1068" fmla="*/ 1790962 w 2290556"/>
                <a:gd name="connsiteY1068" fmla="*/ 631752 h 1796087"/>
                <a:gd name="connsiteX1069" fmla="*/ 1791736 w 2290556"/>
                <a:gd name="connsiteY1069" fmla="*/ 635217 h 1796087"/>
                <a:gd name="connsiteX1070" fmla="*/ 1794462 w 2290556"/>
                <a:gd name="connsiteY1070" fmla="*/ 640532 h 1796087"/>
                <a:gd name="connsiteX1071" fmla="*/ 1797390 w 2290556"/>
                <a:gd name="connsiteY1071" fmla="*/ 641508 h 1796087"/>
                <a:gd name="connsiteX1072" fmla="*/ 1799578 w 2290556"/>
                <a:gd name="connsiteY1072" fmla="*/ 641508 h 1796087"/>
                <a:gd name="connsiteX1073" fmla="*/ 1803818 w 2290556"/>
                <a:gd name="connsiteY1073" fmla="*/ 643257 h 1796087"/>
                <a:gd name="connsiteX1074" fmla="*/ 1804054 w 2290556"/>
                <a:gd name="connsiteY1074" fmla="*/ 645107 h 1796087"/>
                <a:gd name="connsiteX1075" fmla="*/ 1805232 w 2290556"/>
                <a:gd name="connsiteY1075" fmla="*/ 647832 h 1796087"/>
                <a:gd name="connsiteX1076" fmla="*/ 1808833 w 2290556"/>
                <a:gd name="connsiteY1076" fmla="*/ 651095 h 1796087"/>
                <a:gd name="connsiteX1077" fmla="*/ 1814386 w 2290556"/>
                <a:gd name="connsiteY1077" fmla="*/ 656208 h 1796087"/>
                <a:gd name="connsiteX1078" fmla="*/ 1818391 w 2290556"/>
                <a:gd name="connsiteY1078" fmla="*/ 659808 h 1796087"/>
                <a:gd name="connsiteX1079" fmla="*/ 1824247 w 2290556"/>
                <a:gd name="connsiteY1079" fmla="*/ 665022 h 1796087"/>
                <a:gd name="connsiteX1080" fmla="*/ 1830540 w 2290556"/>
                <a:gd name="connsiteY1080" fmla="*/ 669900 h 1796087"/>
                <a:gd name="connsiteX1081" fmla="*/ 1836396 w 2290556"/>
                <a:gd name="connsiteY1081" fmla="*/ 676325 h 1796087"/>
                <a:gd name="connsiteX1082" fmla="*/ 1839223 w 2290556"/>
                <a:gd name="connsiteY1082" fmla="*/ 680664 h 1796087"/>
                <a:gd name="connsiteX1083" fmla="*/ 1841713 w 2290556"/>
                <a:gd name="connsiteY1083" fmla="*/ 683726 h 1796087"/>
                <a:gd name="connsiteX1084" fmla="*/ 1845180 w 2290556"/>
                <a:gd name="connsiteY1084" fmla="*/ 690016 h 1796087"/>
                <a:gd name="connsiteX1085" fmla="*/ 1854098 w 2290556"/>
                <a:gd name="connsiteY1085" fmla="*/ 696744 h 1796087"/>
                <a:gd name="connsiteX1086" fmla="*/ 1857464 w 2290556"/>
                <a:gd name="connsiteY1086" fmla="*/ 701319 h 1796087"/>
                <a:gd name="connsiteX1087" fmla="*/ 1856286 w 2290556"/>
                <a:gd name="connsiteY1087" fmla="*/ 704145 h 1796087"/>
                <a:gd name="connsiteX1088" fmla="*/ 1853459 w 2290556"/>
                <a:gd name="connsiteY1088" fmla="*/ 707509 h 1796087"/>
                <a:gd name="connsiteX1089" fmla="*/ 1859550 w 2290556"/>
                <a:gd name="connsiteY1089" fmla="*/ 712622 h 1796087"/>
                <a:gd name="connsiteX1090" fmla="*/ 1861704 w 2290556"/>
                <a:gd name="connsiteY1090" fmla="*/ 713799 h 1796087"/>
                <a:gd name="connsiteX1091" fmla="*/ 1867156 w 2290556"/>
                <a:gd name="connsiteY1091" fmla="*/ 719989 h 1796087"/>
                <a:gd name="connsiteX1092" fmla="*/ 1867156 w 2290556"/>
                <a:gd name="connsiteY1092" fmla="*/ 722916 h 1796087"/>
                <a:gd name="connsiteX1093" fmla="*/ 1866180 w 2290556"/>
                <a:gd name="connsiteY1093" fmla="*/ 724766 h 1796087"/>
                <a:gd name="connsiteX1094" fmla="*/ 1862478 w 2290556"/>
                <a:gd name="connsiteY1094" fmla="*/ 727794 h 1796087"/>
                <a:gd name="connsiteX1095" fmla="*/ 1857800 w 2290556"/>
                <a:gd name="connsiteY1095" fmla="*/ 731158 h 1796087"/>
                <a:gd name="connsiteX1096" fmla="*/ 1851170 w 2290556"/>
                <a:gd name="connsiteY1096" fmla="*/ 736473 h 1796087"/>
                <a:gd name="connsiteX1097" fmla="*/ 1849118 w 2290556"/>
                <a:gd name="connsiteY1097" fmla="*/ 738222 h 1796087"/>
                <a:gd name="connsiteX1098" fmla="*/ 1842689 w 2290556"/>
                <a:gd name="connsiteY1098" fmla="*/ 740947 h 1796087"/>
                <a:gd name="connsiteX1099" fmla="*/ 1836834 w 2290556"/>
                <a:gd name="connsiteY1099" fmla="*/ 742898 h 1796087"/>
                <a:gd name="connsiteX1100" fmla="*/ 1830641 w 2290556"/>
                <a:gd name="connsiteY1100" fmla="*/ 744210 h 1796087"/>
                <a:gd name="connsiteX1101" fmla="*/ 1825727 w 2290556"/>
                <a:gd name="connsiteY1101" fmla="*/ 744411 h 1796087"/>
                <a:gd name="connsiteX1102" fmla="*/ 1814318 w 2290556"/>
                <a:gd name="connsiteY1102" fmla="*/ 744311 h 1796087"/>
                <a:gd name="connsiteX1103" fmla="*/ 1805737 w 2290556"/>
                <a:gd name="connsiteY1103" fmla="*/ 744950 h 1796087"/>
                <a:gd name="connsiteX1104" fmla="*/ 1801732 w 2290556"/>
                <a:gd name="connsiteY1104" fmla="*/ 743739 h 1796087"/>
                <a:gd name="connsiteX1105" fmla="*/ 1798131 w 2290556"/>
                <a:gd name="connsiteY1105" fmla="*/ 741989 h 1796087"/>
                <a:gd name="connsiteX1106" fmla="*/ 1796078 w 2290556"/>
                <a:gd name="connsiteY1106" fmla="*/ 739803 h 1796087"/>
                <a:gd name="connsiteX1107" fmla="*/ 1793688 w 2290556"/>
                <a:gd name="connsiteY1107" fmla="*/ 736775 h 1796087"/>
                <a:gd name="connsiteX1108" fmla="*/ 1792510 w 2290556"/>
                <a:gd name="connsiteY1108" fmla="*/ 735800 h 1796087"/>
                <a:gd name="connsiteX1109" fmla="*/ 1790996 w 2290556"/>
                <a:gd name="connsiteY1109" fmla="*/ 734286 h 1796087"/>
                <a:gd name="connsiteX1110" fmla="*/ 1788606 w 2290556"/>
                <a:gd name="connsiteY1110" fmla="*/ 732537 h 1796087"/>
                <a:gd name="connsiteX1111" fmla="*/ 1786857 w 2290556"/>
                <a:gd name="connsiteY1111" fmla="*/ 731662 h 1796087"/>
                <a:gd name="connsiteX1112" fmla="*/ 1784803 w 2290556"/>
                <a:gd name="connsiteY1112" fmla="*/ 731763 h 1796087"/>
                <a:gd name="connsiteX1113" fmla="*/ 1782515 w 2290556"/>
                <a:gd name="connsiteY1113" fmla="*/ 731763 h 1796087"/>
                <a:gd name="connsiteX1114" fmla="*/ 1780563 w 2290556"/>
                <a:gd name="connsiteY1114" fmla="*/ 731763 h 1796087"/>
                <a:gd name="connsiteX1115" fmla="*/ 1778376 w 2290556"/>
                <a:gd name="connsiteY1115" fmla="*/ 732537 h 1796087"/>
                <a:gd name="connsiteX1116" fmla="*/ 1775784 w 2290556"/>
                <a:gd name="connsiteY1116" fmla="*/ 734824 h 1796087"/>
                <a:gd name="connsiteX1117" fmla="*/ 1774034 w 2290556"/>
                <a:gd name="connsiteY1117" fmla="*/ 736136 h 1796087"/>
                <a:gd name="connsiteX1118" fmla="*/ 1771207 w 2290556"/>
                <a:gd name="connsiteY1118" fmla="*/ 738087 h 1796087"/>
                <a:gd name="connsiteX1119" fmla="*/ 1768144 w 2290556"/>
                <a:gd name="connsiteY1119" fmla="*/ 738962 h 1796087"/>
                <a:gd name="connsiteX1120" fmla="*/ 1766731 w 2290556"/>
                <a:gd name="connsiteY1120" fmla="*/ 738962 h 1796087"/>
                <a:gd name="connsiteX1121" fmla="*/ 1763567 w 2290556"/>
                <a:gd name="connsiteY1121" fmla="*/ 738962 h 1796087"/>
                <a:gd name="connsiteX1122" fmla="*/ 1760101 w 2290556"/>
                <a:gd name="connsiteY1122" fmla="*/ 738794 h 1796087"/>
                <a:gd name="connsiteX1123" fmla="*/ 1757375 w 2290556"/>
                <a:gd name="connsiteY1123" fmla="*/ 738726 h 1796087"/>
                <a:gd name="connsiteX1124" fmla="*/ 1751182 w 2290556"/>
                <a:gd name="connsiteY1124" fmla="*/ 736876 h 1796087"/>
                <a:gd name="connsiteX1125" fmla="*/ 1746605 w 2290556"/>
                <a:gd name="connsiteY1125" fmla="*/ 735800 h 1796087"/>
                <a:gd name="connsiteX1126" fmla="*/ 1743779 w 2290556"/>
                <a:gd name="connsiteY1126" fmla="*/ 735800 h 1796087"/>
                <a:gd name="connsiteX1127" fmla="*/ 1739740 w 2290556"/>
                <a:gd name="connsiteY1127" fmla="*/ 735800 h 1796087"/>
                <a:gd name="connsiteX1128" fmla="*/ 1736173 w 2290556"/>
                <a:gd name="connsiteY1128" fmla="*/ 736674 h 1796087"/>
                <a:gd name="connsiteX1129" fmla="*/ 1733346 w 2290556"/>
                <a:gd name="connsiteY1129" fmla="*/ 737549 h 1796087"/>
                <a:gd name="connsiteX1130" fmla="*/ 1729879 w 2290556"/>
                <a:gd name="connsiteY1130" fmla="*/ 738861 h 1796087"/>
                <a:gd name="connsiteX1131" fmla="*/ 1725538 w 2290556"/>
                <a:gd name="connsiteY1131" fmla="*/ 740913 h 1796087"/>
                <a:gd name="connsiteX1132" fmla="*/ 1722913 w 2290556"/>
                <a:gd name="connsiteY1132" fmla="*/ 741788 h 1796087"/>
                <a:gd name="connsiteX1133" fmla="*/ 1720321 w 2290556"/>
                <a:gd name="connsiteY1133" fmla="*/ 742662 h 1796087"/>
                <a:gd name="connsiteX1134" fmla="*/ 1717158 w 2290556"/>
                <a:gd name="connsiteY1134" fmla="*/ 743840 h 1796087"/>
                <a:gd name="connsiteX1135" fmla="*/ 1713994 w 2290556"/>
                <a:gd name="connsiteY1135" fmla="*/ 745791 h 1796087"/>
                <a:gd name="connsiteX1136" fmla="*/ 1711268 w 2290556"/>
                <a:gd name="connsiteY1136" fmla="*/ 748078 h 1796087"/>
                <a:gd name="connsiteX1137" fmla="*/ 1708340 w 2290556"/>
                <a:gd name="connsiteY1137" fmla="*/ 750130 h 1796087"/>
                <a:gd name="connsiteX1138" fmla="*/ 1704537 w 2290556"/>
                <a:gd name="connsiteY1138" fmla="*/ 753057 h 1796087"/>
                <a:gd name="connsiteX1139" fmla="*/ 1699960 w 2290556"/>
                <a:gd name="connsiteY1139" fmla="*/ 756421 h 1796087"/>
                <a:gd name="connsiteX1140" fmla="*/ 1697335 w 2290556"/>
                <a:gd name="connsiteY1140" fmla="*/ 757396 h 1796087"/>
                <a:gd name="connsiteX1141" fmla="*/ 1692321 w 2290556"/>
                <a:gd name="connsiteY1141" fmla="*/ 760020 h 1796087"/>
                <a:gd name="connsiteX1142" fmla="*/ 1688282 w 2290556"/>
                <a:gd name="connsiteY1142" fmla="*/ 760121 h 1796087"/>
                <a:gd name="connsiteX1143" fmla="*/ 1682527 w 2290556"/>
                <a:gd name="connsiteY1143" fmla="*/ 759146 h 1796087"/>
                <a:gd name="connsiteX1144" fmla="*/ 1679364 w 2290556"/>
                <a:gd name="connsiteY1144" fmla="*/ 757497 h 1796087"/>
                <a:gd name="connsiteX1145" fmla="*/ 1677950 w 2290556"/>
                <a:gd name="connsiteY1145" fmla="*/ 758036 h 1796087"/>
                <a:gd name="connsiteX1146" fmla="*/ 1674349 w 2290556"/>
                <a:gd name="connsiteY1146" fmla="*/ 758036 h 1796087"/>
                <a:gd name="connsiteX1147" fmla="*/ 1672060 w 2290556"/>
                <a:gd name="connsiteY1147" fmla="*/ 758574 h 1796087"/>
                <a:gd name="connsiteX1148" fmla="*/ 1667921 w 2290556"/>
                <a:gd name="connsiteY1148" fmla="*/ 760323 h 1796087"/>
                <a:gd name="connsiteX1149" fmla="*/ 1664454 w 2290556"/>
                <a:gd name="connsiteY1149" fmla="*/ 764225 h 1796087"/>
                <a:gd name="connsiteX1150" fmla="*/ 1662940 w 2290556"/>
                <a:gd name="connsiteY1150" fmla="*/ 767589 h 1796087"/>
                <a:gd name="connsiteX1151" fmla="*/ 1662940 w 2290556"/>
                <a:gd name="connsiteY1151" fmla="*/ 772601 h 1796087"/>
                <a:gd name="connsiteX1152" fmla="*/ 1660349 w 2290556"/>
                <a:gd name="connsiteY1152" fmla="*/ 777177 h 1796087"/>
                <a:gd name="connsiteX1153" fmla="*/ 1657959 w 2290556"/>
                <a:gd name="connsiteY1153" fmla="*/ 781079 h 1796087"/>
                <a:gd name="connsiteX1154" fmla="*/ 1654358 w 2290556"/>
                <a:gd name="connsiteY1154" fmla="*/ 783568 h 1796087"/>
                <a:gd name="connsiteX1155" fmla="*/ 1651195 w 2290556"/>
                <a:gd name="connsiteY1155" fmla="*/ 784443 h 1796087"/>
                <a:gd name="connsiteX1156" fmla="*/ 1647930 w 2290556"/>
                <a:gd name="connsiteY1156" fmla="*/ 784241 h 1796087"/>
                <a:gd name="connsiteX1157" fmla="*/ 1644868 w 2290556"/>
                <a:gd name="connsiteY1157" fmla="*/ 783164 h 1796087"/>
                <a:gd name="connsiteX1158" fmla="*/ 1637464 w 2290556"/>
                <a:gd name="connsiteY1158" fmla="*/ 781953 h 1796087"/>
                <a:gd name="connsiteX1159" fmla="*/ 1631608 w 2290556"/>
                <a:gd name="connsiteY1159" fmla="*/ 781953 h 1796087"/>
                <a:gd name="connsiteX1160" fmla="*/ 1626829 w 2290556"/>
                <a:gd name="connsiteY1160" fmla="*/ 781953 h 1796087"/>
                <a:gd name="connsiteX1161" fmla="*/ 1621074 w 2290556"/>
                <a:gd name="connsiteY1161" fmla="*/ 783265 h 1796087"/>
                <a:gd name="connsiteX1162" fmla="*/ 1614444 w 2290556"/>
                <a:gd name="connsiteY1162" fmla="*/ 786730 h 1796087"/>
                <a:gd name="connsiteX1163" fmla="*/ 1606199 w 2290556"/>
                <a:gd name="connsiteY1163" fmla="*/ 792718 h 1796087"/>
                <a:gd name="connsiteX1164" fmla="*/ 1600343 w 2290556"/>
                <a:gd name="connsiteY1164" fmla="*/ 794333 h 1796087"/>
                <a:gd name="connsiteX1165" fmla="*/ 1595463 w 2290556"/>
                <a:gd name="connsiteY1165" fmla="*/ 798672 h 1796087"/>
                <a:gd name="connsiteX1166" fmla="*/ 1593410 w 2290556"/>
                <a:gd name="connsiteY1166" fmla="*/ 805198 h 1796087"/>
                <a:gd name="connsiteX1167" fmla="*/ 1590919 w 2290556"/>
                <a:gd name="connsiteY1167" fmla="*/ 808798 h 1796087"/>
                <a:gd name="connsiteX1168" fmla="*/ 1585804 w 2290556"/>
                <a:gd name="connsiteY1168" fmla="*/ 813575 h 1796087"/>
                <a:gd name="connsiteX1169" fmla="*/ 1583953 w 2290556"/>
                <a:gd name="connsiteY1169" fmla="*/ 815526 h 1796087"/>
                <a:gd name="connsiteX1170" fmla="*/ 1581227 w 2290556"/>
                <a:gd name="connsiteY1170" fmla="*/ 818351 h 1796087"/>
                <a:gd name="connsiteX1171" fmla="*/ 1577962 w 2290556"/>
                <a:gd name="connsiteY1171" fmla="*/ 822691 h 1796087"/>
                <a:gd name="connsiteX1172" fmla="*/ 1576212 w 2290556"/>
                <a:gd name="connsiteY1172" fmla="*/ 826829 h 1796087"/>
                <a:gd name="connsiteX1173" fmla="*/ 1574563 w 2290556"/>
                <a:gd name="connsiteY1173" fmla="*/ 828040 h 1796087"/>
                <a:gd name="connsiteX1174" fmla="*/ 1573486 w 2290556"/>
                <a:gd name="connsiteY1174" fmla="*/ 831404 h 1796087"/>
                <a:gd name="connsiteX1175" fmla="*/ 1572712 w 2290556"/>
                <a:gd name="connsiteY1175" fmla="*/ 833893 h 1796087"/>
                <a:gd name="connsiteX1176" fmla="*/ 1572376 w 2290556"/>
                <a:gd name="connsiteY1176" fmla="*/ 836618 h 1796087"/>
                <a:gd name="connsiteX1177" fmla="*/ 1572039 w 2290556"/>
                <a:gd name="connsiteY1177" fmla="*/ 837694 h 1796087"/>
                <a:gd name="connsiteX1178" fmla="*/ 1573654 w 2290556"/>
                <a:gd name="connsiteY1178" fmla="*/ 840318 h 1796087"/>
                <a:gd name="connsiteX1179" fmla="*/ 1576683 w 2290556"/>
                <a:gd name="connsiteY1179" fmla="*/ 845431 h 1796087"/>
                <a:gd name="connsiteX1180" fmla="*/ 1577323 w 2290556"/>
                <a:gd name="connsiteY1180" fmla="*/ 847618 h 1796087"/>
                <a:gd name="connsiteX1181" fmla="*/ 1577861 w 2290556"/>
                <a:gd name="connsiteY1181" fmla="*/ 851083 h 1796087"/>
                <a:gd name="connsiteX1182" fmla="*/ 1577861 w 2290556"/>
                <a:gd name="connsiteY1182" fmla="*/ 854548 h 1796087"/>
                <a:gd name="connsiteX1183" fmla="*/ 1577861 w 2290556"/>
                <a:gd name="connsiteY1183" fmla="*/ 856600 h 1796087"/>
                <a:gd name="connsiteX1184" fmla="*/ 1577054 w 2290556"/>
                <a:gd name="connsiteY1184" fmla="*/ 858349 h 1796087"/>
                <a:gd name="connsiteX1185" fmla="*/ 1575034 w 2290556"/>
                <a:gd name="connsiteY1185" fmla="*/ 860098 h 1796087"/>
                <a:gd name="connsiteX1186" fmla="*/ 1572544 w 2290556"/>
                <a:gd name="connsiteY1186" fmla="*/ 862049 h 1796087"/>
                <a:gd name="connsiteX1187" fmla="*/ 1569818 w 2290556"/>
                <a:gd name="connsiteY1187" fmla="*/ 862924 h 1796087"/>
                <a:gd name="connsiteX1188" fmla="*/ 1565678 w 2290556"/>
                <a:gd name="connsiteY1188" fmla="*/ 862924 h 1796087"/>
                <a:gd name="connsiteX1189" fmla="*/ 1561236 w 2290556"/>
                <a:gd name="connsiteY1189" fmla="*/ 863698 h 1796087"/>
                <a:gd name="connsiteX1190" fmla="*/ 1558207 w 2290556"/>
                <a:gd name="connsiteY1190" fmla="*/ 864236 h 1796087"/>
                <a:gd name="connsiteX1191" fmla="*/ 1555918 w 2290556"/>
                <a:gd name="connsiteY1191" fmla="*/ 865110 h 1796087"/>
                <a:gd name="connsiteX1192" fmla="*/ 1553193 w 2290556"/>
                <a:gd name="connsiteY1192" fmla="*/ 866961 h 1796087"/>
                <a:gd name="connsiteX1193" fmla="*/ 1551341 w 2290556"/>
                <a:gd name="connsiteY1193" fmla="*/ 868710 h 1796087"/>
                <a:gd name="connsiteX1194" fmla="*/ 1549928 w 2290556"/>
                <a:gd name="connsiteY1194" fmla="*/ 870997 h 1796087"/>
                <a:gd name="connsiteX1195" fmla="*/ 1547438 w 2290556"/>
                <a:gd name="connsiteY1195" fmla="*/ 874462 h 1796087"/>
                <a:gd name="connsiteX1196" fmla="*/ 1542995 w 2290556"/>
                <a:gd name="connsiteY1196" fmla="*/ 878802 h 1796087"/>
                <a:gd name="connsiteX1197" fmla="*/ 1538519 w 2290556"/>
                <a:gd name="connsiteY1197" fmla="*/ 880316 h 1796087"/>
                <a:gd name="connsiteX1198" fmla="*/ 1533202 w 2290556"/>
                <a:gd name="connsiteY1198" fmla="*/ 885631 h 1796087"/>
                <a:gd name="connsiteX1199" fmla="*/ 1527312 w 2290556"/>
                <a:gd name="connsiteY1199" fmla="*/ 891282 h 1796087"/>
                <a:gd name="connsiteX1200" fmla="*/ 1520918 w 2290556"/>
                <a:gd name="connsiteY1200" fmla="*/ 895285 h 1796087"/>
                <a:gd name="connsiteX1201" fmla="*/ 1515802 w 2290556"/>
                <a:gd name="connsiteY1201" fmla="*/ 896799 h 1796087"/>
                <a:gd name="connsiteX1202" fmla="*/ 1509812 w 2290556"/>
                <a:gd name="connsiteY1202" fmla="*/ 899187 h 1796087"/>
                <a:gd name="connsiteX1203" fmla="*/ 1502240 w 2290556"/>
                <a:gd name="connsiteY1203" fmla="*/ 900600 h 1796087"/>
                <a:gd name="connsiteX1204" fmla="*/ 1479624 w 2290556"/>
                <a:gd name="connsiteY1204" fmla="*/ 900600 h 1796087"/>
                <a:gd name="connsiteX1205" fmla="*/ 1467441 w 2290556"/>
                <a:gd name="connsiteY1205" fmla="*/ 900600 h 1796087"/>
                <a:gd name="connsiteX1206" fmla="*/ 1459397 w 2290556"/>
                <a:gd name="connsiteY1206" fmla="*/ 900600 h 1796087"/>
                <a:gd name="connsiteX1207" fmla="*/ 1453306 w 2290556"/>
                <a:gd name="connsiteY1207" fmla="*/ 901139 h 1796087"/>
                <a:gd name="connsiteX1208" fmla="*/ 1446878 w 2290556"/>
                <a:gd name="connsiteY1208" fmla="*/ 902114 h 1796087"/>
                <a:gd name="connsiteX1209" fmla="*/ 1443176 w 2290556"/>
                <a:gd name="connsiteY1209" fmla="*/ 903191 h 1796087"/>
                <a:gd name="connsiteX1210" fmla="*/ 1439036 w 2290556"/>
                <a:gd name="connsiteY1210" fmla="*/ 905243 h 1796087"/>
                <a:gd name="connsiteX1211" fmla="*/ 1437959 w 2290556"/>
                <a:gd name="connsiteY1211" fmla="*/ 906555 h 1796087"/>
                <a:gd name="connsiteX1212" fmla="*/ 1436983 w 2290556"/>
                <a:gd name="connsiteY1212" fmla="*/ 908405 h 1796087"/>
                <a:gd name="connsiteX1213" fmla="*/ 1436983 w 2290556"/>
                <a:gd name="connsiteY1213" fmla="*/ 911567 h 1796087"/>
                <a:gd name="connsiteX1214" fmla="*/ 1435233 w 2290556"/>
                <a:gd name="connsiteY1214" fmla="*/ 915368 h 1796087"/>
                <a:gd name="connsiteX1215" fmla="*/ 1435233 w 2290556"/>
                <a:gd name="connsiteY1215" fmla="*/ 920246 h 1796087"/>
                <a:gd name="connsiteX1216" fmla="*/ 1432070 w 2290556"/>
                <a:gd name="connsiteY1216" fmla="*/ 925023 h 1796087"/>
                <a:gd name="connsiteX1217" fmla="*/ 1427055 w 2290556"/>
                <a:gd name="connsiteY1217" fmla="*/ 930674 h 1796087"/>
                <a:gd name="connsiteX1218" fmla="*/ 1421401 w 2290556"/>
                <a:gd name="connsiteY1218" fmla="*/ 936225 h 1796087"/>
                <a:gd name="connsiteX1219" fmla="*/ 1412180 w 2290556"/>
                <a:gd name="connsiteY1219" fmla="*/ 942953 h 1796087"/>
                <a:gd name="connsiteX1220" fmla="*/ 1400233 w 2290556"/>
                <a:gd name="connsiteY1220" fmla="*/ 955668 h 1796087"/>
                <a:gd name="connsiteX1221" fmla="*/ 1389699 w 2290556"/>
                <a:gd name="connsiteY1221" fmla="*/ 962834 h 1796087"/>
                <a:gd name="connsiteX1222" fmla="*/ 1378626 w 2290556"/>
                <a:gd name="connsiteY1222" fmla="*/ 970672 h 1796087"/>
                <a:gd name="connsiteX1223" fmla="*/ 1374722 w 2290556"/>
                <a:gd name="connsiteY1223" fmla="*/ 971849 h 1796087"/>
                <a:gd name="connsiteX1224" fmla="*/ 1364828 w 2290556"/>
                <a:gd name="connsiteY1224" fmla="*/ 975314 h 1796087"/>
                <a:gd name="connsiteX1225" fmla="*/ 1355169 w 2290556"/>
                <a:gd name="connsiteY1225" fmla="*/ 975314 h 1796087"/>
                <a:gd name="connsiteX1226" fmla="*/ 1348001 w 2290556"/>
                <a:gd name="connsiteY1226" fmla="*/ 974776 h 1796087"/>
                <a:gd name="connsiteX1227" fmla="*/ 1341808 w 2290556"/>
                <a:gd name="connsiteY1227" fmla="*/ 974338 h 1796087"/>
                <a:gd name="connsiteX1228" fmla="*/ 1336255 w 2290556"/>
                <a:gd name="connsiteY1228" fmla="*/ 974776 h 1796087"/>
                <a:gd name="connsiteX1229" fmla="*/ 1332553 w 2290556"/>
                <a:gd name="connsiteY1229" fmla="*/ 974237 h 1796087"/>
                <a:gd name="connsiteX1230" fmla="*/ 1327135 w 2290556"/>
                <a:gd name="connsiteY1230" fmla="*/ 973262 h 1796087"/>
                <a:gd name="connsiteX1231" fmla="*/ 1322558 w 2290556"/>
                <a:gd name="connsiteY1231" fmla="*/ 972051 h 1796087"/>
                <a:gd name="connsiteX1232" fmla="*/ 1317139 w 2290556"/>
                <a:gd name="connsiteY1232" fmla="*/ 971513 h 1796087"/>
                <a:gd name="connsiteX1233" fmla="*/ 1307582 w 2290556"/>
                <a:gd name="connsiteY1233" fmla="*/ 967711 h 1796087"/>
                <a:gd name="connsiteX1234" fmla="*/ 1302264 w 2290556"/>
                <a:gd name="connsiteY1234" fmla="*/ 968351 h 1796087"/>
                <a:gd name="connsiteX1235" fmla="*/ 1298024 w 2290556"/>
                <a:gd name="connsiteY1235" fmla="*/ 968351 h 1796087"/>
                <a:gd name="connsiteX1236" fmla="*/ 1293446 w 2290556"/>
                <a:gd name="connsiteY1236" fmla="*/ 967812 h 1796087"/>
                <a:gd name="connsiteX1237" fmla="*/ 1289307 w 2290556"/>
                <a:gd name="connsiteY1237" fmla="*/ 966063 h 1796087"/>
                <a:gd name="connsiteX1238" fmla="*/ 1284427 w 2290556"/>
                <a:gd name="connsiteY1238" fmla="*/ 963574 h 1796087"/>
                <a:gd name="connsiteX1239" fmla="*/ 1274735 w 2290556"/>
                <a:gd name="connsiteY1239" fmla="*/ 954760 h 1796087"/>
                <a:gd name="connsiteX1240" fmla="*/ 1272143 w 2290556"/>
                <a:gd name="connsiteY1240" fmla="*/ 952035 h 1796087"/>
                <a:gd name="connsiteX1241" fmla="*/ 1269653 w 2290556"/>
                <a:gd name="connsiteY1241" fmla="*/ 949546 h 1796087"/>
                <a:gd name="connsiteX1242" fmla="*/ 1267028 w 2290556"/>
                <a:gd name="connsiteY1242" fmla="*/ 948133 h 1796087"/>
                <a:gd name="connsiteX1243" fmla="*/ 1262249 w 2290556"/>
                <a:gd name="connsiteY1243" fmla="*/ 947494 h 1796087"/>
                <a:gd name="connsiteX1244" fmla="*/ 1253566 w 2290556"/>
                <a:gd name="connsiteY1244" fmla="*/ 947494 h 1796087"/>
                <a:gd name="connsiteX1245" fmla="*/ 1240508 w 2290556"/>
                <a:gd name="connsiteY1245" fmla="*/ 947494 h 1796087"/>
                <a:gd name="connsiteX1246" fmla="*/ 1236907 w 2290556"/>
                <a:gd name="connsiteY1246" fmla="*/ 947696 h 1796087"/>
                <a:gd name="connsiteX1247" fmla="*/ 1233340 w 2290556"/>
                <a:gd name="connsiteY1247" fmla="*/ 947830 h 1796087"/>
                <a:gd name="connsiteX1248" fmla="*/ 1229739 w 2290556"/>
                <a:gd name="connsiteY1248" fmla="*/ 948806 h 1796087"/>
                <a:gd name="connsiteX1249" fmla="*/ 1227450 w 2290556"/>
                <a:gd name="connsiteY1249" fmla="*/ 949344 h 1796087"/>
                <a:gd name="connsiteX1250" fmla="*/ 1222873 w 2290556"/>
                <a:gd name="connsiteY1250" fmla="*/ 951632 h 1796087"/>
                <a:gd name="connsiteX1251" fmla="*/ 1219507 w 2290556"/>
                <a:gd name="connsiteY1251" fmla="*/ 953280 h 1796087"/>
                <a:gd name="connsiteX1252" fmla="*/ 1216479 w 2290556"/>
                <a:gd name="connsiteY1252" fmla="*/ 955870 h 1796087"/>
                <a:gd name="connsiteX1253" fmla="*/ 1213753 w 2290556"/>
                <a:gd name="connsiteY1253" fmla="*/ 957922 h 1796087"/>
                <a:gd name="connsiteX1254" fmla="*/ 1210152 w 2290556"/>
                <a:gd name="connsiteY1254" fmla="*/ 960950 h 1796087"/>
                <a:gd name="connsiteX1255" fmla="*/ 1208099 w 2290556"/>
                <a:gd name="connsiteY1255" fmla="*/ 964953 h 1796087"/>
                <a:gd name="connsiteX1256" fmla="*/ 1205810 w 2290556"/>
                <a:gd name="connsiteY1256" fmla="*/ 969831 h 1796087"/>
                <a:gd name="connsiteX1257" fmla="*/ 1200358 w 2290556"/>
                <a:gd name="connsiteY1257" fmla="*/ 975684 h 1796087"/>
                <a:gd name="connsiteX1258" fmla="*/ 1198171 w 2290556"/>
                <a:gd name="connsiteY1258" fmla="*/ 985675 h 1796087"/>
                <a:gd name="connsiteX1259" fmla="*/ 1197194 w 2290556"/>
                <a:gd name="connsiteY1259" fmla="*/ 987962 h 1796087"/>
                <a:gd name="connsiteX1260" fmla="*/ 1195243 w 2290556"/>
                <a:gd name="connsiteY1260" fmla="*/ 992403 h 1796087"/>
                <a:gd name="connsiteX1261" fmla="*/ 1193728 w 2290556"/>
                <a:gd name="connsiteY1261" fmla="*/ 996641 h 1796087"/>
                <a:gd name="connsiteX1262" fmla="*/ 1191978 w 2290556"/>
                <a:gd name="connsiteY1262" fmla="*/ 1000544 h 1796087"/>
                <a:gd name="connsiteX1263" fmla="*/ 1191002 w 2290556"/>
                <a:gd name="connsiteY1263" fmla="*/ 1004984 h 1796087"/>
                <a:gd name="connsiteX1264" fmla="*/ 1190565 w 2290556"/>
                <a:gd name="connsiteY1264" fmla="*/ 1009559 h 1796087"/>
                <a:gd name="connsiteX1265" fmla="*/ 1189689 w 2290556"/>
                <a:gd name="connsiteY1265" fmla="*/ 1012721 h 1796087"/>
                <a:gd name="connsiteX1266" fmla="*/ 1188377 w 2290556"/>
                <a:gd name="connsiteY1266" fmla="*/ 1015648 h 1796087"/>
                <a:gd name="connsiteX1267" fmla="*/ 1185314 w 2290556"/>
                <a:gd name="connsiteY1267" fmla="*/ 1019348 h 1796087"/>
                <a:gd name="connsiteX1268" fmla="*/ 1184574 w 2290556"/>
                <a:gd name="connsiteY1268" fmla="*/ 1021299 h 1796087"/>
                <a:gd name="connsiteX1269" fmla="*/ 1184776 w 2290556"/>
                <a:gd name="connsiteY1269" fmla="*/ 1024764 h 1796087"/>
                <a:gd name="connsiteX1270" fmla="*/ 1184776 w 2290556"/>
                <a:gd name="connsiteY1270" fmla="*/ 1027691 h 1796087"/>
                <a:gd name="connsiteX1271" fmla="*/ 1185819 w 2290556"/>
                <a:gd name="connsiteY1271" fmla="*/ 1030752 h 1796087"/>
                <a:gd name="connsiteX1272" fmla="*/ 1188040 w 2290556"/>
                <a:gd name="connsiteY1272" fmla="*/ 1033342 h 1796087"/>
                <a:gd name="connsiteX1273" fmla="*/ 1191204 w 2290556"/>
                <a:gd name="connsiteY1273" fmla="*/ 1036942 h 1796087"/>
                <a:gd name="connsiteX1274" fmla="*/ 1192718 w 2290556"/>
                <a:gd name="connsiteY1274" fmla="*/ 1043569 h 1796087"/>
                <a:gd name="connsiteX1275" fmla="*/ 1192920 w 2290556"/>
                <a:gd name="connsiteY1275" fmla="*/ 1046731 h 1796087"/>
                <a:gd name="connsiteX1276" fmla="*/ 1198036 w 2290556"/>
                <a:gd name="connsiteY1276" fmla="*/ 1054434 h 1796087"/>
                <a:gd name="connsiteX1277" fmla="*/ 1201300 w 2290556"/>
                <a:gd name="connsiteY1277" fmla="*/ 1059850 h 1796087"/>
                <a:gd name="connsiteX1278" fmla="*/ 1207493 w 2290556"/>
                <a:gd name="connsiteY1278" fmla="*/ 1064863 h 1796087"/>
                <a:gd name="connsiteX1279" fmla="*/ 1218464 w 2290556"/>
                <a:gd name="connsiteY1279" fmla="*/ 1074854 h 1796087"/>
                <a:gd name="connsiteX1280" fmla="*/ 1221931 w 2290556"/>
                <a:gd name="connsiteY1280" fmla="*/ 1078991 h 1796087"/>
                <a:gd name="connsiteX1281" fmla="*/ 1225296 w 2290556"/>
                <a:gd name="connsiteY1281" fmla="*/ 1082153 h 1796087"/>
                <a:gd name="connsiteX1282" fmla="*/ 1226508 w 2290556"/>
                <a:gd name="connsiteY1282" fmla="*/ 1085618 h 1796087"/>
                <a:gd name="connsiteX1283" fmla="*/ 1226508 w 2290556"/>
                <a:gd name="connsiteY1283" fmla="*/ 1089857 h 1796087"/>
                <a:gd name="connsiteX1284" fmla="*/ 1226036 w 2290556"/>
                <a:gd name="connsiteY1284" fmla="*/ 1095845 h 1796087"/>
                <a:gd name="connsiteX1285" fmla="*/ 1222267 w 2290556"/>
                <a:gd name="connsiteY1285" fmla="*/ 1100622 h 1796087"/>
                <a:gd name="connsiteX1286" fmla="*/ 1217589 w 2290556"/>
                <a:gd name="connsiteY1286" fmla="*/ 1106273 h 1796087"/>
                <a:gd name="connsiteX1287" fmla="*/ 1207493 w 2290556"/>
                <a:gd name="connsiteY1287" fmla="*/ 1114851 h 1796087"/>
                <a:gd name="connsiteX1288" fmla="*/ 1196420 w 2290556"/>
                <a:gd name="connsiteY1288" fmla="*/ 1123429 h 1796087"/>
                <a:gd name="connsiteX1289" fmla="*/ 1185314 w 2290556"/>
                <a:gd name="connsiteY1289" fmla="*/ 1129518 h 1796087"/>
                <a:gd name="connsiteX1290" fmla="*/ 1166535 w 2290556"/>
                <a:gd name="connsiteY1290" fmla="*/ 1137423 h 1796087"/>
                <a:gd name="connsiteX1291" fmla="*/ 1159569 w 2290556"/>
                <a:gd name="connsiteY1291" fmla="*/ 1140586 h 1796087"/>
                <a:gd name="connsiteX1292" fmla="*/ 1153141 w 2290556"/>
                <a:gd name="connsiteY1292" fmla="*/ 1142436 h 1796087"/>
                <a:gd name="connsiteX1293" fmla="*/ 1148799 w 2290556"/>
                <a:gd name="connsiteY1293" fmla="*/ 1145160 h 1796087"/>
                <a:gd name="connsiteX1294" fmla="*/ 1144020 w 2290556"/>
                <a:gd name="connsiteY1294" fmla="*/ 1148087 h 1796087"/>
                <a:gd name="connsiteX1295" fmla="*/ 1140857 w 2290556"/>
                <a:gd name="connsiteY1295" fmla="*/ 1151552 h 1796087"/>
                <a:gd name="connsiteX1296" fmla="*/ 1137794 w 2290556"/>
                <a:gd name="connsiteY1296" fmla="*/ 1155589 h 1796087"/>
                <a:gd name="connsiteX1297" fmla="*/ 1135943 w 2290556"/>
                <a:gd name="connsiteY1297" fmla="*/ 1158852 h 1796087"/>
                <a:gd name="connsiteX1298" fmla="*/ 1134092 w 2290556"/>
                <a:gd name="connsiteY1298" fmla="*/ 1162014 h 1796087"/>
                <a:gd name="connsiteX1299" fmla="*/ 1131467 w 2290556"/>
                <a:gd name="connsiteY1299" fmla="*/ 1165378 h 1796087"/>
                <a:gd name="connsiteX1300" fmla="*/ 1129179 w 2290556"/>
                <a:gd name="connsiteY1300" fmla="*/ 1168103 h 1796087"/>
                <a:gd name="connsiteX1301" fmla="*/ 1126789 w 2290556"/>
                <a:gd name="connsiteY1301" fmla="*/ 1172341 h 1796087"/>
                <a:gd name="connsiteX1302" fmla="*/ 1123323 w 2290556"/>
                <a:gd name="connsiteY1302" fmla="*/ 1175941 h 1796087"/>
                <a:gd name="connsiteX1303" fmla="*/ 1120832 w 2290556"/>
                <a:gd name="connsiteY1303" fmla="*/ 1180818 h 1796087"/>
                <a:gd name="connsiteX1304" fmla="*/ 1115818 w 2290556"/>
                <a:gd name="connsiteY1304" fmla="*/ 1189195 h 1796087"/>
                <a:gd name="connsiteX1305" fmla="*/ 1094178 w 2290556"/>
                <a:gd name="connsiteY1305" fmla="*/ 1207562 h 1796087"/>
                <a:gd name="connsiteX1306" fmla="*/ 1091014 w 2290556"/>
                <a:gd name="connsiteY1306" fmla="*/ 1211599 h 1796087"/>
                <a:gd name="connsiteX1307" fmla="*/ 1087851 w 2290556"/>
                <a:gd name="connsiteY1307" fmla="*/ 1215198 h 1796087"/>
                <a:gd name="connsiteX1308" fmla="*/ 1084923 w 2290556"/>
                <a:gd name="connsiteY1308" fmla="*/ 1217048 h 1796087"/>
                <a:gd name="connsiteX1309" fmla="*/ 1080783 w 2290556"/>
                <a:gd name="connsiteY1309" fmla="*/ 1220110 h 1796087"/>
                <a:gd name="connsiteX1310" fmla="*/ 1076105 w 2290556"/>
                <a:gd name="connsiteY1310" fmla="*/ 1221422 h 1796087"/>
                <a:gd name="connsiteX1311" fmla="*/ 1070889 w 2290556"/>
                <a:gd name="connsiteY1311" fmla="*/ 1222498 h 1796087"/>
                <a:gd name="connsiteX1312" fmla="*/ 1067523 w 2290556"/>
                <a:gd name="connsiteY1312" fmla="*/ 1222935 h 1796087"/>
                <a:gd name="connsiteX1313" fmla="*/ 1062745 w 2290556"/>
                <a:gd name="connsiteY1313" fmla="*/ 1223373 h 1796087"/>
                <a:gd name="connsiteX1314" fmla="*/ 1055340 w 2290556"/>
                <a:gd name="connsiteY1314" fmla="*/ 1224146 h 1796087"/>
                <a:gd name="connsiteX1315" fmla="*/ 1051436 w 2290556"/>
                <a:gd name="connsiteY1315" fmla="*/ 1224584 h 1796087"/>
                <a:gd name="connsiteX1316" fmla="*/ 1046657 w 2290556"/>
                <a:gd name="connsiteY1316" fmla="*/ 1226636 h 1796087"/>
                <a:gd name="connsiteX1317" fmla="*/ 1040028 w 2290556"/>
                <a:gd name="connsiteY1317" fmla="*/ 1230235 h 1796087"/>
                <a:gd name="connsiteX1318" fmla="*/ 1034037 w 2290556"/>
                <a:gd name="connsiteY1318" fmla="*/ 1234238 h 1796087"/>
                <a:gd name="connsiteX1319" fmla="*/ 1025657 w 2290556"/>
                <a:gd name="connsiteY1319" fmla="*/ 1241504 h 1796087"/>
                <a:gd name="connsiteX1320" fmla="*/ 1016873 w 2290556"/>
                <a:gd name="connsiteY1320" fmla="*/ 1244734 h 1796087"/>
                <a:gd name="connsiteX1321" fmla="*/ 1002536 w 2290556"/>
                <a:gd name="connsiteY1321" fmla="*/ 1244734 h 1796087"/>
                <a:gd name="connsiteX1322" fmla="*/ 978944 w 2290556"/>
                <a:gd name="connsiteY1322" fmla="*/ 1246079 h 1796087"/>
                <a:gd name="connsiteX1323" fmla="*/ 959055 w 2290556"/>
                <a:gd name="connsiteY1323" fmla="*/ 1248199 h 1796087"/>
                <a:gd name="connsiteX1324" fmla="*/ 953199 w 2290556"/>
                <a:gd name="connsiteY1324" fmla="*/ 1248636 h 1796087"/>
                <a:gd name="connsiteX1325" fmla="*/ 941352 w 2290556"/>
                <a:gd name="connsiteY1325" fmla="*/ 1246786 h 1796087"/>
                <a:gd name="connsiteX1326" fmla="*/ 926242 w 2290556"/>
                <a:gd name="connsiteY1326" fmla="*/ 1245272 h 1796087"/>
                <a:gd name="connsiteX1327" fmla="*/ 916010 w 2290556"/>
                <a:gd name="connsiteY1327" fmla="*/ 1245474 h 1796087"/>
                <a:gd name="connsiteX1328" fmla="*/ 890130 w 2290556"/>
                <a:gd name="connsiteY1328" fmla="*/ 1246113 h 1796087"/>
                <a:gd name="connsiteX1329" fmla="*/ 883702 w 2290556"/>
                <a:gd name="connsiteY1329" fmla="*/ 1246449 h 1796087"/>
                <a:gd name="connsiteX1330" fmla="*/ 871250 w 2290556"/>
                <a:gd name="connsiteY1330" fmla="*/ 1248064 h 1796087"/>
                <a:gd name="connsiteX1331" fmla="*/ 860615 w 2290556"/>
                <a:gd name="connsiteY1331" fmla="*/ 1248064 h 1796087"/>
                <a:gd name="connsiteX1332" fmla="*/ 856576 w 2290556"/>
                <a:gd name="connsiteY1332" fmla="*/ 1245171 h 1796087"/>
                <a:gd name="connsiteX1333" fmla="*/ 852235 w 2290556"/>
                <a:gd name="connsiteY1333" fmla="*/ 1243388 h 1796087"/>
                <a:gd name="connsiteX1334" fmla="*/ 847692 w 2290556"/>
                <a:gd name="connsiteY1334" fmla="*/ 1242850 h 1796087"/>
                <a:gd name="connsiteX1335" fmla="*/ 842038 w 2290556"/>
                <a:gd name="connsiteY1335" fmla="*/ 1243085 h 1796087"/>
                <a:gd name="connsiteX1336" fmla="*/ 837898 w 2290556"/>
                <a:gd name="connsiteY1336" fmla="*/ 1243422 h 1796087"/>
                <a:gd name="connsiteX1337" fmla="*/ 833994 w 2290556"/>
                <a:gd name="connsiteY1337" fmla="*/ 1244734 h 1796087"/>
                <a:gd name="connsiteX1338" fmla="*/ 828677 w 2290556"/>
                <a:gd name="connsiteY1338" fmla="*/ 1247459 h 1796087"/>
                <a:gd name="connsiteX1339" fmla="*/ 815854 w 2290556"/>
                <a:gd name="connsiteY1339" fmla="*/ 1255936 h 1796087"/>
                <a:gd name="connsiteX1340" fmla="*/ 812354 w 2290556"/>
                <a:gd name="connsiteY1340" fmla="*/ 1260073 h 1796087"/>
                <a:gd name="connsiteX1341" fmla="*/ 803234 w 2290556"/>
                <a:gd name="connsiteY1341" fmla="*/ 1262361 h 1796087"/>
                <a:gd name="connsiteX1342" fmla="*/ 794214 w 2290556"/>
                <a:gd name="connsiteY1342" fmla="*/ 1262563 h 1796087"/>
                <a:gd name="connsiteX1343" fmla="*/ 785633 w 2290556"/>
                <a:gd name="connsiteY1343" fmla="*/ 1262462 h 1796087"/>
                <a:gd name="connsiteX1344" fmla="*/ 780079 w 2290556"/>
                <a:gd name="connsiteY1344" fmla="*/ 1263437 h 1796087"/>
                <a:gd name="connsiteX1345" fmla="*/ 770084 w 2290556"/>
                <a:gd name="connsiteY1345" fmla="*/ 1267239 h 1796087"/>
                <a:gd name="connsiteX1346" fmla="*/ 735184 w 2290556"/>
                <a:gd name="connsiteY1346" fmla="*/ 1282444 h 1796087"/>
                <a:gd name="connsiteX1347" fmla="*/ 719097 w 2290556"/>
                <a:gd name="connsiteY1347" fmla="*/ 1288734 h 1796087"/>
                <a:gd name="connsiteX1348" fmla="*/ 693890 w 2290556"/>
                <a:gd name="connsiteY1348" fmla="*/ 1299062 h 1796087"/>
                <a:gd name="connsiteX1349" fmla="*/ 667808 w 2290556"/>
                <a:gd name="connsiteY1349" fmla="*/ 1313291 h 1796087"/>
                <a:gd name="connsiteX1350" fmla="*/ 661817 w 2290556"/>
                <a:gd name="connsiteY1350" fmla="*/ 1316117 h 1796087"/>
                <a:gd name="connsiteX1351" fmla="*/ 655962 w 2290556"/>
                <a:gd name="connsiteY1351" fmla="*/ 1322105 h 1796087"/>
                <a:gd name="connsiteX1352" fmla="*/ 647817 w 2290556"/>
                <a:gd name="connsiteY1352" fmla="*/ 1326344 h 1796087"/>
                <a:gd name="connsiteX1353" fmla="*/ 645428 w 2290556"/>
                <a:gd name="connsiteY1353" fmla="*/ 1328934 h 1796087"/>
                <a:gd name="connsiteX1354" fmla="*/ 643476 w 2290556"/>
                <a:gd name="connsiteY1354" fmla="*/ 1332096 h 1796087"/>
                <a:gd name="connsiteX1355" fmla="*/ 638899 w 2290556"/>
                <a:gd name="connsiteY1355" fmla="*/ 1333946 h 1796087"/>
                <a:gd name="connsiteX1356" fmla="*/ 634423 w 2290556"/>
                <a:gd name="connsiteY1356" fmla="*/ 1332298 h 1796087"/>
                <a:gd name="connsiteX1357" fmla="*/ 633447 w 2290556"/>
                <a:gd name="connsiteY1357" fmla="*/ 1329573 h 1796087"/>
                <a:gd name="connsiteX1358" fmla="*/ 632134 w 2290556"/>
                <a:gd name="connsiteY1358" fmla="*/ 1325973 h 1796087"/>
                <a:gd name="connsiteX1359" fmla="*/ 627994 w 2290556"/>
                <a:gd name="connsiteY1359" fmla="*/ 1324998 h 1796087"/>
                <a:gd name="connsiteX1360" fmla="*/ 621600 w 2290556"/>
                <a:gd name="connsiteY1360" fmla="*/ 1324022 h 1796087"/>
                <a:gd name="connsiteX1361" fmla="*/ 616720 w 2290556"/>
                <a:gd name="connsiteY1361" fmla="*/ 1324897 h 1796087"/>
                <a:gd name="connsiteX1362" fmla="*/ 611066 w 2290556"/>
                <a:gd name="connsiteY1362" fmla="*/ 1325873 h 1796087"/>
                <a:gd name="connsiteX1363" fmla="*/ 606489 w 2290556"/>
                <a:gd name="connsiteY1363" fmla="*/ 1325873 h 1796087"/>
                <a:gd name="connsiteX1364" fmla="*/ 602047 w 2290556"/>
                <a:gd name="connsiteY1364" fmla="*/ 1324460 h 1796087"/>
                <a:gd name="connsiteX1365" fmla="*/ 600432 w 2290556"/>
                <a:gd name="connsiteY1365" fmla="*/ 1322408 h 1796087"/>
                <a:gd name="connsiteX1366" fmla="*/ 599119 w 2290556"/>
                <a:gd name="connsiteY1366" fmla="*/ 1318505 h 1796087"/>
                <a:gd name="connsiteX1367" fmla="*/ 599119 w 2290556"/>
                <a:gd name="connsiteY1367" fmla="*/ 1311542 h 1796087"/>
                <a:gd name="connsiteX1368" fmla="*/ 599119 w 2290556"/>
                <a:gd name="connsiteY1368" fmla="*/ 1308077 h 1796087"/>
                <a:gd name="connsiteX1369" fmla="*/ 599119 w 2290556"/>
                <a:gd name="connsiteY1369" fmla="*/ 1303199 h 1796087"/>
                <a:gd name="connsiteX1370" fmla="*/ 596561 w 2290556"/>
                <a:gd name="connsiteY1370" fmla="*/ 1299936 h 1796087"/>
                <a:gd name="connsiteX1371" fmla="*/ 594441 w 2290556"/>
                <a:gd name="connsiteY1371" fmla="*/ 1298288 h 1796087"/>
                <a:gd name="connsiteX1372" fmla="*/ 589426 w 2290556"/>
                <a:gd name="connsiteY1372" fmla="*/ 1297851 h 1796087"/>
                <a:gd name="connsiteX1373" fmla="*/ 584648 w 2290556"/>
                <a:gd name="connsiteY1373" fmla="*/ 1300475 h 1796087"/>
                <a:gd name="connsiteX1374" fmla="*/ 572262 w 2290556"/>
                <a:gd name="connsiteY1374" fmla="*/ 1303199 h 1796087"/>
                <a:gd name="connsiteX1375" fmla="*/ 539988 w 2290556"/>
                <a:gd name="connsiteY1375" fmla="*/ 1302224 h 1796087"/>
                <a:gd name="connsiteX1376" fmla="*/ 531170 w 2290556"/>
                <a:gd name="connsiteY1376" fmla="*/ 1300374 h 1796087"/>
                <a:gd name="connsiteX1377" fmla="*/ 518684 w 2290556"/>
                <a:gd name="connsiteY1377" fmla="*/ 1299297 h 1796087"/>
                <a:gd name="connsiteX1378" fmla="*/ 507275 w 2290556"/>
                <a:gd name="connsiteY1378" fmla="*/ 1294621 h 1796087"/>
                <a:gd name="connsiteX1379" fmla="*/ 486073 w 2290556"/>
                <a:gd name="connsiteY1379" fmla="*/ 1282881 h 1796087"/>
                <a:gd name="connsiteX1380" fmla="*/ 454774 w 2290556"/>
                <a:gd name="connsiteY1380" fmla="*/ 1267575 h 1796087"/>
                <a:gd name="connsiteX1381" fmla="*/ 438788 w 2290556"/>
                <a:gd name="connsiteY1381" fmla="*/ 1259434 h 1796087"/>
                <a:gd name="connsiteX1382" fmla="*/ 420750 w 2290556"/>
                <a:gd name="connsiteY1382" fmla="*/ 1254859 h 1796087"/>
                <a:gd name="connsiteX1383" fmla="*/ 411932 w 2290556"/>
                <a:gd name="connsiteY1383" fmla="*/ 1252471 h 1796087"/>
                <a:gd name="connsiteX1384" fmla="*/ 406480 w 2290556"/>
                <a:gd name="connsiteY1384" fmla="*/ 1250621 h 1796087"/>
                <a:gd name="connsiteX1385" fmla="*/ 398672 w 2290556"/>
                <a:gd name="connsiteY1385" fmla="*/ 1248232 h 1796087"/>
                <a:gd name="connsiteX1386" fmla="*/ 394634 w 2290556"/>
                <a:gd name="connsiteY1386" fmla="*/ 1246046 h 1796087"/>
                <a:gd name="connsiteX1387" fmla="*/ 391706 w 2290556"/>
                <a:gd name="connsiteY1387" fmla="*/ 1242244 h 1796087"/>
                <a:gd name="connsiteX1388" fmla="*/ 389619 w 2290556"/>
                <a:gd name="connsiteY1388" fmla="*/ 1238107 h 1796087"/>
                <a:gd name="connsiteX1389" fmla="*/ 389081 w 2290556"/>
                <a:gd name="connsiteY1389" fmla="*/ 1233532 h 1796087"/>
                <a:gd name="connsiteX1390" fmla="*/ 383629 w 2290556"/>
                <a:gd name="connsiteY1390" fmla="*/ 1227443 h 1796087"/>
                <a:gd name="connsiteX1391" fmla="*/ 376561 w 2290556"/>
                <a:gd name="connsiteY1391" fmla="*/ 1219067 h 1796087"/>
                <a:gd name="connsiteX1392" fmla="*/ 374912 w 2290556"/>
                <a:gd name="connsiteY1392" fmla="*/ 1215366 h 1796087"/>
                <a:gd name="connsiteX1393" fmla="*/ 371311 w 2290556"/>
                <a:gd name="connsiteY1393" fmla="*/ 1210791 h 1796087"/>
                <a:gd name="connsiteX1394" fmla="*/ 368383 w 2290556"/>
                <a:gd name="connsiteY1394" fmla="*/ 1208840 h 1796087"/>
                <a:gd name="connsiteX1395" fmla="*/ 365152 w 2290556"/>
                <a:gd name="connsiteY1395" fmla="*/ 1208100 h 1796087"/>
                <a:gd name="connsiteX1396" fmla="*/ 359936 w 2290556"/>
                <a:gd name="connsiteY1396" fmla="*/ 1208100 h 1796087"/>
                <a:gd name="connsiteX1397" fmla="*/ 355056 w 2290556"/>
                <a:gd name="connsiteY1397" fmla="*/ 1208100 h 1796087"/>
                <a:gd name="connsiteX1398" fmla="*/ 346036 w 2290556"/>
                <a:gd name="connsiteY1398" fmla="*/ 1206586 h 1796087"/>
                <a:gd name="connsiteX1399" fmla="*/ 337892 w 2290556"/>
                <a:gd name="connsiteY1399" fmla="*/ 1204534 h 1796087"/>
                <a:gd name="connsiteX1400" fmla="*/ 315949 w 2290556"/>
                <a:gd name="connsiteY1400" fmla="*/ 1193770 h 1796087"/>
                <a:gd name="connsiteX1401" fmla="*/ 284549 w 2290556"/>
                <a:gd name="connsiteY1401" fmla="*/ 1183005 h 1796087"/>
                <a:gd name="connsiteX1402" fmla="*/ 267285 w 2290556"/>
                <a:gd name="connsiteY1402" fmla="*/ 1182366 h 1796087"/>
                <a:gd name="connsiteX1403" fmla="*/ 213909 w 2290556"/>
                <a:gd name="connsiteY1403" fmla="*/ 1185528 h 1796087"/>
                <a:gd name="connsiteX1404" fmla="*/ 185773 w 2290556"/>
                <a:gd name="connsiteY1404" fmla="*/ 1185528 h 1796087"/>
                <a:gd name="connsiteX1405" fmla="*/ 139330 w 2290556"/>
                <a:gd name="connsiteY1405" fmla="*/ 1179607 h 1796087"/>
                <a:gd name="connsiteX1406" fmla="*/ 109075 w 2290556"/>
                <a:gd name="connsiteY1406" fmla="*/ 1171938 h 1796087"/>
                <a:gd name="connsiteX1407" fmla="*/ 84776 w 2290556"/>
                <a:gd name="connsiteY1407" fmla="*/ 1167026 h 1796087"/>
                <a:gd name="connsiteX1408" fmla="*/ 58593 w 2290556"/>
                <a:gd name="connsiteY1408" fmla="*/ 1161476 h 1796087"/>
                <a:gd name="connsiteX1409" fmla="*/ 23390 w 2290556"/>
                <a:gd name="connsiteY1409" fmla="*/ 1148625 h 1796087"/>
                <a:gd name="connsiteX1410" fmla="*/ 0 w 2290556"/>
                <a:gd name="connsiteY1410" fmla="*/ 1142974 h 1796087"/>
                <a:gd name="connsiteX1411" fmla="*/ 4341 w 2290556"/>
                <a:gd name="connsiteY1411" fmla="*/ 1164100 h 1796087"/>
                <a:gd name="connsiteX1412" fmla="*/ 9255 w 2290556"/>
                <a:gd name="connsiteY1412" fmla="*/ 1184956 h 1796087"/>
                <a:gd name="connsiteX1413" fmla="*/ 18813 w 2290556"/>
                <a:gd name="connsiteY1413" fmla="*/ 1206687 h 1796087"/>
                <a:gd name="connsiteX1414" fmla="*/ 19957 w 2290556"/>
                <a:gd name="connsiteY1414" fmla="*/ 1215232 h 1796087"/>
                <a:gd name="connsiteX1415" fmla="*/ 22919 w 2290556"/>
                <a:gd name="connsiteY1415" fmla="*/ 1221253 h 1796087"/>
                <a:gd name="connsiteX1416" fmla="*/ 24736 w 2290556"/>
                <a:gd name="connsiteY1416" fmla="*/ 1228553 h 1796087"/>
                <a:gd name="connsiteX1417" fmla="*/ 25375 w 2290556"/>
                <a:gd name="connsiteY1417" fmla="*/ 1231883 h 1796087"/>
                <a:gd name="connsiteX1418" fmla="*/ 27462 w 2290556"/>
                <a:gd name="connsiteY1418" fmla="*/ 1236896 h 1796087"/>
                <a:gd name="connsiteX1419" fmla="*/ 29784 w 2290556"/>
                <a:gd name="connsiteY1419" fmla="*/ 1241874 h 1796087"/>
                <a:gd name="connsiteX1420" fmla="*/ 28977 w 2290556"/>
                <a:gd name="connsiteY1420" fmla="*/ 1245205 h 1796087"/>
                <a:gd name="connsiteX1421" fmla="*/ 28842 w 2290556"/>
                <a:gd name="connsiteY1421" fmla="*/ 1248602 h 1796087"/>
                <a:gd name="connsiteX1422" fmla="*/ 31467 w 2290556"/>
                <a:gd name="connsiteY1422" fmla="*/ 1251933 h 1796087"/>
                <a:gd name="connsiteX1423" fmla="*/ 34294 w 2290556"/>
                <a:gd name="connsiteY1423" fmla="*/ 1256945 h 1796087"/>
                <a:gd name="connsiteX1424" fmla="*/ 33991 w 2290556"/>
                <a:gd name="connsiteY1424" fmla="*/ 1259266 h 1796087"/>
                <a:gd name="connsiteX1425" fmla="*/ 33688 w 2290556"/>
                <a:gd name="connsiteY1425" fmla="*/ 1262226 h 1796087"/>
                <a:gd name="connsiteX1426" fmla="*/ 36212 w 2290556"/>
                <a:gd name="connsiteY1426" fmla="*/ 1263976 h 1796087"/>
                <a:gd name="connsiteX1427" fmla="*/ 37794 w 2290556"/>
                <a:gd name="connsiteY1427" fmla="*/ 1265994 h 1796087"/>
                <a:gd name="connsiteX1428" fmla="*/ 38366 w 2290556"/>
                <a:gd name="connsiteY1428" fmla="*/ 1267878 h 1796087"/>
                <a:gd name="connsiteX1429" fmla="*/ 38871 w 2290556"/>
                <a:gd name="connsiteY1429" fmla="*/ 1270132 h 1796087"/>
                <a:gd name="connsiteX1430" fmla="*/ 36616 w 2290556"/>
                <a:gd name="connsiteY1430" fmla="*/ 1272621 h 1796087"/>
                <a:gd name="connsiteX1431" fmla="*/ 30020 w 2290556"/>
                <a:gd name="connsiteY1431" fmla="*/ 1276961 h 1796087"/>
                <a:gd name="connsiteX1432" fmla="*/ 25948 w 2290556"/>
                <a:gd name="connsiteY1432" fmla="*/ 1279214 h 1796087"/>
                <a:gd name="connsiteX1433" fmla="*/ 22246 w 2290556"/>
                <a:gd name="connsiteY1433" fmla="*/ 1280896 h 1796087"/>
                <a:gd name="connsiteX1434" fmla="*/ 17467 w 2290556"/>
                <a:gd name="connsiteY1434" fmla="*/ 1283285 h 1796087"/>
                <a:gd name="connsiteX1435" fmla="*/ 15885 w 2290556"/>
                <a:gd name="connsiteY1435" fmla="*/ 1284294 h 1796087"/>
                <a:gd name="connsiteX1436" fmla="*/ 15077 w 2290556"/>
                <a:gd name="connsiteY1436" fmla="*/ 1286178 h 1796087"/>
                <a:gd name="connsiteX1437" fmla="*/ 15077 w 2290556"/>
                <a:gd name="connsiteY1437" fmla="*/ 1288062 h 1796087"/>
                <a:gd name="connsiteX1438" fmla="*/ 16827 w 2290556"/>
                <a:gd name="connsiteY1438" fmla="*/ 1291022 h 1796087"/>
                <a:gd name="connsiteX1439" fmla="*/ 20294 w 2290556"/>
                <a:gd name="connsiteY1439" fmla="*/ 1294924 h 1796087"/>
                <a:gd name="connsiteX1440" fmla="*/ 22380 w 2290556"/>
                <a:gd name="connsiteY1440" fmla="*/ 1300340 h 1796087"/>
                <a:gd name="connsiteX1441" fmla="*/ 25780 w 2290556"/>
                <a:gd name="connsiteY1441" fmla="*/ 1304612 h 1796087"/>
                <a:gd name="connsiteX1442" fmla="*/ 25780 w 2290556"/>
                <a:gd name="connsiteY1442" fmla="*/ 1307371 h 1796087"/>
                <a:gd name="connsiteX1443" fmla="*/ 29414 w 2290556"/>
                <a:gd name="connsiteY1443" fmla="*/ 1314469 h 1796087"/>
                <a:gd name="connsiteX1444" fmla="*/ 32174 w 2290556"/>
                <a:gd name="connsiteY1444" fmla="*/ 1318674 h 1796087"/>
                <a:gd name="connsiteX1445" fmla="*/ 34058 w 2290556"/>
                <a:gd name="connsiteY1445" fmla="*/ 1323585 h 1796087"/>
                <a:gd name="connsiteX1446" fmla="*/ 36313 w 2290556"/>
                <a:gd name="connsiteY1446" fmla="*/ 1327151 h 1796087"/>
                <a:gd name="connsiteX1447" fmla="*/ 38905 w 2290556"/>
                <a:gd name="connsiteY1447" fmla="*/ 1330784 h 1796087"/>
                <a:gd name="connsiteX1448" fmla="*/ 40924 w 2290556"/>
                <a:gd name="connsiteY1448" fmla="*/ 1332163 h 1796087"/>
                <a:gd name="connsiteX1449" fmla="*/ 44626 w 2290556"/>
                <a:gd name="connsiteY1449" fmla="*/ 1334854 h 1796087"/>
                <a:gd name="connsiteX1450" fmla="*/ 46814 w 2290556"/>
                <a:gd name="connsiteY1450" fmla="*/ 1336435 h 1796087"/>
                <a:gd name="connsiteX1451" fmla="*/ 47116 w 2290556"/>
                <a:gd name="connsiteY1451" fmla="*/ 1339900 h 1796087"/>
                <a:gd name="connsiteX1452" fmla="*/ 50145 w 2290556"/>
                <a:gd name="connsiteY1452" fmla="*/ 1343432 h 1796087"/>
                <a:gd name="connsiteX1453" fmla="*/ 54419 w 2290556"/>
                <a:gd name="connsiteY1453" fmla="*/ 1347267 h 1796087"/>
                <a:gd name="connsiteX1454" fmla="*/ 59064 w 2290556"/>
                <a:gd name="connsiteY1454" fmla="*/ 1350530 h 1796087"/>
                <a:gd name="connsiteX1455" fmla="*/ 60881 w 2290556"/>
                <a:gd name="connsiteY1455" fmla="*/ 1352852 h 1796087"/>
                <a:gd name="connsiteX1456" fmla="*/ 63203 w 2290556"/>
                <a:gd name="connsiteY1456" fmla="*/ 1352482 h 1796087"/>
                <a:gd name="connsiteX1457" fmla="*/ 65896 w 2290556"/>
                <a:gd name="connsiteY1457" fmla="*/ 1352482 h 1796087"/>
                <a:gd name="connsiteX1458" fmla="*/ 68723 w 2290556"/>
                <a:gd name="connsiteY1458" fmla="*/ 1355509 h 1796087"/>
                <a:gd name="connsiteX1459" fmla="*/ 69362 w 2290556"/>
                <a:gd name="connsiteY1459" fmla="*/ 1357830 h 1796087"/>
                <a:gd name="connsiteX1460" fmla="*/ 74074 w 2290556"/>
                <a:gd name="connsiteY1460" fmla="*/ 1358705 h 1796087"/>
                <a:gd name="connsiteX1461" fmla="*/ 74444 w 2290556"/>
                <a:gd name="connsiteY1461" fmla="*/ 1360959 h 1796087"/>
                <a:gd name="connsiteX1462" fmla="*/ 74579 w 2290556"/>
                <a:gd name="connsiteY1462" fmla="*/ 1362641 h 1796087"/>
                <a:gd name="connsiteX1463" fmla="*/ 74646 w 2290556"/>
                <a:gd name="connsiteY1463" fmla="*/ 1365904 h 1796087"/>
                <a:gd name="connsiteX1464" fmla="*/ 74579 w 2290556"/>
                <a:gd name="connsiteY1464" fmla="*/ 1369671 h 1796087"/>
                <a:gd name="connsiteX1465" fmla="*/ 73838 w 2290556"/>
                <a:gd name="connsiteY1465" fmla="*/ 1372363 h 1796087"/>
                <a:gd name="connsiteX1466" fmla="*/ 72593 w 2290556"/>
                <a:gd name="connsiteY1466" fmla="*/ 1373607 h 1796087"/>
                <a:gd name="connsiteX1467" fmla="*/ 70944 w 2290556"/>
                <a:gd name="connsiteY1467" fmla="*/ 1375424 h 1796087"/>
                <a:gd name="connsiteX1468" fmla="*/ 70641 w 2290556"/>
                <a:gd name="connsiteY1468" fmla="*/ 1377812 h 1796087"/>
                <a:gd name="connsiteX1469" fmla="*/ 71280 w 2290556"/>
                <a:gd name="connsiteY1469" fmla="*/ 1379898 h 1796087"/>
                <a:gd name="connsiteX1470" fmla="*/ 70910 w 2290556"/>
                <a:gd name="connsiteY1470" fmla="*/ 1382656 h 1796087"/>
                <a:gd name="connsiteX1471" fmla="*/ 69732 w 2290556"/>
                <a:gd name="connsiteY1471" fmla="*/ 1383228 h 1796087"/>
                <a:gd name="connsiteX1472" fmla="*/ 67410 w 2290556"/>
                <a:gd name="connsiteY1472" fmla="*/ 1385045 h 1796087"/>
                <a:gd name="connsiteX1473" fmla="*/ 66535 w 2290556"/>
                <a:gd name="connsiteY1473" fmla="*/ 1386121 h 1796087"/>
                <a:gd name="connsiteX1474" fmla="*/ 65223 w 2290556"/>
                <a:gd name="connsiteY1474" fmla="*/ 1389822 h 1796087"/>
                <a:gd name="connsiteX1475" fmla="*/ 64583 w 2290556"/>
                <a:gd name="connsiteY1475" fmla="*/ 1392849 h 1796087"/>
                <a:gd name="connsiteX1476" fmla="*/ 63944 w 2290556"/>
                <a:gd name="connsiteY1476" fmla="*/ 1395036 h 1796087"/>
                <a:gd name="connsiteX1477" fmla="*/ 63304 w 2290556"/>
                <a:gd name="connsiteY1477" fmla="*/ 1396919 h 1796087"/>
                <a:gd name="connsiteX1478" fmla="*/ 62227 w 2290556"/>
                <a:gd name="connsiteY1478" fmla="*/ 1399308 h 1796087"/>
                <a:gd name="connsiteX1479" fmla="*/ 61352 w 2290556"/>
                <a:gd name="connsiteY1479" fmla="*/ 1401494 h 1796087"/>
                <a:gd name="connsiteX1480" fmla="*/ 63742 w 2290556"/>
                <a:gd name="connsiteY1480" fmla="*/ 1402571 h 1796087"/>
                <a:gd name="connsiteX1481" fmla="*/ 67444 w 2290556"/>
                <a:gd name="connsiteY1481" fmla="*/ 1402874 h 1796087"/>
                <a:gd name="connsiteX1482" fmla="*/ 70136 w 2290556"/>
                <a:gd name="connsiteY1482" fmla="*/ 1402672 h 1796087"/>
                <a:gd name="connsiteX1483" fmla="*/ 71011 w 2290556"/>
                <a:gd name="connsiteY1483" fmla="*/ 1402100 h 1796087"/>
                <a:gd name="connsiteX1484" fmla="*/ 71718 w 2290556"/>
                <a:gd name="connsiteY1484" fmla="*/ 1399779 h 1796087"/>
                <a:gd name="connsiteX1485" fmla="*/ 75622 w 2290556"/>
                <a:gd name="connsiteY1485" fmla="*/ 1400216 h 1796087"/>
                <a:gd name="connsiteX1486" fmla="*/ 75622 w 2290556"/>
                <a:gd name="connsiteY1486" fmla="*/ 1402806 h 1796087"/>
                <a:gd name="connsiteX1487" fmla="*/ 79761 w 2290556"/>
                <a:gd name="connsiteY1487" fmla="*/ 1404690 h 1796087"/>
                <a:gd name="connsiteX1488" fmla="*/ 86223 w 2290556"/>
                <a:gd name="connsiteY1488" fmla="*/ 1405397 h 1796087"/>
                <a:gd name="connsiteX1489" fmla="*/ 92180 w 2290556"/>
                <a:gd name="connsiteY1489" fmla="*/ 1405531 h 1796087"/>
                <a:gd name="connsiteX1490" fmla="*/ 94065 w 2290556"/>
                <a:gd name="connsiteY1490" fmla="*/ 1403345 h 1796087"/>
                <a:gd name="connsiteX1491" fmla="*/ 95815 w 2290556"/>
                <a:gd name="connsiteY1491" fmla="*/ 1399140 h 1796087"/>
                <a:gd name="connsiteX1492" fmla="*/ 99719 w 2290556"/>
                <a:gd name="connsiteY1492" fmla="*/ 1397559 h 1796087"/>
                <a:gd name="connsiteX1493" fmla="*/ 103925 w 2290556"/>
                <a:gd name="connsiteY1493" fmla="*/ 1393656 h 1796087"/>
                <a:gd name="connsiteX1494" fmla="*/ 109579 w 2290556"/>
                <a:gd name="connsiteY1494" fmla="*/ 1388577 h 1796087"/>
                <a:gd name="connsiteX1495" fmla="*/ 115806 w 2290556"/>
                <a:gd name="connsiteY1495" fmla="*/ 1385246 h 1796087"/>
                <a:gd name="connsiteX1496" fmla="*/ 119878 w 2290556"/>
                <a:gd name="connsiteY1496" fmla="*/ 1384675 h 1796087"/>
                <a:gd name="connsiteX1497" fmla="*/ 122334 w 2290556"/>
                <a:gd name="connsiteY1497" fmla="*/ 1383228 h 1796087"/>
                <a:gd name="connsiteX1498" fmla="*/ 124656 w 2290556"/>
                <a:gd name="connsiteY1498" fmla="*/ 1380335 h 1796087"/>
                <a:gd name="connsiteX1499" fmla="*/ 126844 w 2290556"/>
                <a:gd name="connsiteY1499" fmla="*/ 1380032 h 1796087"/>
                <a:gd name="connsiteX1500" fmla="*/ 129604 w 2290556"/>
                <a:gd name="connsiteY1500" fmla="*/ 1380167 h 1796087"/>
                <a:gd name="connsiteX1501" fmla="*/ 132195 w 2290556"/>
                <a:gd name="connsiteY1501" fmla="*/ 1377543 h 1796087"/>
                <a:gd name="connsiteX1502" fmla="*/ 135090 w 2290556"/>
                <a:gd name="connsiteY1502" fmla="*/ 1375357 h 1796087"/>
                <a:gd name="connsiteX1503" fmla="*/ 142494 w 2290556"/>
                <a:gd name="connsiteY1503" fmla="*/ 1374482 h 1796087"/>
                <a:gd name="connsiteX1504" fmla="*/ 148148 w 2290556"/>
                <a:gd name="connsiteY1504" fmla="*/ 1375491 h 1796087"/>
                <a:gd name="connsiteX1505" fmla="*/ 152051 w 2290556"/>
                <a:gd name="connsiteY1505" fmla="*/ 1373876 h 1796087"/>
                <a:gd name="connsiteX1506" fmla="*/ 157133 w 2290556"/>
                <a:gd name="connsiteY1506" fmla="*/ 1372867 h 1796087"/>
                <a:gd name="connsiteX1507" fmla="*/ 161037 w 2290556"/>
                <a:gd name="connsiteY1507" fmla="*/ 1375121 h 1796087"/>
                <a:gd name="connsiteX1508" fmla="*/ 162484 w 2290556"/>
                <a:gd name="connsiteY1508" fmla="*/ 1375256 h 1796087"/>
                <a:gd name="connsiteX1509" fmla="*/ 165244 w 2290556"/>
                <a:gd name="connsiteY1509" fmla="*/ 1376635 h 1796087"/>
                <a:gd name="connsiteX1510" fmla="*/ 168206 w 2290556"/>
                <a:gd name="connsiteY1510" fmla="*/ 1376635 h 1796087"/>
                <a:gd name="connsiteX1511" fmla="*/ 170965 w 2290556"/>
                <a:gd name="connsiteY1511" fmla="*/ 1376568 h 1796087"/>
                <a:gd name="connsiteX1512" fmla="*/ 174297 w 2290556"/>
                <a:gd name="connsiteY1512" fmla="*/ 1376500 h 1796087"/>
                <a:gd name="connsiteX1513" fmla="*/ 178437 w 2290556"/>
                <a:gd name="connsiteY1513" fmla="*/ 1376870 h 1796087"/>
                <a:gd name="connsiteX1514" fmla="*/ 180321 w 2290556"/>
                <a:gd name="connsiteY1514" fmla="*/ 1376063 h 1796087"/>
                <a:gd name="connsiteX1515" fmla="*/ 181634 w 2290556"/>
                <a:gd name="connsiteY1515" fmla="*/ 1375188 h 1796087"/>
                <a:gd name="connsiteX1516" fmla="*/ 182139 w 2290556"/>
                <a:gd name="connsiteY1516" fmla="*/ 1373876 h 1796087"/>
                <a:gd name="connsiteX1517" fmla="*/ 182711 w 2290556"/>
                <a:gd name="connsiteY1517" fmla="*/ 1372564 h 1796087"/>
                <a:gd name="connsiteX1518" fmla="*/ 183720 w 2290556"/>
                <a:gd name="connsiteY1518" fmla="*/ 1371320 h 1796087"/>
                <a:gd name="connsiteX1519" fmla="*/ 183855 w 2290556"/>
                <a:gd name="connsiteY1519" fmla="*/ 1369571 h 1796087"/>
                <a:gd name="connsiteX1520" fmla="*/ 185437 w 2290556"/>
                <a:gd name="connsiteY1520" fmla="*/ 1367552 h 1796087"/>
                <a:gd name="connsiteX1521" fmla="*/ 187187 w 2290556"/>
                <a:gd name="connsiteY1521" fmla="*/ 1366677 h 1796087"/>
                <a:gd name="connsiteX1522" fmla="*/ 188567 w 2290556"/>
                <a:gd name="connsiteY1522" fmla="*/ 1368494 h 1796087"/>
                <a:gd name="connsiteX1523" fmla="*/ 192908 w 2290556"/>
                <a:gd name="connsiteY1523" fmla="*/ 1369941 h 1796087"/>
                <a:gd name="connsiteX1524" fmla="*/ 194860 w 2290556"/>
                <a:gd name="connsiteY1524" fmla="*/ 1370580 h 1796087"/>
                <a:gd name="connsiteX1525" fmla="*/ 200278 w 2290556"/>
                <a:gd name="connsiteY1525" fmla="*/ 1372463 h 1796087"/>
                <a:gd name="connsiteX1526" fmla="*/ 201591 w 2290556"/>
                <a:gd name="connsiteY1526" fmla="*/ 1372463 h 1796087"/>
                <a:gd name="connsiteX1527" fmla="*/ 204351 w 2290556"/>
                <a:gd name="connsiteY1527" fmla="*/ 1373473 h 1796087"/>
                <a:gd name="connsiteX1528" fmla="*/ 208995 w 2290556"/>
                <a:gd name="connsiteY1528" fmla="*/ 1374785 h 1796087"/>
                <a:gd name="connsiteX1529" fmla="*/ 211687 w 2290556"/>
                <a:gd name="connsiteY1529" fmla="*/ 1375121 h 1796087"/>
                <a:gd name="connsiteX1530" fmla="*/ 214380 w 2290556"/>
                <a:gd name="connsiteY1530" fmla="*/ 1375155 h 1796087"/>
                <a:gd name="connsiteX1531" fmla="*/ 216567 w 2290556"/>
                <a:gd name="connsiteY1531" fmla="*/ 1375155 h 1796087"/>
                <a:gd name="connsiteX1532" fmla="*/ 218519 w 2290556"/>
                <a:gd name="connsiteY1532" fmla="*/ 1375155 h 1796087"/>
                <a:gd name="connsiteX1533" fmla="*/ 218755 w 2290556"/>
                <a:gd name="connsiteY1533" fmla="*/ 1376399 h 1796087"/>
                <a:gd name="connsiteX1534" fmla="*/ 220269 w 2290556"/>
                <a:gd name="connsiteY1534" fmla="*/ 1378216 h 1796087"/>
                <a:gd name="connsiteX1535" fmla="*/ 223534 w 2290556"/>
                <a:gd name="connsiteY1535" fmla="*/ 1379898 h 1796087"/>
                <a:gd name="connsiteX1536" fmla="*/ 226428 w 2290556"/>
                <a:gd name="connsiteY1536" fmla="*/ 1381916 h 1796087"/>
                <a:gd name="connsiteX1537" fmla="*/ 228952 w 2290556"/>
                <a:gd name="connsiteY1537" fmla="*/ 1384237 h 1796087"/>
                <a:gd name="connsiteX1538" fmla="*/ 229827 w 2290556"/>
                <a:gd name="connsiteY1538" fmla="*/ 1385751 h 1796087"/>
                <a:gd name="connsiteX1539" fmla="*/ 230399 w 2290556"/>
                <a:gd name="connsiteY1539" fmla="*/ 1388510 h 1796087"/>
                <a:gd name="connsiteX1540" fmla="*/ 230534 w 2290556"/>
                <a:gd name="connsiteY1540" fmla="*/ 1391638 h 1796087"/>
                <a:gd name="connsiteX1541" fmla="*/ 232082 w 2290556"/>
                <a:gd name="connsiteY1541" fmla="*/ 1394464 h 1796087"/>
                <a:gd name="connsiteX1542" fmla="*/ 233496 w 2290556"/>
                <a:gd name="connsiteY1542" fmla="*/ 1395978 h 1796087"/>
                <a:gd name="connsiteX1543" fmla="*/ 234371 w 2290556"/>
                <a:gd name="connsiteY1543" fmla="*/ 1397290 h 1796087"/>
                <a:gd name="connsiteX1544" fmla="*/ 235683 w 2290556"/>
                <a:gd name="connsiteY1544" fmla="*/ 1401629 h 1796087"/>
                <a:gd name="connsiteX1545" fmla="*/ 235246 w 2290556"/>
                <a:gd name="connsiteY1545" fmla="*/ 1402605 h 1796087"/>
                <a:gd name="connsiteX1546" fmla="*/ 233933 w 2290556"/>
                <a:gd name="connsiteY1546" fmla="*/ 1404118 h 1796087"/>
                <a:gd name="connsiteX1547" fmla="*/ 232957 w 2290556"/>
                <a:gd name="connsiteY1547" fmla="*/ 1405195 h 1796087"/>
                <a:gd name="connsiteX1548" fmla="*/ 233933 w 2290556"/>
                <a:gd name="connsiteY1548" fmla="*/ 1407045 h 1796087"/>
                <a:gd name="connsiteX1549" fmla="*/ 233933 w 2290556"/>
                <a:gd name="connsiteY1549" fmla="*/ 1410846 h 1796087"/>
                <a:gd name="connsiteX1550" fmla="*/ 232991 w 2290556"/>
                <a:gd name="connsiteY1550" fmla="*/ 1413470 h 1796087"/>
                <a:gd name="connsiteX1551" fmla="*/ 231846 w 2290556"/>
                <a:gd name="connsiteY1551" fmla="*/ 1414984 h 1796087"/>
                <a:gd name="connsiteX1552" fmla="*/ 230668 w 2290556"/>
                <a:gd name="connsiteY1552" fmla="*/ 1416632 h 1796087"/>
                <a:gd name="connsiteX1553" fmla="*/ 228178 w 2290556"/>
                <a:gd name="connsiteY1553" fmla="*/ 1419021 h 1796087"/>
                <a:gd name="connsiteX1554" fmla="*/ 227101 w 2290556"/>
                <a:gd name="connsiteY1554" fmla="*/ 1420333 h 1796087"/>
                <a:gd name="connsiteX1555" fmla="*/ 224813 w 2290556"/>
                <a:gd name="connsiteY1555" fmla="*/ 1422519 h 1796087"/>
                <a:gd name="connsiteX1556" fmla="*/ 223063 w 2290556"/>
                <a:gd name="connsiteY1556" fmla="*/ 1423730 h 1796087"/>
                <a:gd name="connsiteX1557" fmla="*/ 221548 w 2290556"/>
                <a:gd name="connsiteY1557" fmla="*/ 1424941 h 1796087"/>
                <a:gd name="connsiteX1558" fmla="*/ 219697 w 2290556"/>
                <a:gd name="connsiteY1558" fmla="*/ 1426556 h 1796087"/>
                <a:gd name="connsiteX1559" fmla="*/ 218284 w 2290556"/>
                <a:gd name="connsiteY1559" fmla="*/ 1428171 h 1796087"/>
                <a:gd name="connsiteX1560" fmla="*/ 218485 w 2290556"/>
                <a:gd name="connsiteY1560" fmla="*/ 1430660 h 1796087"/>
                <a:gd name="connsiteX1561" fmla="*/ 217308 w 2290556"/>
                <a:gd name="connsiteY1561" fmla="*/ 1432073 h 1796087"/>
                <a:gd name="connsiteX1562" fmla="*/ 216231 w 2290556"/>
                <a:gd name="connsiteY1562" fmla="*/ 1432611 h 1796087"/>
                <a:gd name="connsiteX1563" fmla="*/ 214178 w 2290556"/>
                <a:gd name="connsiteY1563" fmla="*/ 1434024 h 1796087"/>
                <a:gd name="connsiteX1564" fmla="*/ 210577 w 2290556"/>
                <a:gd name="connsiteY1564" fmla="*/ 1439036 h 1796087"/>
                <a:gd name="connsiteX1565" fmla="*/ 208961 w 2290556"/>
                <a:gd name="connsiteY1565" fmla="*/ 1441425 h 1796087"/>
                <a:gd name="connsiteX1566" fmla="*/ 206908 w 2290556"/>
                <a:gd name="connsiteY1566" fmla="*/ 1444015 h 1796087"/>
                <a:gd name="connsiteX1567" fmla="*/ 205832 w 2290556"/>
                <a:gd name="connsiteY1567" fmla="*/ 1446504 h 1796087"/>
                <a:gd name="connsiteX1568" fmla="*/ 206807 w 2290556"/>
                <a:gd name="connsiteY1568" fmla="*/ 1448691 h 1796087"/>
                <a:gd name="connsiteX1569" fmla="*/ 208019 w 2290556"/>
                <a:gd name="connsiteY1569" fmla="*/ 1452694 h 1796087"/>
                <a:gd name="connsiteX1570" fmla="*/ 207245 w 2290556"/>
                <a:gd name="connsiteY1570" fmla="*/ 1454746 h 1796087"/>
                <a:gd name="connsiteX1571" fmla="*/ 205192 w 2290556"/>
                <a:gd name="connsiteY1571" fmla="*/ 1456260 h 1796087"/>
                <a:gd name="connsiteX1572" fmla="*/ 202601 w 2290556"/>
                <a:gd name="connsiteY1572" fmla="*/ 1458177 h 1796087"/>
                <a:gd name="connsiteX1573" fmla="*/ 200110 w 2290556"/>
                <a:gd name="connsiteY1573" fmla="*/ 1458312 h 1796087"/>
                <a:gd name="connsiteX1574" fmla="*/ 196644 w 2290556"/>
                <a:gd name="connsiteY1574" fmla="*/ 1458312 h 1796087"/>
                <a:gd name="connsiteX1575" fmla="*/ 196442 w 2290556"/>
                <a:gd name="connsiteY1575" fmla="*/ 1458312 h 1796087"/>
                <a:gd name="connsiteX1576" fmla="*/ 195028 w 2290556"/>
                <a:gd name="connsiteY1576" fmla="*/ 1459557 h 1796087"/>
                <a:gd name="connsiteX1577" fmla="*/ 193716 w 2290556"/>
                <a:gd name="connsiteY1577" fmla="*/ 1461239 h 1796087"/>
                <a:gd name="connsiteX1578" fmla="*/ 192201 w 2290556"/>
                <a:gd name="connsiteY1578" fmla="*/ 1463425 h 1796087"/>
                <a:gd name="connsiteX1579" fmla="*/ 190451 w 2290556"/>
                <a:gd name="connsiteY1579" fmla="*/ 1465174 h 1796087"/>
                <a:gd name="connsiteX1580" fmla="*/ 187961 w 2290556"/>
                <a:gd name="connsiteY1580" fmla="*/ 1467025 h 1796087"/>
                <a:gd name="connsiteX1581" fmla="*/ 186884 w 2290556"/>
                <a:gd name="connsiteY1581" fmla="*/ 1467025 h 1796087"/>
                <a:gd name="connsiteX1582" fmla="*/ 182744 w 2290556"/>
                <a:gd name="connsiteY1582" fmla="*/ 1467025 h 1796087"/>
                <a:gd name="connsiteX1583" fmla="*/ 180793 w 2290556"/>
                <a:gd name="connsiteY1583" fmla="*/ 1467025 h 1796087"/>
                <a:gd name="connsiteX1584" fmla="*/ 178605 w 2290556"/>
                <a:gd name="connsiteY1584" fmla="*/ 1467899 h 1796087"/>
                <a:gd name="connsiteX1585" fmla="*/ 177393 w 2290556"/>
                <a:gd name="connsiteY1585" fmla="*/ 1468875 h 1796087"/>
                <a:gd name="connsiteX1586" fmla="*/ 175879 w 2290556"/>
                <a:gd name="connsiteY1586" fmla="*/ 1470287 h 1796087"/>
                <a:gd name="connsiteX1587" fmla="*/ 173388 w 2290556"/>
                <a:gd name="connsiteY1587" fmla="*/ 1472474 h 1796087"/>
                <a:gd name="connsiteX1588" fmla="*/ 171538 w 2290556"/>
                <a:gd name="connsiteY1588" fmla="*/ 1473248 h 1796087"/>
                <a:gd name="connsiteX1589" fmla="*/ 170124 w 2290556"/>
                <a:gd name="connsiteY1589" fmla="*/ 1474324 h 1796087"/>
                <a:gd name="connsiteX1590" fmla="*/ 167936 w 2290556"/>
                <a:gd name="connsiteY1590" fmla="*/ 1475535 h 1796087"/>
                <a:gd name="connsiteX1591" fmla="*/ 166186 w 2290556"/>
                <a:gd name="connsiteY1591" fmla="*/ 1478126 h 1796087"/>
                <a:gd name="connsiteX1592" fmla="*/ 165311 w 2290556"/>
                <a:gd name="connsiteY1592" fmla="*/ 1479875 h 1796087"/>
                <a:gd name="connsiteX1593" fmla="*/ 164436 w 2290556"/>
                <a:gd name="connsiteY1593" fmla="*/ 1482465 h 1796087"/>
                <a:gd name="connsiteX1594" fmla="*/ 163898 w 2290556"/>
                <a:gd name="connsiteY1594" fmla="*/ 1483542 h 1796087"/>
                <a:gd name="connsiteX1595" fmla="*/ 161508 w 2290556"/>
                <a:gd name="connsiteY1595" fmla="*/ 1485022 h 1796087"/>
                <a:gd name="connsiteX1596" fmla="*/ 158917 w 2290556"/>
                <a:gd name="connsiteY1596" fmla="*/ 1485156 h 1796087"/>
                <a:gd name="connsiteX1597" fmla="*/ 154475 w 2290556"/>
                <a:gd name="connsiteY1597" fmla="*/ 1485156 h 1796087"/>
                <a:gd name="connsiteX1598" fmla="*/ 159254 w 2290556"/>
                <a:gd name="connsiteY1598" fmla="*/ 1488621 h 1796087"/>
                <a:gd name="connsiteX1599" fmla="*/ 161980 w 2290556"/>
                <a:gd name="connsiteY1599" fmla="*/ 1487847 h 1796087"/>
                <a:gd name="connsiteX1600" fmla="*/ 166119 w 2290556"/>
                <a:gd name="connsiteY1600" fmla="*/ 1486603 h 1796087"/>
                <a:gd name="connsiteX1601" fmla="*/ 168744 w 2290556"/>
                <a:gd name="connsiteY1601" fmla="*/ 1486636 h 1796087"/>
                <a:gd name="connsiteX1602" fmla="*/ 173523 w 2290556"/>
                <a:gd name="connsiteY1602" fmla="*/ 1486636 h 1796087"/>
                <a:gd name="connsiteX1603" fmla="*/ 180691 w 2290556"/>
                <a:gd name="connsiteY1603" fmla="*/ 1488150 h 1796087"/>
                <a:gd name="connsiteX1604" fmla="*/ 184057 w 2290556"/>
                <a:gd name="connsiteY1604" fmla="*/ 1488688 h 1796087"/>
                <a:gd name="connsiteX1605" fmla="*/ 189711 w 2290556"/>
                <a:gd name="connsiteY1605" fmla="*/ 1492490 h 1796087"/>
                <a:gd name="connsiteX1606" fmla="*/ 191764 w 2290556"/>
                <a:gd name="connsiteY1606" fmla="*/ 1498040 h 1796087"/>
                <a:gd name="connsiteX1607" fmla="*/ 196980 w 2290556"/>
                <a:gd name="connsiteY1607" fmla="*/ 1497401 h 1796087"/>
                <a:gd name="connsiteX1608" fmla="*/ 200884 w 2290556"/>
                <a:gd name="connsiteY1608" fmla="*/ 1500025 h 1796087"/>
                <a:gd name="connsiteX1609" fmla="*/ 204788 w 2290556"/>
                <a:gd name="connsiteY1609" fmla="*/ 1502514 h 1796087"/>
                <a:gd name="connsiteX1610" fmla="*/ 208591 w 2290556"/>
                <a:gd name="connsiteY1610" fmla="*/ 1505105 h 1796087"/>
                <a:gd name="connsiteX1611" fmla="*/ 214043 w 2290556"/>
                <a:gd name="connsiteY1611" fmla="*/ 1506955 h 1796087"/>
                <a:gd name="connsiteX1612" fmla="*/ 220337 w 2290556"/>
                <a:gd name="connsiteY1612" fmla="*/ 1506955 h 1796087"/>
                <a:gd name="connsiteX1613" fmla="*/ 224039 w 2290556"/>
                <a:gd name="connsiteY1613" fmla="*/ 1507661 h 1796087"/>
                <a:gd name="connsiteX1614" fmla="*/ 227202 w 2290556"/>
                <a:gd name="connsiteY1614" fmla="*/ 1508569 h 1796087"/>
                <a:gd name="connsiteX1615" fmla="*/ 229491 w 2290556"/>
                <a:gd name="connsiteY1615" fmla="*/ 1511732 h 1796087"/>
                <a:gd name="connsiteX1616" fmla="*/ 227976 w 2290556"/>
                <a:gd name="connsiteY1616" fmla="*/ 1514793 h 1796087"/>
                <a:gd name="connsiteX1617" fmla="*/ 229188 w 2290556"/>
                <a:gd name="connsiteY1617" fmla="*/ 1516979 h 1796087"/>
                <a:gd name="connsiteX1618" fmla="*/ 230803 w 2290556"/>
                <a:gd name="connsiteY1618" fmla="*/ 1518930 h 1796087"/>
                <a:gd name="connsiteX1619" fmla="*/ 230904 w 2290556"/>
                <a:gd name="connsiteY1619" fmla="*/ 1522395 h 1796087"/>
                <a:gd name="connsiteX1620" fmla="*/ 230668 w 2290556"/>
                <a:gd name="connsiteY1620" fmla="*/ 1525658 h 1796087"/>
                <a:gd name="connsiteX1621" fmla="*/ 230231 w 2290556"/>
                <a:gd name="connsiteY1621" fmla="*/ 1528921 h 1796087"/>
                <a:gd name="connsiteX1622" fmla="*/ 230769 w 2290556"/>
                <a:gd name="connsiteY1622" fmla="*/ 1531949 h 1796087"/>
                <a:gd name="connsiteX1623" fmla="*/ 234673 w 2290556"/>
                <a:gd name="connsiteY1623" fmla="*/ 1532723 h 1796087"/>
                <a:gd name="connsiteX1624" fmla="*/ 234673 w 2290556"/>
                <a:gd name="connsiteY1624" fmla="*/ 1534674 h 1796087"/>
                <a:gd name="connsiteX1625" fmla="*/ 236625 w 2290556"/>
                <a:gd name="connsiteY1625" fmla="*/ 1536524 h 1796087"/>
                <a:gd name="connsiteX1626" fmla="*/ 240092 w 2290556"/>
                <a:gd name="connsiteY1626" fmla="*/ 1536524 h 1796087"/>
                <a:gd name="connsiteX1627" fmla="*/ 242279 w 2290556"/>
                <a:gd name="connsiteY1627" fmla="*/ 1536524 h 1796087"/>
                <a:gd name="connsiteX1628" fmla="*/ 245308 w 2290556"/>
                <a:gd name="connsiteY1628" fmla="*/ 1537836 h 1796087"/>
                <a:gd name="connsiteX1629" fmla="*/ 247799 w 2290556"/>
                <a:gd name="connsiteY1629" fmla="*/ 1542714 h 1796087"/>
                <a:gd name="connsiteX1630" fmla="*/ 245308 w 2290556"/>
                <a:gd name="connsiteY1630" fmla="*/ 1549004 h 1796087"/>
                <a:gd name="connsiteX1631" fmla="*/ 245847 w 2290556"/>
                <a:gd name="connsiteY1631" fmla="*/ 1550417 h 1796087"/>
                <a:gd name="connsiteX1632" fmla="*/ 250087 w 2290556"/>
                <a:gd name="connsiteY1632" fmla="*/ 1552032 h 1796087"/>
                <a:gd name="connsiteX1633" fmla="*/ 251938 w 2290556"/>
                <a:gd name="connsiteY1633" fmla="*/ 1551258 h 1796087"/>
                <a:gd name="connsiteX1634" fmla="*/ 254227 w 2290556"/>
                <a:gd name="connsiteY1634" fmla="*/ 1550922 h 1796087"/>
                <a:gd name="connsiteX1635" fmla="*/ 256078 w 2290556"/>
                <a:gd name="connsiteY1635" fmla="*/ 1551124 h 1796087"/>
                <a:gd name="connsiteX1636" fmla="*/ 258905 w 2290556"/>
                <a:gd name="connsiteY1636" fmla="*/ 1552099 h 1796087"/>
                <a:gd name="connsiteX1637" fmla="*/ 260419 w 2290556"/>
                <a:gd name="connsiteY1637" fmla="*/ 1553075 h 1796087"/>
                <a:gd name="connsiteX1638" fmla="*/ 261934 w 2290556"/>
                <a:gd name="connsiteY1638" fmla="*/ 1552200 h 1796087"/>
                <a:gd name="connsiteX1639" fmla="*/ 262674 w 2290556"/>
                <a:gd name="connsiteY1639" fmla="*/ 1550350 h 1796087"/>
                <a:gd name="connsiteX1640" fmla="*/ 266140 w 2290556"/>
                <a:gd name="connsiteY1640" fmla="*/ 1550350 h 1796087"/>
                <a:gd name="connsiteX1641" fmla="*/ 267890 w 2290556"/>
                <a:gd name="connsiteY1641" fmla="*/ 1550350 h 1796087"/>
                <a:gd name="connsiteX1642" fmla="*/ 269641 w 2290556"/>
                <a:gd name="connsiteY1642" fmla="*/ 1550350 h 1796087"/>
                <a:gd name="connsiteX1643" fmla="*/ 273006 w 2290556"/>
                <a:gd name="connsiteY1643" fmla="*/ 1550350 h 1796087"/>
                <a:gd name="connsiteX1644" fmla="*/ 275496 w 2290556"/>
                <a:gd name="connsiteY1644" fmla="*/ 1551325 h 1796087"/>
                <a:gd name="connsiteX1645" fmla="*/ 277886 w 2290556"/>
                <a:gd name="connsiteY1645" fmla="*/ 1554488 h 1796087"/>
                <a:gd name="connsiteX1646" fmla="*/ 277886 w 2290556"/>
                <a:gd name="connsiteY1646" fmla="*/ 1557650 h 1796087"/>
                <a:gd name="connsiteX1647" fmla="*/ 276371 w 2290556"/>
                <a:gd name="connsiteY1647" fmla="*/ 1559399 h 1796087"/>
                <a:gd name="connsiteX1648" fmla="*/ 274184 w 2290556"/>
                <a:gd name="connsiteY1648" fmla="*/ 1561787 h 1796087"/>
                <a:gd name="connsiteX1649" fmla="*/ 275261 w 2290556"/>
                <a:gd name="connsiteY1649" fmla="*/ 1564277 h 1796087"/>
                <a:gd name="connsiteX1650" fmla="*/ 275059 w 2290556"/>
                <a:gd name="connsiteY1650" fmla="*/ 1567304 h 1796087"/>
                <a:gd name="connsiteX1651" fmla="*/ 274184 w 2290556"/>
                <a:gd name="connsiteY1651" fmla="*/ 1568280 h 1796087"/>
                <a:gd name="connsiteX1652" fmla="*/ 272669 w 2290556"/>
                <a:gd name="connsiteY1652" fmla="*/ 1570130 h 1796087"/>
                <a:gd name="connsiteX1653" fmla="*/ 273208 w 2290556"/>
                <a:gd name="connsiteY1653" fmla="*/ 1571543 h 1796087"/>
                <a:gd name="connsiteX1654" fmla="*/ 274419 w 2290556"/>
                <a:gd name="connsiteY1654" fmla="*/ 1574369 h 1796087"/>
                <a:gd name="connsiteX1655" fmla="*/ 272905 w 2290556"/>
                <a:gd name="connsiteY1655" fmla="*/ 1575882 h 1796087"/>
                <a:gd name="connsiteX1656" fmla="*/ 271391 w 2290556"/>
                <a:gd name="connsiteY1656" fmla="*/ 1577497 h 1796087"/>
                <a:gd name="connsiteX1657" fmla="*/ 270145 w 2290556"/>
                <a:gd name="connsiteY1657" fmla="*/ 1579549 h 1796087"/>
                <a:gd name="connsiteX1658" fmla="*/ 272568 w 2290556"/>
                <a:gd name="connsiteY1658" fmla="*/ 1581937 h 1796087"/>
                <a:gd name="connsiteX1659" fmla="*/ 274083 w 2290556"/>
                <a:gd name="connsiteY1659" fmla="*/ 1583249 h 1796087"/>
                <a:gd name="connsiteX1660" fmla="*/ 274083 w 2290556"/>
                <a:gd name="connsiteY1660" fmla="*/ 1586613 h 1796087"/>
                <a:gd name="connsiteX1661" fmla="*/ 271357 w 2290556"/>
                <a:gd name="connsiteY1661" fmla="*/ 1589103 h 1796087"/>
                <a:gd name="connsiteX1662" fmla="*/ 270145 w 2290556"/>
                <a:gd name="connsiteY1662" fmla="*/ 1592029 h 1796087"/>
                <a:gd name="connsiteX1663" fmla="*/ 272333 w 2290556"/>
                <a:gd name="connsiteY1663" fmla="*/ 1593442 h 1796087"/>
                <a:gd name="connsiteX1664" fmla="*/ 275799 w 2290556"/>
                <a:gd name="connsiteY1664" fmla="*/ 1593442 h 1796087"/>
                <a:gd name="connsiteX1665" fmla="*/ 277852 w 2290556"/>
                <a:gd name="connsiteY1665" fmla="*/ 1594418 h 1796087"/>
                <a:gd name="connsiteX1666" fmla="*/ 278391 w 2290556"/>
                <a:gd name="connsiteY1666" fmla="*/ 1596705 h 1796087"/>
                <a:gd name="connsiteX1667" fmla="*/ 280343 w 2290556"/>
                <a:gd name="connsiteY1667" fmla="*/ 1599430 h 1796087"/>
                <a:gd name="connsiteX1668" fmla="*/ 283069 w 2290556"/>
                <a:gd name="connsiteY1668" fmla="*/ 1601280 h 1796087"/>
                <a:gd name="connsiteX1669" fmla="*/ 286535 w 2290556"/>
                <a:gd name="connsiteY1669" fmla="*/ 1601919 h 1796087"/>
                <a:gd name="connsiteX1670" fmla="*/ 289463 w 2290556"/>
                <a:gd name="connsiteY1670" fmla="*/ 1601583 h 1796087"/>
                <a:gd name="connsiteX1671" fmla="*/ 291213 w 2290556"/>
                <a:gd name="connsiteY1671" fmla="*/ 1600069 h 1796087"/>
                <a:gd name="connsiteX1672" fmla="*/ 293704 w 2290556"/>
                <a:gd name="connsiteY1672" fmla="*/ 1598757 h 1796087"/>
                <a:gd name="connsiteX1673" fmla="*/ 296968 w 2290556"/>
                <a:gd name="connsiteY1673" fmla="*/ 1596032 h 1796087"/>
                <a:gd name="connsiteX1674" fmla="*/ 299256 w 2290556"/>
                <a:gd name="connsiteY1674" fmla="*/ 1594821 h 1796087"/>
                <a:gd name="connsiteX1675" fmla="*/ 303396 w 2290556"/>
                <a:gd name="connsiteY1675" fmla="*/ 1594384 h 1796087"/>
                <a:gd name="connsiteX1676" fmla="*/ 307536 w 2290556"/>
                <a:gd name="connsiteY1676" fmla="*/ 1595360 h 1796087"/>
                <a:gd name="connsiteX1677" fmla="*/ 309588 w 2290556"/>
                <a:gd name="connsiteY1677" fmla="*/ 1597546 h 1796087"/>
                <a:gd name="connsiteX1678" fmla="*/ 307199 w 2290556"/>
                <a:gd name="connsiteY1678" fmla="*/ 1601348 h 1796087"/>
                <a:gd name="connsiteX1679" fmla="*/ 304709 w 2290556"/>
                <a:gd name="connsiteY1679" fmla="*/ 1602121 h 1796087"/>
                <a:gd name="connsiteX1680" fmla="*/ 302218 w 2290556"/>
                <a:gd name="connsiteY1680" fmla="*/ 1603534 h 1796087"/>
                <a:gd name="connsiteX1681" fmla="*/ 300603 w 2290556"/>
                <a:gd name="connsiteY1681" fmla="*/ 1605822 h 1796087"/>
                <a:gd name="connsiteX1682" fmla="*/ 300603 w 2290556"/>
                <a:gd name="connsiteY1682" fmla="*/ 1607133 h 1796087"/>
                <a:gd name="connsiteX1683" fmla="*/ 302891 w 2290556"/>
                <a:gd name="connsiteY1683" fmla="*/ 1610397 h 1796087"/>
                <a:gd name="connsiteX1684" fmla="*/ 304641 w 2290556"/>
                <a:gd name="connsiteY1684" fmla="*/ 1612684 h 1796087"/>
                <a:gd name="connsiteX1685" fmla="*/ 306156 w 2290556"/>
                <a:gd name="connsiteY1685" fmla="*/ 1613861 h 1796087"/>
                <a:gd name="connsiteX1686" fmla="*/ 308747 w 2290556"/>
                <a:gd name="connsiteY1686" fmla="*/ 1614938 h 1796087"/>
                <a:gd name="connsiteX1687" fmla="*/ 310767 w 2290556"/>
                <a:gd name="connsiteY1687" fmla="*/ 1616687 h 1796087"/>
                <a:gd name="connsiteX1688" fmla="*/ 310867 w 2290556"/>
                <a:gd name="connsiteY1688" fmla="*/ 1618201 h 1796087"/>
                <a:gd name="connsiteX1689" fmla="*/ 310935 w 2290556"/>
                <a:gd name="connsiteY1689" fmla="*/ 1620690 h 1796087"/>
                <a:gd name="connsiteX1690" fmla="*/ 310935 w 2290556"/>
                <a:gd name="connsiteY1690" fmla="*/ 1623852 h 1796087"/>
                <a:gd name="connsiteX1691" fmla="*/ 312012 w 2290556"/>
                <a:gd name="connsiteY1691" fmla="*/ 1626880 h 1796087"/>
                <a:gd name="connsiteX1692" fmla="*/ 314401 w 2290556"/>
                <a:gd name="connsiteY1692" fmla="*/ 1628495 h 1796087"/>
                <a:gd name="connsiteX1693" fmla="*/ 316252 w 2290556"/>
                <a:gd name="connsiteY1693" fmla="*/ 1629033 h 1796087"/>
                <a:gd name="connsiteX1694" fmla="*/ 319853 w 2290556"/>
                <a:gd name="connsiteY1694" fmla="*/ 1628932 h 1796087"/>
                <a:gd name="connsiteX1695" fmla="*/ 322041 w 2290556"/>
                <a:gd name="connsiteY1695" fmla="*/ 1628932 h 1796087"/>
                <a:gd name="connsiteX1696" fmla="*/ 324329 w 2290556"/>
                <a:gd name="connsiteY1696" fmla="*/ 1629033 h 1796087"/>
                <a:gd name="connsiteX1697" fmla="*/ 326517 w 2290556"/>
                <a:gd name="connsiteY1697" fmla="*/ 1630547 h 1796087"/>
                <a:gd name="connsiteX1698" fmla="*/ 328368 w 2290556"/>
                <a:gd name="connsiteY1698" fmla="*/ 1632599 h 1796087"/>
                <a:gd name="connsiteX1699" fmla="*/ 329344 w 2290556"/>
                <a:gd name="connsiteY1699" fmla="*/ 1634012 h 1796087"/>
                <a:gd name="connsiteX1700" fmla="*/ 331632 w 2290556"/>
                <a:gd name="connsiteY1700" fmla="*/ 1638788 h 1796087"/>
                <a:gd name="connsiteX1701" fmla="*/ 335435 w 2290556"/>
                <a:gd name="connsiteY1701" fmla="*/ 1641951 h 1796087"/>
                <a:gd name="connsiteX1702" fmla="*/ 336411 w 2290556"/>
                <a:gd name="connsiteY1702" fmla="*/ 1641311 h 1796087"/>
                <a:gd name="connsiteX1703" fmla="*/ 339777 w 2290556"/>
                <a:gd name="connsiteY1703" fmla="*/ 1638486 h 1796087"/>
                <a:gd name="connsiteX1704" fmla="*/ 343041 w 2290556"/>
                <a:gd name="connsiteY1704" fmla="*/ 1637510 h 1796087"/>
                <a:gd name="connsiteX1705" fmla="*/ 346844 w 2290556"/>
                <a:gd name="connsiteY1705" fmla="*/ 1639260 h 1796087"/>
                <a:gd name="connsiteX1706" fmla="*/ 348695 w 2290556"/>
                <a:gd name="connsiteY1706" fmla="*/ 1643834 h 1796087"/>
                <a:gd name="connsiteX1707" fmla="*/ 350782 w 2290556"/>
                <a:gd name="connsiteY1707" fmla="*/ 1646223 h 1796087"/>
                <a:gd name="connsiteX1708" fmla="*/ 354147 w 2290556"/>
                <a:gd name="connsiteY1708" fmla="*/ 1646660 h 1796087"/>
                <a:gd name="connsiteX1709" fmla="*/ 356335 w 2290556"/>
                <a:gd name="connsiteY1709" fmla="*/ 1646021 h 1796087"/>
                <a:gd name="connsiteX1710" fmla="*/ 357109 w 2290556"/>
                <a:gd name="connsiteY1710" fmla="*/ 1642758 h 1796087"/>
                <a:gd name="connsiteX1711" fmla="*/ 357546 w 2290556"/>
                <a:gd name="connsiteY1711" fmla="*/ 1640033 h 1796087"/>
                <a:gd name="connsiteX1712" fmla="*/ 359734 w 2290556"/>
                <a:gd name="connsiteY1712" fmla="*/ 1636669 h 1796087"/>
                <a:gd name="connsiteX1713" fmla="*/ 363200 w 2290556"/>
                <a:gd name="connsiteY1713" fmla="*/ 1633406 h 1796087"/>
                <a:gd name="connsiteX1714" fmla="*/ 364614 w 2290556"/>
                <a:gd name="connsiteY1714" fmla="*/ 1631657 h 1796087"/>
                <a:gd name="connsiteX1715" fmla="*/ 368619 w 2290556"/>
                <a:gd name="connsiteY1715" fmla="*/ 1627317 h 1796087"/>
                <a:gd name="connsiteX1716" fmla="*/ 371883 w 2290556"/>
                <a:gd name="connsiteY1716" fmla="*/ 1625366 h 1796087"/>
                <a:gd name="connsiteX1717" fmla="*/ 377436 w 2290556"/>
                <a:gd name="connsiteY1717" fmla="*/ 1621767 h 1796087"/>
                <a:gd name="connsiteX1718" fmla="*/ 380162 w 2290556"/>
                <a:gd name="connsiteY1718" fmla="*/ 1619177 h 1796087"/>
                <a:gd name="connsiteX1719" fmla="*/ 379186 w 2290556"/>
                <a:gd name="connsiteY1719" fmla="*/ 1616889 h 1796087"/>
                <a:gd name="connsiteX1720" fmla="*/ 375720 w 2290556"/>
                <a:gd name="connsiteY1720" fmla="*/ 1614299 h 1796087"/>
                <a:gd name="connsiteX1721" fmla="*/ 374205 w 2290556"/>
                <a:gd name="connsiteY1721" fmla="*/ 1612785 h 1796087"/>
                <a:gd name="connsiteX1722" fmla="*/ 370503 w 2290556"/>
                <a:gd name="connsiteY1722" fmla="*/ 1609320 h 1796087"/>
                <a:gd name="connsiteX1723" fmla="*/ 368652 w 2290556"/>
                <a:gd name="connsiteY1723" fmla="*/ 1605519 h 1796087"/>
                <a:gd name="connsiteX1724" fmla="*/ 367474 w 2290556"/>
                <a:gd name="connsiteY1724" fmla="*/ 1602054 h 1796087"/>
                <a:gd name="connsiteX1725" fmla="*/ 366397 w 2290556"/>
                <a:gd name="connsiteY1725" fmla="*/ 1598354 h 1796087"/>
                <a:gd name="connsiteX1726" fmla="*/ 361719 w 2290556"/>
                <a:gd name="connsiteY1726" fmla="*/ 1595965 h 1796087"/>
                <a:gd name="connsiteX1727" fmla="*/ 356604 w 2290556"/>
                <a:gd name="connsiteY1727" fmla="*/ 1593341 h 1796087"/>
                <a:gd name="connsiteX1728" fmla="*/ 353239 w 2290556"/>
                <a:gd name="connsiteY1728" fmla="*/ 1591592 h 1796087"/>
                <a:gd name="connsiteX1729" fmla="*/ 352464 w 2290556"/>
                <a:gd name="connsiteY1729" fmla="*/ 1588766 h 1796087"/>
                <a:gd name="connsiteX1730" fmla="*/ 353339 w 2290556"/>
                <a:gd name="connsiteY1730" fmla="*/ 1586580 h 1796087"/>
                <a:gd name="connsiteX1731" fmla="*/ 357142 w 2290556"/>
                <a:gd name="connsiteY1731" fmla="*/ 1586042 h 1796087"/>
                <a:gd name="connsiteX1732" fmla="*/ 358993 w 2290556"/>
                <a:gd name="connsiteY1732" fmla="*/ 1586243 h 1796087"/>
                <a:gd name="connsiteX1733" fmla="*/ 363873 w 2290556"/>
                <a:gd name="connsiteY1733" fmla="*/ 1588194 h 1796087"/>
                <a:gd name="connsiteX1734" fmla="*/ 367575 w 2290556"/>
                <a:gd name="connsiteY1734" fmla="*/ 1589506 h 1796087"/>
                <a:gd name="connsiteX1735" fmla="*/ 371479 w 2290556"/>
                <a:gd name="connsiteY1735" fmla="*/ 1590280 h 1796087"/>
                <a:gd name="connsiteX1736" fmla="*/ 375821 w 2290556"/>
                <a:gd name="connsiteY1736" fmla="*/ 1592029 h 1796087"/>
                <a:gd name="connsiteX1737" fmla="*/ 379523 w 2290556"/>
                <a:gd name="connsiteY1737" fmla="*/ 1592029 h 1796087"/>
                <a:gd name="connsiteX1738" fmla="*/ 382451 w 2290556"/>
                <a:gd name="connsiteY1738" fmla="*/ 1591659 h 1796087"/>
                <a:gd name="connsiteX1739" fmla="*/ 385278 w 2290556"/>
                <a:gd name="connsiteY1739" fmla="*/ 1589742 h 1796087"/>
                <a:gd name="connsiteX1740" fmla="*/ 389855 w 2290556"/>
                <a:gd name="connsiteY1740" fmla="*/ 1588329 h 1796087"/>
                <a:gd name="connsiteX1741" fmla="*/ 395509 w 2290556"/>
                <a:gd name="connsiteY1741" fmla="*/ 1586277 h 1796087"/>
                <a:gd name="connsiteX1742" fmla="*/ 397696 w 2290556"/>
                <a:gd name="connsiteY1742" fmla="*/ 1584662 h 1796087"/>
                <a:gd name="connsiteX1743" fmla="*/ 401062 w 2290556"/>
                <a:gd name="connsiteY1743" fmla="*/ 1583586 h 1796087"/>
                <a:gd name="connsiteX1744" fmla="*/ 405403 w 2290556"/>
                <a:gd name="connsiteY1744" fmla="*/ 1583384 h 1796087"/>
                <a:gd name="connsiteX1745" fmla="*/ 409105 w 2290556"/>
                <a:gd name="connsiteY1745" fmla="*/ 1583384 h 1796087"/>
                <a:gd name="connsiteX1746" fmla="*/ 410418 w 2290556"/>
                <a:gd name="connsiteY1746" fmla="*/ 1581534 h 1796087"/>
                <a:gd name="connsiteX1747" fmla="*/ 412370 w 2290556"/>
                <a:gd name="connsiteY1747" fmla="*/ 1579919 h 1796087"/>
                <a:gd name="connsiteX1748" fmla="*/ 415836 w 2290556"/>
                <a:gd name="connsiteY1748" fmla="*/ 1577968 h 1796087"/>
                <a:gd name="connsiteX1749" fmla="*/ 419303 w 2290556"/>
                <a:gd name="connsiteY1749" fmla="*/ 1578405 h 1796087"/>
                <a:gd name="connsiteX1750" fmla="*/ 422029 w 2290556"/>
                <a:gd name="connsiteY1750" fmla="*/ 1582543 h 1796087"/>
                <a:gd name="connsiteX1751" fmla="*/ 423106 w 2290556"/>
                <a:gd name="connsiteY1751" fmla="*/ 1584393 h 1796087"/>
                <a:gd name="connsiteX1752" fmla="*/ 425596 w 2290556"/>
                <a:gd name="connsiteY1752" fmla="*/ 1588733 h 1796087"/>
                <a:gd name="connsiteX1753" fmla="*/ 429500 w 2290556"/>
                <a:gd name="connsiteY1753" fmla="*/ 1591222 h 1796087"/>
                <a:gd name="connsiteX1754" fmla="*/ 431889 w 2290556"/>
                <a:gd name="connsiteY1754" fmla="*/ 1591323 h 1796087"/>
                <a:gd name="connsiteX1755" fmla="*/ 438082 w 2290556"/>
                <a:gd name="connsiteY1755" fmla="*/ 1591088 h 1796087"/>
                <a:gd name="connsiteX1756" fmla="*/ 442861 w 2290556"/>
                <a:gd name="connsiteY1756" fmla="*/ 1591962 h 1796087"/>
                <a:gd name="connsiteX1757" fmla="*/ 445048 w 2290556"/>
                <a:gd name="connsiteY1757" fmla="*/ 1594149 h 1796087"/>
                <a:gd name="connsiteX1758" fmla="*/ 447236 w 2290556"/>
                <a:gd name="connsiteY1758" fmla="*/ 1597311 h 1796087"/>
                <a:gd name="connsiteX1759" fmla="*/ 453765 w 2290556"/>
                <a:gd name="connsiteY1759" fmla="*/ 1597849 h 1796087"/>
                <a:gd name="connsiteX1760" fmla="*/ 460395 w 2290556"/>
                <a:gd name="connsiteY1760" fmla="*/ 1597647 h 1796087"/>
                <a:gd name="connsiteX1761" fmla="*/ 464501 w 2290556"/>
                <a:gd name="connsiteY1761" fmla="*/ 1597311 h 1796087"/>
                <a:gd name="connsiteX1762" fmla="*/ 470255 w 2290556"/>
                <a:gd name="connsiteY1762" fmla="*/ 1597311 h 1796087"/>
                <a:gd name="connsiteX1763" fmla="*/ 472544 w 2290556"/>
                <a:gd name="connsiteY1763" fmla="*/ 1596537 h 1796087"/>
                <a:gd name="connsiteX1764" fmla="*/ 475035 w 2290556"/>
                <a:gd name="connsiteY1764" fmla="*/ 1595461 h 1796087"/>
                <a:gd name="connsiteX1765" fmla="*/ 476246 w 2290556"/>
                <a:gd name="connsiteY1765" fmla="*/ 1594149 h 1796087"/>
                <a:gd name="connsiteX1766" fmla="*/ 481799 w 2290556"/>
                <a:gd name="connsiteY1766" fmla="*/ 1589675 h 1796087"/>
                <a:gd name="connsiteX1767" fmla="*/ 487453 w 2290556"/>
                <a:gd name="connsiteY1767" fmla="*/ 1585873 h 1796087"/>
                <a:gd name="connsiteX1768" fmla="*/ 491256 w 2290556"/>
                <a:gd name="connsiteY1768" fmla="*/ 1583384 h 1796087"/>
                <a:gd name="connsiteX1769" fmla="*/ 494184 w 2290556"/>
                <a:gd name="connsiteY1769" fmla="*/ 1580895 h 1796087"/>
                <a:gd name="connsiteX1770" fmla="*/ 496237 w 2290556"/>
                <a:gd name="connsiteY1770" fmla="*/ 1577531 h 1796087"/>
                <a:gd name="connsiteX1771" fmla="*/ 498290 w 2290556"/>
                <a:gd name="connsiteY1771" fmla="*/ 1575781 h 1796087"/>
                <a:gd name="connsiteX1772" fmla="*/ 500242 w 2290556"/>
                <a:gd name="connsiteY1772" fmla="*/ 1575580 h 1796087"/>
                <a:gd name="connsiteX1773" fmla="*/ 503843 w 2290556"/>
                <a:gd name="connsiteY1773" fmla="*/ 1573931 h 1796087"/>
                <a:gd name="connsiteX1774" fmla="*/ 507982 w 2290556"/>
                <a:gd name="connsiteY1774" fmla="*/ 1571980 h 1796087"/>
                <a:gd name="connsiteX1775" fmla="*/ 512559 w 2290556"/>
                <a:gd name="connsiteY1775" fmla="*/ 1571105 h 1796087"/>
                <a:gd name="connsiteX1776" fmla="*/ 514511 w 2290556"/>
                <a:gd name="connsiteY1776" fmla="*/ 1570231 h 1796087"/>
                <a:gd name="connsiteX1777" fmla="*/ 517103 w 2290556"/>
                <a:gd name="connsiteY1777" fmla="*/ 1568717 h 1796087"/>
                <a:gd name="connsiteX1778" fmla="*/ 519930 w 2290556"/>
                <a:gd name="connsiteY1778" fmla="*/ 1568179 h 1796087"/>
                <a:gd name="connsiteX1779" fmla="*/ 523531 w 2290556"/>
                <a:gd name="connsiteY1779" fmla="*/ 1566867 h 1796087"/>
                <a:gd name="connsiteX1780" fmla="*/ 527973 w 2290556"/>
                <a:gd name="connsiteY1780" fmla="*/ 1565454 h 1796087"/>
                <a:gd name="connsiteX1781" fmla="*/ 534940 w 2290556"/>
                <a:gd name="connsiteY1781" fmla="*/ 1565454 h 1796087"/>
                <a:gd name="connsiteX1782" fmla="*/ 539281 w 2290556"/>
                <a:gd name="connsiteY1782" fmla="*/ 1565992 h 1796087"/>
                <a:gd name="connsiteX1783" fmla="*/ 544161 w 2290556"/>
                <a:gd name="connsiteY1783" fmla="*/ 1565992 h 1796087"/>
                <a:gd name="connsiteX1784" fmla="*/ 548300 w 2290556"/>
                <a:gd name="connsiteY1784" fmla="*/ 1566968 h 1796087"/>
                <a:gd name="connsiteX1785" fmla="*/ 552339 w 2290556"/>
                <a:gd name="connsiteY1785" fmla="*/ 1568919 h 1796087"/>
                <a:gd name="connsiteX1786" fmla="*/ 555940 w 2290556"/>
                <a:gd name="connsiteY1786" fmla="*/ 1572619 h 1796087"/>
                <a:gd name="connsiteX1787" fmla="*/ 558767 w 2290556"/>
                <a:gd name="connsiteY1787" fmla="*/ 1575445 h 1796087"/>
                <a:gd name="connsiteX1788" fmla="*/ 558666 w 2290556"/>
                <a:gd name="connsiteY1788" fmla="*/ 1578170 h 1796087"/>
                <a:gd name="connsiteX1789" fmla="*/ 557690 w 2290556"/>
                <a:gd name="connsiteY1789" fmla="*/ 1579246 h 1796087"/>
                <a:gd name="connsiteX1790" fmla="*/ 555738 w 2290556"/>
                <a:gd name="connsiteY1790" fmla="*/ 1581635 h 1796087"/>
                <a:gd name="connsiteX1791" fmla="*/ 553887 w 2290556"/>
                <a:gd name="connsiteY1791" fmla="*/ 1584999 h 1796087"/>
                <a:gd name="connsiteX1792" fmla="*/ 555301 w 2290556"/>
                <a:gd name="connsiteY1792" fmla="*/ 1587051 h 1796087"/>
                <a:gd name="connsiteX1793" fmla="*/ 557690 w 2290556"/>
                <a:gd name="connsiteY1793" fmla="*/ 1590953 h 1796087"/>
                <a:gd name="connsiteX1794" fmla="*/ 558229 w 2290556"/>
                <a:gd name="connsiteY1794" fmla="*/ 1593005 h 1796087"/>
                <a:gd name="connsiteX1795" fmla="*/ 559104 w 2290556"/>
                <a:gd name="connsiteY1795" fmla="*/ 1595932 h 1796087"/>
                <a:gd name="connsiteX1796" fmla="*/ 561830 w 2290556"/>
                <a:gd name="connsiteY1796" fmla="*/ 1600069 h 1796087"/>
                <a:gd name="connsiteX1797" fmla="*/ 564118 w 2290556"/>
                <a:gd name="connsiteY1797" fmla="*/ 1603231 h 1796087"/>
                <a:gd name="connsiteX1798" fmla="*/ 564657 w 2290556"/>
                <a:gd name="connsiteY1798" fmla="*/ 1608984 h 1796087"/>
                <a:gd name="connsiteX1799" fmla="*/ 565733 w 2290556"/>
                <a:gd name="connsiteY1799" fmla="*/ 1613761 h 1796087"/>
                <a:gd name="connsiteX1800" fmla="*/ 565835 w 2290556"/>
                <a:gd name="connsiteY1800" fmla="*/ 1618874 h 1796087"/>
                <a:gd name="connsiteX1801" fmla="*/ 563984 w 2290556"/>
                <a:gd name="connsiteY1801" fmla="*/ 1621700 h 1796087"/>
                <a:gd name="connsiteX1802" fmla="*/ 560517 w 2290556"/>
                <a:gd name="connsiteY1802" fmla="*/ 1623751 h 1796087"/>
                <a:gd name="connsiteX1803" fmla="*/ 556916 w 2290556"/>
                <a:gd name="connsiteY1803" fmla="*/ 1627015 h 1796087"/>
                <a:gd name="connsiteX1804" fmla="*/ 556378 w 2290556"/>
                <a:gd name="connsiteY1804" fmla="*/ 1628966 h 1796087"/>
                <a:gd name="connsiteX1805" fmla="*/ 552474 w 2290556"/>
                <a:gd name="connsiteY1805" fmla="*/ 1632868 h 1796087"/>
                <a:gd name="connsiteX1806" fmla="*/ 551161 w 2290556"/>
                <a:gd name="connsiteY1806" fmla="*/ 1635256 h 1796087"/>
                <a:gd name="connsiteX1807" fmla="*/ 546483 w 2290556"/>
                <a:gd name="connsiteY1807" fmla="*/ 1636434 h 1796087"/>
                <a:gd name="connsiteX1808" fmla="*/ 544767 w 2290556"/>
                <a:gd name="connsiteY1808" fmla="*/ 1639899 h 1796087"/>
                <a:gd name="connsiteX1809" fmla="*/ 541065 w 2290556"/>
                <a:gd name="connsiteY1809" fmla="*/ 1645886 h 1796087"/>
                <a:gd name="connsiteX1810" fmla="*/ 539113 w 2290556"/>
                <a:gd name="connsiteY1810" fmla="*/ 1652514 h 1796087"/>
                <a:gd name="connsiteX1811" fmla="*/ 534098 w 2290556"/>
                <a:gd name="connsiteY1811" fmla="*/ 1658939 h 1796087"/>
                <a:gd name="connsiteX1812" fmla="*/ 529218 w 2290556"/>
                <a:gd name="connsiteY1812" fmla="*/ 1662841 h 1796087"/>
                <a:gd name="connsiteX1813" fmla="*/ 519425 w 2290556"/>
                <a:gd name="connsiteY1813" fmla="*/ 1667618 h 1796087"/>
                <a:gd name="connsiteX1814" fmla="*/ 510304 w 2290556"/>
                <a:gd name="connsiteY1814" fmla="*/ 1672731 h 1796087"/>
                <a:gd name="connsiteX1815" fmla="*/ 498391 w 2290556"/>
                <a:gd name="connsiteY1815" fmla="*/ 1677777 h 1796087"/>
                <a:gd name="connsiteX1816" fmla="*/ 494520 w 2290556"/>
                <a:gd name="connsiteY1816" fmla="*/ 1679728 h 1796087"/>
                <a:gd name="connsiteX1817" fmla="*/ 492636 w 2290556"/>
                <a:gd name="connsiteY1817" fmla="*/ 1680636 h 1796087"/>
                <a:gd name="connsiteX1818" fmla="*/ 491525 w 2290556"/>
                <a:gd name="connsiteY1818" fmla="*/ 1681645 h 1796087"/>
                <a:gd name="connsiteX1819" fmla="*/ 491458 w 2290556"/>
                <a:gd name="connsiteY1819" fmla="*/ 1682352 h 1796087"/>
                <a:gd name="connsiteX1820" fmla="*/ 492366 w 2290556"/>
                <a:gd name="connsiteY1820" fmla="*/ 1684135 h 1796087"/>
                <a:gd name="connsiteX1821" fmla="*/ 495261 w 2290556"/>
                <a:gd name="connsiteY1821" fmla="*/ 1684135 h 1796087"/>
                <a:gd name="connsiteX1822" fmla="*/ 498593 w 2290556"/>
                <a:gd name="connsiteY1822" fmla="*/ 1686086 h 1796087"/>
                <a:gd name="connsiteX1823" fmla="*/ 501218 w 2290556"/>
                <a:gd name="connsiteY1823" fmla="*/ 1689349 h 1796087"/>
                <a:gd name="connsiteX1824" fmla="*/ 501924 w 2290556"/>
                <a:gd name="connsiteY1824" fmla="*/ 1691973 h 1796087"/>
                <a:gd name="connsiteX1825" fmla="*/ 501924 w 2290556"/>
                <a:gd name="connsiteY1825" fmla="*/ 1693285 h 1796087"/>
                <a:gd name="connsiteX1826" fmla="*/ 500915 w 2290556"/>
                <a:gd name="connsiteY1826" fmla="*/ 1695169 h 1796087"/>
                <a:gd name="connsiteX1827" fmla="*/ 500174 w 2290556"/>
                <a:gd name="connsiteY1827" fmla="*/ 1696615 h 1796087"/>
                <a:gd name="connsiteX1828" fmla="*/ 500309 w 2290556"/>
                <a:gd name="connsiteY1828" fmla="*/ 1697792 h 1796087"/>
                <a:gd name="connsiteX1829" fmla="*/ 501453 w 2290556"/>
                <a:gd name="connsiteY1829" fmla="*/ 1699239 h 1796087"/>
                <a:gd name="connsiteX1830" fmla="*/ 501319 w 2290556"/>
                <a:gd name="connsiteY1830" fmla="*/ 1701560 h 1796087"/>
                <a:gd name="connsiteX1831" fmla="*/ 501891 w 2290556"/>
                <a:gd name="connsiteY1831" fmla="*/ 1709398 h 1796087"/>
                <a:gd name="connsiteX1832" fmla="*/ 501891 w 2290556"/>
                <a:gd name="connsiteY1832" fmla="*/ 1712863 h 1796087"/>
                <a:gd name="connsiteX1833" fmla="*/ 501319 w 2290556"/>
                <a:gd name="connsiteY1833" fmla="*/ 1715453 h 1796087"/>
                <a:gd name="connsiteX1834" fmla="*/ 498424 w 2290556"/>
                <a:gd name="connsiteY1834" fmla="*/ 1716900 h 1796087"/>
                <a:gd name="connsiteX1835" fmla="*/ 495799 w 2290556"/>
                <a:gd name="connsiteY1835" fmla="*/ 1715453 h 1796087"/>
                <a:gd name="connsiteX1836" fmla="*/ 492770 w 2290556"/>
                <a:gd name="connsiteY1836" fmla="*/ 1715453 h 1796087"/>
                <a:gd name="connsiteX1837" fmla="*/ 490583 w 2290556"/>
                <a:gd name="connsiteY1837" fmla="*/ 1715453 h 1796087"/>
                <a:gd name="connsiteX1838" fmla="*/ 485804 w 2290556"/>
                <a:gd name="connsiteY1838" fmla="*/ 1715453 h 1796087"/>
                <a:gd name="connsiteX1839" fmla="*/ 483987 w 2290556"/>
                <a:gd name="connsiteY1839" fmla="*/ 1718279 h 1796087"/>
                <a:gd name="connsiteX1840" fmla="*/ 484054 w 2290556"/>
                <a:gd name="connsiteY1840" fmla="*/ 1718918 h 1796087"/>
                <a:gd name="connsiteX1841" fmla="*/ 484054 w 2290556"/>
                <a:gd name="connsiteY1841" fmla="*/ 1723426 h 1796087"/>
                <a:gd name="connsiteX1842" fmla="*/ 484054 w 2290556"/>
                <a:gd name="connsiteY1842" fmla="*/ 1727059 h 1796087"/>
                <a:gd name="connsiteX1843" fmla="*/ 484626 w 2290556"/>
                <a:gd name="connsiteY1843" fmla="*/ 1730255 h 1796087"/>
                <a:gd name="connsiteX1844" fmla="*/ 486376 w 2290556"/>
                <a:gd name="connsiteY1844" fmla="*/ 1733719 h 1796087"/>
                <a:gd name="connsiteX1845" fmla="*/ 487554 w 2290556"/>
                <a:gd name="connsiteY1845" fmla="*/ 1737184 h 1796087"/>
                <a:gd name="connsiteX1846" fmla="*/ 487689 w 2290556"/>
                <a:gd name="connsiteY1846" fmla="*/ 1740380 h 1796087"/>
                <a:gd name="connsiteX1847" fmla="*/ 487689 w 2290556"/>
                <a:gd name="connsiteY1847" fmla="*/ 1744148 h 1796087"/>
                <a:gd name="connsiteX1848" fmla="*/ 487689 w 2290556"/>
                <a:gd name="connsiteY1848" fmla="*/ 1746469 h 1796087"/>
                <a:gd name="connsiteX1849" fmla="*/ 492333 w 2290556"/>
                <a:gd name="connsiteY1849" fmla="*/ 1748487 h 1796087"/>
                <a:gd name="connsiteX1850" fmla="*/ 496977 w 2290556"/>
                <a:gd name="connsiteY1850" fmla="*/ 1748487 h 1796087"/>
                <a:gd name="connsiteX1851" fmla="*/ 501891 w 2290556"/>
                <a:gd name="connsiteY1851" fmla="*/ 1751111 h 1796087"/>
                <a:gd name="connsiteX1852" fmla="*/ 510001 w 2290556"/>
                <a:gd name="connsiteY1852" fmla="*/ 1753870 h 1796087"/>
                <a:gd name="connsiteX1853" fmla="*/ 514074 w 2290556"/>
                <a:gd name="connsiteY1853" fmla="*/ 1755619 h 1796087"/>
                <a:gd name="connsiteX1854" fmla="*/ 518718 w 2290556"/>
                <a:gd name="connsiteY1854" fmla="*/ 1759958 h 1796087"/>
                <a:gd name="connsiteX1855" fmla="*/ 519795 w 2290556"/>
                <a:gd name="connsiteY1855" fmla="*/ 1764298 h 1796087"/>
                <a:gd name="connsiteX1856" fmla="*/ 528545 w 2290556"/>
                <a:gd name="connsiteY1856" fmla="*/ 1774424 h 1796087"/>
                <a:gd name="connsiteX1857" fmla="*/ 537531 w 2290556"/>
                <a:gd name="connsiteY1857" fmla="*/ 1783203 h 1796087"/>
                <a:gd name="connsiteX1858" fmla="*/ 544262 w 2290556"/>
                <a:gd name="connsiteY1858" fmla="*/ 1789931 h 1796087"/>
                <a:gd name="connsiteX1859" fmla="*/ 549411 w 2290556"/>
                <a:gd name="connsiteY1859" fmla="*/ 1792959 h 1796087"/>
                <a:gd name="connsiteX1860" fmla="*/ 553416 w 2290556"/>
                <a:gd name="connsiteY1860" fmla="*/ 1794775 h 1796087"/>
                <a:gd name="connsiteX1861" fmla="*/ 555704 w 2290556"/>
                <a:gd name="connsiteY1861" fmla="*/ 1796087 h 1796087"/>
                <a:gd name="connsiteX1862" fmla="*/ 558430 w 2290556"/>
                <a:gd name="connsiteY1862" fmla="*/ 1791950 h 1796087"/>
                <a:gd name="connsiteX1863" fmla="*/ 562435 w 2290556"/>
                <a:gd name="connsiteY1863" fmla="*/ 1791950 h 1796087"/>
                <a:gd name="connsiteX1864" fmla="*/ 564623 w 2290556"/>
                <a:gd name="connsiteY1864" fmla="*/ 1795684 h 1796087"/>
                <a:gd name="connsiteX1865" fmla="*/ 565061 w 2290556"/>
                <a:gd name="connsiteY1865" fmla="*/ 1795919 h 1796087"/>
                <a:gd name="connsiteX1866" fmla="*/ 565767 w 2290556"/>
                <a:gd name="connsiteY1866" fmla="*/ 1794372 h 1796087"/>
                <a:gd name="connsiteX1867" fmla="*/ 569469 w 2290556"/>
                <a:gd name="connsiteY1867" fmla="*/ 1792925 h 1796087"/>
                <a:gd name="connsiteX1868" fmla="*/ 572969 w 2290556"/>
                <a:gd name="connsiteY1868" fmla="*/ 1790167 h 1796087"/>
                <a:gd name="connsiteX1869" fmla="*/ 575796 w 2290556"/>
                <a:gd name="connsiteY1869" fmla="*/ 1790167 h 1796087"/>
                <a:gd name="connsiteX1870" fmla="*/ 584277 w 2290556"/>
                <a:gd name="connsiteY1870" fmla="*/ 1786904 h 1796087"/>
                <a:gd name="connsiteX1871" fmla="*/ 593398 w 2290556"/>
                <a:gd name="connsiteY1871" fmla="*/ 1784515 h 1796087"/>
                <a:gd name="connsiteX1872" fmla="*/ 595989 w 2290556"/>
                <a:gd name="connsiteY1872" fmla="*/ 1781690 h 1796087"/>
                <a:gd name="connsiteX1873" fmla="*/ 605984 w 2290556"/>
                <a:gd name="connsiteY1873" fmla="*/ 1784078 h 1796087"/>
                <a:gd name="connsiteX1874" fmla="*/ 617057 w 2290556"/>
                <a:gd name="connsiteY1874" fmla="*/ 1783876 h 1796087"/>
                <a:gd name="connsiteX1875" fmla="*/ 622071 w 2290556"/>
                <a:gd name="connsiteY1875" fmla="*/ 1781690 h 1796087"/>
                <a:gd name="connsiteX1876" fmla="*/ 632302 w 2290556"/>
                <a:gd name="connsiteY1876" fmla="*/ 1779099 h 1796087"/>
                <a:gd name="connsiteX1877" fmla="*/ 636644 w 2290556"/>
                <a:gd name="connsiteY1877" fmla="*/ 1776475 h 1796087"/>
                <a:gd name="connsiteX1878" fmla="*/ 646000 w 2290556"/>
                <a:gd name="connsiteY1878" fmla="*/ 1773650 h 1796087"/>
                <a:gd name="connsiteX1879" fmla="*/ 653168 w 2290556"/>
                <a:gd name="connsiteY1879" fmla="*/ 1768873 h 1796087"/>
                <a:gd name="connsiteX1880" fmla="*/ 658183 w 2290556"/>
                <a:gd name="connsiteY1880" fmla="*/ 1767561 h 1796087"/>
                <a:gd name="connsiteX1881" fmla="*/ 667943 w 2290556"/>
                <a:gd name="connsiteY1881" fmla="*/ 1767561 h 1796087"/>
                <a:gd name="connsiteX1882" fmla="*/ 669693 w 2290556"/>
                <a:gd name="connsiteY1882" fmla="*/ 1767561 h 1796087"/>
                <a:gd name="connsiteX1883" fmla="*/ 673832 w 2290556"/>
                <a:gd name="connsiteY1883" fmla="*/ 1767561 h 1796087"/>
                <a:gd name="connsiteX1884" fmla="*/ 681303 w 2290556"/>
                <a:gd name="connsiteY1884" fmla="*/ 1769579 h 1796087"/>
                <a:gd name="connsiteX1885" fmla="*/ 685880 w 2290556"/>
                <a:gd name="connsiteY1885" fmla="*/ 1768940 h 1796087"/>
                <a:gd name="connsiteX1886" fmla="*/ 688135 w 2290556"/>
                <a:gd name="connsiteY1886" fmla="*/ 1765173 h 1796087"/>
                <a:gd name="connsiteX1887" fmla="*/ 682852 w 2290556"/>
                <a:gd name="connsiteY1887" fmla="*/ 1764432 h 1796087"/>
                <a:gd name="connsiteX1888" fmla="*/ 680765 w 2290556"/>
                <a:gd name="connsiteY1888" fmla="*/ 1761909 h 1796087"/>
                <a:gd name="connsiteX1889" fmla="*/ 682717 w 2290556"/>
                <a:gd name="connsiteY1889" fmla="*/ 1759151 h 1796087"/>
                <a:gd name="connsiteX1890" fmla="*/ 687058 w 2290556"/>
                <a:gd name="connsiteY1890" fmla="*/ 1758579 h 1796087"/>
                <a:gd name="connsiteX1891" fmla="*/ 692073 w 2290556"/>
                <a:gd name="connsiteY1891" fmla="*/ 1758546 h 1796087"/>
                <a:gd name="connsiteX1892" fmla="*/ 703650 w 2290556"/>
                <a:gd name="connsiteY1892" fmla="*/ 1752188 h 1796087"/>
                <a:gd name="connsiteX1893" fmla="*/ 707722 w 2290556"/>
                <a:gd name="connsiteY1893" fmla="*/ 1747545 h 1796087"/>
                <a:gd name="connsiteX1894" fmla="*/ 707722 w 2290556"/>
                <a:gd name="connsiteY1894" fmla="*/ 1738261 h 1796087"/>
                <a:gd name="connsiteX1895" fmla="*/ 704256 w 2290556"/>
                <a:gd name="connsiteY1895" fmla="*/ 1731028 h 1796087"/>
                <a:gd name="connsiteX1896" fmla="*/ 699914 w 2290556"/>
                <a:gd name="connsiteY1896" fmla="*/ 1725242 h 1796087"/>
                <a:gd name="connsiteX1897" fmla="*/ 698467 w 2290556"/>
                <a:gd name="connsiteY1897" fmla="*/ 1720028 h 1796087"/>
                <a:gd name="connsiteX1898" fmla="*/ 698164 w 2290556"/>
                <a:gd name="connsiteY1898" fmla="*/ 1715117 h 1796087"/>
                <a:gd name="connsiteX1899" fmla="*/ 701059 w 2290556"/>
                <a:gd name="connsiteY1899" fmla="*/ 1708759 h 1796087"/>
                <a:gd name="connsiteX1900" fmla="*/ 704525 w 2290556"/>
                <a:gd name="connsiteY1900" fmla="*/ 1706135 h 1796087"/>
                <a:gd name="connsiteX1901" fmla="*/ 709439 w 2290556"/>
                <a:gd name="connsiteY1901" fmla="*/ 1701795 h 1796087"/>
                <a:gd name="connsiteX1902" fmla="*/ 708698 w 2290556"/>
                <a:gd name="connsiteY1902" fmla="*/ 1697759 h 1796087"/>
                <a:gd name="connsiteX1903" fmla="*/ 709439 w 2290556"/>
                <a:gd name="connsiteY1903" fmla="*/ 1691973 h 1796087"/>
                <a:gd name="connsiteX1904" fmla="*/ 710886 w 2290556"/>
                <a:gd name="connsiteY1904" fmla="*/ 1688205 h 1796087"/>
                <a:gd name="connsiteX1905" fmla="*/ 710246 w 2290556"/>
                <a:gd name="connsiteY1905" fmla="*/ 1684000 h 1796087"/>
                <a:gd name="connsiteX1906" fmla="*/ 707116 w 2290556"/>
                <a:gd name="connsiteY1906" fmla="*/ 1680367 h 1796087"/>
                <a:gd name="connsiteX1907" fmla="*/ 707116 w 2290556"/>
                <a:gd name="connsiteY1907" fmla="*/ 1674581 h 1796087"/>
                <a:gd name="connsiteX1908" fmla="*/ 708126 w 2290556"/>
                <a:gd name="connsiteY1908" fmla="*/ 1661125 h 1796087"/>
                <a:gd name="connsiteX1909" fmla="*/ 712030 w 2290556"/>
                <a:gd name="connsiteY1909" fmla="*/ 1655911 h 1796087"/>
                <a:gd name="connsiteX1910" fmla="*/ 714790 w 2290556"/>
                <a:gd name="connsiteY1910" fmla="*/ 1646055 h 1796087"/>
                <a:gd name="connsiteX1911" fmla="*/ 717987 w 2290556"/>
                <a:gd name="connsiteY1911" fmla="*/ 1637073 h 1796087"/>
                <a:gd name="connsiteX1912" fmla="*/ 723203 w 2290556"/>
                <a:gd name="connsiteY1912" fmla="*/ 1631724 h 1796087"/>
                <a:gd name="connsiteX1913" fmla="*/ 727679 w 2290556"/>
                <a:gd name="connsiteY1913" fmla="*/ 1626947 h 1796087"/>
                <a:gd name="connsiteX1914" fmla="*/ 730002 w 2290556"/>
                <a:gd name="connsiteY1914" fmla="*/ 1623751 h 1796087"/>
                <a:gd name="connsiteX1915" fmla="*/ 732324 w 2290556"/>
                <a:gd name="connsiteY1915" fmla="*/ 1618975 h 1796087"/>
                <a:gd name="connsiteX1916" fmla="*/ 734208 w 2290556"/>
                <a:gd name="connsiteY1916" fmla="*/ 1616519 h 1796087"/>
                <a:gd name="connsiteX1917" fmla="*/ 737675 w 2290556"/>
                <a:gd name="connsiteY1917" fmla="*/ 1613761 h 1796087"/>
                <a:gd name="connsiteX1918" fmla="*/ 741747 w 2290556"/>
                <a:gd name="connsiteY1918" fmla="*/ 1611137 h 1796087"/>
                <a:gd name="connsiteX1919" fmla="*/ 745651 w 2290556"/>
                <a:gd name="connsiteY1919" fmla="*/ 1608815 h 1796087"/>
                <a:gd name="connsiteX1920" fmla="*/ 747973 w 2290556"/>
                <a:gd name="connsiteY1920" fmla="*/ 1606797 h 1796087"/>
                <a:gd name="connsiteX1921" fmla="*/ 748714 w 2290556"/>
                <a:gd name="connsiteY1921" fmla="*/ 1600843 h 1796087"/>
                <a:gd name="connsiteX1922" fmla="*/ 749420 w 2290556"/>
                <a:gd name="connsiteY1922" fmla="*/ 1597647 h 1796087"/>
                <a:gd name="connsiteX1923" fmla="*/ 752752 w 2290556"/>
                <a:gd name="connsiteY1923" fmla="*/ 1592736 h 1796087"/>
                <a:gd name="connsiteX1924" fmla="*/ 755512 w 2290556"/>
                <a:gd name="connsiteY1924" fmla="*/ 1589271 h 1796087"/>
                <a:gd name="connsiteX1925" fmla="*/ 758574 w 2290556"/>
                <a:gd name="connsiteY1925" fmla="*/ 1590583 h 1796087"/>
                <a:gd name="connsiteX1926" fmla="*/ 761906 w 2290556"/>
                <a:gd name="connsiteY1926" fmla="*/ 1590583 h 1796087"/>
                <a:gd name="connsiteX1927" fmla="*/ 766820 w 2290556"/>
                <a:gd name="connsiteY1927" fmla="*/ 1589271 h 1796087"/>
                <a:gd name="connsiteX1928" fmla="*/ 770454 w 2290556"/>
                <a:gd name="connsiteY1928" fmla="*/ 1587959 h 1796087"/>
                <a:gd name="connsiteX1929" fmla="*/ 773652 w 2290556"/>
                <a:gd name="connsiteY1929" fmla="*/ 1585941 h 1796087"/>
                <a:gd name="connsiteX1930" fmla="*/ 775974 w 2290556"/>
                <a:gd name="connsiteY1930" fmla="*/ 1585066 h 1796087"/>
                <a:gd name="connsiteX1931" fmla="*/ 781056 w 2290556"/>
                <a:gd name="connsiteY1931" fmla="*/ 1585066 h 1796087"/>
                <a:gd name="connsiteX1932" fmla="*/ 787147 w 2290556"/>
                <a:gd name="connsiteY1932" fmla="*/ 1584494 h 1796087"/>
                <a:gd name="connsiteX1933" fmla="*/ 790613 w 2290556"/>
                <a:gd name="connsiteY1933" fmla="*/ 1581029 h 1796087"/>
                <a:gd name="connsiteX1934" fmla="*/ 794686 w 2290556"/>
                <a:gd name="connsiteY1934" fmla="*/ 1581769 h 1796087"/>
                <a:gd name="connsiteX1935" fmla="*/ 795392 w 2290556"/>
                <a:gd name="connsiteY1935" fmla="*/ 1584965 h 1796087"/>
                <a:gd name="connsiteX1936" fmla="*/ 795392 w 2290556"/>
                <a:gd name="connsiteY1936" fmla="*/ 1588598 h 1796087"/>
                <a:gd name="connsiteX1937" fmla="*/ 795426 w 2290556"/>
                <a:gd name="connsiteY1937" fmla="*/ 1592063 h 1796087"/>
                <a:gd name="connsiteX1938" fmla="*/ 793811 w 2290556"/>
                <a:gd name="connsiteY1938" fmla="*/ 1595965 h 1796087"/>
                <a:gd name="connsiteX1939" fmla="*/ 795594 w 2290556"/>
                <a:gd name="connsiteY1939" fmla="*/ 1598724 h 1796087"/>
                <a:gd name="connsiteX1940" fmla="*/ 796705 w 2290556"/>
                <a:gd name="connsiteY1940" fmla="*/ 1603366 h 1796087"/>
                <a:gd name="connsiteX1941" fmla="*/ 796469 w 2290556"/>
                <a:gd name="connsiteY1941" fmla="*/ 1608008 h 1796087"/>
                <a:gd name="connsiteX1942" fmla="*/ 797546 w 2290556"/>
                <a:gd name="connsiteY1942" fmla="*/ 1611641 h 1796087"/>
                <a:gd name="connsiteX1943" fmla="*/ 797546 w 2290556"/>
                <a:gd name="connsiteY1943" fmla="*/ 1619042 h 1796087"/>
                <a:gd name="connsiteX1944" fmla="*/ 799734 w 2290556"/>
                <a:gd name="connsiteY1944" fmla="*/ 1617730 h 1796087"/>
                <a:gd name="connsiteX1945" fmla="*/ 801349 w 2290556"/>
                <a:gd name="connsiteY1945" fmla="*/ 1617596 h 1796087"/>
                <a:gd name="connsiteX1946" fmla="*/ 804681 w 2290556"/>
                <a:gd name="connsiteY1946" fmla="*/ 1617596 h 1796087"/>
                <a:gd name="connsiteX1947" fmla="*/ 807441 w 2290556"/>
                <a:gd name="connsiteY1947" fmla="*/ 1620354 h 1796087"/>
                <a:gd name="connsiteX1948" fmla="*/ 808585 w 2290556"/>
                <a:gd name="connsiteY1948" fmla="*/ 1623953 h 1796087"/>
                <a:gd name="connsiteX1949" fmla="*/ 809595 w 2290556"/>
                <a:gd name="connsiteY1949" fmla="*/ 1627284 h 1796087"/>
                <a:gd name="connsiteX1950" fmla="*/ 809595 w 2290556"/>
                <a:gd name="connsiteY1950" fmla="*/ 1630311 h 1796087"/>
                <a:gd name="connsiteX1951" fmla="*/ 809023 w 2290556"/>
                <a:gd name="connsiteY1951" fmla="*/ 1634651 h 1796087"/>
                <a:gd name="connsiteX1952" fmla="*/ 807710 w 2290556"/>
                <a:gd name="connsiteY1952" fmla="*/ 1635660 h 1796087"/>
                <a:gd name="connsiteX1953" fmla="*/ 805388 w 2290556"/>
                <a:gd name="connsiteY1953" fmla="*/ 1635223 h 1796087"/>
                <a:gd name="connsiteX1954" fmla="*/ 803638 w 2290556"/>
                <a:gd name="connsiteY1954" fmla="*/ 1634785 h 1796087"/>
                <a:gd name="connsiteX1955" fmla="*/ 799868 w 2290556"/>
                <a:gd name="connsiteY1955" fmla="*/ 1634483 h 1796087"/>
                <a:gd name="connsiteX1956" fmla="*/ 796840 w 2290556"/>
                <a:gd name="connsiteY1956" fmla="*/ 1634045 h 1796087"/>
                <a:gd name="connsiteX1957" fmla="*/ 791488 w 2290556"/>
                <a:gd name="connsiteY1957" fmla="*/ 1636232 h 1796087"/>
                <a:gd name="connsiteX1958" fmla="*/ 787719 w 2290556"/>
                <a:gd name="connsiteY1958" fmla="*/ 1637678 h 1796087"/>
                <a:gd name="connsiteX1959" fmla="*/ 785262 w 2290556"/>
                <a:gd name="connsiteY1959" fmla="*/ 1642758 h 1796087"/>
                <a:gd name="connsiteX1960" fmla="*/ 780854 w 2290556"/>
                <a:gd name="connsiteY1960" fmla="*/ 1644204 h 1796087"/>
                <a:gd name="connsiteX1961" fmla="*/ 778229 w 2290556"/>
                <a:gd name="connsiteY1961" fmla="*/ 1649856 h 1796087"/>
                <a:gd name="connsiteX1962" fmla="*/ 776479 w 2290556"/>
                <a:gd name="connsiteY1962" fmla="*/ 1653758 h 1796087"/>
                <a:gd name="connsiteX1963" fmla="*/ 773450 w 2290556"/>
                <a:gd name="connsiteY1963" fmla="*/ 1657458 h 1796087"/>
                <a:gd name="connsiteX1964" fmla="*/ 772810 w 2290556"/>
                <a:gd name="connsiteY1964" fmla="*/ 1660284 h 1796087"/>
                <a:gd name="connsiteX1965" fmla="*/ 771733 w 2290556"/>
                <a:gd name="connsiteY1965" fmla="*/ 1662908 h 1796087"/>
                <a:gd name="connsiteX1966" fmla="*/ 771296 w 2290556"/>
                <a:gd name="connsiteY1966" fmla="*/ 1665936 h 1796087"/>
                <a:gd name="connsiteX1967" fmla="*/ 770757 w 2290556"/>
                <a:gd name="connsiteY1967" fmla="*/ 1667887 h 1796087"/>
                <a:gd name="connsiteX1968" fmla="*/ 768031 w 2290556"/>
                <a:gd name="connsiteY1968" fmla="*/ 1670948 h 1796087"/>
                <a:gd name="connsiteX1969" fmla="*/ 768031 w 2290556"/>
                <a:gd name="connsiteY1969" fmla="*/ 1674648 h 1796087"/>
                <a:gd name="connsiteX1970" fmla="*/ 768805 w 2290556"/>
                <a:gd name="connsiteY1970" fmla="*/ 1676398 h 1796087"/>
                <a:gd name="connsiteX1971" fmla="*/ 771531 w 2290556"/>
                <a:gd name="connsiteY1971" fmla="*/ 1680098 h 1796087"/>
                <a:gd name="connsiteX1972" fmla="*/ 771531 w 2290556"/>
                <a:gd name="connsiteY1972" fmla="*/ 1681612 h 1796087"/>
                <a:gd name="connsiteX1973" fmla="*/ 770454 w 2290556"/>
                <a:gd name="connsiteY1973" fmla="*/ 1684438 h 1796087"/>
                <a:gd name="connsiteX1974" fmla="*/ 768940 w 2290556"/>
                <a:gd name="connsiteY1974" fmla="*/ 1685951 h 1796087"/>
                <a:gd name="connsiteX1975" fmla="*/ 767190 w 2290556"/>
                <a:gd name="connsiteY1975" fmla="*/ 1689181 h 1796087"/>
                <a:gd name="connsiteX1976" fmla="*/ 767829 w 2290556"/>
                <a:gd name="connsiteY1976" fmla="*/ 1692881 h 1796087"/>
                <a:gd name="connsiteX1977" fmla="*/ 768906 w 2290556"/>
                <a:gd name="connsiteY1977" fmla="*/ 1695505 h 1796087"/>
                <a:gd name="connsiteX1978" fmla="*/ 767594 w 2290556"/>
                <a:gd name="connsiteY1978" fmla="*/ 1700080 h 1796087"/>
                <a:gd name="connsiteX1979" fmla="*/ 767358 w 2290556"/>
                <a:gd name="connsiteY1979" fmla="*/ 1703545 h 1796087"/>
                <a:gd name="connsiteX1980" fmla="*/ 768435 w 2290556"/>
                <a:gd name="connsiteY1980" fmla="*/ 1705059 h 1796087"/>
                <a:gd name="connsiteX1981" fmla="*/ 773652 w 2290556"/>
                <a:gd name="connsiteY1981" fmla="*/ 1710037 h 1796087"/>
                <a:gd name="connsiteX1982" fmla="*/ 777791 w 2290556"/>
                <a:gd name="connsiteY1982" fmla="*/ 1712863 h 1796087"/>
                <a:gd name="connsiteX1983" fmla="*/ 780181 w 2290556"/>
                <a:gd name="connsiteY1983" fmla="*/ 1714377 h 1796087"/>
                <a:gd name="connsiteX1984" fmla="*/ 784758 w 2290556"/>
                <a:gd name="connsiteY1984" fmla="*/ 1717404 h 1796087"/>
                <a:gd name="connsiteX1985" fmla="*/ 790109 w 2290556"/>
                <a:gd name="connsiteY1985" fmla="*/ 1720095 h 1796087"/>
                <a:gd name="connsiteX1986" fmla="*/ 799027 w 2290556"/>
                <a:gd name="connsiteY1986" fmla="*/ 1726252 h 1796087"/>
                <a:gd name="connsiteX1987" fmla="*/ 803099 w 2290556"/>
                <a:gd name="connsiteY1987" fmla="*/ 1727698 h 1796087"/>
                <a:gd name="connsiteX1988" fmla="*/ 809123 w 2290556"/>
                <a:gd name="connsiteY1988" fmla="*/ 1727698 h 1796087"/>
                <a:gd name="connsiteX1989" fmla="*/ 812523 w 2290556"/>
                <a:gd name="connsiteY1989" fmla="*/ 1726992 h 1796087"/>
                <a:gd name="connsiteX1990" fmla="*/ 818176 w 2290556"/>
                <a:gd name="connsiteY1990" fmla="*/ 1724704 h 1796087"/>
                <a:gd name="connsiteX1991" fmla="*/ 821508 w 2290556"/>
                <a:gd name="connsiteY1991" fmla="*/ 1722417 h 1796087"/>
                <a:gd name="connsiteX1992" fmla="*/ 824537 w 2290556"/>
                <a:gd name="connsiteY1992" fmla="*/ 1722417 h 1796087"/>
                <a:gd name="connsiteX1993" fmla="*/ 827600 w 2290556"/>
                <a:gd name="connsiteY1993" fmla="*/ 1723224 h 1796087"/>
                <a:gd name="connsiteX1994" fmla="*/ 833624 w 2290556"/>
                <a:gd name="connsiteY1994" fmla="*/ 1725108 h 1796087"/>
                <a:gd name="connsiteX1995" fmla="*/ 835509 w 2290556"/>
                <a:gd name="connsiteY1995" fmla="*/ 1726352 h 1796087"/>
                <a:gd name="connsiteX1996" fmla="*/ 840220 w 2290556"/>
                <a:gd name="connsiteY1996" fmla="*/ 1732004 h 1796087"/>
                <a:gd name="connsiteX1997" fmla="*/ 842812 w 2290556"/>
                <a:gd name="connsiteY1997" fmla="*/ 1734830 h 1796087"/>
                <a:gd name="connsiteX1998" fmla="*/ 845942 w 2290556"/>
                <a:gd name="connsiteY1998" fmla="*/ 1741288 h 1796087"/>
                <a:gd name="connsiteX1999" fmla="*/ 850081 w 2290556"/>
                <a:gd name="connsiteY1999" fmla="*/ 1746132 h 1796087"/>
                <a:gd name="connsiteX2000" fmla="*/ 851091 w 2290556"/>
                <a:gd name="connsiteY2000" fmla="*/ 1750337 h 1796087"/>
                <a:gd name="connsiteX2001" fmla="*/ 853043 w 2290556"/>
                <a:gd name="connsiteY2001" fmla="*/ 1753601 h 1796087"/>
                <a:gd name="connsiteX2002" fmla="*/ 857384 w 2290556"/>
                <a:gd name="connsiteY2002" fmla="*/ 1755854 h 1796087"/>
                <a:gd name="connsiteX2003" fmla="*/ 861793 w 2290556"/>
                <a:gd name="connsiteY2003" fmla="*/ 1755484 h 1796087"/>
                <a:gd name="connsiteX2004" fmla="*/ 867918 w 2290556"/>
                <a:gd name="connsiteY2004" fmla="*/ 1756023 h 1796087"/>
                <a:gd name="connsiteX2005" fmla="*/ 873774 w 2290556"/>
                <a:gd name="connsiteY2005" fmla="*/ 1758209 h 1796087"/>
                <a:gd name="connsiteX2006" fmla="*/ 880202 w 2290556"/>
                <a:gd name="connsiteY2006" fmla="*/ 1759958 h 1796087"/>
                <a:gd name="connsiteX2007" fmla="*/ 886630 w 2290556"/>
                <a:gd name="connsiteY2007" fmla="*/ 1760934 h 1796087"/>
                <a:gd name="connsiteX2008" fmla="*/ 891072 w 2290556"/>
                <a:gd name="connsiteY2008" fmla="*/ 1759958 h 1796087"/>
                <a:gd name="connsiteX2009" fmla="*/ 891611 w 2290556"/>
                <a:gd name="connsiteY2009" fmla="*/ 1762986 h 1796087"/>
                <a:gd name="connsiteX2010" fmla="*/ 895313 w 2290556"/>
                <a:gd name="connsiteY2010" fmla="*/ 1764937 h 1796087"/>
                <a:gd name="connsiteX2011" fmla="*/ 897938 w 2290556"/>
                <a:gd name="connsiteY2011" fmla="*/ 1770151 h 1796087"/>
                <a:gd name="connsiteX2012" fmla="*/ 900967 w 2290556"/>
                <a:gd name="connsiteY2012" fmla="*/ 1777653 h 1796087"/>
                <a:gd name="connsiteX2013" fmla="*/ 903693 w 2290556"/>
                <a:gd name="connsiteY2013" fmla="*/ 1781454 h 1796087"/>
                <a:gd name="connsiteX2014" fmla="*/ 910121 w 2290556"/>
                <a:gd name="connsiteY2014" fmla="*/ 1783069 h 1796087"/>
                <a:gd name="connsiteX2015" fmla="*/ 911433 w 2290556"/>
                <a:gd name="connsiteY2015" fmla="*/ 1780142 h 1796087"/>
                <a:gd name="connsiteX2016" fmla="*/ 915001 w 2290556"/>
                <a:gd name="connsiteY2016" fmla="*/ 1779806 h 1796087"/>
                <a:gd name="connsiteX2017" fmla="*/ 918905 w 2290556"/>
                <a:gd name="connsiteY2017" fmla="*/ 1779806 h 1796087"/>
                <a:gd name="connsiteX2018" fmla="*/ 922068 w 2290556"/>
                <a:gd name="connsiteY2018" fmla="*/ 1782699 h 1796087"/>
                <a:gd name="connsiteX2019" fmla="*/ 925434 w 2290556"/>
                <a:gd name="connsiteY2019" fmla="*/ 1785020 h 1796087"/>
                <a:gd name="connsiteX2020" fmla="*/ 932400 w 2290556"/>
                <a:gd name="connsiteY2020" fmla="*/ 1785020 h 1796087"/>
                <a:gd name="connsiteX2021" fmla="*/ 937415 w 2290556"/>
                <a:gd name="connsiteY2021" fmla="*/ 1781118 h 1796087"/>
                <a:gd name="connsiteX2022" fmla="*/ 941554 w 2290556"/>
                <a:gd name="connsiteY2022" fmla="*/ 1780041 h 1796087"/>
                <a:gd name="connsiteX2023" fmla="*/ 952862 w 2290556"/>
                <a:gd name="connsiteY2023" fmla="*/ 1783304 h 1796087"/>
                <a:gd name="connsiteX2024" fmla="*/ 960536 w 2290556"/>
                <a:gd name="connsiteY2024" fmla="*/ 1782564 h 1796087"/>
                <a:gd name="connsiteX2025" fmla="*/ 964574 w 2290556"/>
                <a:gd name="connsiteY2025" fmla="*/ 1782564 h 1796087"/>
                <a:gd name="connsiteX2026" fmla="*/ 967199 w 2290556"/>
                <a:gd name="connsiteY2026" fmla="*/ 1781420 h 1796087"/>
                <a:gd name="connsiteX2027" fmla="*/ 970262 w 2290556"/>
                <a:gd name="connsiteY2027" fmla="*/ 1781420 h 1796087"/>
                <a:gd name="connsiteX2028" fmla="*/ 970968 w 2290556"/>
                <a:gd name="connsiteY2028" fmla="*/ 1778965 h 1796087"/>
                <a:gd name="connsiteX2029" fmla="*/ 970531 w 2290556"/>
                <a:gd name="connsiteY2029" fmla="*/ 1776644 h 1796087"/>
                <a:gd name="connsiteX2030" fmla="*/ 968343 w 2290556"/>
                <a:gd name="connsiteY2030" fmla="*/ 1774625 h 1796087"/>
                <a:gd name="connsiteX2031" fmla="*/ 966324 w 2290556"/>
                <a:gd name="connsiteY2031" fmla="*/ 1773751 h 1796087"/>
                <a:gd name="connsiteX2032" fmla="*/ 964574 w 2290556"/>
                <a:gd name="connsiteY2032" fmla="*/ 1771160 h 1796087"/>
                <a:gd name="connsiteX2033" fmla="*/ 964574 w 2290556"/>
                <a:gd name="connsiteY2033" fmla="*/ 1768570 h 1796087"/>
                <a:gd name="connsiteX2034" fmla="*/ 964574 w 2290556"/>
                <a:gd name="connsiteY2034" fmla="*/ 1765105 h 1796087"/>
                <a:gd name="connsiteX2035" fmla="*/ 965011 w 2290556"/>
                <a:gd name="connsiteY2035" fmla="*/ 1762212 h 1796087"/>
                <a:gd name="connsiteX2036" fmla="*/ 964574 w 2290556"/>
                <a:gd name="connsiteY2036" fmla="*/ 1759891 h 1796087"/>
                <a:gd name="connsiteX2037" fmla="*/ 964574 w 2290556"/>
                <a:gd name="connsiteY2037" fmla="*/ 1754677 h 1796087"/>
                <a:gd name="connsiteX2038" fmla="*/ 964574 w 2290556"/>
                <a:gd name="connsiteY2038" fmla="*/ 1752053 h 1796087"/>
                <a:gd name="connsiteX2039" fmla="*/ 966324 w 2290556"/>
                <a:gd name="connsiteY2039" fmla="*/ 1749463 h 1796087"/>
                <a:gd name="connsiteX2040" fmla="*/ 966324 w 2290556"/>
                <a:gd name="connsiteY2040" fmla="*/ 1747714 h 1796087"/>
                <a:gd name="connsiteX2041" fmla="*/ 966324 w 2290556"/>
                <a:gd name="connsiteY2041" fmla="*/ 1745695 h 1796087"/>
                <a:gd name="connsiteX2042" fmla="*/ 968074 w 2290556"/>
                <a:gd name="connsiteY2042" fmla="*/ 1742500 h 1796087"/>
                <a:gd name="connsiteX2043" fmla="*/ 968074 w 2290556"/>
                <a:gd name="connsiteY2043" fmla="*/ 1740481 h 1796087"/>
                <a:gd name="connsiteX2044" fmla="*/ 970766 w 2290556"/>
                <a:gd name="connsiteY2044" fmla="*/ 1740178 h 1796087"/>
                <a:gd name="connsiteX2045" fmla="*/ 972281 w 2290556"/>
                <a:gd name="connsiteY2045" fmla="*/ 1740616 h 1796087"/>
                <a:gd name="connsiteX2046" fmla="*/ 973425 w 2290556"/>
                <a:gd name="connsiteY2046" fmla="*/ 1744249 h 1796087"/>
                <a:gd name="connsiteX2047" fmla="*/ 976622 w 2290556"/>
                <a:gd name="connsiteY2047" fmla="*/ 1746570 h 1796087"/>
                <a:gd name="connsiteX2048" fmla="*/ 977497 w 2290556"/>
                <a:gd name="connsiteY2048" fmla="*/ 1751044 h 1796087"/>
                <a:gd name="connsiteX2049" fmla="*/ 978642 w 2290556"/>
                <a:gd name="connsiteY2049" fmla="*/ 1752591 h 1796087"/>
                <a:gd name="connsiteX2050" fmla="*/ 983589 w 2290556"/>
                <a:gd name="connsiteY2050" fmla="*/ 1752490 h 1796087"/>
                <a:gd name="connsiteX2051" fmla="*/ 986180 w 2290556"/>
                <a:gd name="connsiteY2051" fmla="*/ 1752490 h 1796087"/>
                <a:gd name="connsiteX2052" fmla="*/ 987055 w 2290556"/>
                <a:gd name="connsiteY2052" fmla="*/ 1750304 h 1796087"/>
                <a:gd name="connsiteX2053" fmla="*/ 987930 w 2290556"/>
                <a:gd name="connsiteY2053" fmla="*/ 1747848 h 1796087"/>
                <a:gd name="connsiteX2054" fmla="*/ 989680 w 2290556"/>
                <a:gd name="connsiteY2054" fmla="*/ 1744081 h 1796087"/>
                <a:gd name="connsiteX2055" fmla="*/ 990993 w 2290556"/>
                <a:gd name="connsiteY2055" fmla="*/ 1741625 h 1796087"/>
                <a:gd name="connsiteX2056" fmla="*/ 991127 w 2290556"/>
                <a:gd name="connsiteY2056" fmla="*/ 1738732 h 1796087"/>
                <a:gd name="connsiteX2057" fmla="*/ 990825 w 2290556"/>
                <a:gd name="connsiteY2057" fmla="*/ 1735671 h 1796087"/>
                <a:gd name="connsiteX2058" fmla="*/ 989075 w 2290556"/>
                <a:gd name="connsiteY2058" fmla="*/ 1732206 h 1796087"/>
                <a:gd name="connsiteX2059" fmla="*/ 985171 w 2290556"/>
                <a:gd name="connsiteY2059" fmla="*/ 1728438 h 1796087"/>
                <a:gd name="connsiteX2060" fmla="*/ 982411 w 2290556"/>
                <a:gd name="connsiteY2060" fmla="*/ 1728438 h 1796087"/>
                <a:gd name="connsiteX2061" fmla="*/ 979348 w 2290556"/>
                <a:gd name="connsiteY2061" fmla="*/ 1725680 h 1796087"/>
                <a:gd name="connsiteX2062" fmla="*/ 977464 w 2290556"/>
                <a:gd name="connsiteY2062" fmla="*/ 1722349 h 1796087"/>
                <a:gd name="connsiteX2063" fmla="*/ 978473 w 2290556"/>
                <a:gd name="connsiteY2063" fmla="*/ 1716395 h 1796087"/>
                <a:gd name="connsiteX2064" fmla="*/ 978473 w 2290556"/>
                <a:gd name="connsiteY2064" fmla="*/ 1711282 h 1796087"/>
                <a:gd name="connsiteX2065" fmla="*/ 978473 w 2290556"/>
                <a:gd name="connsiteY2065" fmla="*/ 1709533 h 1796087"/>
                <a:gd name="connsiteX2066" fmla="*/ 978473 w 2290556"/>
                <a:gd name="connsiteY2066" fmla="*/ 1706505 h 1796087"/>
                <a:gd name="connsiteX2067" fmla="*/ 982613 w 2290556"/>
                <a:gd name="connsiteY2067" fmla="*/ 1702165 h 1796087"/>
                <a:gd name="connsiteX2068" fmla="*/ 981973 w 2290556"/>
                <a:gd name="connsiteY2068" fmla="*/ 1697692 h 1796087"/>
                <a:gd name="connsiteX2069" fmla="*/ 984733 w 2290556"/>
                <a:gd name="connsiteY2069" fmla="*/ 1694798 h 1796087"/>
                <a:gd name="connsiteX2070" fmla="*/ 986315 w 2290556"/>
                <a:gd name="connsiteY2070" fmla="*/ 1691334 h 1796087"/>
                <a:gd name="connsiteX2071" fmla="*/ 991094 w 2290556"/>
                <a:gd name="connsiteY2071" fmla="*/ 1691334 h 1796087"/>
                <a:gd name="connsiteX2072" fmla="*/ 995166 w 2290556"/>
                <a:gd name="connsiteY2072" fmla="*/ 1689315 h 1796087"/>
                <a:gd name="connsiteX2073" fmla="*/ 997185 w 2290556"/>
                <a:gd name="connsiteY2073" fmla="*/ 1688306 h 1796087"/>
                <a:gd name="connsiteX2074" fmla="*/ 1001392 w 2290556"/>
                <a:gd name="connsiteY2074" fmla="*/ 1684673 h 1796087"/>
                <a:gd name="connsiteX2075" fmla="*/ 1004286 w 2290556"/>
                <a:gd name="connsiteY2075" fmla="*/ 1679459 h 1796087"/>
                <a:gd name="connsiteX2076" fmla="*/ 1007921 w 2290556"/>
                <a:gd name="connsiteY2076" fmla="*/ 1678147 h 1796087"/>
                <a:gd name="connsiteX2077" fmla="*/ 1010378 w 2290556"/>
                <a:gd name="connsiteY2077" fmla="*/ 1675388 h 1796087"/>
                <a:gd name="connsiteX2078" fmla="*/ 1014013 w 2290556"/>
                <a:gd name="connsiteY2078" fmla="*/ 1674514 h 1796087"/>
                <a:gd name="connsiteX2079" fmla="*/ 1018219 w 2290556"/>
                <a:gd name="connsiteY2079" fmla="*/ 1673807 h 1796087"/>
                <a:gd name="connsiteX2080" fmla="*/ 1017647 w 2290556"/>
                <a:gd name="connsiteY2080" fmla="*/ 1671352 h 1796087"/>
                <a:gd name="connsiteX2081" fmla="*/ 1016032 w 2290556"/>
                <a:gd name="connsiteY2081" fmla="*/ 1668021 h 1796087"/>
                <a:gd name="connsiteX2082" fmla="*/ 1016772 w 2290556"/>
                <a:gd name="connsiteY2082" fmla="*/ 1664388 h 1796087"/>
                <a:gd name="connsiteX2083" fmla="*/ 1016772 w 2290556"/>
                <a:gd name="connsiteY2083" fmla="*/ 1659746 h 1796087"/>
                <a:gd name="connsiteX2084" fmla="*/ 1018590 w 2290556"/>
                <a:gd name="connsiteY2084" fmla="*/ 1655709 h 1796087"/>
                <a:gd name="connsiteX2085" fmla="*/ 1021282 w 2290556"/>
                <a:gd name="connsiteY2085" fmla="*/ 1650495 h 1796087"/>
                <a:gd name="connsiteX2086" fmla="*/ 1024479 w 2290556"/>
                <a:gd name="connsiteY2086" fmla="*/ 1648611 h 1796087"/>
                <a:gd name="connsiteX2087" fmla="*/ 1028114 w 2290556"/>
                <a:gd name="connsiteY2087" fmla="*/ 1651370 h 1796087"/>
                <a:gd name="connsiteX2088" fmla="*/ 1033027 w 2290556"/>
                <a:gd name="connsiteY2088" fmla="*/ 1651370 h 1796087"/>
                <a:gd name="connsiteX2089" fmla="*/ 1038109 w 2290556"/>
                <a:gd name="connsiteY2089" fmla="*/ 1649923 h 1796087"/>
                <a:gd name="connsiteX2090" fmla="*/ 1039994 w 2290556"/>
                <a:gd name="connsiteY2090" fmla="*/ 1645853 h 1796087"/>
                <a:gd name="connsiteX2091" fmla="*/ 1042888 w 2290556"/>
                <a:gd name="connsiteY2091" fmla="*/ 1643532 h 1796087"/>
                <a:gd name="connsiteX2092" fmla="*/ 1042888 w 2290556"/>
                <a:gd name="connsiteY2092" fmla="*/ 1639629 h 1796087"/>
                <a:gd name="connsiteX2093" fmla="*/ 1043393 w 2290556"/>
                <a:gd name="connsiteY2093" fmla="*/ 1634415 h 1796087"/>
                <a:gd name="connsiteX2094" fmla="*/ 1043763 w 2290556"/>
                <a:gd name="connsiteY2094" fmla="*/ 1630210 h 1796087"/>
                <a:gd name="connsiteX2095" fmla="*/ 1045345 w 2290556"/>
                <a:gd name="connsiteY2095" fmla="*/ 1625568 h 1796087"/>
                <a:gd name="connsiteX2096" fmla="*/ 1046927 w 2290556"/>
                <a:gd name="connsiteY2096" fmla="*/ 1622103 h 1796087"/>
                <a:gd name="connsiteX2097" fmla="*/ 1053018 w 2290556"/>
                <a:gd name="connsiteY2097" fmla="*/ 1620522 h 1796087"/>
                <a:gd name="connsiteX2098" fmla="*/ 1057932 w 2290556"/>
                <a:gd name="connsiteY2098" fmla="*/ 1618638 h 1796087"/>
                <a:gd name="connsiteX2099" fmla="*/ 1062711 w 2290556"/>
                <a:gd name="connsiteY2099" fmla="*/ 1615745 h 1796087"/>
                <a:gd name="connsiteX2100" fmla="*/ 1065773 w 2290556"/>
                <a:gd name="connsiteY2100" fmla="*/ 1611978 h 1796087"/>
                <a:gd name="connsiteX2101" fmla="*/ 1070990 w 2290556"/>
                <a:gd name="connsiteY2101" fmla="*/ 1606629 h 1796087"/>
                <a:gd name="connsiteX2102" fmla="*/ 1074894 w 2290556"/>
                <a:gd name="connsiteY2102" fmla="*/ 1605317 h 1796087"/>
                <a:gd name="connsiteX2103" fmla="*/ 1078966 w 2290556"/>
                <a:gd name="connsiteY2103" fmla="*/ 1602121 h 1796087"/>
                <a:gd name="connsiteX2104" fmla="*/ 1082870 w 2290556"/>
                <a:gd name="connsiteY2104" fmla="*/ 1600237 h 1796087"/>
                <a:gd name="connsiteX2105" fmla="*/ 1086942 w 2290556"/>
                <a:gd name="connsiteY2105" fmla="*/ 1597614 h 1796087"/>
                <a:gd name="connsiteX2106" fmla="*/ 1088524 w 2290556"/>
                <a:gd name="connsiteY2106" fmla="*/ 1596032 h 1796087"/>
                <a:gd name="connsiteX2107" fmla="*/ 1091284 w 2290556"/>
                <a:gd name="connsiteY2107" fmla="*/ 1593577 h 1796087"/>
                <a:gd name="connsiteX2108" fmla="*/ 1093168 w 2290556"/>
                <a:gd name="connsiteY2108" fmla="*/ 1590818 h 1796087"/>
                <a:gd name="connsiteX2109" fmla="*/ 1088389 w 2290556"/>
                <a:gd name="connsiteY2109" fmla="*/ 1589069 h 1796087"/>
                <a:gd name="connsiteX2110" fmla="*/ 1084182 w 2290556"/>
                <a:gd name="connsiteY2110" fmla="*/ 1584999 h 1796087"/>
                <a:gd name="connsiteX2111" fmla="*/ 1080110 w 2290556"/>
                <a:gd name="connsiteY2111" fmla="*/ 1581366 h 1796087"/>
                <a:gd name="connsiteX2112" fmla="*/ 1084182 w 2290556"/>
                <a:gd name="connsiteY2112" fmla="*/ 1578473 h 1796087"/>
                <a:gd name="connsiteX2113" fmla="*/ 1088961 w 2290556"/>
                <a:gd name="connsiteY2113" fmla="*/ 1578338 h 1796087"/>
                <a:gd name="connsiteX2114" fmla="*/ 1092596 w 2290556"/>
                <a:gd name="connsiteY2114" fmla="*/ 1578338 h 1796087"/>
                <a:gd name="connsiteX2115" fmla="*/ 1097106 w 2290556"/>
                <a:gd name="connsiteY2115" fmla="*/ 1577699 h 1796087"/>
                <a:gd name="connsiteX2116" fmla="*/ 1100303 w 2290556"/>
                <a:gd name="connsiteY2116" fmla="*/ 1579213 h 1796087"/>
                <a:gd name="connsiteX2117" fmla="*/ 1100303 w 2290556"/>
                <a:gd name="connsiteY2117" fmla="*/ 1582846 h 1796087"/>
                <a:gd name="connsiteX2118" fmla="*/ 1101279 w 2290556"/>
                <a:gd name="connsiteY2118" fmla="*/ 1585301 h 1796087"/>
                <a:gd name="connsiteX2119" fmla="*/ 1104375 w 2290556"/>
                <a:gd name="connsiteY2119" fmla="*/ 1589641 h 1796087"/>
                <a:gd name="connsiteX2120" fmla="*/ 1107707 w 2290556"/>
                <a:gd name="connsiteY2120" fmla="*/ 1592399 h 1796087"/>
                <a:gd name="connsiteX2121" fmla="*/ 1111476 w 2290556"/>
                <a:gd name="connsiteY2121" fmla="*/ 1596739 h 1796087"/>
                <a:gd name="connsiteX2122" fmla="*/ 1113630 w 2290556"/>
                <a:gd name="connsiteY2122" fmla="*/ 1595427 h 1796087"/>
                <a:gd name="connsiteX2123" fmla="*/ 1113630 w 2290556"/>
                <a:gd name="connsiteY2123" fmla="*/ 1591962 h 1796087"/>
                <a:gd name="connsiteX2124" fmla="*/ 1117265 w 2290556"/>
                <a:gd name="connsiteY2124" fmla="*/ 1590818 h 1796087"/>
                <a:gd name="connsiteX2125" fmla="*/ 1119856 w 2290556"/>
                <a:gd name="connsiteY2125" fmla="*/ 1590684 h 1796087"/>
                <a:gd name="connsiteX2126" fmla="*/ 1122178 w 2290556"/>
                <a:gd name="connsiteY2126" fmla="*/ 1591390 h 1796087"/>
                <a:gd name="connsiteX2127" fmla="*/ 1125073 w 2290556"/>
                <a:gd name="connsiteY2127" fmla="*/ 1593139 h 1796087"/>
                <a:gd name="connsiteX2128" fmla="*/ 1129852 w 2290556"/>
                <a:gd name="connsiteY2128" fmla="*/ 1594586 h 1796087"/>
                <a:gd name="connsiteX2129" fmla="*/ 1134933 w 2290556"/>
                <a:gd name="connsiteY2129" fmla="*/ 1599228 h 1796087"/>
                <a:gd name="connsiteX2130" fmla="*/ 1136381 w 2290556"/>
                <a:gd name="connsiteY2130" fmla="*/ 1599228 h 1796087"/>
                <a:gd name="connsiteX2131" fmla="*/ 1137693 w 2290556"/>
                <a:gd name="connsiteY2131" fmla="*/ 1596638 h 1796087"/>
                <a:gd name="connsiteX2132" fmla="*/ 1140285 w 2290556"/>
                <a:gd name="connsiteY2132" fmla="*/ 1594889 h 1796087"/>
                <a:gd name="connsiteX2133" fmla="*/ 1140285 w 2290556"/>
                <a:gd name="connsiteY2133" fmla="*/ 1592130 h 1796087"/>
                <a:gd name="connsiteX2134" fmla="*/ 1142674 w 2290556"/>
                <a:gd name="connsiteY2134" fmla="*/ 1589237 h 1796087"/>
                <a:gd name="connsiteX2135" fmla="*/ 1144357 w 2290556"/>
                <a:gd name="connsiteY2135" fmla="*/ 1584595 h 1796087"/>
                <a:gd name="connsiteX2136" fmla="*/ 1149136 w 2290556"/>
                <a:gd name="connsiteY2136" fmla="*/ 1579381 h 1796087"/>
                <a:gd name="connsiteX2137" fmla="*/ 1153477 w 2290556"/>
                <a:gd name="connsiteY2137" fmla="*/ 1574907 h 1796087"/>
                <a:gd name="connsiteX2138" fmla="*/ 1161319 w 2290556"/>
                <a:gd name="connsiteY2138" fmla="*/ 1569255 h 1796087"/>
                <a:gd name="connsiteX2139" fmla="*/ 1165660 w 2290556"/>
                <a:gd name="connsiteY2139" fmla="*/ 1566362 h 1796087"/>
                <a:gd name="connsiteX2140" fmla="*/ 1169867 w 2290556"/>
                <a:gd name="connsiteY2140" fmla="*/ 1563167 h 1796087"/>
                <a:gd name="connsiteX2141" fmla="*/ 1173333 w 2290556"/>
                <a:gd name="connsiteY2141" fmla="*/ 1562023 h 1796087"/>
                <a:gd name="connsiteX2142" fmla="*/ 1174781 w 2290556"/>
                <a:gd name="connsiteY2142" fmla="*/ 1562897 h 1796087"/>
                <a:gd name="connsiteX2143" fmla="*/ 1176665 w 2290556"/>
                <a:gd name="connsiteY2143" fmla="*/ 1563772 h 1796087"/>
                <a:gd name="connsiteX2144" fmla="*/ 1176968 w 2290556"/>
                <a:gd name="connsiteY2144" fmla="*/ 1565521 h 1796087"/>
                <a:gd name="connsiteX2145" fmla="*/ 1175521 w 2290556"/>
                <a:gd name="connsiteY2145" fmla="*/ 1568414 h 1796087"/>
                <a:gd name="connsiteX2146" fmla="*/ 1173333 w 2290556"/>
                <a:gd name="connsiteY2146" fmla="*/ 1570601 h 1796087"/>
                <a:gd name="connsiteX2147" fmla="*/ 1173333 w 2290556"/>
                <a:gd name="connsiteY2147" fmla="*/ 1574066 h 1796087"/>
                <a:gd name="connsiteX2148" fmla="*/ 1174208 w 2290556"/>
                <a:gd name="connsiteY2148" fmla="*/ 1578405 h 1796087"/>
                <a:gd name="connsiteX2149" fmla="*/ 1182050 w 2290556"/>
                <a:gd name="connsiteY2149" fmla="*/ 1578405 h 1796087"/>
                <a:gd name="connsiteX2150" fmla="*/ 1182050 w 2290556"/>
                <a:gd name="connsiteY2150" fmla="*/ 1582173 h 1796087"/>
                <a:gd name="connsiteX2151" fmla="*/ 1180838 w 2290556"/>
                <a:gd name="connsiteY2151" fmla="*/ 1585032 h 1796087"/>
                <a:gd name="connsiteX2152" fmla="*/ 1181410 w 2290556"/>
                <a:gd name="connsiteY2152" fmla="*/ 1585739 h 1796087"/>
                <a:gd name="connsiteX2153" fmla="*/ 1182925 w 2290556"/>
                <a:gd name="connsiteY2153" fmla="*/ 1585907 h 1796087"/>
                <a:gd name="connsiteX2154" fmla="*/ 1186627 w 2290556"/>
                <a:gd name="connsiteY2154" fmla="*/ 1585907 h 1796087"/>
                <a:gd name="connsiteX2155" fmla="*/ 1192045 w 2290556"/>
                <a:gd name="connsiteY2155" fmla="*/ 1584595 h 1796087"/>
                <a:gd name="connsiteX2156" fmla="*/ 1194670 w 2290556"/>
                <a:gd name="connsiteY2156" fmla="*/ 1582644 h 1796087"/>
                <a:gd name="connsiteX2157" fmla="*/ 1194670 w 2290556"/>
                <a:gd name="connsiteY2157" fmla="*/ 1579818 h 1796087"/>
                <a:gd name="connsiteX2158" fmla="*/ 1195411 w 2290556"/>
                <a:gd name="connsiteY2158" fmla="*/ 1577867 h 1796087"/>
                <a:gd name="connsiteX2159" fmla="*/ 1198339 w 2290556"/>
                <a:gd name="connsiteY2159" fmla="*/ 1575815 h 1796087"/>
                <a:gd name="connsiteX2160" fmla="*/ 1200829 w 2290556"/>
                <a:gd name="connsiteY2160" fmla="*/ 1573528 h 1796087"/>
                <a:gd name="connsiteX2161" fmla="*/ 1202478 w 2290556"/>
                <a:gd name="connsiteY2161" fmla="*/ 1571139 h 1796087"/>
                <a:gd name="connsiteX2162" fmla="*/ 1203791 w 2290556"/>
                <a:gd name="connsiteY2162" fmla="*/ 1568313 h 1796087"/>
                <a:gd name="connsiteX2163" fmla="*/ 1204329 w 2290556"/>
                <a:gd name="connsiteY2163" fmla="*/ 1565387 h 1796087"/>
                <a:gd name="connsiteX2164" fmla="*/ 1203993 w 2290556"/>
                <a:gd name="connsiteY2164" fmla="*/ 1563436 h 1796087"/>
                <a:gd name="connsiteX2165" fmla="*/ 1201502 w 2290556"/>
                <a:gd name="connsiteY2165" fmla="*/ 1562359 h 1796087"/>
                <a:gd name="connsiteX2166" fmla="*/ 1199887 w 2290556"/>
                <a:gd name="connsiteY2166" fmla="*/ 1561384 h 1796087"/>
                <a:gd name="connsiteX2167" fmla="*/ 1197060 w 2290556"/>
                <a:gd name="connsiteY2167" fmla="*/ 1557044 h 1796087"/>
                <a:gd name="connsiteX2168" fmla="*/ 1201738 w 2290556"/>
                <a:gd name="connsiteY2168" fmla="*/ 1556405 h 1796087"/>
                <a:gd name="connsiteX2169" fmla="*/ 1205541 w 2290556"/>
                <a:gd name="connsiteY2169" fmla="*/ 1555833 h 1796087"/>
                <a:gd name="connsiteX2170" fmla="*/ 1212070 w 2290556"/>
                <a:gd name="connsiteY2170" fmla="*/ 1555833 h 1796087"/>
                <a:gd name="connsiteX2171" fmla="*/ 1222738 w 2290556"/>
                <a:gd name="connsiteY2171" fmla="*/ 1556069 h 1796087"/>
                <a:gd name="connsiteX2172" fmla="*/ 1237075 w 2290556"/>
                <a:gd name="connsiteY2172" fmla="*/ 1556371 h 1796087"/>
                <a:gd name="connsiteX2173" fmla="*/ 1242729 w 2290556"/>
                <a:gd name="connsiteY2173" fmla="*/ 1555160 h 1796087"/>
                <a:gd name="connsiteX2174" fmla="*/ 1246095 w 2290556"/>
                <a:gd name="connsiteY2174" fmla="*/ 1549845 h 1796087"/>
                <a:gd name="connsiteX2175" fmla="*/ 1248282 w 2290556"/>
                <a:gd name="connsiteY2175" fmla="*/ 1546784 h 1796087"/>
                <a:gd name="connsiteX2176" fmla="*/ 1249359 w 2290556"/>
                <a:gd name="connsiteY2176" fmla="*/ 1540594 h 1796087"/>
                <a:gd name="connsiteX2177" fmla="*/ 1249898 w 2290556"/>
                <a:gd name="connsiteY2177" fmla="*/ 1532353 h 1796087"/>
                <a:gd name="connsiteX2178" fmla="*/ 1249898 w 2290556"/>
                <a:gd name="connsiteY2178" fmla="*/ 1528551 h 1796087"/>
                <a:gd name="connsiteX2179" fmla="*/ 1251648 w 2290556"/>
                <a:gd name="connsiteY2179" fmla="*/ 1520276 h 1796087"/>
                <a:gd name="connsiteX2180" fmla="*/ 1256225 w 2290556"/>
                <a:gd name="connsiteY2180" fmla="*/ 1514187 h 1796087"/>
                <a:gd name="connsiteX2181" fmla="*/ 1258950 w 2290556"/>
                <a:gd name="connsiteY2181" fmla="*/ 1507998 h 1796087"/>
                <a:gd name="connsiteX2182" fmla="*/ 1263427 w 2290556"/>
                <a:gd name="connsiteY2182" fmla="*/ 1501034 h 1796087"/>
                <a:gd name="connsiteX2183" fmla="*/ 1268845 w 2290556"/>
                <a:gd name="connsiteY2183" fmla="*/ 1491481 h 1796087"/>
                <a:gd name="connsiteX2184" fmla="*/ 1275913 w 2290556"/>
                <a:gd name="connsiteY2184" fmla="*/ 1485728 h 1796087"/>
                <a:gd name="connsiteX2185" fmla="*/ 1282442 w 2290556"/>
                <a:gd name="connsiteY2185" fmla="*/ 1479976 h 1796087"/>
                <a:gd name="connsiteX2186" fmla="*/ 1288634 w 2290556"/>
                <a:gd name="connsiteY2186" fmla="*/ 1479101 h 1796087"/>
                <a:gd name="connsiteX2187" fmla="*/ 1294826 w 2290556"/>
                <a:gd name="connsiteY2187" fmla="*/ 1479337 h 1796087"/>
                <a:gd name="connsiteX2188" fmla="*/ 1299504 w 2290556"/>
                <a:gd name="connsiteY2188" fmla="*/ 1482263 h 1796087"/>
                <a:gd name="connsiteX2189" fmla="*/ 1306033 w 2290556"/>
                <a:gd name="connsiteY2189" fmla="*/ 1487376 h 1796087"/>
                <a:gd name="connsiteX2190" fmla="*/ 1312663 w 2290556"/>
                <a:gd name="connsiteY2190" fmla="*/ 1492591 h 1796087"/>
                <a:gd name="connsiteX2191" fmla="*/ 1317543 w 2290556"/>
                <a:gd name="connsiteY2191" fmla="*/ 1494003 h 1796087"/>
                <a:gd name="connsiteX2192" fmla="*/ 1322087 w 2290556"/>
                <a:gd name="connsiteY2192" fmla="*/ 1493465 h 1796087"/>
                <a:gd name="connsiteX2193" fmla="*/ 1325889 w 2290556"/>
                <a:gd name="connsiteY2193" fmla="*/ 1490202 h 1796087"/>
                <a:gd name="connsiteX2194" fmla="*/ 1329591 w 2290556"/>
                <a:gd name="connsiteY2194" fmla="*/ 1485627 h 1796087"/>
                <a:gd name="connsiteX2195" fmla="*/ 1332957 w 2290556"/>
                <a:gd name="connsiteY2195" fmla="*/ 1481052 h 1796087"/>
                <a:gd name="connsiteX2196" fmla="*/ 1337097 w 2290556"/>
                <a:gd name="connsiteY2196" fmla="*/ 1472777 h 1796087"/>
                <a:gd name="connsiteX2197" fmla="*/ 1338712 w 2290556"/>
                <a:gd name="connsiteY2197" fmla="*/ 1470187 h 1796087"/>
                <a:gd name="connsiteX2198" fmla="*/ 1342212 w 2290556"/>
                <a:gd name="connsiteY2198" fmla="*/ 1466722 h 1796087"/>
                <a:gd name="connsiteX2199" fmla="*/ 1345477 w 2290556"/>
                <a:gd name="connsiteY2199" fmla="*/ 1463560 h 1796087"/>
                <a:gd name="connsiteX2200" fmla="*/ 1351770 w 2290556"/>
                <a:gd name="connsiteY2200" fmla="*/ 1462786 h 1796087"/>
                <a:gd name="connsiteX2201" fmla="*/ 1356246 w 2290556"/>
                <a:gd name="connsiteY2201" fmla="*/ 1464535 h 1796087"/>
                <a:gd name="connsiteX2202" fmla="*/ 1360486 w 2290556"/>
                <a:gd name="connsiteY2202" fmla="*/ 1467899 h 1796087"/>
                <a:gd name="connsiteX2203" fmla="*/ 1362977 w 2290556"/>
                <a:gd name="connsiteY2203" fmla="*/ 1471061 h 1796087"/>
                <a:gd name="connsiteX2204" fmla="*/ 1370246 w 2290556"/>
                <a:gd name="connsiteY2204" fmla="*/ 1474762 h 1796087"/>
                <a:gd name="connsiteX2205" fmla="*/ 1376540 w 2290556"/>
                <a:gd name="connsiteY2205" fmla="*/ 1477150 h 1796087"/>
                <a:gd name="connsiteX2206" fmla="*/ 1381453 w 2290556"/>
                <a:gd name="connsiteY2206" fmla="*/ 1476612 h 1796087"/>
                <a:gd name="connsiteX2207" fmla="*/ 1384179 w 2290556"/>
                <a:gd name="connsiteY2207" fmla="*/ 1475199 h 1796087"/>
                <a:gd name="connsiteX2208" fmla="*/ 1386872 w 2290556"/>
                <a:gd name="connsiteY2208" fmla="*/ 1472575 h 1796087"/>
                <a:gd name="connsiteX2209" fmla="*/ 1391247 w 2290556"/>
                <a:gd name="connsiteY2209" fmla="*/ 1470624 h 1796087"/>
                <a:gd name="connsiteX2210" fmla="*/ 1393434 w 2290556"/>
                <a:gd name="connsiteY2210" fmla="*/ 1465847 h 1796087"/>
                <a:gd name="connsiteX2211" fmla="*/ 1395285 w 2290556"/>
                <a:gd name="connsiteY2211" fmla="*/ 1462147 h 1796087"/>
                <a:gd name="connsiteX2212" fmla="*/ 1397910 w 2290556"/>
                <a:gd name="connsiteY2212" fmla="*/ 1459220 h 1796087"/>
                <a:gd name="connsiteX2213" fmla="*/ 1401377 w 2290556"/>
                <a:gd name="connsiteY2213" fmla="*/ 1455318 h 1796087"/>
                <a:gd name="connsiteX2214" fmla="*/ 1402689 w 2290556"/>
                <a:gd name="connsiteY2214" fmla="*/ 1451281 h 1796087"/>
                <a:gd name="connsiteX2215" fmla="*/ 1404877 w 2290556"/>
                <a:gd name="connsiteY2215" fmla="*/ 1449767 h 1796087"/>
                <a:gd name="connsiteX2216" fmla="*/ 1406829 w 2290556"/>
                <a:gd name="connsiteY2216" fmla="*/ 1450104 h 1796087"/>
                <a:gd name="connsiteX2217" fmla="*/ 1409757 w 2290556"/>
                <a:gd name="connsiteY2217" fmla="*/ 1452930 h 1796087"/>
                <a:gd name="connsiteX2218" fmla="*/ 1412584 w 2290556"/>
                <a:gd name="connsiteY2218" fmla="*/ 1454679 h 1796087"/>
                <a:gd name="connsiteX2219" fmla="*/ 1417901 w 2290556"/>
                <a:gd name="connsiteY2219" fmla="*/ 1454140 h 1796087"/>
                <a:gd name="connsiteX2220" fmla="*/ 1420392 w 2290556"/>
                <a:gd name="connsiteY2220" fmla="*/ 1450676 h 1796087"/>
                <a:gd name="connsiteX2221" fmla="*/ 1420392 w 2290556"/>
                <a:gd name="connsiteY2221" fmla="*/ 1446000 h 1796087"/>
                <a:gd name="connsiteX2222" fmla="*/ 1422512 w 2290556"/>
                <a:gd name="connsiteY2222" fmla="*/ 1444587 h 1796087"/>
                <a:gd name="connsiteX2223" fmla="*/ 1425608 w 2290556"/>
                <a:gd name="connsiteY2223" fmla="*/ 1443712 h 1796087"/>
                <a:gd name="connsiteX2224" fmla="*/ 1425608 w 2290556"/>
                <a:gd name="connsiteY2224" fmla="*/ 1438498 h 1796087"/>
                <a:gd name="connsiteX2225" fmla="*/ 1425608 w 2290556"/>
                <a:gd name="connsiteY2225" fmla="*/ 1435033 h 1796087"/>
                <a:gd name="connsiteX2226" fmla="*/ 1425608 w 2290556"/>
                <a:gd name="connsiteY2226" fmla="*/ 1429382 h 1796087"/>
                <a:gd name="connsiteX2227" fmla="*/ 1426214 w 2290556"/>
                <a:gd name="connsiteY2227" fmla="*/ 1426993 h 1796087"/>
                <a:gd name="connsiteX2228" fmla="*/ 1428368 w 2290556"/>
                <a:gd name="connsiteY2228" fmla="*/ 1425345 h 1796087"/>
                <a:gd name="connsiteX2229" fmla="*/ 1429512 w 2290556"/>
                <a:gd name="connsiteY2229" fmla="*/ 1423932 h 1796087"/>
                <a:gd name="connsiteX2230" fmla="*/ 1431296 w 2290556"/>
                <a:gd name="connsiteY2230" fmla="*/ 1423899 h 1796087"/>
                <a:gd name="connsiteX2231" fmla="*/ 1430488 w 2290556"/>
                <a:gd name="connsiteY2231" fmla="*/ 1422654 h 1796087"/>
                <a:gd name="connsiteX2232" fmla="*/ 1428973 w 2290556"/>
                <a:gd name="connsiteY2232" fmla="*/ 1418213 h 1796087"/>
                <a:gd name="connsiteX2233" fmla="*/ 1427897 w 2290556"/>
                <a:gd name="connsiteY2233" fmla="*/ 1414311 h 1796087"/>
                <a:gd name="connsiteX2234" fmla="*/ 1426921 w 2290556"/>
                <a:gd name="connsiteY2234" fmla="*/ 1410947 h 1796087"/>
                <a:gd name="connsiteX2235" fmla="*/ 1423993 w 2290556"/>
                <a:gd name="connsiteY2235" fmla="*/ 1406810 h 1796087"/>
                <a:gd name="connsiteX2236" fmla="*/ 1421267 w 2290556"/>
                <a:gd name="connsiteY2236" fmla="*/ 1402907 h 1796087"/>
                <a:gd name="connsiteX2237" fmla="*/ 1418069 w 2290556"/>
                <a:gd name="connsiteY2237" fmla="*/ 1400149 h 1796087"/>
                <a:gd name="connsiteX2238" fmla="*/ 1416185 w 2290556"/>
                <a:gd name="connsiteY2238" fmla="*/ 1398131 h 1796087"/>
                <a:gd name="connsiteX2239" fmla="*/ 1415310 w 2290556"/>
                <a:gd name="connsiteY2239" fmla="*/ 1395809 h 1796087"/>
                <a:gd name="connsiteX2240" fmla="*/ 1414435 w 2290556"/>
                <a:gd name="connsiteY2240" fmla="*/ 1394666 h 1796087"/>
                <a:gd name="connsiteX2241" fmla="*/ 1412853 w 2290556"/>
                <a:gd name="connsiteY2241" fmla="*/ 1393656 h 1796087"/>
                <a:gd name="connsiteX2242" fmla="*/ 1410093 w 2290556"/>
                <a:gd name="connsiteY2242" fmla="*/ 1392210 h 1796087"/>
                <a:gd name="connsiteX2243" fmla="*/ 1408209 w 2290556"/>
                <a:gd name="connsiteY2243" fmla="*/ 1391638 h 1796087"/>
                <a:gd name="connsiteX2244" fmla="*/ 1408209 w 2290556"/>
                <a:gd name="connsiteY2244" fmla="*/ 1389182 h 1796087"/>
                <a:gd name="connsiteX2245" fmla="*/ 1408579 w 2290556"/>
                <a:gd name="connsiteY2245" fmla="*/ 1386996 h 1796087"/>
                <a:gd name="connsiteX2246" fmla="*/ 1410396 w 2290556"/>
                <a:gd name="connsiteY2246" fmla="*/ 1383363 h 1796087"/>
                <a:gd name="connsiteX2247" fmla="*/ 1411911 w 2290556"/>
                <a:gd name="connsiteY2247" fmla="*/ 1381412 h 1796087"/>
                <a:gd name="connsiteX2248" fmla="*/ 1414300 w 2290556"/>
                <a:gd name="connsiteY2248" fmla="*/ 1380100 h 1796087"/>
                <a:gd name="connsiteX2249" fmla="*/ 1415377 w 2290556"/>
                <a:gd name="connsiteY2249" fmla="*/ 1379460 h 1796087"/>
                <a:gd name="connsiteX2250" fmla="*/ 1418642 w 2290556"/>
                <a:gd name="connsiteY2250" fmla="*/ 1378384 h 1796087"/>
                <a:gd name="connsiteX2251" fmla="*/ 1420829 w 2290556"/>
                <a:gd name="connsiteY2251" fmla="*/ 1377106 h 1796087"/>
                <a:gd name="connsiteX2252" fmla="*/ 1423858 w 2290556"/>
                <a:gd name="connsiteY2252" fmla="*/ 1374246 h 1796087"/>
                <a:gd name="connsiteX2253" fmla="*/ 1423858 w 2290556"/>
                <a:gd name="connsiteY2253" fmla="*/ 1371622 h 1796087"/>
                <a:gd name="connsiteX2254" fmla="*/ 1422680 w 2290556"/>
                <a:gd name="connsiteY2254" fmla="*/ 1369032 h 1796087"/>
                <a:gd name="connsiteX2255" fmla="*/ 1421031 w 2290556"/>
                <a:gd name="connsiteY2255" fmla="*/ 1367720 h 1796087"/>
                <a:gd name="connsiteX2256" fmla="*/ 1418406 w 2290556"/>
                <a:gd name="connsiteY2256" fmla="*/ 1367518 h 1796087"/>
                <a:gd name="connsiteX2257" fmla="*/ 1416656 w 2290556"/>
                <a:gd name="connsiteY2257" fmla="*/ 1367283 h 1796087"/>
                <a:gd name="connsiteX2258" fmla="*/ 1415781 w 2290556"/>
                <a:gd name="connsiteY2258" fmla="*/ 1363583 h 1796087"/>
                <a:gd name="connsiteX2259" fmla="*/ 1418608 w 2290556"/>
                <a:gd name="connsiteY2259" fmla="*/ 1362069 h 1796087"/>
                <a:gd name="connsiteX2260" fmla="*/ 1418608 w 2290556"/>
                <a:gd name="connsiteY2260" fmla="*/ 1357292 h 1796087"/>
                <a:gd name="connsiteX2261" fmla="*/ 1416757 w 2290556"/>
                <a:gd name="connsiteY2261" fmla="*/ 1353794 h 1796087"/>
                <a:gd name="connsiteX2262" fmla="*/ 1413594 w 2290556"/>
                <a:gd name="connsiteY2262" fmla="*/ 1352280 h 1796087"/>
                <a:gd name="connsiteX2263" fmla="*/ 1409689 w 2290556"/>
                <a:gd name="connsiteY2263" fmla="*/ 1352078 h 1796087"/>
                <a:gd name="connsiteX2264" fmla="*/ 1408613 w 2290556"/>
                <a:gd name="connsiteY2264" fmla="*/ 1351439 h 1796087"/>
                <a:gd name="connsiteX2265" fmla="*/ 1406863 w 2290556"/>
                <a:gd name="connsiteY2265" fmla="*/ 1349252 h 1796087"/>
                <a:gd name="connsiteX2266" fmla="*/ 1407939 w 2290556"/>
                <a:gd name="connsiteY2266" fmla="*/ 1346864 h 1796087"/>
                <a:gd name="connsiteX2267" fmla="*/ 1409252 w 2290556"/>
                <a:gd name="connsiteY2267" fmla="*/ 1344677 h 1796087"/>
                <a:gd name="connsiteX2268" fmla="*/ 1415142 w 2290556"/>
                <a:gd name="connsiteY2268" fmla="*/ 1339026 h 1796087"/>
                <a:gd name="connsiteX2269" fmla="*/ 1418608 w 2290556"/>
                <a:gd name="connsiteY2269" fmla="*/ 1336200 h 1796087"/>
                <a:gd name="connsiteX2270" fmla="*/ 1421233 w 2290556"/>
                <a:gd name="connsiteY2270" fmla="*/ 1334686 h 1796087"/>
                <a:gd name="connsiteX2271" fmla="*/ 1426685 w 2290556"/>
                <a:gd name="connsiteY2271" fmla="*/ 1335325 h 1796087"/>
                <a:gd name="connsiteX2272" fmla="*/ 1431531 w 2290556"/>
                <a:gd name="connsiteY2272" fmla="*/ 1333542 h 1796087"/>
                <a:gd name="connsiteX2273" fmla="*/ 1435334 w 2290556"/>
                <a:gd name="connsiteY2273" fmla="*/ 1335998 h 1796087"/>
                <a:gd name="connsiteX2274" fmla="*/ 1437993 w 2290556"/>
                <a:gd name="connsiteY2274" fmla="*/ 1336335 h 1796087"/>
                <a:gd name="connsiteX2275" fmla="*/ 1438936 w 2290556"/>
                <a:gd name="connsiteY2275" fmla="*/ 1335157 h 1796087"/>
                <a:gd name="connsiteX2276" fmla="*/ 1438060 w 2290556"/>
                <a:gd name="connsiteY2276" fmla="*/ 1332062 h 1796087"/>
                <a:gd name="connsiteX2277" fmla="*/ 1437623 w 2290556"/>
                <a:gd name="connsiteY2277" fmla="*/ 1327824 h 1796087"/>
                <a:gd name="connsiteX2278" fmla="*/ 1437421 w 2290556"/>
                <a:gd name="connsiteY2278" fmla="*/ 1325368 h 1796087"/>
                <a:gd name="connsiteX2279" fmla="*/ 1436445 w 2290556"/>
                <a:gd name="connsiteY2279" fmla="*/ 1321230 h 1796087"/>
                <a:gd name="connsiteX2280" fmla="*/ 1435805 w 2290556"/>
                <a:gd name="connsiteY2280" fmla="*/ 1318842 h 1796087"/>
                <a:gd name="connsiteX2281" fmla="*/ 1434729 w 2290556"/>
                <a:gd name="connsiteY2281" fmla="*/ 1315848 h 1796087"/>
                <a:gd name="connsiteX2282" fmla="*/ 1435503 w 2290556"/>
                <a:gd name="connsiteY2282" fmla="*/ 1313560 h 1796087"/>
                <a:gd name="connsiteX2283" fmla="*/ 1435873 w 2290556"/>
                <a:gd name="connsiteY2283" fmla="*/ 1311979 h 1796087"/>
                <a:gd name="connsiteX2284" fmla="*/ 1434358 w 2290556"/>
                <a:gd name="connsiteY2284" fmla="*/ 1309927 h 1796087"/>
                <a:gd name="connsiteX2285" fmla="*/ 1434358 w 2290556"/>
                <a:gd name="connsiteY2285" fmla="*/ 1307741 h 1796087"/>
                <a:gd name="connsiteX2286" fmla="*/ 1435536 w 2290556"/>
                <a:gd name="connsiteY2286" fmla="*/ 1305352 h 1796087"/>
                <a:gd name="connsiteX2287" fmla="*/ 1435133 w 2290556"/>
                <a:gd name="connsiteY2287" fmla="*/ 1302325 h 1796087"/>
                <a:gd name="connsiteX2288" fmla="*/ 1436748 w 2290556"/>
                <a:gd name="connsiteY2288" fmla="*/ 1298725 h 1796087"/>
                <a:gd name="connsiteX2289" fmla="*/ 1438599 w 2290556"/>
                <a:gd name="connsiteY2289" fmla="*/ 1295799 h 1796087"/>
                <a:gd name="connsiteX2290" fmla="*/ 1440652 w 2290556"/>
                <a:gd name="connsiteY2290" fmla="*/ 1293410 h 1796087"/>
                <a:gd name="connsiteX2291" fmla="*/ 1442805 w 2290556"/>
                <a:gd name="connsiteY2291" fmla="*/ 1290585 h 1796087"/>
                <a:gd name="connsiteX2292" fmla="*/ 1445296 w 2290556"/>
                <a:gd name="connsiteY2292" fmla="*/ 1289374 h 1796087"/>
                <a:gd name="connsiteX2293" fmla="*/ 1448022 w 2290556"/>
                <a:gd name="connsiteY2293" fmla="*/ 1288499 h 1796087"/>
                <a:gd name="connsiteX2294" fmla="*/ 1451825 w 2290556"/>
                <a:gd name="connsiteY2294" fmla="*/ 1288263 h 1796087"/>
                <a:gd name="connsiteX2295" fmla="*/ 1454652 w 2290556"/>
                <a:gd name="connsiteY2295" fmla="*/ 1288163 h 1796087"/>
                <a:gd name="connsiteX2296" fmla="*/ 1457916 w 2290556"/>
                <a:gd name="connsiteY2296" fmla="*/ 1288263 h 1796087"/>
                <a:gd name="connsiteX2297" fmla="*/ 1459431 w 2290556"/>
                <a:gd name="connsiteY2297" fmla="*/ 1288062 h 1796087"/>
                <a:gd name="connsiteX2298" fmla="*/ 1460744 w 2290556"/>
                <a:gd name="connsiteY2298" fmla="*/ 1286548 h 1796087"/>
                <a:gd name="connsiteX2299" fmla="*/ 1461080 w 2290556"/>
                <a:gd name="connsiteY2299" fmla="*/ 1285471 h 1796087"/>
                <a:gd name="connsiteX2300" fmla="*/ 1461282 w 2290556"/>
                <a:gd name="connsiteY2300" fmla="*/ 1282982 h 1796087"/>
                <a:gd name="connsiteX2301" fmla="*/ 1460306 w 2290556"/>
                <a:gd name="connsiteY2301" fmla="*/ 1281132 h 1796087"/>
                <a:gd name="connsiteX2302" fmla="*/ 1458994 w 2290556"/>
                <a:gd name="connsiteY2302" fmla="*/ 1280156 h 1796087"/>
                <a:gd name="connsiteX2303" fmla="*/ 1458354 w 2290556"/>
                <a:gd name="connsiteY2303" fmla="*/ 1278945 h 1796087"/>
                <a:gd name="connsiteX2304" fmla="*/ 1456941 w 2290556"/>
                <a:gd name="connsiteY2304" fmla="*/ 1276893 h 1796087"/>
                <a:gd name="connsiteX2305" fmla="*/ 1456941 w 2290556"/>
                <a:gd name="connsiteY2305" fmla="*/ 1274168 h 1796087"/>
                <a:gd name="connsiteX2306" fmla="*/ 1458691 w 2290556"/>
                <a:gd name="connsiteY2306" fmla="*/ 1272857 h 1796087"/>
                <a:gd name="connsiteX2307" fmla="*/ 1460979 w 2290556"/>
                <a:gd name="connsiteY2307" fmla="*/ 1271982 h 1796087"/>
                <a:gd name="connsiteX2308" fmla="*/ 1462056 w 2290556"/>
                <a:gd name="connsiteY2308" fmla="*/ 1270233 h 1796087"/>
                <a:gd name="connsiteX2309" fmla="*/ 1462594 w 2290556"/>
                <a:gd name="connsiteY2309" fmla="*/ 1268046 h 1796087"/>
                <a:gd name="connsiteX2310" fmla="*/ 1463570 w 2290556"/>
                <a:gd name="connsiteY2310" fmla="*/ 1265994 h 1796087"/>
                <a:gd name="connsiteX2311" fmla="*/ 1466498 w 2290556"/>
                <a:gd name="connsiteY2311" fmla="*/ 1265355 h 1796087"/>
                <a:gd name="connsiteX2312" fmla="*/ 1467912 w 2290556"/>
                <a:gd name="connsiteY2312" fmla="*/ 1265557 h 1796087"/>
                <a:gd name="connsiteX2313" fmla="*/ 1468888 w 2290556"/>
                <a:gd name="connsiteY2313" fmla="*/ 1267071 h 1796087"/>
                <a:gd name="connsiteX2314" fmla="*/ 1471378 w 2290556"/>
                <a:gd name="connsiteY2314" fmla="*/ 1269022 h 1796087"/>
                <a:gd name="connsiteX2315" fmla="*/ 1472354 w 2290556"/>
                <a:gd name="connsiteY2315" fmla="*/ 1267609 h 1796087"/>
                <a:gd name="connsiteX2316" fmla="*/ 1474508 w 2290556"/>
                <a:gd name="connsiteY2316" fmla="*/ 1264682 h 1796087"/>
                <a:gd name="connsiteX2317" fmla="*/ 1476898 w 2290556"/>
                <a:gd name="connsiteY2317" fmla="*/ 1266431 h 1796087"/>
                <a:gd name="connsiteX2318" fmla="*/ 1477537 w 2290556"/>
                <a:gd name="connsiteY2318" fmla="*/ 1269257 h 1796087"/>
                <a:gd name="connsiteX2319" fmla="*/ 1480162 w 2290556"/>
                <a:gd name="connsiteY2319" fmla="*/ 1269795 h 1796087"/>
                <a:gd name="connsiteX2320" fmla="*/ 1482350 w 2290556"/>
                <a:gd name="connsiteY2320" fmla="*/ 1268921 h 1796087"/>
                <a:gd name="connsiteX2321" fmla="*/ 1483427 w 2290556"/>
                <a:gd name="connsiteY2321" fmla="*/ 1267508 h 1796087"/>
                <a:gd name="connsiteX2322" fmla="*/ 1484840 w 2290556"/>
                <a:gd name="connsiteY2322" fmla="*/ 1264581 h 1796087"/>
                <a:gd name="connsiteX2323" fmla="*/ 1485581 w 2290556"/>
                <a:gd name="connsiteY2323" fmla="*/ 1263841 h 1796087"/>
                <a:gd name="connsiteX2324" fmla="*/ 1488946 w 2290556"/>
                <a:gd name="connsiteY2324" fmla="*/ 1263841 h 1796087"/>
                <a:gd name="connsiteX2325" fmla="*/ 1490359 w 2290556"/>
                <a:gd name="connsiteY2325" fmla="*/ 1267407 h 1796087"/>
                <a:gd name="connsiteX2326" fmla="*/ 1492211 w 2290556"/>
                <a:gd name="connsiteY2326" fmla="*/ 1269257 h 1796087"/>
                <a:gd name="connsiteX2327" fmla="*/ 1494162 w 2290556"/>
                <a:gd name="connsiteY2327" fmla="*/ 1273496 h 1796087"/>
                <a:gd name="connsiteX2328" fmla="*/ 1493287 w 2290556"/>
                <a:gd name="connsiteY2328" fmla="*/ 1275009 h 1796087"/>
                <a:gd name="connsiteX2329" fmla="*/ 1490460 w 2290556"/>
                <a:gd name="connsiteY2329" fmla="*/ 1277398 h 1796087"/>
                <a:gd name="connsiteX2330" fmla="*/ 1492412 w 2290556"/>
                <a:gd name="connsiteY2330" fmla="*/ 1280022 h 1796087"/>
                <a:gd name="connsiteX2331" fmla="*/ 1493725 w 2290556"/>
                <a:gd name="connsiteY2331" fmla="*/ 1282074 h 1796087"/>
                <a:gd name="connsiteX2332" fmla="*/ 1499043 w 2290556"/>
                <a:gd name="connsiteY2332" fmla="*/ 1287389 h 1796087"/>
                <a:gd name="connsiteX2333" fmla="*/ 1497965 w 2290556"/>
                <a:gd name="connsiteY2333" fmla="*/ 1290551 h 1796087"/>
                <a:gd name="connsiteX2334" fmla="*/ 1498605 w 2290556"/>
                <a:gd name="connsiteY2334" fmla="*/ 1297851 h 1796087"/>
                <a:gd name="connsiteX2335" fmla="*/ 1497629 w 2290556"/>
                <a:gd name="connsiteY2335" fmla="*/ 1299062 h 1796087"/>
                <a:gd name="connsiteX2336" fmla="*/ 1496215 w 2290556"/>
                <a:gd name="connsiteY2336" fmla="*/ 1301652 h 1796087"/>
                <a:gd name="connsiteX2337" fmla="*/ 1496754 w 2290556"/>
                <a:gd name="connsiteY2337" fmla="*/ 1304814 h 1796087"/>
                <a:gd name="connsiteX2338" fmla="*/ 1495677 w 2290556"/>
                <a:gd name="connsiteY2338" fmla="*/ 1306227 h 1796087"/>
                <a:gd name="connsiteX2339" fmla="*/ 1494365 w 2290556"/>
                <a:gd name="connsiteY2339" fmla="*/ 1307539 h 1796087"/>
                <a:gd name="connsiteX2340" fmla="*/ 1493927 w 2290556"/>
                <a:gd name="connsiteY2340" fmla="*/ 1310028 h 1796087"/>
                <a:gd name="connsiteX2341" fmla="*/ 1494701 w 2290556"/>
                <a:gd name="connsiteY2341" fmla="*/ 1312518 h 1796087"/>
                <a:gd name="connsiteX2342" fmla="*/ 1495677 w 2290556"/>
                <a:gd name="connsiteY2342" fmla="*/ 1314570 h 1796087"/>
                <a:gd name="connsiteX2343" fmla="*/ 1496316 w 2290556"/>
                <a:gd name="connsiteY2343" fmla="*/ 1317194 h 1796087"/>
                <a:gd name="connsiteX2344" fmla="*/ 1495879 w 2290556"/>
                <a:gd name="connsiteY2344" fmla="*/ 1320995 h 1796087"/>
                <a:gd name="connsiteX2345" fmla="*/ 1495139 w 2290556"/>
                <a:gd name="connsiteY2345" fmla="*/ 1323720 h 1796087"/>
                <a:gd name="connsiteX2346" fmla="*/ 1494062 w 2290556"/>
                <a:gd name="connsiteY2346" fmla="*/ 1325469 h 1796087"/>
                <a:gd name="connsiteX2347" fmla="*/ 1492008 w 2290556"/>
                <a:gd name="connsiteY2347" fmla="*/ 1327319 h 1796087"/>
                <a:gd name="connsiteX2348" fmla="*/ 1492008 w 2290556"/>
                <a:gd name="connsiteY2348" fmla="*/ 1328194 h 1796087"/>
                <a:gd name="connsiteX2349" fmla="*/ 1497225 w 2290556"/>
                <a:gd name="connsiteY2349" fmla="*/ 1327756 h 1796087"/>
                <a:gd name="connsiteX2350" fmla="*/ 1498874 w 2290556"/>
                <a:gd name="connsiteY2350" fmla="*/ 1326444 h 1796087"/>
                <a:gd name="connsiteX2351" fmla="*/ 1502139 w 2290556"/>
                <a:gd name="connsiteY2351" fmla="*/ 1325368 h 1796087"/>
                <a:gd name="connsiteX2352" fmla="*/ 1504528 w 2290556"/>
                <a:gd name="connsiteY2352" fmla="*/ 1326108 h 1796087"/>
                <a:gd name="connsiteX2353" fmla="*/ 1507793 w 2290556"/>
                <a:gd name="connsiteY2353" fmla="*/ 1326646 h 1796087"/>
                <a:gd name="connsiteX2354" fmla="*/ 1510721 w 2290556"/>
                <a:gd name="connsiteY2354" fmla="*/ 1325671 h 1796087"/>
                <a:gd name="connsiteX2355" fmla="*/ 1513009 w 2290556"/>
                <a:gd name="connsiteY2355" fmla="*/ 1322946 h 1796087"/>
                <a:gd name="connsiteX2356" fmla="*/ 1517149 w 2290556"/>
                <a:gd name="connsiteY2356" fmla="*/ 1322172 h 1796087"/>
                <a:gd name="connsiteX2357" fmla="*/ 1520615 w 2290556"/>
                <a:gd name="connsiteY2357" fmla="*/ 1324998 h 1796087"/>
                <a:gd name="connsiteX2358" fmla="*/ 1524654 w 2290556"/>
                <a:gd name="connsiteY2358" fmla="*/ 1325099 h 1796087"/>
                <a:gd name="connsiteX2359" fmla="*/ 1529533 w 2290556"/>
                <a:gd name="connsiteY2359" fmla="*/ 1325334 h 1796087"/>
                <a:gd name="connsiteX2360" fmla="*/ 1531822 w 2290556"/>
                <a:gd name="connsiteY2360" fmla="*/ 1325233 h 1796087"/>
                <a:gd name="connsiteX2361" fmla="*/ 1536837 w 2290556"/>
                <a:gd name="connsiteY2361" fmla="*/ 1325032 h 1796087"/>
                <a:gd name="connsiteX2362" fmla="*/ 1538486 w 2290556"/>
                <a:gd name="connsiteY2362" fmla="*/ 1323282 h 1796087"/>
                <a:gd name="connsiteX2363" fmla="*/ 1538587 w 2290556"/>
                <a:gd name="connsiteY2363" fmla="*/ 1321769 h 1796087"/>
                <a:gd name="connsiteX2364" fmla="*/ 1536736 w 2290556"/>
                <a:gd name="connsiteY2364" fmla="*/ 1320019 h 1796087"/>
                <a:gd name="connsiteX2365" fmla="*/ 1533808 w 2290556"/>
                <a:gd name="connsiteY2365" fmla="*/ 1317967 h 1796087"/>
                <a:gd name="connsiteX2366" fmla="*/ 1530106 w 2290556"/>
                <a:gd name="connsiteY2366" fmla="*/ 1313493 h 1796087"/>
                <a:gd name="connsiteX2367" fmla="*/ 1530880 w 2290556"/>
                <a:gd name="connsiteY2367" fmla="*/ 1310466 h 1796087"/>
                <a:gd name="connsiteX2368" fmla="*/ 1533707 w 2290556"/>
                <a:gd name="connsiteY2368" fmla="*/ 1307741 h 1796087"/>
                <a:gd name="connsiteX2369" fmla="*/ 1535659 w 2290556"/>
                <a:gd name="connsiteY2369" fmla="*/ 1307741 h 1796087"/>
                <a:gd name="connsiteX2370" fmla="*/ 1542524 w 2290556"/>
                <a:gd name="connsiteY2370" fmla="*/ 1311778 h 1796087"/>
                <a:gd name="connsiteX2371" fmla="*/ 1544274 w 2290556"/>
                <a:gd name="connsiteY2371" fmla="*/ 1309591 h 1796087"/>
                <a:gd name="connsiteX2372" fmla="*/ 1545688 w 2290556"/>
                <a:gd name="connsiteY2372" fmla="*/ 1306866 h 1796087"/>
                <a:gd name="connsiteX2373" fmla="*/ 1548515 w 2290556"/>
                <a:gd name="connsiteY2373" fmla="*/ 1304915 h 1796087"/>
                <a:gd name="connsiteX2374" fmla="*/ 1556659 w 2290556"/>
                <a:gd name="connsiteY2374" fmla="*/ 1299600 h 1796087"/>
                <a:gd name="connsiteX2375" fmla="*/ 1559924 w 2290556"/>
                <a:gd name="connsiteY2375" fmla="*/ 1296875 h 1796087"/>
                <a:gd name="connsiteX2376" fmla="*/ 1568405 w 2290556"/>
                <a:gd name="connsiteY2376" fmla="*/ 1290013 h 1796087"/>
                <a:gd name="connsiteX2377" fmla="*/ 1572107 w 2290556"/>
                <a:gd name="connsiteY2377" fmla="*/ 1286985 h 1796087"/>
                <a:gd name="connsiteX2378" fmla="*/ 1575136 w 2290556"/>
                <a:gd name="connsiteY2378" fmla="*/ 1284933 h 1796087"/>
                <a:gd name="connsiteX2379" fmla="*/ 1576549 w 2290556"/>
                <a:gd name="connsiteY2379" fmla="*/ 1284395 h 1796087"/>
                <a:gd name="connsiteX2380" fmla="*/ 1580789 w 2290556"/>
                <a:gd name="connsiteY2380" fmla="*/ 1283520 h 1796087"/>
                <a:gd name="connsiteX2381" fmla="*/ 1583414 w 2290556"/>
                <a:gd name="connsiteY2381" fmla="*/ 1285572 h 1796087"/>
                <a:gd name="connsiteX2382" fmla="*/ 1585804 w 2290556"/>
                <a:gd name="connsiteY2382" fmla="*/ 1288196 h 1796087"/>
                <a:gd name="connsiteX2383" fmla="*/ 1588429 w 2290556"/>
                <a:gd name="connsiteY2383" fmla="*/ 1289845 h 1796087"/>
                <a:gd name="connsiteX2384" fmla="*/ 1589607 w 2290556"/>
                <a:gd name="connsiteY2384" fmla="*/ 1291997 h 1796087"/>
                <a:gd name="connsiteX2385" fmla="*/ 1590684 w 2290556"/>
                <a:gd name="connsiteY2385" fmla="*/ 1298725 h 1796087"/>
                <a:gd name="connsiteX2386" fmla="*/ 1592198 w 2290556"/>
                <a:gd name="connsiteY2386" fmla="*/ 1301013 h 1796087"/>
                <a:gd name="connsiteX2387" fmla="*/ 1596102 w 2290556"/>
                <a:gd name="connsiteY2387" fmla="*/ 1302964 h 1796087"/>
                <a:gd name="connsiteX2388" fmla="*/ 1596102 w 2290556"/>
                <a:gd name="connsiteY2388" fmla="*/ 1299499 h 1796087"/>
                <a:gd name="connsiteX2389" fmla="*/ 1596102 w 2290556"/>
                <a:gd name="connsiteY2389" fmla="*/ 1296774 h 1796087"/>
                <a:gd name="connsiteX2390" fmla="*/ 1597516 w 2290556"/>
                <a:gd name="connsiteY2390" fmla="*/ 1294049 h 1796087"/>
                <a:gd name="connsiteX2391" fmla="*/ 1599165 w 2290556"/>
                <a:gd name="connsiteY2391" fmla="*/ 1292536 h 1796087"/>
                <a:gd name="connsiteX2392" fmla="*/ 1600679 w 2290556"/>
                <a:gd name="connsiteY2392" fmla="*/ 1291997 h 1796087"/>
                <a:gd name="connsiteX2393" fmla="*/ 1602968 w 2290556"/>
                <a:gd name="connsiteY2393" fmla="*/ 1291123 h 1796087"/>
                <a:gd name="connsiteX2394" fmla="*/ 1604718 w 2290556"/>
                <a:gd name="connsiteY2394" fmla="*/ 1290349 h 1796087"/>
                <a:gd name="connsiteX2395" fmla="*/ 1607107 w 2290556"/>
                <a:gd name="connsiteY2395" fmla="*/ 1288701 h 1796087"/>
                <a:gd name="connsiteX2396" fmla="*/ 1608857 w 2290556"/>
                <a:gd name="connsiteY2396" fmla="*/ 1286750 h 1796087"/>
                <a:gd name="connsiteX2397" fmla="*/ 1611785 w 2290556"/>
                <a:gd name="connsiteY2397" fmla="*/ 1283823 h 1796087"/>
                <a:gd name="connsiteX2398" fmla="*/ 1611785 w 2290556"/>
                <a:gd name="connsiteY2398" fmla="*/ 1282377 h 1796087"/>
                <a:gd name="connsiteX2399" fmla="*/ 1613536 w 2290556"/>
                <a:gd name="connsiteY2399" fmla="*/ 1280358 h 1796087"/>
                <a:gd name="connsiteX2400" fmla="*/ 1613536 w 2290556"/>
                <a:gd name="connsiteY2400" fmla="*/ 1278609 h 1796087"/>
                <a:gd name="connsiteX2401" fmla="*/ 1615723 w 2290556"/>
                <a:gd name="connsiteY2401" fmla="*/ 1275413 h 1796087"/>
                <a:gd name="connsiteX2402" fmla="*/ 1617742 w 2290556"/>
                <a:gd name="connsiteY2402" fmla="*/ 1273529 h 1796087"/>
                <a:gd name="connsiteX2403" fmla="*/ 1620771 w 2290556"/>
                <a:gd name="connsiteY2403" fmla="*/ 1272386 h 1796087"/>
                <a:gd name="connsiteX2404" fmla="*/ 1623968 w 2290556"/>
                <a:gd name="connsiteY2404" fmla="*/ 1273395 h 1796087"/>
                <a:gd name="connsiteX2405" fmla="*/ 1623968 w 2290556"/>
                <a:gd name="connsiteY2405" fmla="*/ 1275985 h 1796087"/>
                <a:gd name="connsiteX2406" fmla="*/ 1622656 w 2290556"/>
                <a:gd name="connsiteY2406" fmla="*/ 1277566 h 1796087"/>
                <a:gd name="connsiteX2407" fmla="*/ 1622353 w 2290556"/>
                <a:gd name="connsiteY2407" fmla="*/ 1279887 h 1796087"/>
                <a:gd name="connsiteX2408" fmla="*/ 1625112 w 2290556"/>
                <a:gd name="connsiteY2408" fmla="*/ 1279147 h 1796087"/>
                <a:gd name="connsiteX2409" fmla="*/ 1626560 w 2290556"/>
                <a:gd name="connsiteY2409" fmla="*/ 1275951 h 1796087"/>
                <a:gd name="connsiteX2410" fmla="*/ 1629757 w 2290556"/>
                <a:gd name="connsiteY2410" fmla="*/ 1275951 h 1796087"/>
                <a:gd name="connsiteX2411" fmla="*/ 1631339 w 2290556"/>
                <a:gd name="connsiteY2411" fmla="*/ 1277903 h 1796087"/>
                <a:gd name="connsiteX2412" fmla="*/ 1634401 w 2290556"/>
                <a:gd name="connsiteY2412" fmla="*/ 1281166 h 1796087"/>
                <a:gd name="connsiteX2413" fmla="*/ 1637901 w 2290556"/>
                <a:gd name="connsiteY2413" fmla="*/ 1282477 h 1796087"/>
                <a:gd name="connsiteX2414" fmla="*/ 1643690 w 2290556"/>
                <a:gd name="connsiteY2414" fmla="*/ 1282175 h 1796087"/>
                <a:gd name="connsiteX2415" fmla="*/ 1649478 w 2290556"/>
                <a:gd name="connsiteY2415" fmla="*/ 1281737 h 1796087"/>
                <a:gd name="connsiteX2416" fmla="*/ 1650623 w 2290556"/>
                <a:gd name="connsiteY2416" fmla="*/ 1280594 h 1796087"/>
                <a:gd name="connsiteX2417" fmla="*/ 1651632 w 2290556"/>
                <a:gd name="connsiteY2417" fmla="*/ 1276086 h 1796087"/>
                <a:gd name="connsiteX2418" fmla="*/ 1653214 w 2290556"/>
                <a:gd name="connsiteY2418" fmla="*/ 1274505 h 1796087"/>
                <a:gd name="connsiteX2419" fmla="*/ 1656108 w 2290556"/>
                <a:gd name="connsiteY2419" fmla="*/ 1274202 h 1796087"/>
                <a:gd name="connsiteX2420" fmla="*/ 1658868 w 2290556"/>
                <a:gd name="connsiteY2420" fmla="*/ 1274202 h 1796087"/>
                <a:gd name="connsiteX2421" fmla="*/ 1660887 w 2290556"/>
                <a:gd name="connsiteY2421" fmla="*/ 1274000 h 1796087"/>
                <a:gd name="connsiteX2422" fmla="*/ 1661897 w 2290556"/>
                <a:gd name="connsiteY2422" fmla="*/ 1272184 h 1796087"/>
                <a:gd name="connsiteX2423" fmla="*/ 1662604 w 2290556"/>
                <a:gd name="connsiteY2423" fmla="*/ 1268113 h 1796087"/>
                <a:gd name="connsiteX2424" fmla="*/ 1663479 w 2290556"/>
                <a:gd name="connsiteY2424" fmla="*/ 1264043 h 1796087"/>
                <a:gd name="connsiteX2425" fmla="*/ 1664051 w 2290556"/>
                <a:gd name="connsiteY2425" fmla="*/ 1261722 h 1796087"/>
                <a:gd name="connsiteX2426" fmla="*/ 1663041 w 2290556"/>
                <a:gd name="connsiteY2426" fmla="*/ 1259838 h 1796087"/>
                <a:gd name="connsiteX2427" fmla="*/ 1660887 w 2290556"/>
                <a:gd name="connsiteY2427" fmla="*/ 1258526 h 1796087"/>
                <a:gd name="connsiteX2428" fmla="*/ 1656983 w 2290556"/>
                <a:gd name="connsiteY2428" fmla="*/ 1256642 h 1796087"/>
                <a:gd name="connsiteX2429" fmla="*/ 1653954 w 2290556"/>
                <a:gd name="connsiteY2429" fmla="*/ 1251563 h 1796087"/>
                <a:gd name="connsiteX2430" fmla="*/ 1660181 w 2290556"/>
                <a:gd name="connsiteY2430" fmla="*/ 1249813 h 1796087"/>
                <a:gd name="connsiteX2431" fmla="*/ 1663075 w 2290556"/>
                <a:gd name="connsiteY2431" fmla="*/ 1249107 h 1796087"/>
                <a:gd name="connsiteX2432" fmla="*/ 1664219 w 2290556"/>
                <a:gd name="connsiteY2432" fmla="*/ 1245339 h 1796087"/>
                <a:gd name="connsiteX2433" fmla="*/ 1662200 w 2290556"/>
                <a:gd name="connsiteY2433" fmla="*/ 1241134 h 1796087"/>
                <a:gd name="connsiteX2434" fmla="*/ 1662065 w 2290556"/>
                <a:gd name="connsiteY2434" fmla="*/ 1239251 h 1796087"/>
                <a:gd name="connsiteX2435" fmla="*/ 1661762 w 2290556"/>
                <a:gd name="connsiteY2435" fmla="*/ 1236055 h 1796087"/>
                <a:gd name="connsiteX2436" fmla="*/ 1661056 w 2290556"/>
                <a:gd name="connsiteY2436" fmla="*/ 1234305 h 1796087"/>
                <a:gd name="connsiteX2437" fmla="*/ 1660618 w 2290556"/>
                <a:gd name="connsiteY2437" fmla="*/ 1232556 h 1796087"/>
                <a:gd name="connsiteX2438" fmla="*/ 1659743 w 2290556"/>
                <a:gd name="connsiteY2438" fmla="*/ 1230807 h 1796087"/>
                <a:gd name="connsiteX2439" fmla="*/ 1658733 w 2290556"/>
                <a:gd name="connsiteY2439" fmla="*/ 1229798 h 1796087"/>
                <a:gd name="connsiteX2440" fmla="*/ 1658733 w 2290556"/>
                <a:gd name="connsiteY2440" fmla="*/ 1226905 h 1796087"/>
                <a:gd name="connsiteX2441" fmla="*/ 1665464 w 2290556"/>
                <a:gd name="connsiteY2441" fmla="*/ 1225761 h 1796087"/>
                <a:gd name="connsiteX2442" fmla="*/ 1665397 w 2290556"/>
                <a:gd name="connsiteY2442" fmla="*/ 1221422 h 1796087"/>
                <a:gd name="connsiteX2443" fmla="*/ 1667854 w 2290556"/>
                <a:gd name="connsiteY2443" fmla="*/ 1220681 h 1796087"/>
                <a:gd name="connsiteX2444" fmla="*/ 1670748 w 2290556"/>
                <a:gd name="connsiteY2444" fmla="*/ 1219975 h 1796087"/>
                <a:gd name="connsiteX2445" fmla="*/ 1674383 w 2290556"/>
                <a:gd name="connsiteY2445" fmla="*/ 1218831 h 1796087"/>
                <a:gd name="connsiteX2446" fmla="*/ 1677277 w 2290556"/>
                <a:gd name="connsiteY2446" fmla="*/ 1218697 h 1796087"/>
                <a:gd name="connsiteX2447" fmla="*/ 1682628 w 2290556"/>
                <a:gd name="connsiteY2447" fmla="*/ 1218999 h 1796087"/>
                <a:gd name="connsiteX2448" fmla="*/ 1686263 w 2290556"/>
                <a:gd name="connsiteY2448" fmla="*/ 1218697 h 1796087"/>
                <a:gd name="connsiteX2449" fmla="*/ 1687576 w 2290556"/>
                <a:gd name="connsiteY2449" fmla="*/ 1216510 h 1796087"/>
                <a:gd name="connsiteX2450" fmla="*/ 1690907 w 2290556"/>
                <a:gd name="connsiteY2450" fmla="*/ 1214626 h 1796087"/>
                <a:gd name="connsiteX2451" fmla="*/ 1692489 w 2290556"/>
                <a:gd name="connsiteY2451" fmla="*/ 1215636 h 1796087"/>
                <a:gd name="connsiteX2452" fmla="*/ 1696124 w 2290556"/>
                <a:gd name="connsiteY2452" fmla="*/ 1217654 h 1796087"/>
                <a:gd name="connsiteX2453" fmla="*/ 1697874 w 2290556"/>
                <a:gd name="connsiteY2453" fmla="*/ 1218528 h 1796087"/>
                <a:gd name="connsiteX2454" fmla="*/ 1701205 w 2290556"/>
                <a:gd name="connsiteY2454" fmla="*/ 1218528 h 1796087"/>
                <a:gd name="connsiteX2455" fmla="*/ 1703831 w 2290556"/>
                <a:gd name="connsiteY2455" fmla="*/ 1217889 h 1796087"/>
                <a:gd name="connsiteX2456" fmla="*/ 1704571 w 2290556"/>
                <a:gd name="connsiteY2456" fmla="*/ 1217385 h 1796087"/>
                <a:gd name="connsiteX2457" fmla="*/ 1707465 w 2290556"/>
                <a:gd name="connsiteY2457" fmla="*/ 1214189 h 1796087"/>
                <a:gd name="connsiteX2458" fmla="*/ 1707465 w 2290556"/>
                <a:gd name="connsiteY2458" fmla="*/ 1212002 h 1796087"/>
                <a:gd name="connsiteX2459" fmla="*/ 1708475 w 2290556"/>
                <a:gd name="connsiteY2459" fmla="*/ 1209681 h 1796087"/>
                <a:gd name="connsiteX2460" fmla="*/ 1709350 w 2290556"/>
                <a:gd name="connsiteY2460" fmla="*/ 1207966 h 1796087"/>
                <a:gd name="connsiteX2461" fmla="*/ 1710797 w 2290556"/>
                <a:gd name="connsiteY2461" fmla="*/ 1205645 h 1796087"/>
                <a:gd name="connsiteX2462" fmla="*/ 1713826 w 2290556"/>
                <a:gd name="connsiteY2462" fmla="*/ 1205207 h 1796087"/>
                <a:gd name="connsiteX2463" fmla="*/ 1714701 w 2290556"/>
                <a:gd name="connsiteY2463" fmla="*/ 1205779 h 1796087"/>
                <a:gd name="connsiteX2464" fmla="*/ 1716720 w 2290556"/>
                <a:gd name="connsiteY2464" fmla="*/ 1207226 h 1796087"/>
                <a:gd name="connsiteX2465" fmla="*/ 1720220 w 2290556"/>
                <a:gd name="connsiteY2465" fmla="*/ 1208235 h 1796087"/>
                <a:gd name="connsiteX2466" fmla="*/ 1722374 w 2290556"/>
                <a:gd name="connsiteY2466" fmla="*/ 1206486 h 1796087"/>
                <a:gd name="connsiteX2467" fmla="*/ 1724393 w 2290556"/>
                <a:gd name="connsiteY2467" fmla="*/ 1203727 h 1796087"/>
                <a:gd name="connsiteX2468" fmla="*/ 1727153 w 2290556"/>
                <a:gd name="connsiteY2468" fmla="*/ 1202718 h 1796087"/>
                <a:gd name="connsiteX2469" fmla="*/ 1730788 w 2290556"/>
                <a:gd name="connsiteY2469" fmla="*/ 1201978 h 1796087"/>
                <a:gd name="connsiteX2470" fmla="*/ 1733985 w 2290556"/>
                <a:gd name="connsiteY2470" fmla="*/ 1201339 h 1796087"/>
                <a:gd name="connsiteX2471" fmla="*/ 1739403 w 2290556"/>
                <a:gd name="connsiteY2471" fmla="*/ 1203088 h 1796087"/>
                <a:gd name="connsiteX2472" fmla="*/ 1742668 w 2290556"/>
                <a:gd name="connsiteY2472" fmla="*/ 1206553 h 1796087"/>
                <a:gd name="connsiteX2473" fmla="*/ 1742668 w 2290556"/>
                <a:gd name="connsiteY2473" fmla="*/ 1208504 h 1796087"/>
                <a:gd name="connsiteX2474" fmla="*/ 1743980 w 2290556"/>
                <a:gd name="connsiteY2474" fmla="*/ 1211969 h 1796087"/>
                <a:gd name="connsiteX2475" fmla="*/ 1749837 w 2290556"/>
                <a:gd name="connsiteY2475" fmla="*/ 1215232 h 1796087"/>
                <a:gd name="connsiteX2476" fmla="*/ 1754346 w 2290556"/>
                <a:gd name="connsiteY2476" fmla="*/ 1219639 h 1796087"/>
                <a:gd name="connsiteX2477" fmla="*/ 1756803 w 2290556"/>
                <a:gd name="connsiteY2477" fmla="*/ 1221522 h 1796087"/>
                <a:gd name="connsiteX2478" fmla="*/ 1757476 w 2290556"/>
                <a:gd name="connsiteY2478" fmla="*/ 1223406 h 1796087"/>
                <a:gd name="connsiteX2479" fmla="*/ 1758486 w 2290556"/>
                <a:gd name="connsiteY2479" fmla="*/ 1225727 h 1796087"/>
                <a:gd name="connsiteX2480" fmla="*/ 1759731 w 2290556"/>
                <a:gd name="connsiteY2480" fmla="*/ 1227409 h 1796087"/>
                <a:gd name="connsiteX2481" fmla="*/ 1760976 w 2290556"/>
                <a:gd name="connsiteY2481" fmla="*/ 1228990 h 1796087"/>
                <a:gd name="connsiteX2482" fmla="*/ 1761481 w 2290556"/>
                <a:gd name="connsiteY2482" fmla="*/ 1231379 h 1796087"/>
                <a:gd name="connsiteX2483" fmla="*/ 1760034 w 2290556"/>
                <a:gd name="connsiteY2483" fmla="*/ 1233532 h 1796087"/>
                <a:gd name="connsiteX2484" fmla="*/ 1759764 w 2290556"/>
                <a:gd name="connsiteY2484" fmla="*/ 1233902 h 1796087"/>
                <a:gd name="connsiteX2485" fmla="*/ 1757509 w 2290556"/>
                <a:gd name="connsiteY2485" fmla="*/ 1236425 h 1796087"/>
                <a:gd name="connsiteX2486" fmla="*/ 1758317 w 2290556"/>
                <a:gd name="connsiteY2486" fmla="*/ 1239183 h 1796087"/>
                <a:gd name="connsiteX2487" fmla="*/ 1759731 w 2290556"/>
                <a:gd name="connsiteY2487" fmla="*/ 1242278 h 1796087"/>
                <a:gd name="connsiteX2488" fmla="*/ 1764072 w 2290556"/>
                <a:gd name="connsiteY2488" fmla="*/ 1245037 h 1796087"/>
                <a:gd name="connsiteX2489" fmla="*/ 1764745 w 2290556"/>
                <a:gd name="connsiteY2489" fmla="*/ 1246180 h 1796087"/>
                <a:gd name="connsiteX2490" fmla="*/ 1764140 w 2290556"/>
                <a:gd name="connsiteY2490" fmla="*/ 1248031 h 1796087"/>
                <a:gd name="connsiteX2491" fmla="*/ 1764140 w 2290556"/>
                <a:gd name="connsiteY2491" fmla="*/ 1250688 h 1796087"/>
                <a:gd name="connsiteX2492" fmla="*/ 1764779 w 2290556"/>
                <a:gd name="connsiteY2492" fmla="*/ 1251058 h 1796087"/>
                <a:gd name="connsiteX2493" fmla="*/ 1766899 w 2290556"/>
                <a:gd name="connsiteY2493" fmla="*/ 1249645 h 1796087"/>
                <a:gd name="connsiteX2494" fmla="*/ 1769793 w 2290556"/>
                <a:gd name="connsiteY2494" fmla="*/ 1251764 h 1796087"/>
                <a:gd name="connsiteX2495" fmla="*/ 1770500 w 2290556"/>
                <a:gd name="connsiteY2495" fmla="*/ 1252942 h 1796087"/>
                <a:gd name="connsiteX2496" fmla="*/ 1771173 w 2290556"/>
                <a:gd name="connsiteY2496" fmla="*/ 1254624 h 1796087"/>
                <a:gd name="connsiteX2497" fmla="*/ 1768380 w 2290556"/>
                <a:gd name="connsiteY2497" fmla="*/ 1255835 h 1796087"/>
                <a:gd name="connsiteX2498" fmla="*/ 1768380 w 2290556"/>
                <a:gd name="connsiteY2498" fmla="*/ 1257853 h 1796087"/>
                <a:gd name="connsiteX2499" fmla="*/ 1769491 w 2290556"/>
                <a:gd name="connsiteY2499" fmla="*/ 1259300 h 1796087"/>
                <a:gd name="connsiteX2500" fmla="*/ 1770702 w 2290556"/>
                <a:gd name="connsiteY2500" fmla="*/ 1260746 h 1796087"/>
                <a:gd name="connsiteX2501" fmla="*/ 1772520 w 2290556"/>
                <a:gd name="connsiteY2501" fmla="*/ 1260881 h 1796087"/>
                <a:gd name="connsiteX2502" fmla="*/ 1774169 w 2290556"/>
                <a:gd name="connsiteY2502" fmla="*/ 1259434 h 1796087"/>
                <a:gd name="connsiteX2503" fmla="*/ 1775313 w 2290556"/>
                <a:gd name="connsiteY2503" fmla="*/ 1257550 h 1796087"/>
                <a:gd name="connsiteX2504" fmla="*/ 1776491 w 2290556"/>
                <a:gd name="connsiteY2504" fmla="*/ 1255667 h 1796087"/>
                <a:gd name="connsiteX2505" fmla="*/ 1778678 w 2290556"/>
                <a:gd name="connsiteY2505" fmla="*/ 1254927 h 1796087"/>
                <a:gd name="connsiteX2506" fmla="*/ 1781438 w 2290556"/>
                <a:gd name="connsiteY2506" fmla="*/ 1256676 h 1796087"/>
                <a:gd name="connsiteX2507" fmla="*/ 1782448 w 2290556"/>
                <a:gd name="connsiteY2507" fmla="*/ 1256676 h 1796087"/>
                <a:gd name="connsiteX2508" fmla="*/ 1783154 w 2290556"/>
                <a:gd name="connsiteY2508" fmla="*/ 1258997 h 1796087"/>
                <a:gd name="connsiteX2509" fmla="*/ 1782582 w 2290556"/>
                <a:gd name="connsiteY2509" fmla="*/ 1260746 h 1796087"/>
                <a:gd name="connsiteX2510" fmla="*/ 1781000 w 2290556"/>
                <a:gd name="connsiteY2510" fmla="*/ 1263067 h 1796087"/>
                <a:gd name="connsiteX2511" fmla="*/ 1783457 w 2290556"/>
                <a:gd name="connsiteY2511" fmla="*/ 1264648 h 1796087"/>
                <a:gd name="connsiteX2512" fmla="*/ 1787799 w 2290556"/>
                <a:gd name="connsiteY2512" fmla="*/ 1265389 h 1796087"/>
                <a:gd name="connsiteX2513" fmla="*/ 1787227 w 2290556"/>
                <a:gd name="connsiteY2513" fmla="*/ 1267979 h 1796087"/>
                <a:gd name="connsiteX2514" fmla="*/ 1783760 w 2290556"/>
                <a:gd name="connsiteY2514" fmla="*/ 1270872 h 1796087"/>
                <a:gd name="connsiteX2515" fmla="*/ 1783188 w 2290556"/>
                <a:gd name="connsiteY2515" fmla="*/ 1272756 h 1796087"/>
                <a:gd name="connsiteX2516" fmla="*/ 1786520 w 2290556"/>
                <a:gd name="connsiteY2516" fmla="*/ 1276086 h 1796087"/>
                <a:gd name="connsiteX2517" fmla="*/ 1787395 w 2290556"/>
                <a:gd name="connsiteY2517" fmla="*/ 1279551 h 1796087"/>
                <a:gd name="connsiteX2518" fmla="*/ 1789851 w 2290556"/>
                <a:gd name="connsiteY2518" fmla="*/ 1283184 h 1796087"/>
                <a:gd name="connsiteX2519" fmla="*/ 1790559 w 2290556"/>
                <a:gd name="connsiteY2519" fmla="*/ 1288835 h 1796087"/>
                <a:gd name="connsiteX2520" fmla="*/ 1787361 w 2290556"/>
                <a:gd name="connsiteY2520" fmla="*/ 1292468 h 1796087"/>
                <a:gd name="connsiteX2521" fmla="*/ 1784164 w 2290556"/>
                <a:gd name="connsiteY2521" fmla="*/ 1291156 h 1796087"/>
                <a:gd name="connsiteX2522" fmla="*/ 1780967 w 2290556"/>
                <a:gd name="connsiteY2522" fmla="*/ 1288835 h 1796087"/>
                <a:gd name="connsiteX2523" fmla="*/ 1777770 w 2290556"/>
                <a:gd name="connsiteY2523" fmla="*/ 1287961 h 1796087"/>
                <a:gd name="connsiteX2524" fmla="*/ 1776188 w 2290556"/>
                <a:gd name="connsiteY2524" fmla="*/ 1287961 h 1796087"/>
                <a:gd name="connsiteX2525" fmla="*/ 1775616 w 2290556"/>
                <a:gd name="connsiteY2525" fmla="*/ 1287961 h 1796087"/>
                <a:gd name="connsiteX2526" fmla="*/ 1774741 w 2290556"/>
                <a:gd name="connsiteY2526" fmla="*/ 1289037 h 1796087"/>
                <a:gd name="connsiteX2527" fmla="*/ 1772721 w 2290556"/>
                <a:gd name="connsiteY2527" fmla="*/ 1293007 h 1796087"/>
                <a:gd name="connsiteX2528" fmla="*/ 1772721 w 2290556"/>
                <a:gd name="connsiteY2528" fmla="*/ 1295193 h 1796087"/>
                <a:gd name="connsiteX2529" fmla="*/ 1773866 w 2290556"/>
                <a:gd name="connsiteY2529" fmla="*/ 1298086 h 1796087"/>
                <a:gd name="connsiteX2530" fmla="*/ 1776323 w 2290556"/>
                <a:gd name="connsiteY2530" fmla="*/ 1301854 h 1796087"/>
                <a:gd name="connsiteX2531" fmla="*/ 1777467 w 2290556"/>
                <a:gd name="connsiteY2531" fmla="*/ 1303603 h 1796087"/>
                <a:gd name="connsiteX2532" fmla="*/ 1780799 w 2290556"/>
                <a:gd name="connsiteY2532" fmla="*/ 1304478 h 1796087"/>
                <a:gd name="connsiteX2533" fmla="*/ 1783693 w 2290556"/>
                <a:gd name="connsiteY2533" fmla="*/ 1307943 h 1796087"/>
                <a:gd name="connsiteX2534" fmla="*/ 1780058 w 2290556"/>
                <a:gd name="connsiteY2534" fmla="*/ 1309961 h 1796087"/>
                <a:gd name="connsiteX2535" fmla="*/ 1781236 w 2290556"/>
                <a:gd name="connsiteY2535" fmla="*/ 1312989 h 1796087"/>
                <a:gd name="connsiteX2536" fmla="*/ 1788337 w 2290556"/>
                <a:gd name="connsiteY2536" fmla="*/ 1313998 h 1796087"/>
                <a:gd name="connsiteX2537" fmla="*/ 1789212 w 2290556"/>
                <a:gd name="connsiteY2537" fmla="*/ 1314872 h 1796087"/>
                <a:gd name="connsiteX2538" fmla="*/ 1789212 w 2290556"/>
                <a:gd name="connsiteY2538" fmla="*/ 1320087 h 1796087"/>
                <a:gd name="connsiteX2539" fmla="*/ 1787631 w 2290556"/>
                <a:gd name="connsiteY2539" fmla="*/ 1322105 h 1796087"/>
                <a:gd name="connsiteX2540" fmla="*/ 1787193 w 2290556"/>
                <a:gd name="connsiteY2540" fmla="*/ 1323854 h 1796087"/>
                <a:gd name="connsiteX2541" fmla="*/ 1788068 w 2290556"/>
                <a:gd name="connsiteY2541" fmla="*/ 1325873 h 1796087"/>
                <a:gd name="connsiteX2542" fmla="*/ 1789212 w 2290556"/>
                <a:gd name="connsiteY2542" fmla="*/ 1328194 h 1796087"/>
                <a:gd name="connsiteX2543" fmla="*/ 1790794 w 2290556"/>
                <a:gd name="connsiteY2543" fmla="*/ 1332264 h 1796087"/>
                <a:gd name="connsiteX2544" fmla="*/ 1791366 w 2290556"/>
                <a:gd name="connsiteY2544" fmla="*/ 1335897 h 1796087"/>
                <a:gd name="connsiteX2545" fmla="*/ 1793116 w 2290556"/>
                <a:gd name="connsiteY2545" fmla="*/ 1336604 h 1796087"/>
                <a:gd name="connsiteX2546" fmla="*/ 1798636 w 2290556"/>
                <a:gd name="connsiteY2546" fmla="*/ 1339934 h 1796087"/>
                <a:gd name="connsiteX2547" fmla="*/ 1800958 w 2290556"/>
                <a:gd name="connsiteY2547" fmla="*/ 1338790 h 1796087"/>
                <a:gd name="connsiteX2548" fmla="*/ 1803987 w 2290556"/>
                <a:gd name="connsiteY2548" fmla="*/ 1338050 h 1796087"/>
                <a:gd name="connsiteX2549" fmla="*/ 1806746 w 2290556"/>
                <a:gd name="connsiteY2549" fmla="*/ 1336469 h 1796087"/>
                <a:gd name="connsiteX2550" fmla="*/ 1808496 w 2290556"/>
                <a:gd name="connsiteY2550" fmla="*/ 1333273 h 1796087"/>
                <a:gd name="connsiteX2551" fmla="*/ 1810515 w 2290556"/>
                <a:gd name="connsiteY2551" fmla="*/ 1330818 h 1796087"/>
                <a:gd name="connsiteX2552" fmla="*/ 1814420 w 2290556"/>
                <a:gd name="connsiteY2552" fmla="*/ 1333576 h 1796087"/>
                <a:gd name="connsiteX2553" fmla="*/ 1816607 w 2290556"/>
                <a:gd name="connsiteY2553" fmla="*/ 1333441 h 1796087"/>
                <a:gd name="connsiteX2554" fmla="*/ 1818189 w 2290556"/>
                <a:gd name="connsiteY2554" fmla="*/ 1336200 h 1796087"/>
                <a:gd name="connsiteX2555" fmla="*/ 1821218 w 2290556"/>
                <a:gd name="connsiteY2555" fmla="*/ 1335460 h 1796087"/>
                <a:gd name="connsiteX2556" fmla="*/ 1826569 w 2290556"/>
                <a:gd name="connsiteY2556" fmla="*/ 1334585 h 1796087"/>
                <a:gd name="connsiteX2557" fmla="*/ 1831348 w 2290556"/>
                <a:gd name="connsiteY2557" fmla="*/ 1332264 h 1796087"/>
                <a:gd name="connsiteX2558" fmla="*/ 1834107 w 2290556"/>
                <a:gd name="connsiteY2558" fmla="*/ 1333711 h 1796087"/>
                <a:gd name="connsiteX2559" fmla="*/ 1836733 w 2290556"/>
                <a:gd name="connsiteY2559" fmla="*/ 1335729 h 1796087"/>
                <a:gd name="connsiteX2560" fmla="*/ 1841074 w 2290556"/>
                <a:gd name="connsiteY2560" fmla="*/ 1338757 h 1796087"/>
                <a:gd name="connsiteX2561" fmla="*/ 1843093 w 2290556"/>
                <a:gd name="connsiteY2561" fmla="*/ 1337310 h 1796087"/>
                <a:gd name="connsiteX2562" fmla="*/ 1845112 w 2290556"/>
                <a:gd name="connsiteY2562" fmla="*/ 1334720 h 1796087"/>
                <a:gd name="connsiteX2563" fmla="*/ 1848007 w 2290556"/>
                <a:gd name="connsiteY2563" fmla="*/ 1334148 h 1796087"/>
                <a:gd name="connsiteX2564" fmla="*/ 1850194 w 2290556"/>
                <a:gd name="connsiteY2564" fmla="*/ 1336166 h 1796087"/>
                <a:gd name="connsiteX2565" fmla="*/ 1852516 w 2290556"/>
                <a:gd name="connsiteY2565" fmla="*/ 1336906 h 1796087"/>
                <a:gd name="connsiteX2566" fmla="*/ 1857733 w 2290556"/>
                <a:gd name="connsiteY2566" fmla="*/ 1336166 h 1796087"/>
                <a:gd name="connsiteX2567" fmla="*/ 1862377 w 2290556"/>
                <a:gd name="connsiteY2567" fmla="*/ 1333980 h 1796087"/>
                <a:gd name="connsiteX2568" fmla="*/ 1865272 w 2290556"/>
                <a:gd name="connsiteY2568" fmla="*/ 1332365 h 1796087"/>
                <a:gd name="connsiteX2569" fmla="*/ 1868906 w 2290556"/>
                <a:gd name="connsiteY2569" fmla="*/ 1332399 h 1796087"/>
                <a:gd name="connsiteX2570" fmla="*/ 1875704 w 2290556"/>
                <a:gd name="connsiteY2570" fmla="*/ 1332399 h 1796087"/>
                <a:gd name="connsiteX2571" fmla="*/ 1876176 w 2290556"/>
                <a:gd name="connsiteY2571" fmla="*/ 1332634 h 1796087"/>
                <a:gd name="connsiteX2572" fmla="*/ 1876176 w 2290556"/>
                <a:gd name="connsiteY2572" fmla="*/ 1332634 h 1796087"/>
                <a:gd name="connsiteX2573" fmla="*/ 1876176 w 2290556"/>
                <a:gd name="connsiteY2573" fmla="*/ 1332264 h 1796087"/>
                <a:gd name="connsiteX2574" fmla="*/ 1876176 w 2290556"/>
                <a:gd name="connsiteY2574" fmla="*/ 1325301 h 1796087"/>
                <a:gd name="connsiteX2575" fmla="*/ 1877959 w 2290556"/>
                <a:gd name="connsiteY2575" fmla="*/ 1322038 h 1796087"/>
                <a:gd name="connsiteX2576" fmla="*/ 1880281 w 2290556"/>
                <a:gd name="connsiteY2576" fmla="*/ 1317900 h 1796087"/>
                <a:gd name="connsiteX2577" fmla="*/ 1881359 w 2290556"/>
                <a:gd name="connsiteY2577" fmla="*/ 1314301 h 1796087"/>
                <a:gd name="connsiteX2578" fmla="*/ 1881359 w 2290556"/>
                <a:gd name="connsiteY2578" fmla="*/ 1309625 h 1796087"/>
                <a:gd name="connsiteX2579" fmla="*/ 1876478 w 2290556"/>
                <a:gd name="connsiteY2579" fmla="*/ 1306261 h 1796087"/>
                <a:gd name="connsiteX2580" fmla="*/ 1876142 w 2290556"/>
                <a:gd name="connsiteY2580" fmla="*/ 1302661 h 1796087"/>
                <a:gd name="connsiteX2581" fmla="*/ 1877724 w 2290556"/>
                <a:gd name="connsiteY2581" fmla="*/ 1300475 h 1796087"/>
                <a:gd name="connsiteX2582" fmla="*/ 1878094 w 2290556"/>
                <a:gd name="connsiteY2582" fmla="*/ 1297884 h 1796087"/>
                <a:gd name="connsiteX2583" fmla="*/ 1873685 w 2290556"/>
                <a:gd name="connsiteY2583" fmla="*/ 1294251 h 1796087"/>
                <a:gd name="connsiteX2584" fmla="*/ 1872171 w 2290556"/>
                <a:gd name="connsiteY2584" fmla="*/ 1292334 h 1796087"/>
                <a:gd name="connsiteX2585" fmla="*/ 1871666 w 2290556"/>
                <a:gd name="connsiteY2585" fmla="*/ 1283756 h 1796087"/>
                <a:gd name="connsiteX2586" fmla="*/ 1871026 w 2290556"/>
                <a:gd name="connsiteY2586" fmla="*/ 1279685 h 1796087"/>
                <a:gd name="connsiteX2587" fmla="*/ 1869176 w 2290556"/>
                <a:gd name="connsiteY2587" fmla="*/ 1277398 h 1796087"/>
                <a:gd name="connsiteX2588" fmla="*/ 1869176 w 2290556"/>
                <a:gd name="connsiteY2588" fmla="*/ 1274841 h 1796087"/>
                <a:gd name="connsiteX2589" fmla="*/ 1869983 w 2290556"/>
                <a:gd name="connsiteY2589" fmla="*/ 1272251 h 1796087"/>
                <a:gd name="connsiteX2590" fmla="*/ 1870993 w 2290556"/>
                <a:gd name="connsiteY2590" fmla="*/ 1270199 h 1796087"/>
                <a:gd name="connsiteX2591" fmla="*/ 1870926 w 2290556"/>
                <a:gd name="connsiteY2591" fmla="*/ 1265489 h 1796087"/>
                <a:gd name="connsiteX2592" fmla="*/ 1870926 w 2290556"/>
                <a:gd name="connsiteY2592" fmla="*/ 1262731 h 1796087"/>
                <a:gd name="connsiteX2593" fmla="*/ 1872810 w 2290556"/>
                <a:gd name="connsiteY2593" fmla="*/ 1258762 h 1796087"/>
                <a:gd name="connsiteX2594" fmla="*/ 1874392 w 2290556"/>
                <a:gd name="connsiteY2594" fmla="*/ 1254153 h 1796087"/>
                <a:gd name="connsiteX2595" fmla="*/ 1876883 w 2290556"/>
                <a:gd name="connsiteY2595" fmla="*/ 1249477 h 1796087"/>
                <a:gd name="connsiteX2596" fmla="*/ 1878060 w 2290556"/>
                <a:gd name="connsiteY2596" fmla="*/ 1246651 h 1796087"/>
                <a:gd name="connsiteX2597" fmla="*/ 1875772 w 2290556"/>
                <a:gd name="connsiteY2597" fmla="*/ 1245440 h 1796087"/>
                <a:gd name="connsiteX2598" fmla="*/ 1873180 w 2290556"/>
                <a:gd name="connsiteY2598" fmla="*/ 1244465 h 1796087"/>
                <a:gd name="connsiteX2599" fmla="*/ 1871767 w 2290556"/>
                <a:gd name="connsiteY2599" fmla="*/ 1244465 h 1796087"/>
                <a:gd name="connsiteX2600" fmla="*/ 1869916 w 2290556"/>
                <a:gd name="connsiteY2600" fmla="*/ 1242514 h 1796087"/>
                <a:gd name="connsiteX2601" fmla="*/ 1870118 w 2290556"/>
                <a:gd name="connsiteY2601" fmla="*/ 1240865 h 1796087"/>
                <a:gd name="connsiteX2602" fmla="*/ 1870252 w 2290556"/>
                <a:gd name="connsiteY2602" fmla="*/ 1239654 h 1796087"/>
                <a:gd name="connsiteX2603" fmla="*/ 1866550 w 2290556"/>
                <a:gd name="connsiteY2603" fmla="*/ 1238679 h 1796087"/>
                <a:gd name="connsiteX2604" fmla="*/ 1864800 w 2290556"/>
                <a:gd name="connsiteY2604" fmla="*/ 1238040 h 1796087"/>
                <a:gd name="connsiteX2605" fmla="*/ 1862950 w 2290556"/>
                <a:gd name="connsiteY2605" fmla="*/ 1236728 h 1796087"/>
                <a:gd name="connsiteX2606" fmla="*/ 1861973 w 2290556"/>
                <a:gd name="connsiteY2606" fmla="*/ 1234003 h 1796087"/>
                <a:gd name="connsiteX2607" fmla="*/ 1862613 w 2290556"/>
                <a:gd name="connsiteY2607" fmla="*/ 1232153 h 1796087"/>
                <a:gd name="connsiteX2608" fmla="*/ 1863151 w 2290556"/>
                <a:gd name="connsiteY2608" fmla="*/ 1230201 h 1796087"/>
                <a:gd name="connsiteX2609" fmla="*/ 1864800 w 2290556"/>
                <a:gd name="connsiteY2609" fmla="*/ 1228789 h 1796087"/>
                <a:gd name="connsiteX2610" fmla="*/ 1866012 w 2290556"/>
                <a:gd name="connsiteY2610" fmla="*/ 1227376 h 1796087"/>
                <a:gd name="connsiteX2611" fmla="*/ 1866853 w 2290556"/>
                <a:gd name="connsiteY2611" fmla="*/ 1224685 h 1796087"/>
                <a:gd name="connsiteX2612" fmla="*/ 1867998 w 2290556"/>
                <a:gd name="connsiteY2612" fmla="*/ 1221825 h 1796087"/>
                <a:gd name="connsiteX2613" fmla="*/ 1870017 w 2290556"/>
                <a:gd name="connsiteY2613" fmla="*/ 1221825 h 1796087"/>
                <a:gd name="connsiteX2614" fmla="*/ 1871767 w 2290556"/>
                <a:gd name="connsiteY2614" fmla="*/ 1221825 h 1796087"/>
                <a:gd name="connsiteX2615" fmla="*/ 1871666 w 2290556"/>
                <a:gd name="connsiteY2615" fmla="*/ 1220244 h 1796087"/>
                <a:gd name="connsiteX2616" fmla="*/ 1872507 w 2290556"/>
                <a:gd name="connsiteY2616" fmla="*/ 1218999 h 1796087"/>
                <a:gd name="connsiteX2617" fmla="*/ 1874459 w 2290556"/>
                <a:gd name="connsiteY2617" fmla="*/ 1218360 h 1796087"/>
                <a:gd name="connsiteX2618" fmla="*/ 1876983 w 2290556"/>
                <a:gd name="connsiteY2618" fmla="*/ 1218360 h 1796087"/>
                <a:gd name="connsiteX2619" fmla="*/ 1878431 w 2290556"/>
                <a:gd name="connsiteY2619" fmla="*/ 1216981 h 1796087"/>
                <a:gd name="connsiteX2620" fmla="*/ 1879575 w 2290556"/>
                <a:gd name="connsiteY2620" fmla="*/ 1215400 h 1796087"/>
                <a:gd name="connsiteX2621" fmla="*/ 1879575 w 2290556"/>
                <a:gd name="connsiteY2621" fmla="*/ 1214021 h 1796087"/>
                <a:gd name="connsiteX2622" fmla="*/ 1882099 w 2290556"/>
                <a:gd name="connsiteY2622" fmla="*/ 1212272 h 1796087"/>
                <a:gd name="connsiteX2623" fmla="*/ 1882536 w 2290556"/>
                <a:gd name="connsiteY2623" fmla="*/ 1209883 h 1796087"/>
                <a:gd name="connsiteX2624" fmla="*/ 1883714 w 2290556"/>
                <a:gd name="connsiteY2624" fmla="*/ 1210186 h 1796087"/>
                <a:gd name="connsiteX2625" fmla="*/ 1885801 w 2290556"/>
                <a:gd name="connsiteY2625" fmla="*/ 1211060 h 1796087"/>
                <a:gd name="connsiteX2626" fmla="*/ 1887046 w 2290556"/>
                <a:gd name="connsiteY2626" fmla="*/ 1213247 h 1796087"/>
                <a:gd name="connsiteX2627" fmla="*/ 1888931 w 2290556"/>
                <a:gd name="connsiteY2627" fmla="*/ 1217587 h 1796087"/>
                <a:gd name="connsiteX2628" fmla="*/ 1890883 w 2290556"/>
                <a:gd name="connsiteY2628" fmla="*/ 1220177 h 1796087"/>
                <a:gd name="connsiteX2629" fmla="*/ 1891690 w 2290556"/>
                <a:gd name="connsiteY2629" fmla="*/ 1222061 h 1796087"/>
                <a:gd name="connsiteX2630" fmla="*/ 1891421 w 2290556"/>
                <a:gd name="connsiteY2630" fmla="*/ 1223070 h 1796087"/>
                <a:gd name="connsiteX2631" fmla="*/ 1891118 w 2290556"/>
                <a:gd name="connsiteY2631" fmla="*/ 1224584 h 1796087"/>
                <a:gd name="connsiteX2632" fmla="*/ 1893306 w 2290556"/>
                <a:gd name="connsiteY2632" fmla="*/ 1225727 h 1796087"/>
                <a:gd name="connsiteX2633" fmla="*/ 1895863 w 2290556"/>
                <a:gd name="connsiteY2633" fmla="*/ 1225593 h 1796087"/>
                <a:gd name="connsiteX2634" fmla="*/ 1896974 w 2290556"/>
                <a:gd name="connsiteY2634" fmla="*/ 1226972 h 1796087"/>
                <a:gd name="connsiteX2635" fmla="*/ 1896974 w 2290556"/>
                <a:gd name="connsiteY2635" fmla="*/ 1229663 h 1796087"/>
                <a:gd name="connsiteX2636" fmla="*/ 1898051 w 2290556"/>
                <a:gd name="connsiteY2636" fmla="*/ 1230740 h 1796087"/>
                <a:gd name="connsiteX2637" fmla="*/ 1899195 w 2290556"/>
                <a:gd name="connsiteY2637" fmla="*/ 1229360 h 1796087"/>
                <a:gd name="connsiteX2638" fmla="*/ 1900272 w 2290556"/>
                <a:gd name="connsiteY2638" fmla="*/ 1229226 h 1796087"/>
                <a:gd name="connsiteX2639" fmla="*/ 1900912 w 2290556"/>
                <a:gd name="connsiteY2639" fmla="*/ 1229024 h 1796087"/>
                <a:gd name="connsiteX2640" fmla="*/ 1903604 w 2290556"/>
                <a:gd name="connsiteY2640" fmla="*/ 1228890 h 1796087"/>
                <a:gd name="connsiteX2641" fmla="*/ 1908013 w 2290556"/>
                <a:gd name="connsiteY2641" fmla="*/ 1228318 h 1796087"/>
                <a:gd name="connsiteX2642" fmla="*/ 1912489 w 2290556"/>
                <a:gd name="connsiteY2642" fmla="*/ 1228755 h 1796087"/>
                <a:gd name="connsiteX2643" fmla="*/ 1914441 w 2290556"/>
                <a:gd name="connsiteY2643" fmla="*/ 1230201 h 1796087"/>
                <a:gd name="connsiteX2644" fmla="*/ 1914172 w 2290556"/>
                <a:gd name="connsiteY2644" fmla="*/ 1232657 h 1796087"/>
                <a:gd name="connsiteX2645" fmla="*/ 1912724 w 2290556"/>
                <a:gd name="connsiteY2645" fmla="*/ 1234541 h 1796087"/>
                <a:gd name="connsiteX2646" fmla="*/ 1912085 w 2290556"/>
                <a:gd name="connsiteY2646" fmla="*/ 1236492 h 1796087"/>
                <a:gd name="connsiteX2647" fmla="*/ 1912455 w 2290556"/>
                <a:gd name="connsiteY2647" fmla="*/ 1241202 h 1796087"/>
                <a:gd name="connsiteX2648" fmla="*/ 1914475 w 2290556"/>
                <a:gd name="connsiteY2648" fmla="*/ 1244027 h 1796087"/>
                <a:gd name="connsiteX2649" fmla="*/ 1917537 w 2290556"/>
                <a:gd name="connsiteY2649" fmla="*/ 1245474 h 1796087"/>
                <a:gd name="connsiteX2650" fmla="*/ 1917537 w 2290556"/>
                <a:gd name="connsiteY2650" fmla="*/ 1246988 h 1796087"/>
                <a:gd name="connsiteX2651" fmla="*/ 1920431 w 2290556"/>
                <a:gd name="connsiteY2651" fmla="*/ 1250688 h 1796087"/>
                <a:gd name="connsiteX2652" fmla="*/ 1926388 w 2290556"/>
                <a:gd name="connsiteY2652" fmla="*/ 1257550 h 1796087"/>
                <a:gd name="connsiteX2653" fmla="*/ 1931234 w 2290556"/>
                <a:gd name="connsiteY2653" fmla="*/ 1262832 h 1796087"/>
                <a:gd name="connsiteX2654" fmla="*/ 1931571 w 2290556"/>
                <a:gd name="connsiteY2654" fmla="*/ 1267104 h 1796087"/>
                <a:gd name="connsiteX2655" fmla="*/ 1931739 w 2290556"/>
                <a:gd name="connsiteY2655" fmla="*/ 1269930 h 1796087"/>
                <a:gd name="connsiteX2656" fmla="*/ 1931739 w 2290556"/>
                <a:gd name="connsiteY2656" fmla="*/ 1271376 h 1796087"/>
                <a:gd name="connsiteX2657" fmla="*/ 1931739 w 2290556"/>
                <a:gd name="connsiteY2657" fmla="*/ 1274841 h 1796087"/>
                <a:gd name="connsiteX2658" fmla="*/ 1933489 w 2290556"/>
                <a:gd name="connsiteY2658" fmla="*/ 1280123 h 1796087"/>
                <a:gd name="connsiteX2659" fmla="*/ 1933489 w 2290556"/>
                <a:gd name="connsiteY2659" fmla="*/ 1283520 h 1796087"/>
                <a:gd name="connsiteX2660" fmla="*/ 1935946 w 2290556"/>
                <a:gd name="connsiteY2660" fmla="*/ 1285841 h 1796087"/>
                <a:gd name="connsiteX2661" fmla="*/ 1940860 w 2290556"/>
                <a:gd name="connsiteY2661" fmla="*/ 1286077 h 1796087"/>
                <a:gd name="connsiteX2662" fmla="*/ 1943182 w 2290556"/>
                <a:gd name="connsiteY2662" fmla="*/ 1283184 h 1796087"/>
                <a:gd name="connsiteX2663" fmla="*/ 1943451 w 2290556"/>
                <a:gd name="connsiteY2663" fmla="*/ 1280055 h 1796087"/>
                <a:gd name="connsiteX2664" fmla="*/ 1940860 w 2290556"/>
                <a:gd name="connsiteY2664" fmla="*/ 1276490 h 1796087"/>
                <a:gd name="connsiteX2665" fmla="*/ 1942004 w 2290556"/>
                <a:gd name="connsiteY2665" fmla="*/ 1274808 h 1796087"/>
                <a:gd name="connsiteX2666" fmla="*/ 1943451 w 2290556"/>
                <a:gd name="connsiteY2666" fmla="*/ 1273496 h 1796087"/>
                <a:gd name="connsiteX2667" fmla="*/ 1945538 w 2290556"/>
                <a:gd name="connsiteY2667" fmla="*/ 1271679 h 1796087"/>
                <a:gd name="connsiteX2668" fmla="*/ 1945538 w 2290556"/>
                <a:gd name="connsiteY2668" fmla="*/ 1269493 h 1796087"/>
                <a:gd name="connsiteX2669" fmla="*/ 1944966 w 2290556"/>
                <a:gd name="connsiteY2669" fmla="*/ 1266095 h 1796087"/>
                <a:gd name="connsiteX2670" fmla="*/ 1945201 w 2290556"/>
                <a:gd name="connsiteY2670" fmla="*/ 1262967 h 1796087"/>
                <a:gd name="connsiteX2671" fmla="*/ 1945672 w 2290556"/>
                <a:gd name="connsiteY2671" fmla="*/ 1261015 h 1796087"/>
                <a:gd name="connsiteX2672" fmla="*/ 1947288 w 2290556"/>
                <a:gd name="connsiteY2672" fmla="*/ 1258997 h 1796087"/>
                <a:gd name="connsiteX2673" fmla="*/ 1949980 w 2290556"/>
                <a:gd name="connsiteY2673" fmla="*/ 1256743 h 1796087"/>
                <a:gd name="connsiteX2674" fmla="*/ 1951360 w 2290556"/>
                <a:gd name="connsiteY2674" fmla="*/ 1254927 h 1796087"/>
                <a:gd name="connsiteX2675" fmla="*/ 1953312 w 2290556"/>
                <a:gd name="connsiteY2675" fmla="*/ 1253346 h 1796087"/>
                <a:gd name="connsiteX2676" fmla="*/ 1954625 w 2290556"/>
                <a:gd name="connsiteY2676" fmla="*/ 1249511 h 1796087"/>
                <a:gd name="connsiteX2677" fmla="*/ 1957822 w 2290556"/>
                <a:gd name="connsiteY2677" fmla="*/ 1247829 h 1796087"/>
                <a:gd name="connsiteX2678" fmla="*/ 1961153 w 2290556"/>
                <a:gd name="connsiteY2678" fmla="*/ 1249208 h 1796087"/>
                <a:gd name="connsiteX2679" fmla="*/ 1963341 w 2290556"/>
                <a:gd name="connsiteY2679" fmla="*/ 1249847 h 1796087"/>
                <a:gd name="connsiteX2680" fmla="*/ 1965596 w 2290556"/>
                <a:gd name="connsiteY2680" fmla="*/ 1249544 h 1796087"/>
                <a:gd name="connsiteX2681" fmla="*/ 1967783 w 2290556"/>
                <a:gd name="connsiteY2681" fmla="*/ 1247156 h 1796087"/>
                <a:gd name="connsiteX2682" fmla="*/ 1968423 w 2290556"/>
                <a:gd name="connsiteY2682" fmla="*/ 1242951 h 1796087"/>
                <a:gd name="connsiteX2683" fmla="*/ 1968423 w 2290556"/>
                <a:gd name="connsiteY2683" fmla="*/ 1238241 h 1796087"/>
                <a:gd name="connsiteX2684" fmla="*/ 1967783 w 2290556"/>
                <a:gd name="connsiteY2684" fmla="*/ 1235113 h 1796087"/>
                <a:gd name="connsiteX2685" fmla="*/ 1968490 w 2290556"/>
                <a:gd name="connsiteY2685" fmla="*/ 1233364 h 1796087"/>
                <a:gd name="connsiteX2686" fmla="*/ 1969466 w 2290556"/>
                <a:gd name="connsiteY2686" fmla="*/ 1231042 h 1796087"/>
                <a:gd name="connsiteX2687" fmla="*/ 1970274 w 2290556"/>
                <a:gd name="connsiteY2687" fmla="*/ 1230235 h 1796087"/>
                <a:gd name="connsiteX2688" fmla="*/ 1973168 w 2290556"/>
                <a:gd name="connsiteY2688" fmla="*/ 1228789 h 1796087"/>
                <a:gd name="connsiteX2689" fmla="*/ 1974851 w 2290556"/>
                <a:gd name="connsiteY2689" fmla="*/ 1228856 h 1796087"/>
                <a:gd name="connsiteX2690" fmla="*/ 1976735 w 2290556"/>
                <a:gd name="connsiteY2690" fmla="*/ 1228990 h 1796087"/>
                <a:gd name="connsiteX2691" fmla="*/ 1979260 w 2290556"/>
                <a:gd name="connsiteY2691" fmla="*/ 1228049 h 1796087"/>
                <a:gd name="connsiteX2692" fmla="*/ 1981077 w 2290556"/>
                <a:gd name="connsiteY2692" fmla="*/ 1226972 h 1796087"/>
                <a:gd name="connsiteX2693" fmla="*/ 1982019 w 2290556"/>
                <a:gd name="connsiteY2693" fmla="*/ 1225727 h 1796087"/>
                <a:gd name="connsiteX2694" fmla="*/ 1982895 w 2290556"/>
                <a:gd name="connsiteY2694" fmla="*/ 1223709 h 1796087"/>
                <a:gd name="connsiteX2695" fmla="*/ 1984207 w 2290556"/>
                <a:gd name="connsiteY2695" fmla="*/ 1221960 h 1796087"/>
                <a:gd name="connsiteX2696" fmla="*/ 1985789 w 2290556"/>
                <a:gd name="connsiteY2696" fmla="*/ 1219269 h 1796087"/>
                <a:gd name="connsiteX2697" fmla="*/ 1988245 w 2290556"/>
                <a:gd name="connsiteY2697" fmla="*/ 1218899 h 1796087"/>
                <a:gd name="connsiteX2698" fmla="*/ 1992587 w 2290556"/>
                <a:gd name="connsiteY2698" fmla="*/ 1218158 h 1796087"/>
                <a:gd name="connsiteX2699" fmla="*/ 1995717 w 2290556"/>
                <a:gd name="connsiteY2699" fmla="*/ 1215905 h 1796087"/>
                <a:gd name="connsiteX2700" fmla="*/ 1997366 w 2290556"/>
                <a:gd name="connsiteY2700" fmla="*/ 1214357 h 1796087"/>
                <a:gd name="connsiteX2701" fmla="*/ 1998678 w 2290556"/>
                <a:gd name="connsiteY2701" fmla="*/ 1212944 h 1796087"/>
                <a:gd name="connsiteX2702" fmla="*/ 2000496 w 2290556"/>
                <a:gd name="connsiteY2702" fmla="*/ 1212944 h 1796087"/>
                <a:gd name="connsiteX2703" fmla="*/ 2001875 w 2290556"/>
                <a:gd name="connsiteY2703" fmla="*/ 1213684 h 1796087"/>
                <a:gd name="connsiteX2704" fmla="*/ 2004198 w 2290556"/>
                <a:gd name="connsiteY2704" fmla="*/ 1213247 h 1796087"/>
                <a:gd name="connsiteX2705" fmla="*/ 2005712 w 2290556"/>
                <a:gd name="connsiteY2705" fmla="*/ 1211296 h 1796087"/>
                <a:gd name="connsiteX2706" fmla="*/ 2006486 w 2290556"/>
                <a:gd name="connsiteY2706" fmla="*/ 1211229 h 1796087"/>
                <a:gd name="connsiteX2707" fmla="*/ 2008741 w 2290556"/>
                <a:gd name="connsiteY2707" fmla="*/ 1211969 h 1796087"/>
                <a:gd name="connsiteX2708" fmla="*/ 2010929 w 2290556"/>
                <a:gd name="connsiteY2708" fmla="*/ 1213853 h 1796087"/>
                <a:gd name="connsiteX2709" fmla="*/ 2012578 w 2290556"/>
                <a:gd name="connsiteY2709" fmla="*/ 1213987 h 1796087"/>
                <a:gd name="connsiteX2710" fmla="*/ 2016145 w 2290556"/>
                <a:gd name="connsiteY2710" fmla="*/ 1213617 h 1796087"/>
                <a:gd name="connsiteX2711" fmla="*/ 2018097 w 2290556"/>
                <a:gd name="connsiteY2711" fmla="*/ 1210926 h 1796087"/>
                <a:gd name="connsiteX2712" fmla="*/ 2021496 w 2290556"/>
                <a:gd name="connsiteY2712" fmla="*/ 1206956 h 1796087"/>
                <a:gd name="connsiteX2713" fmla="*/ 2026342 w 2290556"/>
                <a:gd name="connsiteY2713" fmla="*/ 1202180 h 1796087"/>
                <a:gd name="connsiteX2714" fmla="*/ 2028967 w 2290556"/>
                <a:gd name="connsiteY2714" fmla="*/ 1199421 h 1796087"/>
                <a:gd name="connsiteX2715" fmla="*/ 2030549 w 2290556"/>
                <a:gd name="connsiteY2715" fmla="*/ 1197033 h 1796087"/>
                <a:gd name="connsiteX2716" fmla="*/ 2033309 w 2290556"/>
                <a:gd name="connsiteY2716" fmla="*/ 1192323 h 1796087"/>
                <a:gd name="connsiteX2717" fmla="*/ 2036338 w 2290556"/>
                <a:gd name="connsiteY2717" fmla="*/ 1188993 h 1796087"/>
                <a:gd name="connsiteX2718" fmla="*/ 2038155 w 2290556"/>
                <a:gd name="connsiteY2718" fmla="*/ 1186167 h 1796087"/>
                <a:gd name="connsiteX2719" fmla="*/ 2042127 w 2290556"/>
                <a:gd name="connsiteY2719" fmla="*/ 1183712 h 1796087"/>
                <a:gd name="connsiteX2720" fmla="*/ 2047848 w 2290556"/>
                <a:gd name="connsiteY2720" fmla="*/ 1183207 h 1796087"/>
                <a:gd name="connsiteX2721" fmla="*/ 2050910 w 2290556"/>
                <a:gd name="connsiteY2721" fmla="*/ 1183644 h 1796087"/>
                <a:gd name="connsiteX2722" fmla="*/ 2054175 w 2290556"/>
                <a:gd name="connsiteY2722" fmla="*/ 1181256 h 1796087"/>
                <a:gd name="connsiteX2723" fmla="*/ 2056430 w 2290556"/>
                <a:gd name="connsiteY2723" fmla="*/ 1178363 h 1796087"/>
                <a:gd name="connsiteX2724" fmla="*/ 2057978 w 2290556"/>
                <a:gd name="connsiteY2724" fmla="*/ 1177858 h 1796087"/>
                <a:gd name="connsiteX2725" fmla="*/ 2060468 w 2290556"/>
                <a:gd name="connsiteY2725" fmla="*/ 1180045 h 1796087"/>
                <a:gd name="connsiteX2726" fmla="*/ 2060468 w 2290556"/>
                <a:gd name="connsiteY2726" fmla="*/ 1182601 h 1796087"/>
                <a:gd name="connsiteX2727" fmla="*/ 2061040 w 2290556"/>
                <a:gd name="connsiteY2727" fmla="*/ 1185124 h 1796087"/>
                <a:gd name="connsiteX2728" fmla="*/ 2063060 w 2290556"/>
                <a:gd name="connsiteY2728" fmla="*/ 1186201 h 1796087"/>
                <a:gd name="connsiteX2729" fmla="*/ 2066627 w 2290556"/>
                <a:gd name="connsiteY2729" fmla="*/ 1186134 h 1796087"/>
                <a:gd name="connsiteX2730" fmla="*/ 2069387 w 2290556"/>
                <a:gd name="connsiteY2730" fmla="*/ 1182063 h 1796087"/>
                <a:gd name="connsiteX2731" fmla="*/ 2068949 w 2290556"/>
                <a:gd name="connsiteY2731" fmla="*/ 1179540 h 1796087"/>
                <a:gd name="connsiteX2732" fmla="*/ 2069824 w 2290556"/>
                <a:gd name="connsiteY2732" fmla="*/ 1177118 h 1796087"/>
                <a:gd name="connsiteX2733" fmla="*/ 2071776 w 2290556"/>
                <a:gd name="connsiteY2733" fmla="*/ 1176513 h 1796087"/>
                <a:gd name="connsiteX2734" fmla="*/ 2075243 w 2290556"/>
                <a:gd name="connsiteY2734" fmla="*/ 1176513 h 1796087"/>
                <a:gd name="connsiteX2735" fmla="*/ 2076824 w 2290556"/>
                <a:gd name="connsiteY2735" fmla="*/ 1176513 h 1796087"/>
                <a:gd name="connsiteX2736" fmla="*/ 2079348 w 2290556"/>
                <a:gd name="connsiteY2736" fmla="*/ 1174124 h 1796087"/>
                <a:gd name="connsiteX2737" fmla="*/ 2081300 w 2290556"/>
                <a:gd name="connsiteY2737" fmla="*/ 1170727 h 1796087"/>
                <a:gd name="connsiteX2738" fmla="*/ 2081300 w 2290556"/>
                <a:gd name="connsiteY2738" fmla="*/ 1168708 h 1796087"/>
                <a:gd name="connsiteX2739" fmla="*/ 2081805 w 2290556"/>
                <a:gd name="connsiteY2739" fmla="*/ 1162485 h 1796087"/>
                <a:gd name="connsiteX2740" fmla="*/ 2083421 w 2290556"/>
                <a:gd name="connsiteY2740" fmla="*/ 1159659 h 1796087"/>
                <a:gd name="connsiteX2741" fmla="*/ 2084935 w 2290556"/>
                <a:gd name="connsiteY2741" fmla="*/ 1157136 h 1796087"/>
                <a:gd name="connsiteX2742" fmla="*/ 2086618 w 2290556"/>
                <a:gd name="connsiteY2742" fmla="*/ 1154512 h 1796087"/>
                <a:gd name="connsiteX2743" fmla="*/ 2088368 w 2290556"/>
                <a:gd name="connsiteY2743" fmla="*/ 1153638 h 1796087"/>
                <a:gd name="connsiteX2744" fmla="*/ 2093382 w 2290556"/>
                <a:gd name="connsiteY2744" fmla="*/ 1153335 h 1796087"/>
                <a:gd name="connsiteX2745" fmla="*/ 2096074 w 2290556"/>
                <a:gd name="connsiteY2745" fmla="*/ 1153335 h 1796087"/>
                <a:gd name="connsiteX2746" fmla="*/ 2100281 w 2290556"/>
                <a:gd name="connsiteY2746" fmla="*/ 1153638 h 1796087"/>
                <a:gd name="connsiteX2747" fmla="*/ 2104859 w 2290556"/>
                <a:gd name="connsiteY2747" fmla="*/ 1153705 h 1796087"/>
                <a:gd name="connsiteX2748" fmla="*/ 2109503 w 2290556"/>
                <a:gd name="connsiteY2748" fmla="*/ 1154142 h 1796087"/>
                <a:gd name="connsiteX2749" fmla="*/ 2113643 w 2290556"/>
                <a:gd name="connsiteY2749" fmla="*/ 1155084 h 1796087"/>
                <a:gd name="connsiteX2750" fmla="*/ 2117782 w 2290556"/>
                <a:gd name="connsiteY2750" fmla="*/ 1155959 h 1796087"/>
                <a:gd name="connsiteX2751" fmla="*/ 2121417 w 2290556"/>
                <a:gd name="connsiteY2751" fmla="*/ 1154210 h 1796087"/>
                <a:gd name="connsiteX2752" fmla="*/ 2123369 w 2290556"/>
                <a:gd name="connsiteY2752" fmla="*/ 1149870 h 1796087"/>
                <a:gd name="connsiteX2753" fmla="*/ 2126633 w 2290556"/>
                <a:gd name="connsiteY2753" fmla="*/ 1147616 h 1796087"/>
                <a:gd name="connsiteX2754" fmla="*/ 2126633 w 2290556"/>
                <a:gd name="connsiteY2754" fmla="*/ 1144353 h 1796087"/>
                <a:gd name="connsiteX2755" fmla="*/ 2126633 w 2290556"/>
                <a:gd name="connsiteY2755" fmla="*/ 1140888 h 1796087"/>
                <a:gd name="connsiteX2756" fmla="*/ 2124681 w 2290556"/>
                <a:gd name="connsiteY2756" fmla="*/ 1141965 h 1796087"/>
                <a:gd name="connsiteX2757" fmla="*/ 2122359 w 2290556"/>
                <a:gd name="connsiteY2757" fmla="*/ 1142032 h 1796087"/>
                <a:gd name="connsiteX2758" fmla="*/ 2119801 w 2290556"/>
                <a:gd name="connsiteY2758" fmla="*/ 1141796 h 1796087"/>
                <a:gd name="connsiteX2759" fmla="*/ 2117446 w 2290556"/>
                <a:gd name="connsiteY2759" fmla="*/ 1140855 h 1796087"/>
                <a:gd name="connsiteX2760" fmla="*/ 2116167 w 2290556"/>
                <a:gd name="connsiteY2760" fmla="*/ 1139038 h 1796087"/>
                <a:gd name="connsiteX2761" fmla="*/ 2116167 w 2290556"/>
                <a:gd name="connsiteY2761" fmla="*/ 1137390 h 1796087"/>
                <a:gd name="connsiteX2762" fmla="*/ 2117816 w 2290556"/>
                <a:gd name="connsiteY2762" fmla="*/ 1136246 h 1796087"/>
                <a:gd name="connsiteX2763" fmla="*/ 2119330 w 2290556"/>
                <a:gd name="connsiteY2763" fmla="*/ 1135035 h 1796087"/>
                <a:gd name="connsiteX2764" fmla="*/ 2120710 w 2290556"/>
                <a:gd name="connsiteY2764" fmla="*/ 1134766 h 1796087"/>
                <a:gd name="connsiteX2765" fmla="*/ 2123974 w 2290556"/>
                <a:gd name="connsiteY2765" fmla="*/ 1134766 h 1796087"/>
                <a:gd name="connsiteX2766" fmla="*/ 2124479 w 2290556"/>
                <a:gd name="connsiteY2766" fmla="*/ 1134766 h 1796087"/>
                <a:gd name="connsiteX2767" fmla="*/ 2125792 w 2290556"/>
                <a:gd name="connsiteY2767" fmla="*/ 1135338 h 1796087"/>
                <a:gd name="connsiteX2768" fmla="*/ 2129696 w 2290556"/>
                <a:gd name="connsiteY2768" fmla="*/ 1137020 h 1796087"/>
                <a:gd name="connsiteX2769" fmla="*/ 2131580 w 2290556"/>
                <a:gd name="connsiteY2769" fmla="*/ 1136952 h 1796087"/>
                <a:gd name="connsiteX2770" fmla="*/ 2134340 w 2290556"/>
                <a:gd name="connsiteY2770" fmla="*/ 1136078 h 1796087"/>
                <a:gd name="connsiteX2771" fmla="*/ 2135518 w 2290556"/>
                <a:gd name="connsiteY2771" fmla="*/ 1135775 h 1796087"/>
                <a:gd name="connsiteX2772" fmla="*/ 2138110 w 2290556"/>
                <a:gd name="connsiteY2772" fmla="*/ 1137154 h 1796087"/>
                <a:gd name="connsiteX2773" fmla="*/ 2139859 w 2290556"/>
                <a:gd name="connsiteY2773" fmla="*/ 1138029 h 1796087"/>
                <a:gd name="connsiteX2774" fmla="*/ 2143057 w 2290556"/>
                <a:gd name="connsiteY2774" fmla="*/ 1139206 h 1796087"/>
                <a:gd name="connsiteX2775" fmla="*/ 2143696 w 2290556"/>
                <a:gd name="connsiteY2775" fmla="*/ 1139711 h 1796087"/>
                <a:gd name="connsiteX2776" fmla="*/ 2147667 w 2290556"/>
                <a:gd name="connsiteY2776" fmla="*/ 1138634 h 1796087"/>
                <a:gd name="connsiteX2777" fmla="*/ 2150427 w 2290556"/>
                <a:gd name="connsiteY2777" fmla="*/ 1138197 h 1796087"/>
                <a:gd name="connsiteX2778" fmla="*/ 2153254 w 2290556"/>
                <a:gd name="connsiteY2778" fmla="*/ 1138264 h 1796087"/>
                <a:gd name="connsiteX2779" fmla="*/ 2154634 w 2290556"/>
                <a:gd name="connsiteY2779" fmla="*/ 1139442 h 1796087"/>
                <a:gd name="connsiteX2780" fmla="*/ 2157326 w 2290556"/>
                <a:gd name="connsiteY2780" fmla="*/ 1142402 h 1796087"/>
                <a:gd name="connsiteX2781" fmla="*/ 2156821 w 2290556"/>
                <a:gd name="connsiteY2781" fmla="*/ 1143546 h 1796087"/>
                <a:gd name="connsiteX2782" fmla="*/ 2156316 w 2290556"/>
                <a:gd name="connsiteY2782" fmla="*/ 1145362 h 1796087"/>
                <a:gd name="connsiteX2783" fmla="*/ 2159211 w 2290556"/>
                <a:gd name="connsiteY2783" fmla="*/ 1146506 h 1796087"/>
                <a:gd name="connsiteX2784" fmla="*/ 2161095 w 2290556"/>
                <a:gd name="connsiteY2784" fmla="*/ 1146372 h 1796087"/>
                <a:gd name="connsiteX2785" fmla="*/ 2163115 w 2290556"/>
                <a:gd name="connsiteY2785" fmla="*/ 1145564 h 1796087"/>
                <a:gd name="connsiteX2786" fmla="*/ 2163115 w 2290556"/>
                <a:gd name="connsiteY2786" fmla="*/ 1142604 h 1796087"/>
                <a:gd name="connsiteX2787" fmla="*/ 2162408 w 2290556"/>
                <a:gd name="connsiteY2787" fmla="*/ 1140922 h 1796087"/>
                <a:gd name="connsiteX2788" fmla="*/ 2163216 w 2290556"/>
                <a:gd name="connsiteY2788" fmla="*/ 1139475 h 1796087"/>
                <a:gd name="connsiteX2789" fmla="*/ 2164865 w 2290556"/>
                <a:gd name="connsiteY2789" fmla="*/ 1138466 h 1796087"/>
                <a:gd name="connsiteX2790" fmla="*/ 2166514 w 2290556"/>
                <a:gd name="connsiteY2790" fmla="*/ 1137659 h 1796087"/>
                <a:gd name="connsiteX2791" fmla="*/ 2170283 w 2290556"/>
                <a:gd name="connsiteY2791" fmla="*/ 1137592 h 1796087"/>
                <a:gd name="connsiteX2792" fmla="*/ 2173110 w 2290556"/>
                <a:gd name="connsiteY2792" fmla="*/ 1137995 h 1796087"/>
                <a:gd name="connsiteX2793" fmla="*/ 2175432 w 2290556"/>
                <a:gd name="connsiteY2793" fmla="*/ 1138264 h 1796087"/>
                <a:gd name="connsiteX2794" fmla="*/ 2177889 w 2290556"/>
                <a:gd name="connsiteY2794" fmla="*/ 1138264 h 1796087"/>
                <a:gd name="connsiteX2795" fmla="*/ 2179707 w 2290556"/>
                <a:gd name="connsiteY2795" fmla="*/ 1137894 h 1796087"/>
                <a:gd name="connsiteX2796" fmla="*/ 2181658 w 2290556"/>
                <a:gd name="connsiteY2796" fmla="*/ 1137087 h 1796087"/>
                <a:gd name="connsiteX2797" fmla="*/ 2182601 w 2290556"/>
                <a:gd name="connsiteY2797" fmla="*/ 1134328 h 1796087"/>
                <a:gd name="connsiteX2798" fmla="*/ 2183913 w 2290556"/>
                <a:gd name="connsiteY2798" fmla="*/ 1132747 h 1796087"/>
                <a:gd name="connsiteX2799" fmla="*/ 2186303 w 2290556"/>
                <a:gd name="connsiteY2799" fmla="*/ 1132445 h 1796087"/>
                <a:gd name="connsiteX2800" fmla="*/ 2189567 w 2290556"/>
                <a:gd name="connsiteY2800" fmla="*/ 1132445 h 1796087"/>
                <a:gd name="connsiteX2801" fmla="*/ 2190442 w 2290556"/>
                <a:gd name="connsiteY2801" fmla="*/ 1128913 h 1796087"/>
                <a:gd name="connsiteX2802" fmla="*/ 2189433 w 2290556"/>
                <a:gd name="connsiteY2802" fmla="*/ 1127769 h 1796087"/>
                <a:gd name="connsiteX2803" fmla="*/ 2186976 w 2290556"/>
                <a:gd name="connsiteY2803" fmla="*/ 1125246 h 1796087"/>
                <a:gd name="connsiteX2804" fmla="*/ 2186404 w 2290556"/>
                <a:gd name="connsiteY2804" fmla="*/ 1123867 h 1796087"/>
                <a:gd name="connsiteX2805" fmla="*/ 2184956 w 2290556"/>
                <a:gd name="connsiteY2805" fmla="*/ 1121983 h 1796087"/>
                <a:gd name="connsiteX2806" fmla="*/ 2184081 w 2290556"/>
                <a:gd name="connsiteY2806" fmla="*/ 1120469 h 1796087"/>
                <a:gd name="connsiteX2807" fmla="*/ 2184586 w 2290556"/>
                <a:gd name="connsiteY2807" fmla="*/ 1118148 h 1796087"/>
                <a:gd name="connsiteX2808" fmla="*/ 2186875 w 2290556"/>
                <a:gd name="connsiteY2808" fmla="*/ 1114178 h 1796087"/>
                <a:gd name="connsiteX2809" fmla="*/ 2189231 w 2290556"/>
                <a:gd name="connsiteY2809" fmla="*/ 1111218 h 1796087"/>
                <a:gd name="connsiteX2810" fmla="*/ 2189231 w 2290556"/>
                <a:gd name="connsiteY2810" fmla="*/ 1109637 h 1796087"/>
                <a:gd name="connsiteX2811" fmla="*/ 2194952 w 2290556"/>
                <a:gd name="connsiteY2811" fmla="*/ 1107013 h 1796087"/>
                <a:gd name="connsiteX2812" fmla="*/ 2199361 w 2290556"/>
                <a:gd name="connsiteY2812" fmla="*/ 1105197 h 1796087"/>
                <a:gd name="connsiteX2813" fmla="*/ 2205452 w 2290556"/>
                <a:gd name="connsiteY2813" fmla="*/ 1103817 h 1796087"/>
                <a:gd name="connsiteX2814" fmla="*/ 2207202 w 2290556"/>
                <a:gd name="connsiteY2814" fmla="*/ 1103817 h 1796087"/>
                <a:gd name="connsiteX2815" fmla="*/ 2211779 w 2290556"/>
                <a:gd name="connsiteY2815" fmla="*/ 1104322 h 1796087"/>
                <a:gd name="connsiteX2816" fmla="*/ 2213092 w 2290556"/>
                <a:gd name="connsiteY2816" fmla="*/ 1106340 h 1796087"/>
                <a:gd name="connsiteX2817" fmla="*/ 2216222 w 2290556"/>
                <a:gd name="connsiteY2817" fmla="*/ 1105398 h 1796087"/>
                <a:gd name="connsiteX2818" fmla="*/ 2218173 w 2290556"/>
                <a:gd name="connsiteY2818" fmla="*/ 1103784 h 1796087"/>
                <a:gd name="connsiteX2819" fmla="*/ 2219486 w 2290556"/>
                <a:gd name="connsiteY2819" fmla="*/ 1102001 h 1796087"/>
                <a:gd name="connsiteX2820" fmla="*/ 2220900 w 2290556"/>
                <a:gd name="connsiteY2820" fmla="*/ 1098671 h 1796087"/>
                <a:gd name="connsiteX2821" fmla="*/ 2220563 w 2290556"/>
                <a:gd name="connsiteY2821" fmla="*/ 1094264 h 1796087"/>
                <a:gd name="connsiteX2822" fmla="*/ 2220563 w 2290556"/>
                <a:gd name="connsiteY2822" fmla="*/ 1090496 h 1796087"/>
                <a:gd name="connsiteX2823" fmla="*/ 2220563 w 2290556"/>
                <a:gd name="connsiteY2823" fmla="*/ 1087906 h 1796087"/>
                <a:gd name="connsiteX2824" fmla="*/ 2220563 w 2290556"/>
                <a:gd name="connsiteY2824" fmla="*/ 1085282 h 1796087"/>
                <a:gd name="connsiteX2825" fmla="*/ 2220361 w 2290556"/>
                <a:gd name="connsiteY2825" fmla="*/ 1080135 h 1796087"/>
                <a:gd name="connsiteX2826" fmla="*/ 2220496 w 2290556"/>
                <a:gd name="connsiteY2826" fmla="*/ 1077242 h 1796087"/>
                <a:gd name="connsiteX2827" fmla="*/ 2225140 w 2290556"/>
                <a:gd name="connsiteY2827" fmla="*/ 1075493 h 1796087"/>
                <a:gd name="connsiteX2828" fmla="*/ 2226789 w 2290556"/>
                <a:gd name="connsiteY2828" fmla="*/ 1071725 h 1796087"/>
                <a:gd name="connsiteX2829" fmla="*/ 2223693 w 2290556"/>
                <a:gd name="connsiteY2829" fmla="*/ 1069774 h 1796087"/>
                <a:gd name="connsiteX2830" fmla="*/ 2222549 w 2290556"/>
                <a:gd name="connsiteY2830" fmla="*/ 1067285 h 1796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</a:cxnLst>
              <a:rect l="l" t="t" r="r" b="b"/>
              <a:pathLst>
                <a:path w="2290556" h="1796087">
                  <a:moveTo>
                    <a:pt x="2222549" y="1067285"/>
                  </a:moveTo>
                  <a:lnTo>
                    <a:pt x="2222246" y="1063652"/>
                  </a:lnTo>
                  <a:cubicBezTo>
                    <a:pt x="2222246" y="1063652"/>
                    <a:pt x="2221539" y="1061701"/>
                    <a:pt x="2221371" y="1061465"/>
                  </a:cubicBezTo>
                  <a:cubicBezTo>
                    <a:pt x="2221236" y="1061263"/>
                    <a:pt x="2220428" y="1059379"/>
                    <a:pt x="2220428" y="1059379"/>
                  </a:cubicBezTo>
                  <a:lnTo>
                    <a:pt x="2218981" y="1060321"/>
                  </a:lnTo>
                  <a:lnTo>
                    <a:pt x="2216154" y="1060321"/>
                  </a:lnTo>
                  <a:lnTo>
                    <a:pt x="2213866" y="1061364"/>
                  </a:lnTo>
                  <a:lnTo>
                    <a:pt x="2211039" y="1060658"/>
                  </a:lnTo>
                  <a:lnTo>
                    <a:pt x="2209524" y="1058269"/>
                  </a:lnTo>
                  <a:lnTo>
                    <a:pt x="2208111" y="1057193"/>
                  </a:lnTo>
                  <a:lnTo>
                    <a:pt x="2205183" y="1057092"/>
                  </a:lnTo>
                  <a:lnTo>
                    <a:pt x="2204745" y="1058404"/>
                  </a:lnTo>
                  <a:lnTo>
                    <a:pt x="2206832" y="1060691"/>
                  </a:lnTo>
                  <a:lnTo>
                    <a:pt x="2206058" y="1064055"/>
                  </a:lnTo>
                  <a:lnTo>
                    <a:pt x="2203769" y="1063416"/>
                  </a:lnTo>
                  <a:lnTo>
                    <a:pt x="2200942" y="1062777"/>
                  </a:lnTo>
                  <a:lnTo>
                    <a:pt x="2198452" y="1060725"/>
                  </a:lnTo>
                  <a:lnTo>
                    <a:pt x="2197375" y="1059649"/>
                  </a:lnTo>
                  <a:lnTo>
                    <a:pt x="2196500" y="1058337"/>
                  </a:lnTo>
                  <a:lnTo>
                    <a:pt x="2192159" y="1057697"/>
                  </a:lnTo>
                  <a:lnTo>
                    <a:pt x="2189668" y="1057058"/>
                  </a:lnTo>
                  <a:lnTo>
                    <a:pt x="2187582" y="1055107"/>
                  </a:lnTo>
                  <a:lnTo>
                    <a:pt x="2186808" y="1053055"/>
                  </a:lnTo>
                  <a:lnTo>
                    <a:pt x="2187447" y="1051104"/>
                  </a:lnTo>
                  <a:lnTo>
                    <a:pt x="2188759" y="1048817"/>
                  </a:lnTo>
                  <a:lnTo>
                    <a:pt x="2191048" y="1048043"/>
                  </a:lnTo>
                  <a:cubicBezTo>
                    <a:pt x="2191048" y="1048043"/>
                    <a:pt x="2191586" y="1047505"/>
                    <a:pt x="2192361" y="1047067"/>
                  </a:cubicBezTo>
                  <a:cubicBezTo>
                    <a:pt x="2193135" y="1046630"/>
                    <a:pt x="2194312" y="1046966"/>
                    <a:pt x="2195289" y="1046529"/>
                  </a:cubicBezTo>
                  <a:cubicBezTo>
                    <a:pt x="2196264" y="1046092"/>
                    <a:pt x="2197038" y="1046428"/>
                    <a:pt x="2197577" y="1045991"/>
                  </a:cubicBezTo>
                  <a:cubicBezTo>
                    <a:pt x="2198115" y="1045554"/>
                    <a:pt x="2198654" y="1045015"/>
                    <a:pt x="2199967" y="1044477"/>
                  </a:cubicBezTo>
                  <a:cubicBezTo>
                    <a:pt x="2201279" y="1043939"/>
                    <a:pt x="2201918" y="1043266"/>
                    <a:pt x="2203332" y="1042290"/>
                  </a:cubicBezTo>
                  <a:cubicBezTo>
                    <a:pt x="2204745" y="1041315"/>
                    <a:pt x="2204409" y="1040238"/>
                    <a:pt x="2205284" y="1038691"/>
                  </a:cubicBezTo>
                  <a:cubicBezTo>
                    <a:pt x="2206159" y="1037177"/>
                    <a:pt x="2205923" y="1037379"/>
                    <a:pt x="2206058" y="1036841"/>
                  </a:cubicBezTo>
                  <a:cubicBezTo>
                    <a:pt x="2206159" y="1036303"/>
                    <a:pt x="2206596" y="1034890"/>
                    <a:pt x="2206394" y="1034452"/>
                  </a:cubicBezTo>
                  <a:cubicBezTo>
                    <a:pt x="2206193" y="1034015"/>
                    <a:pt x="2206193" y="1032501"/>
                    <a:pt x="2205755" y="1031828"/>
                  </a:cubicBezTo>
                  <a:cubicBezTo>
                    <a:pt x="2205318" y="1031189"/>
                    <a:pt x="2204106" y="1029978"/>
                    <a:pt x="2203702" y="1029541"/>
                  </a:cubicBezTo>
                  <a:cubicBezTo>
                    <a:pt x="2203265" y="1029104"/>
                    <a:pt x="2201649" y="1028902"/>
                    <a:pt x="2201649" y="1028902"/>
                  </a:cubicBezTo>
                  <a:lnTo>
                    <a:pt x="2196634" y="1026614"/>
                  </a:lnTo>
                  <a:lnTo>
                    <a:pt x="2194683" y="1023351"/>
                  </a:lnTo>
                  <a:lnTo>
                    <a:pt x="2194582" y="1021737"/>
                  </a:lnTo>
                  <a:lnTo>
                    <a:pt x="2194683" y="1016522"/>
                  </a:lnTo>
                  <a:cubicBezTo>
                    <a:pt x="2194683" y="1016522"/>
                    <a:pt x="2194784" y="1014470"/>
                    <a:pt x="2194784" y="1014033"/>
                  </a:cubicBezTo>
                  <a:cubicBezTo>
                    <a:pt x="2194784" y="1013596"/>
                    <a:pt x="2194447" y="1011207"/>
                    <a:pt x="2194447" y="1011207"/>
                  </a:cubicBezTo>
                  <a:lnTo>
                    <a:pt x="2193471" y="1007742"/>
                  </a:lnTo>
                  <a:lnTo>
                    <a:pt x="2192394" y="1007204"/>
                  </a:lnTo>
                  <a:lnTo>
                    <a:pt x="2188389" y="1003941"/>
                  </a:lnTo>
                  <a:lnTo>
                    <a:pt x="2184351" y="1000241"/>
                  </a:lnTo>
                  <a:lnTo>
                    <a:pt x="2184149" y="996541"/>
                  </a:lnTo>
                  <a:lnTo>
                    <a:pt x="2183375" y="992067"/>
                  </a:lnTo>
                  <a:lnTo>
                    <a:pt x="2183812" y="988299"/>
                  </a:lnTo>
                  <a:lnTo>
                    <a:pt x="2184182" y="984733"/>
                  </a:lnTo>
                  <a:lnTo>
                    <a:pt x="2183476" y="981167"/>
                  </a:lnTo>
                  <a:lnTo>
                    <a:pt x="2180379" y="977030"/>
                  </a:lnTo>
                  <a:lnTo>
                    <a:pt x="2176980" y="975146"/>
                  </a:lnTo>
                  <a:lnTo>
                    <a:pt x="2173783" y="971883"/>
                  </a:lnTo>
                  <a:lnTo>
                    <a:pt x="2171596" y="969696"/>
                  </a:lnTo>
                  <a:cubicBezTo>
                    <a:pt x="2171596" y="969696"/>
                    <a:pt x="2169711" y="967947"/>
                    <a:pt x="2169341" y="967745"/>
                  </a:cubicBezTo>
                  <a:cubicBezTo>
                    <a:pt x="2168970" y="967543"/>
                    <a:pt x="2166817" y="966164"/>
                    <a:pt x="2165370" y="964617"/>
                  </a:cubicBezTo>
                  <a:cubicBezTo>
                    <a:pt x="2163922" y="963103"/>
                    <a:pt x="2163552" y="962363"/>
                    <a:pt x="2163182" y="961723"/>
                  </a:cubicBezTo>
                  <a:cubicBezTo>
                    <a:pt x="2162812" y="961084"/>
                    <a:pt x="2161668" y="960142"/>
                    <a:pt x="2161668" y="960142"/>
                  </a:cubicBezTo>
                  <a:cubicBezTo>
                    <a:pt x="2161668" y="960142"/>
                    <a:pt x="2160927" y="958763"/>
                    <a:pt x="2160725" y="958326"/>
                  </a:cubicBezTo>
                  <a:cubicBezTo>
                    <a:pt x="2160523" y="957889"/>
                    <a:pt x="2160523" y="956711"/>
                    <a:pt x="2160355" y="956139"/>
                  </a:cubicBezTo>
                  <a:cubicBezTo>
                    <a:pt x="2160187" y="955567"/>
                    <a:pt x="2160187" y="954491"/>
                    <a:pt x="2160187" y="953886"/>
                  </a:cubicBezTo>
                  <a:cubicBezTo>
                    <a:pt x="2160187" y="953314"/>
                    <a:pt x="2160254" y="952304"/>
                    <a:pt x="2160423" y="951497"/>
                  </a:cubicBezTo>
                  <a:cubicBezTo>
                    <a:pt x="2160557" y="950690"/>
                    <a:pt x="2160725" y="950185"/>
                    <a:pt x="2160927" y="949613"/>
                  </a:cubicBezTo>
                  <a:cubicBezTo>
                    <a:pt x="2161163" y="949041"/>
                    <a:pt x="2161499" y="948099"/>
                    <a:pt x="2161567" y="947797"/>
                  </a:cubicBezTo>
                  <a:cubicBezTo>
                    <a:pt x="2161634" y="947494"/>
                    <a:pt x="2162442" y="946047"/>
                    <a:pt x="2162643" y="945476"/>
                  </a:cubicBezTo>
                  <a:cubicBezTo>
                    <a:pt x="2162879" y="944904"/>
                    <a:pt x="2162711" y="943289"/>
                    <a:pt x="2162711" y="943020"/>
                  </a:cubicBezTo>
                  <a:cubicBezTo>
                    <a:pt x="2162711" y="942717"/>
                    <a:pt x="2162509" y="941708"/>
                    <a:pt x="2162509" y="941708"/>
                  </a:cubicBezTo>
                  <a:lnTo>
                    <a:pt x="2159985" y="939454"/>
                  </a:lnTo>
                  <a:lnTo>
                    <a:pt x="2157090" y="938882"/>
                  </a:lnTo>
                  <a:lnTo>
                    <a:pt x="2155139" y="939690"/>
                  </a:lnTo>
                  <a:cubicBezTo>
                    <a:pt x="2155139" y="939690"/>
                    <a:pt x="2153692" y="941439"/>
                    <a:pt x="2153388" y="941439"/>
                  </a:cubicBezTo>
                  <a:cubicBezTo>
                    <a:pt x="2153086" y="941439"/>
                    <a:pt x="2149989" y="942751"/>
                    <a:pt x="2149989" y="942751"/>
                  </a:cubicBezTo>
                  <a:cubicBezTo>
                    <a:pt x="2149989" y="942751"/>
                    <a:pt x="2147162" y="944063"/>
                    <a:pt x="2146657" y="944433"/>
                  </a:cubicBezTo>
                  <a:cubicBezTo>
                    <a:pt x="2146153" y="944803"/>
                    <a:pt x="2144975" y="947965"/>
                    <a:pt x="2144975" y="947965"/>
                  </a:cubicBezTo>
                  <a:lnTo>
                    <a:pt x="2140768" y="952170"/>
                  </a:lnTo>
                  <a:lnTo>
                    <a:pt x="2135552" y="955937"/>
                  </a:lnTo>
                  <a:cubicBezTo>
                    <a:pt x="2135552" y="955937"/>
                    <a:pt x="2131412" y="961152"/>
                    <a:pt x="2131278" y="961354"/>
                  </a:cubicBezTo>
                  <a:cubicBezTo>
                    <a:pt x="2131143" y="961555"/>
                    <a:pt x="2124244" y="967812"/>
                    <a:pt x="2124244" y="967812"/>
                  </a:cubicBezTo>
                  <a:lnTo>
                    <a:pt x="2122292" y="971075"/>
                  </a:lnTo>
                  <a:cubicBezTo>
                    <a:pt x="2122292" y="971075"/>
                    <a:pt x="2119465" y="975146"/>
                    <a:pt x="2119027" y="975415"/>
                  </a:cubicBezTo>
                  <a:cubicBezTo>
                    <a:pt x="2118590" y="975718"/>
                    <a:pt x="2116570" y="977231"/>
                    <a:pt x="2115897" y="977938"/>
                  </a:cubicBezTo>
                  <a:cubicBezTo>
                    <a:pt x="2115224" y="978644"/>
                    <a:pt x="2112498" y="980192"/>
                    <a:pt x="2111825" y="980326"/>
                  </a:cubicBezTo>
                  <a:cubicBezTo>
                    <a:pt x="2111186" y="980461"/>
                    <a:pt x="2109503" y="981907"/>
                    <a:pt x="2108056" y="982412"/>
                  </a:cubicBezTo>
                  <a:cubicBezTo>
                    <a:pt x="2106608" y="982917"/>
                    <a:pt x="2105666" y="982984"/>
                    <a:pt x="2103714" y="982984"/>
                  </a:cubicBezTo>
                  <a:cubicBezTo>
                    <a:pt x="2101762" y="982984"/>
                    <a:pt x="2101056" y="983118"/>
                    <a:pt x="2100080" y="982984"/>
                  </a:cubicBezTo>
                  <a:cubicBezTo>
                    <a:pt x="2099137" y="982849"/>
                    <a:pt x="2097320" y="982681"/>
                    <a:pt x="2096613" y="982614"/>
                  </a:cubicBezTo>
                  <a:cubicBezTo>
                    <a:pt x="2095906" y="982546"/>
                    <a:pt x="2094224" y="981470"/>
                    <a:pt x="2093651" y="981033"/>
                  </a:cubicBezTo>
                  <a:cubicBezTo>
                    <a:pt x="2093080" y="980595"/>
                    <a:pt x="2091901" y="979721"/>
                    <a:pt x="2091700" y="979586"/>
                  </a:cubicBezTo>
                  <a:cubicBezTo>
                    <a:pt x="2091464" y="979452"/>
                    <a:pt x="2090185" y="978072"/>
                    <a:pt x="2089950" y="977938"/>
                  </a:cubicBezTo>
                  <a:cubicBezTo>
                    <a:pt x="2089748" y="977803"/>
                    <a:pt x="2089512" y="976929"/>
                    <a:pt x="2089243" y="976121"/>
                  </a:cubicBezTo>
                  <a:cubicBezTo>
                    <a:pt x="2088940" y="975314"/>
                    <a:pt x="2089108" y="974170"/>
                    <a:pt x="2089041" y="973531"/>
                  </a:cubicBezTo>
                  <a:cubicBezTo>
                    <a:pt x="2088973" y="972892"/>
                    <a:pt x="2089478" y="972085"/>
                    <a:pt x="2089478" y="971647"/>
                  </a:cubicBezTo>
                  <a:cubicBezTo>
                    <a:pt x="2089478" y="971210"/>
                    <a:pt x="2090556" y="970705"/>
                    <a:pt x="2090556" y="970705"/>
                  </a:cubicBezTo>
                  <a:cubicBezTo>
                    <a:pt x="2090556" y="970705"/>
                    <a:pt x="2091195" y="968451"/>
                    <a:pt x="2091195" y="968081"/>
                  </a:cubicBezTo>
                  <a:cubicBezTo>
                    <a:pt x="2091195" y="967711"/>
                    <a:pt x="2091565" y="966837"/>
                    <a:pt x="2091767" y="966198"/>
                  </a:cubicBezTo>
                  <a:cubicBezTo>
                    <a:pt x="2091969" y="965558"/>
                    <a:pt x="2092070" y="964516"/>
                    <a:pt x="2092137" y="964011"/>
                  </a:cubicBezTo>
                  <a:cubicBezTo>
                    <a:pt x="2092205" y="963506"/>
                    <a:pt x="2092406" y="961555"/>
                    <a:pt x="2092507" y="960983"/>
                  </a:cubicBezTo>
                  <a:cubicBezTo>
                    <a:pt x="2092575" y="960412"/>
                    <a:pt x="2092070" y="958595"/>
                    <a:pt x="2092070" y="958595"/>
                  </a:cubicBezTo>
                  <a:lnTo>
                    <a:pt x="2088738" y="956644"/>
                  </a:lnTo>
                  <a:lnTo>
                    <a:pt x="2085406" y="954054"/>
                  </a:lnTo>
                  <a:cubicBezTo>
                    <a:pt x="2085406" y="954054"/>
                    <a:pt x="2081637" y="949210"/>
                    <a:pt x="2080997" y="948772"/>
                  </a:cubicBezTo>
                  <a:cubicBezTo>
                    <a:pt x="2080358" y="948335"/>
                    <a:pt x="2077094" y="945375"/>
                    <a:pt x="2076858" y="945307"/>
                  </a:cubicBezTo>
                  <a:cubicBezTo>
                    <a:pt x="2076656" y="945240"/>
                    <a:pt x="2072079" y="942549"/>
                    <a:pt x="2072079" y="942549"/>
                  </a:cubicBezTo>
                  <a:cubicBezTo>
                    <a:pt x="2072079" y="942549"/>
                    <a:pt x="2069892" y="941102"/>
                    <a:pt x="2069252" y="940093"/>
                  </a:cubicBezTo>
                  <a:cubicBezTo>
                    <a:pt x="2068613" y="939084"/>
                    <a:pt x="2068882" y="938714"/>
                    <a:pt x="2068882" y="938008"/>
                  </a:cubicBezTo>
                  <a:cubicBezTo>
                    <a:pt x="2068882" y="937301"/>
                    <a:pt x="2069151" y="935485"/>
                    <a:pt x="2069319" y="934677"/>
                  </a:cubicBezTo>
                  <a:cubicBezTo>
                    <a:pt x="2069454" y="933870"/>
                    <a:pt x="2069454" y="932222"/>
                    <a:pt x="2069521" y="931414"/>
                  </a:cubicBezTo>
                  <a:cubicBezTo>
                    <a:pt x="2069588" y="930607"/>
                    <a:pt x="2070901" y="928084"/>
                    <a:pt x="2071103" y="927344"/>
                  </a:cubicBezTo>
                  <a:cubicBezTo>
                    <a:pt x="2071305" y="926637"/>
                    <a:pt x="2072045" y="924013"/>
                    <a:pt x="2072281" y="923576"/>
                  </a:cubicBezTo>
                  <a:cubicBezTo>
                    <a:pt x="2072483" y="923139"/>
                    <a:pt x="2072146" y="921053"/>
                    <a:pt x="2072146" y="921053"/>
                  </a:cubicBezTo>
                  <a:lnTo>
                    <a:pt x="2066930" y="920919"/>
                  </a:lnTo>
                  <a:lnTo>
                    <a:pt x="2066122" y="918093"/>
                  </a:lnTo>
                  <a:lnTo>
                    <a:pt x="2065752" y="911432"/>
                  </a:lnTo>
                  <a:lnTo>
                    <a:pt x="2065011" y="908741"/>
                  </a:lnTo>
                  <a:lnTo>
                    <a:pt x="2065584" y="904772"/>
                  </a:lnTo>
                  <a:cubicBezTo>
                    <a:pt x="2065584" y="904772"/>
                    <a:pt x="2065954" y="902013"/>
                    <a:pt x="2066156" y="901374"/>
                  </a:cubicBezTo>
                  <a:cubicBezTo>
                    <a:pt x="2066391" y="900735"/>
                    <a:pt x="2068781" y="898683"/>
                    <a:pt x="2068781" y="898683"/>
                  </a:cubicBezTo>
                  <a:cubicBezTo>
                    <a:pt x="2068781" y="898683"/>
                    <a:pt x="2069790" y="895487"/>
                    <a:pt x="2069858" y="895050"/>
                  </a:cubicBezTo>
                  <a:cubicBezTo>
                    <a:pt x="2069925" y="894612"/>
                    <a:pt x="2068781" y="892291"/>
                    <a:pt x="2068781" y="892291"/>
                  </a:cubicBezTo>
                  <a:lnTo>
                    <a:pt x="2065819" y="888456"/>
                  </a:lnTo>
                  <a:lnTo>
                    <a:pt x="2068646" y="887447"/>
                  </a:lnTo>
                  <a:lnTo>
                    <a:pt x="2068411" y="880282"/>
                  </a:lnTo>
                  <a:cubicBezTo>
                    <a:pt x="2068411" y="880282"/>
                    <a:pt x="2069286" y="876884"/>
                    <a:pt x="2069420" y="876144"/>
                  </a:cubicBezTo>
                  <a:cubicBezTo>
                    <a:pt x="2069555" y="875404"/>
                    <a:pt x="2070497" y="874933"/>
                    <a:pt x="2070497" y="874933"/>
                  </a:cubicBezTo>
                  <a:cubicBezTo>
                    <a:pt x="2070497" y="874933"/>
                    <a:pt x="2073324" y="873689"/>
                    <a:pt x="2073695" y="873487"/>
                  </a:cubicBezTo>
                  <a:cubicBezTo>
                    <a:pt x="2074065" y="873285"/>
                    <a:pt x="2077262" y="870089"/>
                    <a:pt x="2077262" y="870089"/>
                  </a:cubicBezTo>
                  <a:lnTo>
                    <a:pt x="2077262" y="869450"/>
                  </a:lnTo>
                  <a:lnTo>
                    <a:pt x="2074334" y="864438"/>
                  </a:lnTo>
                  <a:lnTo>
                    <a:pt x="2070968" y="861982"/>
                  </a:lnTo>
                  <a:lnTo>
                    <a:pt x="2070026" y="861915"/>
                  </a:lnTo>
                  <a:cubicBezTo>
                    <a:pt x="2070026" y="861915"/>
                    <a:pt x="2064574" y="859829"/>
                    <a:pt x="2064305" y="859156"/>
                  </a:cubicBezTo>
                  <a:cubicBezTo>
                    <a:pt x="2064002" y="858517"/>
                    <a:pt x="2064675" y="858147"/>
                    <a:pt x="2065247" y="857474"/>
                  </a:cubicBezTo>
                  <a:cubicBezTo>
                    <a:pt x="2065819" y="856835"/>
                    <a:pt x="2066190" y="856835"/>
                    <a:pt x="2067064" y="856465"/>
                  </a:cubicBezTo>
                  <a:cubicBezTo>
                    <a:pt x="2067939" y="856095"/>
                    <a:pt x="2070093" y="855590"/>
                    <a:pt x="2071036" y="855019"/>
                  </a:cubicBezTo>
                  <a:cubicBezTo>
                    <a:pt x="2071978" y="854447"/>
                    <a:pt x="2071978" y="854077"/>
                    <a:pt x="2072483" y="853438"/>
                  </a:cubicBezTo>
                  <a:cubicBezTo>
                    <a:pt x="2072988" y="852798"/>
                    <a:pt x="2071238" y="851554"/>
                    <a:pt x="2070733" y="851049"/>
                  </a:cubicBezTo>
                  <a:cubicBezTo>
                    <a:pt x="2070228" y="850545"/>
                    <a:pt x="2068141" y="847921"/>
                    <a:pt x="2067771" y="847584"/>
                  </a:cubicBezTo>
                  <a:cubicBezTo>
                    <a:pt x="2067401" y="847214"/>
                    <a:pt x="2063800" y="845196"/>
                    <a:pt x="2063800" y="845196"/>
                  </a:cubicBezTo>
                  <a:cubicBezTo>
                    <a:pt x="2063800" y="845196"/>
                    <a:pt x="2061680" y="843817"/>
                    <a:pt x="2061545" y="843615"/>
                  </a:cubicBezTo>
                  <a:cubicBezTo>
                    <a:pt x="2061411" y="843413"/>
                    <a:pt x="2058348" y="841361"/>
                    <a:pt x="2057978" y="841159"/>
                  </a:cubicBezTo>
                  <a:cubicBezTo>
                    <a:pt x="2057608" y="840924"/>
                    <a:pt x="2054511" y="839141"/>
                    <a:pt x="2054511" y="839141"/>
                  </a:cubicBezTo>
                  <a:lnTo>
                    <a:pt x="2050742" y="838333"/>
                  </a:lnTo>
                  <a:lnTo>
                    <a:pt x="2048487" y="837829"/>
                  </a:lnTo>
                  <a:lnTo>
                    <a:pt x="2047410" y="834700"/>
                  </a:lnTo>
                  <a:lnTo>
                    <a:pt x="2050170" y="832379"/>
                  </a:lnTo>
                  <a:lnTo>
                    <a:pt x="2053064" y="827535"/>
                  </a:lnTo>
                  <a:cubicBezTo>
                    <a:pt x="2053064" y="827535"/>
                    <a:pt x="2053064" y="826156"/>
                    <a:pt x="2052997" y="825449"/>
                  </a:cubicBezTo>
                  <a:cubicBezTo>
                    <a:pt x="2052930" y="824743"/>
                    <a:pt x="2053132" y="823128"/>
                    <a:pt x="2052795" y="822624"/>
                  </a:cubicBezTo>
                  <a:cubicBezTo>
                    <a:pt x="2052425" y="822119"/>
                    <a:pt x="2049598" y="819932"/>
                    <a:pt x="2049160" y="819865"/>
                  </a:cubicBezTo>
                  <a:cubicBezTo>
                    <a:pt x="2048723" y="819798"/>
                    <a:pt x="2046468" y="818049"/>
                    <a:pt x="2045828" y="818049"/>
                  </a:cubicBezTo>
                  <a:cubicBezTo>
                    <a:pt x="2045189" y="818049"/>
                    <a:pt x="2041924" y="819428"/>
                    <a:pt x="2041823" y="819697"/>
                  </a:cubicBezTo>
                  <a:cubicBezTo>
                    <a:pt x="2041756" y="820000"/>
                    <a:pt x="2041689" y="820942"/>
                    <a:pt x="2041453" y="821379"/>
                  </a:cubicBezTo>
                  <a:cubicBezTo>
                    <a:pt x="2041251" y="821816"/>
                    <a:pt x="2039636" y="822624"/>
                    <a:pt x="2038121" y="823565"/>
                  </a:cubicBezTo>
                  <a:cubicBezTo>
                    <a:pt x="2036607" y="824508"/>
                    <a:pt x="2034049" y="823868"/>
                    <a:pt x="2033410" y="823633"/>
                  </a:cubicBezTo>
                  <a:cubicBezTo>
                    <a:pt x="2032770" y="823431"/>
                    <a:pt x="2031155" y="822926"/>
                    <a:pt x="2030515" y="822489"/>
                  </a:cubicBezTo>
                  <a:cubicBezTo>
                    <a:pt x="2029876" y="822052"/>
                    <a:pt x="2028698" y="821682"/>
                    <a:pt x="2027621" y="821345"/>
                  </a:cubicBezTo>
                  <a:cubicBezTo>
                    <a:pt x="2026544" y="820975"/>
                    <a:pt x="2026982" y="819832"/>
                    <a:pt x="2026612" y="819159"/>
                  </a:cubicBezTo>
                  <a:cubicBezTo>
                    <a:pt x="2026241" y="818520"/>
                    <a:pt x="2025905" y="816131"/>
                    <a:pt x="2025905" y="815526"/>
                  </a:cubicBezTo>
                  <a:cubicBezTo>
                    <a:pt x="2025905" y="814954"/>
                    <a:pt x="2026410" y="814651"/>
                    <a:pt x="2026847" y="814079"/>
                  </a:cubicBezTo>
                  <a:cubicBezTo>
                    <a:pt x="2027285" y="813507"/>
                    <a:pt x="2028092" y="812700"/>
                    <a:pt x="2028665" y="812195"/>
                  </a:cubicBezTo>
                  <a:cubicBezTo>
                    <a:pt x="2029237" y="811691"/>
                    <a:pt x="2029741" y="811489"/>
                    <a:pt x="2030549" y="810816"/>
                  </a:cubicBezTo>
                  <a:cubicBezTo>
                    <a:pt x="2031357" y="810177"/>
                    <a:pt x="2032367" y="809740"/>
                    <a:pt x="2032434" y="809437"/>
                  </a:cubicBezTo>
                  <a:cubicBezTo>
                    <a:pt x="2032501" y="809134"/>
                    <a:pt x="2033511" y="808697"/>
                    <a:pt x="2033881" y="808495"/>
                  </a:cubicBezTo>
                  <a:cubicBezTo>
                    <a:pt x="2034251" y="808293"/>
                    <a:pt x="2034521" y="807419"/>
                    <a:pt x="2034756" y="807183"/>
                  </a:cubicBezTo>
                  <a:cubicBezTo>
                    <a:pt x="2034958" y="806981"/>
                    <a:pt x="2035396" y="806107"/>
                    <a:pt x="2035396" y="805669"/>
                  </a:cubicBezTo>
                  <a:cubicBezTo>
                    <a:pt x="2035396" y="805232"/>
                    <a:pt x="2035463" y="802978"/>
                    <a:pt x="2035463" y="802978"/>
                  </a:cubicBezTo>
                  <a:lnTo>
                    <a:pt x="2035328" y="800657"/>
                  </a:lnTo>
                  <a:lnTo>
                    <a:pt x="2034891" y="798033"/>
                  </a:lnTo>
                  <a:lnTo>
                    <a:pt x="2034588" y="795947"/>
                  </a:lnTo>
                  <a:lnTo>
                    <a:pt x="2031895" y="793559"/>
                  </a:lnTo>
                  <a:cubicBezTo>
                    <a:pt x="2031895" y="793559"/>
                    <a:pt x="2027251" y="791305"/>
                    <a:pt x="2027184" y="790868"/>
                  </a:cubicBezTo>
                  <a:cubicBezTo>
                    <a:pt x="2027116" y="790431"/>
                    <a:pt x="2027891" y="787908"/>
                    <a:pt x="2027991" y="787605"/>
                  </a:cubicBezTo>
                  <a:cubicBezTo>
                    <a:pt x="2028059" y="787302"/>
                    <a:pt x="2031256" y="786293"/>
                    <a:pt x="2031559" y="786226"/>
                  </a:cubicBezTo>
                  <a:cubicBezTo>
                    <a:pt x="2031828" y="786158"/>
                    <a:pt x="2035092" y="785788"/>
                    <a:pt x="2035900" y="785519"/>
                  </a:cubicBezTo>
                  <a:cubicBezTo>
                    <a:pt x="2036708" y="785216"/>
                    <a:pt x="2037347" y="785385"/>
                    <a:pt x="2037347" y="785385"/>
                  </a:cubicBezTo>
                  <a:cubicBezTo>
                    <a:pt x="2037347" y="785385"/>
                    <a:pt x="2039737" y="784745"/>
                    <a:pt x="2039973" y="784745"/>
                  </a:cubicBezTo>
                  <a:cubicBezTo>
                    <a:pt x="2040174" y="784745"/>
                    <a:pt x="2042665" y="785183"/>
                    <a:pt x="2042665" y="785183"/>
                  </a:cubicBezTo>
                  <a:lnTo>
                    <a:pt x="2045256" y="785687"/>
                  </a:lnTo>
                  <a:lnTo>
                    <a:pt x="2048588" y="787504"/>
                  </a:lnTo>
                  <a:lnTo>
                    <a:pt x="2050978" y="789522"/>
                  </a:lnTo>
                  <a:cubicBezTo>
                    <a:pt x="2050978" y="789522"/>
                    <a:pt x="2053300" y="792348"/>
                    <a:pt x="2053602" y="792785"/>
                  </a:cubicBezTo>
                  <a:cubicBezTo>
                    <a:pt x="2053906" y="793223"/>
                    <a:pt x="2055050" y="794669"/>
                    <a:pt x="2055353" y="795039"/>
                  </a:cubicBezTo>
                  <a:cubicBezTo>
                    <a:pt x="2055656" y="795409"/>
                    <a:pt x="2056598" y="797428"/>
                    <a:pt x="2056598" y="797428"/>
                  </a:cubicBezTo>
                  <a:cubicBezTo>
                    <a:pt x="2056598" y="797428"/>
                    <a:pt x="2058415" y="797428"/>
                    <a:pt x="2058617" y="796990"/>
                  </a:cubicBezTo>
                  <a:cubicBezTo>
                    <a:pt x="2058853" y="796553"/>
                    <a:pt x="2061007" y="795914"/>
                    <a:pt x="2061007" y="795914"/>
                  </a:cubicBezTo>
                  <a:cubicBezTo>
                    <a:pt x="2061007" y="795914"/>
                    <a:pt x="2062252" y="797495"/>
                    <a:pt x="2062521" y="797798"/>
                  </a:cubicBezTo>
                  <a:cubicBezTo>
                    <a:pt x="2062824" y="798100"/>
                    <a:pt x="2063396" y="798874"/>
                    <a:pt x="2063396" y="798874"/>
                  </a:cubicBezTo>
                  <a:cubicBezTo>
                    <a:pt x="2063396" y="798874"/>
                    <a:pt x="2065214" y="799951"/>
                    <a:pt x="2066223" y="801195"/>
                  </a:cubicBezTo>
                  <a:cubicBezTo>
                    <a:pt x="2067233" y="802440"/>
                    <a:pt x="2066526" y="802844"/>
                    <a:pt x="2066593" y="803079"/>
                  </a:cubicBezTo>
                  <a:cubicBezTo>
                    <a:pt x="2066660" y="803281"/>
                    <a:pt x="2069689" y="805400"/>
                    <a:pt x="2069689" y="805400"/>
                  </a:cubicBezTo>
                  <a:cubicBezTo>
                    <a:pt x="2069689" y="805400"/>
                    <a:pt x="2071642" y="805198"/>
                    <a:pt x="2071877" y="805030"/>
                  </a:cubicBezTo>
                  <a:cubicBezTo>
                    <a:pt x="2072112" y="804896"/>
                    <a:pt x="2074704" y="803012"/>
                    <a:pt x="2074704" y="803012"/>
                  </a:cubicBezTo>
                  <a:cubicBezTo>
                    <a:pt x="2074704" y="803012"/>
                    <a:pt x="2076286" y="800186"/>
                    <a:pt x="2076286" y="799984"/>
                  </a:cubicBezTo>
                  <a:cubicBezTo>
                    <a:pt x="2076286" y="799782"/>
                    <a:pt x="2077161" y="798975"/>
                    <a:pt x="2077531" y="798100"/>
                  </a:cubicBezTo>
                  <a:cubicBezTo>
                    <a:pt x="2077901" y="797226"/>
                    <a:pt x="2079045" y="796351"/>
                    <a:pt x="2079180" y="795846"/>
                  </a:cubicBezTo>
                  <a:cubicBezTo>
                    <a:pt x="2079315" y="795342"/>
                    <a:pt x="2080257" y="794164"/>
                    <a:pt x="2080257" y="794164"/>
                  </a:cubicBezTo>
                  <a:cubicBezTo>
                    <a:pt x="2080257" y="794164"/>
                    <a:pt x="2082276" y="792583"/>
                    <a:pt x="2082512" y="792516"/>
                  </a:cubicBezTo>
                  <a:cubicBezTo>
                    <a:pt x="2082714" y="792449"/>
                    <a:pt x="2083521" y="792516"/>
                    <a:pt x="2083521" y="792516"/>
                  </a:cubicBezTo>
                  <a:lnTo>
                    <a:pt x="2085272" y="792954"/>
                  </a:lnTo>
                  <a:cubicBezTo>
                    <a:pt x="2085272" y="792954"/>
                    <a:pt x="2086584" y="794030"/>
                    <a:pt x="2087022" y="794400"/>
                  </a:cubicBezTo>
                  <a:cubicBezTo>
                    <a:pt x="2087459" y="794770"/>
                    <a:pt x="2087964" y="795914"/>
                    <a:pt x="2087964" y="795914"/>
                  </a:cubicBezTo>
                  <a:cubicBezTo>
                    <a:pt x="2087964" y="795914"/>
                    <a:pt x="2089478" y="797865"/>
                    <a:pt x="2089647" y="798168"/>
                  </a:cubicBezTo>
                  <a:cubicBezTo>
                    <a:pt x="2089781" y="798470"/>
                    <a:pt x="2090454" y="799850"/>
                    <a:pt x="2090522" y="800623"/>
                  </a:cubicBezTo>
                  <a:cubicBezTo>
                    <a:pt x="2090589" y="801431"/>
                    <a:pt x="2090892" y="802642"/>
                    <a:pt x="2091026" y="803079"/>
                  </a:cubicBezTo>
                  <a:cubicBezTo>
                    <a:pt x="2091161" y="803516"/>
                    <a:pt x="2092709" y="804828"/>
                    <a:pt x="2092844" y="805097"/>
                  </a:cubicBezTo>
                  <a:cubicBezTo>
                    <a:pt x="2092979" y="805400"/>
                    <a:pt x="2094661" y="807351"/>
                    <a:pt x="2094661" y="807351"/>
                  </a:cubicBezTo>
                  <a:cubicBezTo>
                    <a:pt x="2094661" y="807351"/>
                    <a:pt x="2096680" y="807486"/>
                    <a:pt x="2096916" y="807351"/>
                  </a:cubicBezTo>
                  <a:cubicBezTo>
                    <a:pt x="2097118" y="807217"/>
                    <a:pt x="2097724" y="805972"/>
                    <a:pt x="2097724" y="805972"/>
                  </a:cubicBezTo>
                  <a:lnTo>
                    <a:pt x="2098868" y="805266"/>
                  </a:lnTo>
                  <a:lnTo>
                    <a:pt x="2100887" y="805636"/>
                  </a:lnTo>
                  <a:cubicBezTo>
                    <a:pt x="2100887" y="805636"/>
                    <a:pt x="2102133" y="807452"/>
                    <a:pt x="2102200" y="807721"/>
                  </a:cubicBezTo>
                  <a:cubicBezTo>
                    <a:pt x="2102267" y="808024"/>
                    <a:pt x="2102570" y="810917"/>
                    <a:pt x="2102570" y="810917"/>
                  </a:cubicBezTo>
                  <a:cubicBezTo>
                    <a:pt x="2102570" y="810917"/>
                    <a:pt x="2103445" y="812094"/>
                    <a:pt x="2103647" y="812431"/>
                  </a:cubicBezTo>
                  <a:cubicBezTo>
                    <a:pt x="2103849" y="812801"/>
                    <a:pt x="2104388" y="814247"/>
                    <a:pt x="2104388" y="814517"/>
                  </a:cubicBezTo>
                  <a:cubicBezTo>
                    <a:pt x="2104388" y="814819"/>
                    <a:pt x="2105969" y="816535"/>
                    <a:pt x="2106272" y="816905"/>
                  </a:cubicBezTo>
                  <a:cubicBezTo>
                    <a:pt x="2106575" y="817275"/>
                    <a:pt x="2108460" y="817611"/>
                    <a:pt x="2108460" y="817611"/>
                  </a:cubicBezTo>
                  <a:lnTo>
                    <a:pt x="2110916" y="816602"/>
                  </a:lnTo>
                  <a:lnTo>
                    <a:pt x="2111219" y="814718"/>
                  </a:lnTo>
                  <a:lnTo>
                    <a:pt x="2112734" y="810951"/>
                  </a:lnTo>
                  <a:lnTo>
                    <a:pt x="2114417" y="809000"/>
                  </a:lnTo>
                  <a:lnTo>
                    <a:pt x="2115662" y="807553"/>
                  </a:lnTo>
                  <a:lnTo>
                    <a:pt x="2115662" y="803987"/>
                  </a:lnTo>
                  <a:lnTo>
                    <a:pt x="2115931" y="801094"/>
                  </a:lnTo>
                  <a:cubicBezTo>
                    <a:pt x="2115931" y="801094"/>
                    <a:pt x="2115224" y="794366"/>
                    <a:pt x="2115224" y="794064"/>
                  </a:cubicBezTo>
                  <a:cubicBezTo>
                    <a:pt x="2115224" y="793761"/>
                    <a:pt x="2114585" y="791238"/>
                    <a:pt x="2114585" y="791238"/>
                  </a:cubicBezTo>
                  <a:cubicBezTo>
                    <a:pt x="2114585" y="791238"/>
                    <a:pt x="2114147" y="788210"/>
                    <a:pt x="2113945" y="787975"/>
                  </a:cubicBezTo>
                  <a:cubicBezTo>
                    <a:pt x="2113743" y="787773"/>
                    <a:pt x="2111354" y="782963"/>
                    <a:pt x="2111354" y="782963"/>
                  </a:cubicBezTo>
                  <a:cubicBezTo>
                    <a:pt x="2111354" y="782963"/>
                    <a:pt x="2110041" y="781381"/>
                    <a:pt x="2109469" y="780877"/>
                  </a:cubicBezTo>
                  <a:cubicBezTo>
                    <a:pt x="2108897" y="780372"/>
                    <a:pt x="2107080" y="777042"/>
                    <a:pt x="2106945" y="776739"/>
                  </a:cubicBezTo>
                  <a:cubicBezTo>
                    <a:pt x="2106811" y="776436"/>
                    <a:pt x="2107315" y="772837"/>
                    <a:pt x="2107315" y="772837"/>
                  </a:cubicBezTo>
                  <a:lnTo>
                    <a:pt x="2108460" y="770449"/>
                  </a:lnTo>
                  <a:lnTo>
                    <a:pt x="2113104" y="769574"/>
                  </a:lnTo>
                  <a:lnTo>
                    <a:pt x="2115056" y="768935"/>
                  </a:lnTo>
                  <a:lnTo>
                    <a:pt x="2117580" y="768363"/>
                  </a:lnTo>
                  <a:lnTo>
                    <a:pt x="2122662" y="768800"/>
                  </a:lnTo>
                  <a:lnTo>
                    <a:pt x="2127373" y="767556"/>
                  </a:lnTo>
                  <a:lnTo>
                    <a:pt x="2129494" y="767186"/>
                  </a:lnTo>
                  <a:lnTo>
                    <a:pt x="2131749" y="765806"/>
                  </a:lnTo>
                  <a:cubicBezTo>
                    <a:pt x="2131749" y="765806"/>
                    <a:pt x="2132994" y="764494"/>
                    <a:pt x="2133128" y="764427"/>
                  </a:cubicBezTo>
                  <a:cubicBezTo>
                    <a:pt x="2133263" y="764360"/>
                    <a:pt x="2133128" y="761803"/>
                    <a:pt x="2133128" y="761803"/>
                  </a:cubicBezTo>
                  <a:cubicBezTo>
                    <a:pt x="2133128" y="761803"/>
                    <a:pt x="2133196" y="759987"/>
                    <a:pt x="2133128" y="759718"/>
                  </a:cubicBezTo>
                  <a:cubicBezTo>
                    <a:pt x="2133061" y="759448"/>
                    <a:pt x="2133701" y="755142"/>
                    <a:pt x="2133701" y="754873"/>
                  </a:cubicBezTo>
                  <a:cubicBezTo>
                    <a:pt x="2133701" y="754571"/>
                    <a:pt x="2133128" y="753629"/>
                    <a:pt x="2133128" y="753629"/>
                  </a:cubicBezTo>
                  <a:lnTo>
                    <a:pt x="2133128" y="750500"/>
                  </a:lnTo>
                  <a:lnTo>
                    <a:pt x="2133734" y="748112"/>
                  </a:lnTo>
                  <a:lnTo>
                    <a:pt x="2133398" y="744041"/>
                  </a:lnTo>
                  <a:lnTo>
                    <a:pt x="2130806" y="740408"/>
                  </a:lnTo>
                  <a:lnTo>
                    <a:pt x="2128046" y="734757"/>
                  </a:lnTo>
                  <a:lnTo>
                    <a:pt x="2127037" y="733209"/>
                  </a:lnTo>
                  <a:lnTo>
                    <a:pt x="2123570" y="729139"/>
                  </a:lnTo>
                  <a:cubicBezTo>
                    <a:pt x="2123570" y="729139"/>
                    <a:pt x="2122426" y="726818"/>
                    <a:pt x="2122426" y="726246"/>
                  </a:cubicBezTo>
                  <a:cubicBezTo>
                    <a:pt x="2122426" y="725674"/>
                    <a:pt x="2121989" y="720595"/>
                    <a:pt x="2121989" y="720023"/>
                  </a:cubicBezTo>
                  <a:cubicBezTo>
                    <a:pt x="2121989" y="719451"/>
                    <a:pt x="2121686" y="716390"/>
                    <a:pt x="2121686" y="716390"/>
                  </a:cubicBezTo>
                  <a:cubicBezTo>
                    <a:pt x="2121686" y="716390"/>
                    <a:pt x="2122258" y="714203"/>
                    <a:pt x="2122258" y="712925"/>
                  </a:cubicBezTo>
                  <a:cubicBezTo>
                    <a:pt x="2122258" y="711613"/>
                    <a:pt x="2123840" y="709897"/>
                    <a:pt x="2124143" y="709292"/>
                  </a:cubicBezTo>
                  <a:cubicBezTo>
                    <a:pt x="2124412" y="708720"/>
                    <a:pt x="2126768" y="708552"/>
                    <a:pt x="2127912" y="708283"/>
                  </a:cubicBezTo>
                  <a:cubicBezTo>
                    <a:pt x="2129090" y="708013"/>
                    <a:pt x="2131244" y="707408"/>
                    <a:pt x="2131244" y="707408"/>
                  </a:cubicBezTo>
                  <a:cubicBezTo>
                    <a:pt x="2131244" y="707408"/>
                    <a:pt x="2133835" y="705961"/>
                    <a:pt x="2134710" y="705221"/>
                  </a:cubicBezTo>
                  <a:cubicBezTo>
                    <a:pt x="2135585" y="704515"/>
                    <a:pt x="2137167" y="706802"/>
                    <a:pt x="2138480" y="707542"/>
                  </a:cubicBezTo>
                  <a:cubicBezTo>
                    <a:pt x="2139792" y="708249"/>
                    <a:pt x="2140230" y="709998"/>
                    <a:pt x="2140802" y="709998"/>
                  </a:cubicBezTo>
                  <a:cubicBezTo>
                    <a:pt x="2141374" y="709998"/>
                    <a:pt x="2141946" y="709695"/>
                    <a:pt x="2142383" y="709123"/>
                  </a:cubicBezTo>
                  <a:cubicBezTo>
                    <a:pt x="2142821" y="708552"/>
                    <a:pt x="2142821" y="706533"/>
                    <a:pt x="2143258" y="706230"/>
                  </a:cubicBezTo>
                  <a:cubicBezTo>
                    <a:pt x="2143696" y="705928"/>
                    <a:pt x="2145446" y="704347"/>
                    <a:pt x="2145446" y="703909"/>
                  </a:cubicBezTo>
                  <a:cubicBezTo>
                    <a:pt x="2145446" y="703472"/>
                    <a:pt x="2147634" y="702160"/>
                    <a:pt x="2147634" y="702160"/>
                  </a:cubicBezTo>
                  <a:cubicBezTo>
                    <a:pt x="2147634" y="702160"/>
                    <a:pt x="2149384" y="700579"/>
                    <a:pt x="2149518" y="700142"/>
                  </a:cubicBezTo>
                  <a:cubicBezTo>
                    <a:pt x="2149653" y="699704"/>
                    <a:pt x="2152715" y="698695"/>
                    <a:pt x="2152715" y="698695"/>
                  </a:cubicBezTo>
                  <a:lnTo>
                    <a:pt x="2154600" y="697686"/>
                  </a:lnTo>
                  <a:lnTo>
                    <a:pt x="2156047" y="697114"/>
                  </a:lnTo>
                  <a:lnTo>
                    <a:pt x="2159817" y="696677"/>
                  </a:lnTo>
                  <a:lnTo>
                    <a:pt x="2160961" y="696105"/>
                  </a:lnTo>
                  <a:lnTo>
                    <a:pt x="2163586" y="692909"/>
                  </a:lnTo>
                  <a:lnTo>
                    <a:pt x="2166615" y="690588"/>
                  </a:lnTo>
                  <a:lnTo>
                    <a:pt x="2167355" y="689142"/>
                  </a:lnTo>
                  <a:lnTo>
                    <a:pt x="2167490" y="687560"/>
                  </a:lnTo>
                  <a:lnTo>
                    <a:pt x="2166918" y="685374"/>
                  </a:lnTo>
                  <a:lnTo>
                    <a:pt x="2166043" y="684802"/>
                  </a:lnTo>
                  <a:lnTo>
                    <a:pt x="2167052" y="681472"/>
                  </a:lnTo>
                  <a:lnTo>
                    <a:pt x="2168062" y="678579"/>
                  </a:lnTo>
                  <a:lnTo>
                    <a:pt x="2167759" y="674946"/>
                  </a:lnTo>
                  <a:lnTo>
                    <a:pt x="2165302" y="673062"/>
                  </a:lnTo>
                  <a:lnTo>
                    <a:pt x="2162846" y="674811"/>
                  </a:lnTo>
                  <a:cubicBezTo>
                    <a:pt x="2162846" y="674811"/>
                    <a:pt x="2162542" y="675820"/>
                    <a:pt x="2162542" y="677704"/>
                  </a:cubicBezTo>
                  <a:cubicBezTo>
                    <a:pt x="2162542" y="679588"/>
                    <a:pt x="2161970" y="680328"/>
                    <a:pt x="2161668" y="680900"/>
                  </a:cubicBezTo>
                  <a:cubicBezTo>
                    <a:pt x="2161365" y="681472"/>
                    <a:pt x="2159783" y="682212"/>
                    <a:pt x="2158908" y="682044"/>
                  </a:cubicBezTo>
                  <a:cubicBezTo>
                    <a:pt x="2158033" y="681909"/>
                    <a:pt x="2154398" y="679285"/>
                    <a:pt x="2154398" y="679285"/>
                  </a:cubicBezTo>
                  <a:lnTo>
                    <a:pt x="2154701" y="676527"/>
                  </a:lnTo>
                  <a:lnTo>
                    <a:pt x="2155711" y="673634"/>
                  </a:lnTo>
                  <a:lnTo>
                    <a:pt x="2155711" y="667982"/>
                  </a:lnTo>
                  <a:lnTo>
                    <a:pt x="2152951" y="666401"/>
                  </a:lnTo>
                  <a:lnTo>
                    <a:pt x="2150763" y="665829"/>
                  </a:lnTo>
                  <a:lnTo>
                    <a:pt x="2148004" y="665257"/>
                  </a:lnTo>
                  <a:lnTo>
                    <a:pt x="2145110" y="665123"/>
                  </a:lnTo>
                  <a:cubicBezTo>
                    <a:pt x="2145110" y="665123"/>
                    <a:pt x="2143662" y="665998"/>
                    <a:pt x="2142922" y="666704"/>
                  </a:cubicBezTo>
                  <a:cubicBezTo>
                    <a:pt x="2142215" y="667444"/>
                    <a:pt x="2142619" y="668722"/>
                    <a:pt x="2142619" y="668722"/>
                  </a:cubicBezTo>
                  <a:cubicBezTo>
                    <a:pt x="2142619" y="668722"/>
                    <a:pt x="2145682" y="672187"/>
                    <a:pt x="2146388" y="672187"/>
                  </a:cubicBezTo>
                  <a:cubicBezTo>
                    <a:pt x="2147095" y="672187"/>
                    <a:pt x="2147095" y="672490"/>
                    <a:pt x="2147095" y="672490"/>
                  </a:cubicBezTo>
                  <a:cubicBezTo>
                    <a:pt x="2147095" y="672490"/>
                    <a:pt x="2146086" y="674374"/>
                    <a:pt x="2146086" y="675820"/>
                  </a:cubicBezTo>
                  <a:cubicBezTo>
                    <a:pt x="2146086" y="677267"/>
                    <a:pt x="2144941" y="678276"/>
                    <a:pt x="2144941" y="678713"/>
                  </a:cubicBezTo>
                  <a:cubicBezTo>
                    <a:pt x="2144941" y="679151"/>
                    <a:pt x="2143932" y="679588"/>
                    <a:pt x="2143932" y="679588"/>
                  </a:cubicBezTo>
                  <a:lnTo>
                    <a:pt x="2140869" y="679722"/>
                  </a:lnTo>
                  <a:lnTo>
                    <a:pt x="2137672" y="679722"/>
                  </a:lnTo>
                  <a:lnTo>
                    <a:pt x="2134912" y="680093"/>
                  </a:lnTo>
                  <a:lnTo>
                    <a:pt x="2133028" y="682346"/>
                  </a:lnTo>
                  <a:lnTo>
                    <a:pt x="2133028" y="685677"/>
                  </a:lnTo>
                  <a:lnTo>
                    <a:pt x="2134475" y="689579"/>
                  </a:lnTo>
                  <a:lnTo>
                    <a:pt x="2131849" y="692606"/>
                  </a:lnTo>
                  <a:cubicBezTo>
                    <a:pt x="2131849" y="692606"/>
                    <a:pt x="2132724" y="694490"/>
                    <a:pt x="2131547" y="694793"/>
                  </a:cubicBezTo>
                  <a:cubicBezTo>
                    <a:pt x="2130402" y="695096"/>
                    <a:pt x="2128787" y="695230"/>
                    <a:pt x="2127205" y="695365"/>
                  </a:cubicBezTo>
                  <a:cubicBezTo>
                    <a:pt x="2125590" y="695499"/>
                    <a:pt x="2124580" y="695668"/>
                    <a:pt x="2124580" y="695668"/>
                  </a:cubicBezTo>
                  <a:cubicBezTo>
                    <a:pt x="2124580" y="695668"/>
                    <a:pt x="2119364" y="696240"/>
                    <a:pt x="2117782" y="695970"/>
                  </a:cubicBezTo>
                  <a:cubicBezTo>
                    <a:pt x="2116200" y="695668"/>
                    <a:pt x="2115594" y="695399"/>
                    <a:pt x="2114753" y="694827"/>
                  </a:cubicBezTo>
                  <a:cubicBezTo>
                    <a:pt x="2113878" y="694255"/>
                    <a:pt x="2113878" y="693380"/>
                    <a:pt x="2113440" y="693246"/>
                  </a:cubicBezTo>
                  <a:cubicBezTo>
                    <a:pt x="2113003" y="693111"/>
                    <a:pt x="2113138" y="690790"/>
                    <a:pt x="2113138" y="690790"/>
                  </a:cubicBezTo>
                  <a:lnTo>
                    <a:pt x="2111825" y="687762"/>
                  </a:lnTo>
                  <a:lnTo>
                    <a:pt x="2110815" y="686316"/>
                  </a:lnTo>
                  <a:lnTo>
                    <a:pt x="2108359" y="685307"/>
                  </a:lnTo>
                  <a:lnTo>
                    <a:pt x="2108493" y="683423"/>
                  </a:lnTo>
                  <a:cubicBezTo>
                    <a:pt x="2108493" y="683423"/>
                    <a:pt x="2108931" y="680967"/>
                    <a:pt x="2108931" y="680530"/>
                  </a:cubicBezTo>
                  <a:cubicBezTo>
                    <a:pt x="2108931" y="680093"/>
                    <a:pt x="2107921" y="678343"/>
                    <a:pt x="2107921" y="678343"/>
                  </a:cubicBezTo>
                  <a:lnTo>
                    <a:pt x="2106912" y="678041"/>
                  </a:lnTo>
                  <a:lnTo>
                    <a:pt x="2105599" y="678612"/>
                  </a:lnTo>
                  <a:lnTo>
                    <a:pt x="2098363" y="678478"/>
                  </a:lnTo>
                  <a:lnTo>
                    <a:pt x="2096344" y="675147"/>
                  </a:lnTo>
                  <a:lnTo>
                    <a:pt x="2097219" y="671245"/>
                  </a:lnTo>
                  <a:lnTo>
                    <a:pt x="2098969" y="668352"/>
                  </a:lnTo>
                  <a:cubicBezTo>
                    <a:pt x="2098969" y="668352"/>
                    <a:pt x="2100416" y="666906"/>
                    <a:pt x="2100988" y="666906"/>
                  </a:cubicBezTo>
                  <a:cubicBezTo>
                    <a:pt x="2101560" y="666906"/>
                    <a:pt x="2104758" y="663878"/>
                    <a:pt x="2104758" y="663273"/>
                  </a:cubicBezTo>
                  <a:cubicBezTo>
                    <a:pt x="2104758" y="662701"/>
                    <a:pt x="2101426" y="661086"/>
                    <a:pt x="2101426" y="661086"/>
                  </a:cubicBezTo>
                  <a:lnTo>
                    <a:pt x="2094628" y="660649"/>
                  </a:lnTo>
                  <a:lnTo>
                    <a:pt x="2092474" y="658328"/>
                  </a:lnTo>
                  <a:lnTo>
                    <a:pt x="2088570" y="657016"/>
                  </a:lnTo>
                  <a:lnTo>
                    <a:pt x="2083219" y="657318"/>
                  </a:lnTo>
                  <a:lnTo>
                    <a:pt x="2076387" y="654997"/>
                  </a:lnTo>
                  <a:cubicBezTo>
                    <a:pt x="2076387" y="654997"/>
                    <a:pt x="2074502" y="653114"/>
                    <a:pt x="2074502" y="652542"/>
                  </a:cubicBezTo>
                  <a:cubicBezTo>
                    <a:pt x="2074502" y="651970"/>
                    <a:pt x="2068714" y="648202"/>
                    <a:pt x="2067839" y="646318"/>
                  </a:cubicBezTo>
                  <a:cubicBezTo>
                    <a:pt x="2066964" y="644434"/>
                    <a:pt x="2066964" y="643560"/>
                    <a:pt x="2066526" y="643291"/>
                  </a:cubicBezTo>
                  <a:cubicBezTo>
                    <a:pt x="2066089" y="642988"/>
                    <a:pt x="2065785" y="640970"/>
                    <a:pt x="2065516" y="640263"/>
                  </a:cubicBezTo>
                  <a:cubicBezTo>
                    <a:pt x="2065214" y="639557"/>
                    <a:pt x="2065516" y="637067"/>
                    <a:pt x="2065651" y="636496"/>
                  </a:cubicBezTo>
                  <a:cubicBezTo>
                    <a:pt x="2065785" y="635924"/>
                    <a:pt x="2066795" y="632593"/>
                    <a:pt x="2066795" y="632593"/>
                  </a:cubicBezTo>
                  <a:lnTo>
                    <a:pt x="2066930" y="631853"/>
                  </a:lnTo>
                  <a:cubicBezTo>
                    <a:pt x="2066930" y="631853"/>
                    <a:pt x="2068243" y="627951"/>
                    <a:pt x="2068680" y="627514"/>
                  </a:cubicBezTo>
                  <a:cubicBezTo>
                    <a:pt x="2069118" y="627076"/>
                    <a:pt x="2069824" y="623309"/>
                    <a:pt x="2069824" y="622737"/>
                  </a:cubicBezTo>
                  <a:cubicBezTo>
                    <a:pt x="2069824" y="622165"/>
                    <a:pt x="2069387" y="619272"/>
                    <a:pt x="2069387" y="619272"/>
                  </a:cubicBezTo>
                  <a:cubicBezTo>
                    <a:pt x="2069387" y="619272"/>
                    <a:pt x="2069656" y="615504"/>
                    <a:pt x="2069959" y="614933"/>
                  </a:cubicBezTo>
                  <a:cubicBezTo>
                    <a:pt x="2070262" y="614361"/>
                    <a:pt x="2073728" y="613486"/>
                    <a:pt x="2074603" y="613049"/>
                  </a:cubicBezTo>
                  <a:cubicBezTo>
                    <a:pt x="2075478" y="612611"/>
                    <a:pt x="2080829" y="607835"/>
                    <a:pt x="2080829" y="607835"/>
                  </a:cubicBezTo>
                  <a:cubicBezTo>
                    <a:pt x="2080829" y="607835"/>
                    <a:pt x="2083589" y="604639"/>
                    <a:pt x="2084295" y="604201"/>
                  </a:cubicBezTo>
                  <a:cubicBezTo>
                    <a:pt x="2085036" y="603764"/>
                    <a:pt x="2088772" y="600737"/>
                    <a:pt x="2089377" y="600131"/>
                  </a:cubicBezTo>
                  <a:cubicBezTo>
                    <a:pt x="2089950" y="599559"/>
                    <a:pt x="2094729" y="595354"/>
                    <a:pt x="2095166" y="595220"/>
                  </a:cubicBezTo>
                  <a:cubicBezTo>
                    <a:pt x="2095604" y="595085"/>
                    <a:pt x="2099070" y="592461"/>
                    <a:pt x="2099373" y="592024"/>
                  </a:cubicBezTo>
                  <a:cubicBezTo>
                    <a:pt x="2099676" y="591587"/>
                    <a:pt x="2101392" y="589703"/>
                    <a:pt x="2102267" y="589266"/>
                  </a:cubicBezTo>
                  <a:cubicBezTo>
                    <a:pt x="2103142" y="588828"/>
                    <a:pt x="2105296" y="587079"/>
                    <a:pt x="2105296" y="587079"/>
                  </a:cubicBezTo>
                  <a:cubicBezTo>
                    <a:pt x="2105296" y="587079"/>
                    <a:pt x="2108628" y="584623"/>
                    <a:pt x="2109200" y="584489"/>
                  </a:cubicBezTo>
                  <a:cubicBezTo>
                    <a:pt x="2109772" y="584354"/>
                    <a:pt x="2111388" y="581293"/>
                    <a:pt x="2111825" y="580856"/>
                  </a:cubicBezTo>
                  <a:cubicBezTo>
                    <a:pt x="2112263" y="580418"/>
                    <a:pt x="2115292" y="578972"/>
                    <a:pt x="2115292" y="578972"/>
                  </a:cubicBezTo>
                  <a:cubicBezTo>
                    <a:pt x="2115292" y="578972"/>
                    <a:pt x="2117344" y="579544"/>
                    <a:pt x="2118489" y="579544"/>
                  </a:cubicBezTo>
                  <a:cubicBezTo>
                    <a:pt x="2119633" y="579544"/>
                    <a:pt x="2120676" y="579409"/>
                    <a:pt x="2121080" y="579241"/>
                  </a:cubicBezTo>
                  <a:cubicBezTo>
                    <a:pt x="2121518" y="579106"/>
                    <a:pt x="2122830" y="577929"/>
                    <a:pt x="2123672" y="577357"/>
                  </a:cubicBezTo>
                  <a:cubicBezTo>
                    <a:pt x="2124547" y="576785"/>
                    <a:pt x="2124109" y="575339"/>
                    <a:pt x="2124244" y="574901"/>
                  </a:cubicBezTo>
                  <a:cubicBezTo>
                    <a:pt x="2124378" y="574464"/>
                    <a:pt x="2124681" y="571436"/>
                    <a:pt x="2124681" y="571436"/>
                  </a:cubicBezTo>
                  <a:lnTo>
                    <a:pt x="2124950" y="570696"/>
                  </a:lnTo>
                  <a:cubicBezTo>
                    <a:pt x="2124950" y="570696"/>
                    <a:pt x="2126263" y="567803"/>
                    <a:pt x="2126263" y="567063"/>
                  </a:cubicBezTo>
                  <a:cubicBezTo>
                    <a:pt x="2126263" y="566323"/>
                    <a:pt x="2126835" y="564170"/>
                    <a:pt x="2126835" y="564170"/>
                  </a:cubicBezTo>
                  <a:lnTo>
                    <a:pt x="2127542" y="562724"/>
                  </a:lnTo>
                  <a:cubicBezTo>
                    <a:pt x="2127542" y="562724"/>
                    <a:pt x="2128417" y="560134"/>
                    <a:pt x="2128417" y="559528"/>
                  </a:cubicBezTo>
                  <a:cubicBezTo>
                    <a:pt x="2128417" y="558956"/>
                    <a:pt x="2129292" y="558216"/>
                    <a:pt x="2130167" y="557779"/>
                  </a:cubicBezTo>
                  <a:cubicBezTo>
                    <a:pt x="2131042" y="557341"/>
                    <a:pt x="2132792" y="556635"/>
                    <a:pt x="2134508" y="555895"/>
                  </a:cubicBezTo>
                  <a:cubicBezTo>
                    <a:pt x="2136258" y="555189"/>
                    <a:pt x="2136393" y="555458"/>
                    <a:pt x="2137268" y="554886"/>
                  </a:cubicBezTo>
                  <a:cubicBezTo>
                    <a:pt x="2138143" y="554314"/>
                    <a:pt x="2139287" y="554011"/>
                    <a:pt x="2139287" y="554011"/>
                  </a:cubicBezTo>
                  <a:lnTo>
                    <a:pt x="2142316" y="551993"/>
                  </a:lnTo>
                  <a:cubicBezTo>
                    <a:pt x="2142316" y="551993"/>
                    <a:pt x="2145211" y="549100"/>
                    <a:pt x="2145951" y="548797"/>
                  </a:cubicBezTo>
                  <a:cubicBezTo>
                    <a:pt x="2146691" y="548494"/>
                    <a:pt x="2148845" y="545467"/>
                    <a:pt x="2149283" y="545164"/>
                  </a:cubicBezTo>
                  <a:cubicBezTo>
                    <a:pt x="2149720" y="544861"/>
                    <a:pt x="2150864" y="543415"/>
                    <a:pt x="2151033" y="542977"/>
                  </a:cubicBezTo>
                  <a:cubicBezTo>
                    <a:pt x="2151167" y="542540"/>
                    <a:pt x="2152042" y="541228"/>
                    <a:pt x="2152042" y="541228"/>
                  </a:cubicBezTo>
                  <a:cubicBezTo>
                    <a:pt x="2152042" y="541228"/>
                    <a:pt x="2153927" y="538201"/>
                    <a:pt x="2154499" y="537023"/>
                  </a:cubicBezTo>
                  <a:cubicBezTo>
                    <a:pt x="2155071" y="535879"/>
                    <a:pt x="2155643" y="534567"/>
                    <a:pt x="2155643" y="534567"/>
                  </a:cubicBezTo>
                  <a:lnTo>
                    <a:pt x="2154768" y="531372"/>
                  </a:lnTo>
                  <a:lnTo>
                    <a:pt x="2158538" y="526595"/>
                  </a:lnTo>
                  <a:lnTo>
                    <a:pt x="2160692" y="523567"/>
                  </a:lnTo>
                  <a:lnTo>
                    <a:pt x="2162879" y="519497"/>
                  </a:lnTo>
                  <a:lnTo>
                    <a:pt x="2167658" y="516301"/>
                  </a:lnTo>
                  <a:cubicBezTo>
                    <a:pt x="2167658" y="516301"/>
                    <a:pt x="2169678" y="515292"/>
                    <a:pt x="2170552" y="514855"/>
                  </a:cubicBezTo>
                  <a:cubicBezTo>
                    <a:pt x="2171427" y="514417"/>
                    <a:pt x="2171427" y="513845"/>
                    <a:pt x="2172437" y="512096"/>
                  </a:cubicBezTo>
                  <a:cubicBezTo>
                    <a:pt x="2173009" y="511121"/>
                    <a:pt x="2173144" y="510919"/>
                    <a:pt x="2173177" y="510952"/>
                  </a:cubicBezTo>
                  <a:cubicBezTo>
                    <a:pt x="2173278" y="510347"/>
                    <a:pt x="2173750" y="507992"/>
                    <a:pt x="2173750" y="507488"/>
                  </a:cubicBezTo>
                  <a:cubicBezTo>
                    <a:pt x="2173750" y="506916"/>
                    <a:pt x="2174456" y="505604"/>
                    <a:pt x="2174456" y="505604"/>
                  </a:cubicBezTo>
                  <a:cubicBezTo>
                    <a:pt x="2174456" y="505604"/>
                    <a:pt x="2177216" y="504023"/>
                    <a:pt x="2177923" y="503585"/>
                  </a:cubicBezTo>
                  <a:cubicBezTo>
                    <a:pt x="2178663" y="503148"/>
                    <a:pt x="2179504" y="502273"/>
                    <a:pt x="2180682" y="501836"/>
                  </a:cubicBezTo>
                  <a:cubicBezTo>
                    <a:pt x="2181827" y="501399"/>
                    <a:pt x="2183576" y="500961"/>
                    <a:pt x="2183576" y="500961"/>
                  </a:cubicBezTo>
                  <a:lnTo>
                    <a:pt x="2185159" y="499515"/>
                  </a:lnTo>
                  <a:lnTo>
                    <a:pt x="2186471" y="496487"/>
                  </a:lnTo>
                  <a:lnTo>
                    <a:pt x="2186909" y="495175"/>
                  </a:lnTo>
                  <a:lnTo>
                    <a:pt x="2185461" y="491845"/>
                  </a:lnTo>
                  <a:lnTo>
                    <a:pt x="2185596" y="488380"/>
                  </a:lnTo>
                  <a:lnTo>
                    <a:pt x="2187043" y="485184"/>
                  </a:lnTo>
                  <a:lnTo>
                    <a:pt x="2189634" y="482426"/>
                  </a:lnTo>
                  <a:cubicBezTo>
                    <a:pt x="2189634" y="482426"/>
                    <a:pt x="2192394" y="486328"/>
                    <a:pt x="2193404" y="486934"/>
                  </a:cubicBezTo>
                  <a:cubicBezTo>
                    <a:pt x="2194414" y="487506"/>
                    <a:pt x="2195289" y="489524"/>
                    <a:pt x="2195423" y="489961"/>
                  </a:cubicBezTo>
                  <a:cubicBezTo>
                    <a:pt x="2195558" y="490399"/>
                    <a:pt x="2197745" y="491711"/>
                    <a:pt x="2197745" y="491711"/>
                  </a:cubicBezTo>
                  <a:lnTo>
                    <a:pt x="2198183" y="495344"/>
                  </a:lnTo>
                  <a:lnTo>
                    <a:pt x="2197611" y="498405"/>
                  </a:lnTo>
                  <a:lnTo>
                    <a:pt x="2197173" y="499986"/>
                  </a:lnTo>
                  <a:cubicBezTo>
                    <a:pt x="2197173" y="499986"/>
                    <a:pt x="2196870" y="501298"/>
                    <a:pt x="2196736" y="501870"/>
                  </a:cubicBezTo>
                  <a:cubicBezTo>
                    <a:pt x="2196567" y="502442"/>
                    <a:pt x="2197005" y="503451"/>
                    <a:pt x="2197005" y="503451"/>
                  </a:cubicBezTo>
                  <a:cubicBezTo>
                    <a:pt x="2197005" y="503451"/>
                    <a:pt x="2197005" y="506647"/>
                    <a:pt x="2197139" y="507218"/>
                  </a:cubicBezTo>
                  <a:cubicBezTo>
                    <a:pt x="2197274" y="507790"/>
                    <a:pt x="2197443" y="507925"/>
                    <a:pt x="2197712" y="508530"/>
                  </a:cubicBezTo>
                  <a:cubicBezTo>
                    <a:pt x="2197981" y="509102"/>
                    <a:pt x="2199899" y="510851"/>
                    <a:pt x="2200337" y="511423"/>
                  </a:cubicBezTo>
                  <a:cubicBezTo>
                    <a:pt x="2200774" y="511995"/>
                    <a:pt x="2201918" y="513610"/>
                    <a:pt x="2202356" y="514182"/>
                  </a:cubicBezTo>
                  <a:cubicBezTo>
                    <a:pt x="2202794" y="514754"/>
                    <a:pt x="2203938" y="515326"/>
                    <a:pt x="2205250" y="516637"/>
                  </a:cubicBezTo>
                  <a:cubicBezTo>
                    <a:pt x="2206563" y="517949"/>
                    <a:pt x="2206260" y="517075"/>
                    <a:pt x="2207707" y="517344"/>
                  </a:cubicBezTo>
                  <a:cubicBezTo>
                    <a:pt x="2209154" y="517647"/>
                    <a:pt x="2209289" y="518521"/>
                    <a:pt x="2209289" y="518521"/>
                  </a:cubicBezTo>
                  <a:lnTo>
                    <a:pt x="2211173" y="519833"/>
                  </a:lnTo>
                  <a:lnTo>
                    <a:pt x="2211039" y="522861"/>
                  </a:lnTo>
                  <a:lnTo>
                    <a:pt x="2210029" y="524005"/>
                  </a:lnTo>
                  <a:cubicBezTo>
                    <a:pt x="2210029" y="524005"/>
                    <a:pt x="2210029" y="525317"/>
                    <a:pt x="2210164" y="525888"/>
                  </a:cubicBezTo>
                  <a:cubicBezTo>
                    <a:pt x="2210298" y="526460"/>
                    <a:pt x="2210601" y="527032"/>
                    <a:pt x="2211039" y="527907"/>
                  </a:cubicBezTo>
                  <a:cubicBezTo>
                    <a:pt x="2211476" y="528781"/>
                    <a:pt x="2211611" y="530093"/>
                    <a:pt x="2212183" y="530800"/>
                  </a:cubicBezTo>
                  <a:cubicBezTo>
                    <a:pt x="2212755" y="531540"/>
                    <a:pt x="2212890" y="532112"/>
                    <a:pt x="2213765" y="533827"/>
                  </a:cubicBezTo>
                  <a:cubicBezTo>
                    <a:pt x="2214640" y="535577"/>
                    <a:pt x="2214774" y="535408"/>
                    <a:pt x="2215078" y="536283"/>
                  </a:cubicBezTo>
                  <a:cubicBezTo>
                    <a:pt x="2215380" y="537158"/>
                    <a:pt x="2216962" y="537595"/>
                    <a:pt x="2217972" y="537595"/>
                  </a:cubicBezTo>
                  <a:cubicBezTo>
                    <a:pt x="2218981" y="537595"/>
                    <a:pt x="2218678" y="536283"/>
                    <a:pt x="2218678" y="534399"/>
                  </a:cubicBezTo>
                  <a:cubicBezTo>
                    <a:pt x="2218678" y="532515"/>
                    <a:pt x="2218678" y="531506"/>
                    <a:pt x="2218544" y="530497"/>
                  </a:cubicBezTo>
                  <a:cubicBezTo>
                    <a:pt x="2218409" y="529488"/>
                    <a:pt x="2218544" y="526729"/>
                    <a:pt x="2218544" y="526729"/>
                  </a:cubicBezTo>
                  <a:lnTo>
                    <a:pt x="2218981" y="522962"/>
                  </a:lnTo>
                  <a:lnTo>
                    <a:pt x="2217972" y="520203"/>
                  </a:lnTo>
                  <a:lnTo>
                    <a:pt x="2215953" y="516570"/>
                  </a:lnTo>
                  <a:lnTo>
                    <a:pt x="2215818" y="513240"/>
                  </a:lnTo>
                  <a:cubicBezTo>
                    <a:pt x="2215818" y="513240"/>
                    <a:pt x="2218005" y="511928"/>
                    <a:pt x="2218847" y="511491"/>
                  </a:cubicBezTo>
                  <a:cubicBezTo>
                    <a:pt x="2219722" y="511053"/>
                    <a:pt x="2219991" y="508732"/>
                    <a:pt x="2219991" y="508732"/>
                  </a:cubicBezTo>
                  <a:lnTo>
                    <a:pt x="2216659" y="508026"/>
                  </a:lnTo>
                  <a:cubicBezTo>
                    <a:pt x="2216659" y="508026"/>
                    <a:pt x="2215347" y="506445"/>
                    <a:pt x="2215044" y="505267"/>
                  </a:cubicBezTo>
                  <a:cubicBezTo>
                    <a:pt x="2214774" y="504124"/>
                    <a:pt x="2214034" y="501634"/>
                    <a:pt x="2213899" y="500760"/>
                  </a:cubicBezTo>
                  <a:cubicBezTo>
                    <a:pt x="2213765" y="499885"/>
                    <a:pt x="2212318" y="497867"/>
                    <a:pt x="2212318" y="497867"/>
                  </a:cubicBezTo>
                  <a:cubicBezTo>
                    <a:pt x="2212318" y="497867"/>
                    <a:pt x="2212587" y="493090"/>
                    <a:pt x="2212587" y="490466"/>
                  </a:cubicBezTo>
                  <a:cubicBezTo>
                    <a:pt x="2212587" y="487842"/>
                    <a:pt x="2213024" y="488279"/>
                    <a:pt x="2213024" y="488279"/>
                  </a:cubicBezTo>
                  <a:lnTo>
                    <a:pt x="2212721" y="485252"/>
                  </a:lnTo>
                  <a:lnTo>
                    <a:pt x="2212284" y="482628"/>
                  </a:lnTo>
                  <a:lnTo>
                    <a:pt x="2212419" y="480744"/>
                  </a:lnTo>
                  <a:lnTo>
                    <a:pt x="2215313" y="476842"/>
                  </a:lnTo>
                  <a:cubicBezTo>
                    <a:pt x="2215313" y="476842"/>
                    <a:pt x="2217332" y="475967"/>
                    <a:pt x="2217501" y="475530"/>
                  </a:cubicBezTo>
                  <a:cubicBezTo>
                    <a:pt x="2217635" y="475093"/>
                    <a:pt x="2218376" y="468129"/>
                    <a:pt x="2218376" y="468129"/>
                  </a:cubicBezTo>
                  <a:lnTo>
                    <a:pt x="2217198" y="462040"/>
                  </a:lnTo>
                  <a:lnTo>
                    <a:pt x="2216323" y="457398"/>
                  </a:lnTo>
                  <a:lnTo>
                    <a:pt x="2216625" y="453193"/>
                  </a:lnTo>
                  <a:cubicBezTo>
                    <a:pt x="2216625" y="453193"/>
                    <a:pt x="2217198" y="448282"/>
                    <a:pt x="2217198" y="447676"/>
                  </a:cubicBezTo>
                  <a:cubicBezTo>
                    <a:pt x="2217198" y="447104"/>
                    <a:pt x="2217635" y="445221"/>
                    <a:pt x="2217635" y="445221"/>
                  </a:cubicBezTo>
                  <a:cubicBezTo>
                    <a:pt x="2217635" y="445221"/>
                    <a:pt x="2219385" y="443034"/>
                    <a:pt x="2219654" y="442630"/>
                  </a:cubicBezTo>
                  <a:cubicBezTo>
                    <a:pt x="2219957" y="442193"/>
                    <a:pt x="2221842" y="440746"/>
                    <a:pt x="2222986" y="440309"/>
                  </a:cubicBezTo>
                  <a:cubicBezTo>
                    <a:pt x="2224130" y="439872"/>
                    <a:pt x="2223558" y="439300"/>
                    <a:pt x="2223558" y="439300"/>
                  </a:cubicBezTo>
                  <a:lnTo>
                    <a:pt x="2224299" y="436104"/>
                  </a:lnTo>
                  <a:lnTo>
                    <a:pt x="2225443" y="433077"/>
                  </a:lnTo>
                  <a:lnTo>
                    <a:pt x="2226318" y="429612"/>
                  </a:lnTo>
                  <a:lnTo>
                    <a:pt x="2225005" y="426281"/>
                  </a:lnTo>
                  <a:lnTo>
                    <a:pt x="2222414" y="423086"/>
                  </a:lnTo>
                  <a:cubicBezTo>
                    <a:pt x="2222414" y="423086"/>
                    <a:pt x="2221976" y="420462"/>
                    <a:pt x="2222414" y="419621"/>
                  </a:cubicBezTo>
                  <a:cubicBezTo>
                    <a:pt x="2222852" y="418746"/>
                    <a:pt x="2223558" y="413969"/>
                    <a:pt x="2223996" y="413667"/>
                  </a:cubicBezTo>
                  <a:cubicBezTo>
                    <a:pt x="2224433" y="413364"/>
                    <a:pt x="2227462" y="411211"/>
                    <a:pt x="2228909" y="410336"/>
                  </a:cubicBezTo>
                  <a:cubicBezTo>
                    <a:pt x="2230356" y="409462"/>
                    <a:pt x="2232813" y="409024"/>
                    <a:pt x="2233419" y="409024"/>
                  </a:cubicBezTo>
                  <a:cubicBezTo>
                    <a:pt x="2233991" y="409024"/>
                    <a:pt x="2236448" y="409462"/>
                    <a:pt x="2237491" y="409462"/>
                  </a:cubicBezTo>
                  <a:cubicBezTo>
                    <a:pt x="2238501" y="409462"/>
                    <a:pt x="2239948" y="411345"/>
                    <a:pt x="2241126" y="412220"/>
                  </a:cubicBezTo>
                  <a:cubicBezTo>
                    <a:pt x="2242270" y="413095"/>
                    <a:pt x="2245030" y="414541"/>
                    <a:pt x="2245467" y="414541"/>
                  </a:cubicBezTo>
                  <a:cubicBezTo>
                    <a:pt x="2245905" y="414541"/>
                    <a:pt x="2249237" y="413969"/>
                    <a:pt x="2249237" y="413969"/>
                  </a:cubicBezTo>
                  <a:lnTo>
                    <a:pt x="2252266" y="411076"/>
                  </a:lnTo>
                  <a:lnTo>
                    <a:pt x="2255025" y="405290"/>
                  </a:lnTo>
                  <a:lnTo>
                    <a:pt x="2257482" y="399639"/>
                  </a:lnTo>
                  <a:cubicBezTo>
                    <a:pt x="2257482" y="399639"/>
                    <a:pt x="2255160" y="394727"/>
                    <a:pt x="2255160" y="394122"/>
                  </a:cubicBezTo>
                  <a:cubicBezTo>
                    <a:pt x="2255160" y="393550"/>
                    <a:pt x="2255597" y="390489"/>
                    <a:pt x="2255597" y="390489"/>
                  </a:cubicBezTo>
                  <a:lnTo>
                    <a:pt x="2256035" y="386721"/>
                  </a:lnTo>
                  <a:lnTo>
                    <a:pt x="2256170" y="383694"/>
                  </a:lnTo>
                  <a:lnTo>
                    <a:pt x="2254420" y="381103"/>
                  </a:lnTo>
                  <a:lnTo>
                    <a:pt x="2252973" y="377908"/>
                  </a:lnTo>
                  <a:lnTo>
                    <a:pt x="2254285" y="375889"/>
                  </a:lnTo>
                  <a:lnTo>
                    <a:pt x="2253847" y="374746"/>
                  </a:lnTo>
                  <a:lnTo>
                    <a:pt x="2252266" y="371415"/>
                  </a:lnTo>
                  <a:lnTo>
                    <a:pt x="2247487" y="367076"/>
                  </a:lnTo>
                  <a:lnTo>
                    <a:pt x="2244289" y="363308"/>
                  </a:lnTo>
                  <a:lnTo>
                    <a:pt x="2242405" y="358800"/>
                  </a:lnTo>
                  <a:lnTo>
                    <a:pt x="2243280" y="356345"/>
                  </a:lnTo>
                  <a:lnTo>
                    <a:pt x="2245467" y="354764"/>
                  </a:lnTo>
                  <a:lnTo>
                    <a:pt x="2248227" y="350996"/>
                  </a:lnTo>
                  <a:lnTo>
                    <a:pt x="2248362" y="348237"/>
                  </a:lnTo>
                  <a:lnTo>
                    <a:pt x="2245905" y="343898"/>
                  </a:lnTo>
                  <a:lnTo>
                    <a:pt x="2245333" y="339390"/>
                  </a:lnTo>
                  <a:cubicBezTo>
                    <a:pt x="2245333" y="339390"/>
                    <a:pt x="2243011" y="332730"/>
                    <a:pt x="2242741" y="331149"/>
                  </a:cubicBezTo>
                  <a:cubicBezTo>
                    <a:pt x="2242439" y="329567"/>
                    <a:pt x="2242741" y="327818"/>
                    <a:pt x="2242876" y="326641"/>
                  </a:cubicBezTo>
                  <a:cubicBezTo>
                    <a:pt x="2243011" y="325497"/>
                    <a:pt x="2243617" y="323445"/>
                    <a:pt x="2244188" y="322167"/>
                  </a:cubicBezTo>
                  <a:cubicBezTo>
                    <a:pt x="2244761" y="320855"/>
                    <a:pt x="2245501" y="319711"/>
                    <a:pt x="2245636" y="319274"/>
                  </a:cubicBezTo>
                  <a:cubicBezTo>
                    <a:pt x="2245770" y="318836"/>
                    <a:pt x="2247655" y="315506"/>
                    <a:pt x="2248227" y="315069"/>
                  </a:cubicBezTo>
                  <a:cubicBezTo>
                    <a:pt x="2248799" y="314632"/>
                    <a:pt x="2247520" y="311873"/>
                    <a:pt x="2247520" y="311873"/>
                  </a:cubicBezTo>
                  <a:lnTo>
                    <a:pt x="2246948" y="307399"/>
                  </a:lnTo>
                  <a:lnTo>
                    <a:pt x="2248092" y="303631"/>
                  </a:lnTo>
                  <a:cubicBezTo>
                    <a:pt x="2248092" y="303631"/>
                    <a:pt x="2250112" y="302050"/>
                    <a:pt x="2250987" y="301310"/>
                  </a:cubicBezTo>
                  <a:cubicBezTo>
                    <a:pt x="2251862" y="300570"/>
                    <a:pt x="2253881" y="298417"/>
                    <a:pt x="2254016" y="297845"/>
                  </a:cubicBezTo>
                  <a:cubicBezTo>
                    <a:pt x="2254150" y="297273"/>
                    <a:pt x="2256641" y="291319"/>
                    <a:pt x="2256910" y="290478"/>
                  </a:cubicBezTo>
                  <a:cubicBezTo>
                    <a:pt x="2257213" y="289604"/>
                    <a:pt x="2257650" y="288594"/>
                    <a:pt x="2257650" y="288594"/>
                  </a:cubicBezTo>
                  <a:cubicBezTo>
                    <a:pt x="2257650" y="288594"/>
                    <a:pt x="2258223" y="284255"/>
                    <a:pt x="2258525" y="282808"/>
                  </a:cubicBezTo>
                  <a:cubicBezTo>
                    <a:pt x="2258828" y="281362"/>
                    <a:pt x="2259704" y="277729"/>
                    <a:pt x="2259973" y="276417"/>
                  </a:cubicBezTo>
                  <a:cubicBezTo>
                    <a:pt x="2260275" y="275105"/>
                    <a:pt x="2259973" y="272952"/>
                    <a:pt x="2259838" y="272515"/>
                  </a:cubicBezTo>
                  <a:cubicBezTo>
                    <a:pt x="2259704" y="272077"/>
                    <a:pt x="2260578" y="267435"/>
                    <a:pt x="2260578" y="267435"/>
                  </a:cubicBezTo>
                  <a:cubicBezTo>
                    <a:pt x="2260578" y="267435"/>
                    <a:pt x="2263607" y="267301"/>
                    <a:pt x="2264920" y="266729"/>
                  </a:cubicBezTo>
                  <a:cubicBezTo>
                    <a:pt x="2266232" y="266157"/>
                    <a:pt x="2266367" y="266157"/>
                    <a:pt x="2267242" y="265854"/>
                  </a:cubicBezTo>
                  <a:cubicBezTo>
                    <a:pt x="2268117" y="265551"/>
                    <a:pt x="2272593" y="262961"/>
                    <a:pt x="2272593" y="262961"/>
                  </a:cubicBezTo>
                  <a:cubicBezTo>
                    <a:pt x="2272593" y="262961"/>
                    <a:pt x="2274781" y="260068"/>
                    <a:pt x="2275218" y="259496"/>
                  </a:cubicBezTo>
                  <a:cubicBezTo>
                    <a:pt x="2275656" y="258924"/>
                    <a:pt x="2278112" y="255426"/>
                    <a:pt x="2278112" y="255426"/>
                  </a:cubicBezTo>
                  <a:lnTo>
                    <a:pt x="2278415" y="248328"/>
                  </a:lnTo>
                  <a:lnTo>
                    <a:pt x="2277540" y="243416"/>
                  </a:lnTo>
                  <a:cubicBezTo>
                    <a:pt x="2277540" y="243416"/>
                    <a:pt x="2277237" y="241970"/>
                    <a:pt x="2276968" y="241398"/>
                  </a:cubicBezTo>
                  <a:cubicBezTo>
                    <a:pt x="2276699" y="240826"/>
                    <a:pt x="2275824" y="239380"/>
                    <a:pt x="2275824" y="238808"/>
                  </a:cubicBezTo>
                  <a:cubicBezTo>
                    <a:pt x="2275824" y="238236"/>
                    <a:pt x="2273502" y="235477"/>
                    <a:pt x="2273232" y="235040"/>
                  </a:cubicBezTo>
                  <a:cubicBezTo>
                    <a:pt x="2272963" y="234603"/>
                    <a:pt x="2271348" y="231844"/>
                    <a:pt x="2271348" y="231272"/>
                  </a:cubicBezTo>
                  <a:cubicBezTo>
                    <a:pt x="2271348" y="230701"/>
                    <a:pt x="2271651" y="229086"/>
                    <a:pt x="2272660" y="228817"/>
                  </a:cubicBezTo>
                  <a:cubicBezTo>
                    <a:pt x="2273670" y="228514"/>
                    <a:pt x="2274982" y="228379"/>
                    <a:pt x="2277742" y="226933"/>
                  </a:cubicBezTo>
                  <a:cubicBezTo>
                    <a:pt x="2280502" y="225486"/>
                    <a:pt x="2278045" y="225352"/>
                    <a:pt x="2278045" y="225352"/>
                  </a:cubicBezTo>
                  <a:cubicBezTo>
                    <a:pt x="2278045" y="225352"/>
                    <a:pt x="2279189" y="223031"/>
                    <a:pt x="2279627" y="222593"/>
                  </a:cubicBezTo>
                  <a:cubicBezTo>
                    <a:pt x="2280064" y="222156"/>
                    <a:pt x="2281512" y="221853"/>
                    <a:pt x="2282252" y="221584"/>
                  </a:cubicBezTo>
                  <a:cubicBezTo>
                    <a:pt x="2282959" y="221282"/>
                    <a:pt x="2284002" y="220710"/>
                    <a:pt x="2284574" y="220272"/>
                  </a:cubicBezTo>
                  <a:cubicBezTo>
                    <a:pt x="2285146" y="219835"/>
                    <a:pt x="2286896" y="218254"/>
                    <a:pt x="2286896" y="218254"/>
                  </a:cubicBezTo>
                  <a:cubicBezTo>
                    <a:pt x="2286896" y="218254"/>
                    <a:pt x="2287771" y="216505"/>
                    <a:pt x="2288646" y="216067"/>
                  </a:cubicBezTo>
                  <a:cubicBezTo>
                    <a:pt x="2289521" y="215630"/>
                    <a:pt x="2290396" y="214486"/>
                    <a:pt x="2290531" y="213174"/>
                  </a:cubicBezTo>
                  <a:cubicBezTo>
                    <a:pt x="2290666" y="211862"/>
                    <a:pt x="2290228" y="210719"/>
                    <a:pt x="2290228" y="210147"/>
                  </a:cubicBezTo>
                  <a:cubicBezTo>
                    <a:pt x="2290228" y="209575"/>
                    <a:pt x="2289084" y="208263"/>
                    <a:pt x="2288478" y="207691"/>
                  </a:cubicBezTo>
                  <a:cubicBezTo>
                    <a:pt x="2287906" y="207119"/>
                    <a:pt x="2287603" y="205538"/>
                    <a:pt x="2287738" y="204798"/>
                  </a:cubicBezTo>
                  <a:cubicBezTo>
                    <a:pt x="2287872" y="204058"/>
                    <a:pt x="2288310" y="201905"/>
                    <a:pt x="2288310" y="201905"/>
                  </a:cubicBezTo>
                  <a:cubicBezTo>
                    <a:pt x="2288310" y="201905"/>
                    <a:pt x="2289454" y="200761"/>
                    <a:pt x="2289622" y="199719"/>
                  </a:cubicBezTo>
                  <a:cubicBezTo>
                    <a:pt x="2289757" y="198709"/>
                    <a:pt x="2289622" y="197969"/>
                    <a:pt x="2289622" y="196826"/>
                  </a:cubicBezTo>
                  <a:cubicBezTo>
                    <a:pt x="2289622" y="195682"/>
                    <a:pt x="2288040" y="195682"/>
                    <a:pt x="2287738" y="194807"/>
                  </a:cubicBezTo>
                  <a:cubicBezTo>
                    <a:pt x="2287435" y="193933"/>
                    <a:pt x="2286425" y="193058"/>
                    <a:pt x="2285988" y="193226"/>
                  </a:cubicBezTo>
                  <a:cubicBezTo>
                    <a:pt x="2285550" y="193361"/>
                    <a:pt x="2283968" y="193529"/>
                    <a:pt x="2283968" y="193529"/>
                  </a:cubicBezTo>
                  <a:cubicBezTo>
                    <a:pt x="2283968" y="193529"/>
                    <a:pt x="2282083" y="193966"/>
                    <a:pt x="2281646" y="194101"/>
                  </a:cubicBezTo>
                  <a:cubicBezTo>
                    <a:pt x="2281208" y="194235"/>
                    <a:pt x="2278752" y="194673"/>
                    <a:pt x="2278180" y="194673"/>
                  </a:cubicBezTo>
                  <a:cubicBezTo>
                    <a:pt x="2277608" y="194673"/>
                    <a:pt x="2277035" y="194101"/>
                    <a:pt x="2276733" y="192654"/>
                  </a:cubicBezTo>
                  <a:cubicBezTo>
                    <a:pt x="2276430" y="191208"/>
                    <a:pt x="2276160" y="190064"/>
                    <a:pt x="2275992" y="189627"/>
                  </a:cubicBezTo>
                  <a:cubicBezTo>
                    <a:pt x="2275857" y="189189"/>
                    <a:pt x="2275555" y="188483"/>
                    <a:pt x="2273536" y="186734"/>
                  </a:cubicBezTo>
                  <a:cubicBezTo>
                    <a:pt x="2271516" y="184984"/>
                    <a:pt x="2271651" y="186162"/>
                    <a:pt x="2270338" y="186162"/>
                  </a:cubicBezTo>
                  <a:cubicBezTo>
                    <a:pt x="2269025" y="186162"/>
                    <a:pt x="2268588" y="186162"/>
                    <a:pt x="2268150" y="186027"/>
                  </a:cubicBezTo>
                  <a:cubicBezTo>
                    <a:pt x="2267713" y="185893"/>
                    <a:pt x="2267006" y="185287"/>
                    <a:pt x="2266401" y="184009"/>
                  </a:cubicBezTo>
                  <a:cubicBezTo>
                    <a:pt x="2265828" y="182697"/>
                    <a:pt x="2266704" y="181822"/>
                    <a:pt x="2266704" y="181822"/>
                  </a:cubicBezTo>
                  <a:lnTo>
                    <a:pt x="2266704" y="178626"/>
                  </a:lnTo>
                  <a:lnTo>
                    <a:pt x="2265324" y="177045"/>
                  </a:lnTo>
                  <a:lnTo>
                    <a:pt x="2263237" y="174018"/>
                  </a:lnTo>
                  <a:lnTo>
                    <a:pt x="2259468" y="168938"/>
                  </a:lnTo>
                  <a:lnTo>
                    <a:pt x="2255564" y="167492"/>
                  </a:lnTo>
                  <a:lnTo>
                    <a:pt x="2252232" y="166348"/>
                  </a:lnTo>
                  <a:lnTo>
                    <a:pt x="2249338" y="163320"/>
                  </a:lnTo>
                  <a:lnTo>
                    <a:pt x="2248766" y="159250"/>
                  </a:lnTo>
                  <a:cubicBezTo>
                    <a:pt x="2248766" y="159250"/>
                    <a:pt x="2247621" y="158375"/>
                    <a:pt x="2247184" y="157938"/>
                  </a:cubicBezTo>
                  <a:cubicBezTo>
                    <a:pt x="2246746" y="157501"/>
                    <a:pt x="2244155" y="155617"/>
                    <a:pt x="2244155" y="155617"/>
                  </a:cubicBezTo>
                  <a:cubicBezTo>
                    <a:pt x="2244155" y="155617"/>
                    <a:pt x="2244155" y="155617"/>
                    <a:pt x="2243414" y="154877"/>
                  </a:cubicBezTo>
                  <a:cubicBezTo>
                    <a:pt x="2242708" y="154170"/>
                    <a:pt x="2242102" y="152287"/>
                    <a:pt x="2242102" y="152287"/>
                  </a:cubicBezTo>
                  <a:cubicBezTo>
                    <a:pt x="2242102" y="152287"/>
                    <a:pt x="2240655" y="150706"/>
                    <a:pt x="2240352" y="150268"/>
                  </a:cubicBezTo>
                  <a:cubicBezTo>
                    <a:pt x="2240083" y="149831"/>
                    <a:pt x="2238905" y="149259"/>
                    <a:pt x="2238333" y="149125"/>
                  </a:cubicBezTo>
                  <a:cubicBezTo>
                    <a:pt x="2237761" y="148990"/>
                    <a:pt x="2235573" y="147813"/>
                    <a:pt x="2235136" y="147543"/>
                  </a:cubicBezTo>
                  <a:cubicBezTo>
                    <a:pt x="2234698" y="147241"/>
                    <a:pt x="2232679" y="145794"/>
                    <a:pt x="2232679" y="145794"/>
                  </a:cubicBezTo>
                  <a:lnTo>
                    <a:pt x="2229347" y="143910"/>
                  </a:lnTo>
                  <a:lnTo>
                    <a:pt x="2224130" y="142733"/>
                  </a:lnTo>
                  <a:lnTo>
                    <a:pt x="2222986" y="142733"/>
                  </a:lnTo>
                  <a:lnTo>
                    <a:pt x="2220530" y="144112"/>
                  </a:lnTo>
                  <a:lnTo>
                    <a:pt x="2217198" y="145491"/>
                  </a:lnTo>
                  <a:cubicBezTo>
                    <a:pt x="2217198" y="145491"/>
                    <a:pt x="2215144" y="144482"/>
                    <a:pt x="2215144" y="143910"/>
                  </a:cubicBezTo>
                  <a:cubicBezTo>
                    <a:pt x="2215144" y="143338"/>
                    <a:pt x="2215448" y="141455"/>
                    <a:pt x="2215717" y="140715"/>
                  </a:cubicBezTo>
                  <a:cubicBezTo>
                    <a:pt x="2215986" y="139975"/>
                    <a:pt x="2216289" y="137687"/>
                    <a:pt x="2216154" y="137250"/>
                  </a:cubicBezTo>
                  <a:cubicBezTo>
                    <a:pt x="2216020" y="136812"/>
                    <a:pt x="2213125" y="135231"/>
                    <a:pt x="2213125" y="135231"/>
                  </a:cubicBezTo>
                  <a:cubicBezTo>
                    <a:pt x="2213125" y="135231"/>
                    <a:pt x="2210534" y="135097"/>
                    <a:pt x="2209491" y="135097"/>
                  </a:cubicBezTo>
                  <a:cubicBezTo>
                    <a:pt x="2208481" y="135097"/>
                    <a:pt x="2208481" y="136106"/>
                    <a:pt x="2208347" y="136543"/>
                  </a:cubicBezTo>
                  <a:cubicBezTo>
                    <a:pt x="2208212" y="136981"/>
                    <a:pt x="2208616" y="138427"/>
                    <a:pt x="2208784" y="138864"/>
                  </a:cubicBezTo>
                  <a:cubicBezTo>
                    <a:pt x="2208918" y="139302"/>
                    <a:pt x="2210231" y="140883"/>
                    <a:pt x="2210231" y="140883"/>
                  </a:cubicBezTo>
                  <a:cubicBezTo>
                    <a:pt x="2210231" y="140883"/>
                    <a:pt x="2209659" y="142901"/>
                    <a:pt x="2209524" y="143507"/>
                  </a:cubicBezTo>
                  <a:cubicBezTo>
                    <a:pt x="2209390" y="144079"/>
                    <a:pt x="2209524" y="146400"/>
                    <a:pt x="2209524" y="148149"/>
                  </a:cubicBezTo>
                  <a:cubicBezTo>
                    <a:pt x="2209524" y="149898"/>
                    <a:pt x="2209222" y="149024"/>
                    <a:pt x="2208784" y="150033"/>
                  </a:cubicBezTo>
                  <a:cubicBezTo>
                    <a:pt x="2208347" y="151042"/>
                    <a:pt x="2208515" y="152791"/>
                    <a:pt x="2208515" y="153363"/>
                  </a:cubicBezTo>
                  <a:cubicBezTo>
                    <a:pt x="2208515" y="153935"/>
                    <a:pt x="2209390" y="154070"/>
                    <a:pt x="2209390" y="154070"/>
                  </a:cubicBezTo>
                  <a:cubicBezTo>
                    <a:pt x="2209390" y="154070"/>
                    <a:pt x="2209390" y="156391"/>
                    <a:pt x="2209390" y="158274"/>
                  </a:cubicBezTo>
                  <a:cubicBezTo>
                    <a:pt x="2209390" y="160158"/>
                    <a:pt x="2208010" y="160293"/>
                    <a:pt x="2206866" y="160596"/>
                  </a:cubicBezTo>
                  <a:cubicBezTo>
                    <a:pt x="2205721" y="160898"/>
                    <a:pt x="2205351" y="159015"/>
                    <a:pt x="2204611" y="158005"/>
                  </a:cubicBezTo>
                  <a:cubicBezTo>
                    <a:pt x="2203904" y="156996"/>
                    <a:pt x="2200707" y="157871"/>
                    <a:pt x="2200269" y="158005"/>
                  </a:cubicBezTo>
                  <a:cubicBezTo>
                    <a:pt x="2199832" y="158140"/>
                    <a:pt x="2198688" y="160024"/>
                    <a:pt x="2198688" y="160024"/>
                  </a:cubicBezTo>
                  <a:lnTo>
                    <a:pt x="2201716" y="165238"/>
                  </a:lnTo>
                  <a:lnTo>
                    <a:pt x="2198957" y="170317"/>
                  </a:lnTo>
                  <a:lnTo>
                    <a:pt x="2190846" y="173782"/>
                  </a:lnTo>
                  <a:lnTo>
                    <a:pt x="2188389" y="176675"/>
                  </a:lnTo>
                  <a:cubicBezTo>
                    <a:pt x="2188389" y="176675"/>
                    <a:pt x="2188221" y="177550"/>
                    <a:pt x="2188154" y="179097"/>
                  </a:cubicBezTo>
                  <a:cubicBezTo>
                    <a:pt x="2188120" y="179636"/>
                    <a:pt x="2188086" y="180308"/>
                    <a:pt x="2188086" y="181015"/>
                  </a:cubicBezTo>
                  <a:cubicBezTo>
                    <a:pt x="2188086" y="183773"/>
                    <a:pt x="2186909" y="183336"/>
                    <a:pt x="2186336" y="183773"/>
                  </a:cubicBezTo>
                  <a:cubicBezTo>
                    <a:pt x="2185764" y="184211"/>
                    <a:pt x="2184149" y="183067"/>
                    <a:pt x="2183307" y="182461"/>
                  </a:cubicBezTo>
                  <a:cubicBezTo>
                    <a:pt x="2182432" y="181890"/>
                    <a:pt x="2180851" y="180578"/>
                    <a:pt x="2180548" y="180140"/>
                  </a:cubicBezTo>
                  <a:cubicBezTo>
                    <a:pt x="2180245" y="179703"/>
                    <a:pt x="2177788" y="178122"/>
                    <a:pt x="2177788" y="178122"/>
                  </a:cubicBezTo>
                  <a:cubicBezTo>
                    <a:pt x="2177788" y="178122"/>
                    <a:pt x="2174726" y="176675"/>
                    <a:pt x="2173581" y="176675"/>
                  </a:cubicBezTo>
                  <a:cubicBezTo>
                    <a:pt x="2172403" y="176675"/>
                    <a:pt x="2170552" y="176978"/>
                    <a:pt x="2170552" y="176978"/>
                  </a:cubicBezTo>
                  <a:lnTo>
                    <a:pt x="2169374" y="181890"/>
                  </a:lnTo>
                  <a:lnTo>
                    <a:pt x="2169374" y="183471"/>
                  </a:lnTo>
                  <a:lnTo>
                    <a:pt x="2166345" y="189694"/>
                  </a:lnTo>
                  <a:lnTo>
                    <a:pt x="2164326" y="187676"/>
                  </a:lnTo>
                  <a:cubicBezTo>
                    <a:pt x="2164326" y="187676"/>
                    <a:pt x="2162139" y="189997"/>
                    <a:pt x="2161432" y="190266"/>
                  </a:cubicBezTo>
                  <a:cubicBezTo>
                    <a:pt x="2160692" y="190569"/>
                    <a:pt x="2159547" y="190703"/>
                    <a:pt x="2159547" y="190703"/>
                  </a:cubicBezTo>
                  <a:lnTo>
                    <a:pt x="2155475" y="190131"/>
                  </a:lnTo>
                  <a:lnTo>
                    <a:pt x="2155744" y="188113"/>
                  </a:lnTo>
                  <a:lnTo>
                    <a:pt x="2156047" y="186229"/>
                  </a:lnTo>
                  <a:cubicBezTo>
                    <a:pt x="2156047" y="186229"/>
                    <a:pt x="2149821" y="185489"/>
                    <a:pt x="2149249" y="185489"/>
                  </a:cubicBezTo>
                  <a:cubicBezTo>
                    <a:pt x="2148677" y="185489"/>
                    <a:pt x="2145614" y="186633"/>
                    <a:pt x="2145614" y="186633"/>
                  </a:cubicBezTo>
                  <a:cubicBezTo>
                    <a:pt x="2145614" y="186633"/>
                    <a:pt x="2145042" y="188214"/>
                    <a:pt x="2144739" y="188651"/>
                  </a:cubicBezTo>
                  <a:cubicBezTo>
                    <a:pt x="2144437" y="189088"/>
                    <a:pt x="2144167" y="190669"/>
                    <a:pt x="2144167" y="191847"/>
                  </a:cubicBezTo>
                  <a:cubicBezTo>
                    <a:pt x="2144167" y="192991"/>
                    <a:pt x="2142855" y="193596"/>
                    <a:pt x="2142283" y="194471"/>
                  </a:cubicBezTo>
                  <a:cubicBezTo>
                    <a:pt x="2141710" y="195345"/>
                    <a:pt x="2139254" y="194908"/>
                    <a:pt x="2138076" y="194605"/>
                  </a:cubicBezTo>
                  <a:cubicBezTo>
                    <a:pt x="2136931" y="194303"/>
                    <a:pt x="2137201" y="192284"/>
                    <a:pt x="2136898" y="191712"/>
                  </a:cubicBezTo>
                  <a:cubicBezTo>
                    <a:pt x="2136628" y="191140"/>
                    <a:pt x="2133566" y="191712"/>
                    <a:pt x="2132826" y="191712"/>
                  </a:cubicBezTo>
                  <a:cubicBezTo>
                    <a:pt x="2132119" y="191712"/>
                    <a:pt x="2130369" y="190838"/>
                    <a:pt x="2130369" y="190838"/>
                  </a:cubicBezTo>
                  <a:lnTo>
                    <a:pt x="2123705" y="190131"/>
                  </a:lnTo>
                  <a:lnTo>
                    <a:pt x="2120239" y="189559"/>
                  </a:lnTo>
                  <a:lnTo>
                    <a:pt x="2116032" y="187104"/>
                  </a:lnTo>
                  <a:lnTo>
                    <a:pt x="2111825" y="183773"/>
                  </a:lnTo>
                  <a:cubicBezTo>
                    <a:pt x="2111825" y="183773"/>
                    <a:pt x="2109234" y="180140"/>
                    <a:pt x="2108493" y="179871"/>
                  </a:cubicBezTo>
                  <a:cubicBezTo>
                    <a:pt x="2107787" y="179568"/>
                    <a:pt x="2106171" y="180578"/>
                    <a:pt x="2106171" y="180578"/>
                  </a:cubicBezTo>
                  <a:cubicBezTo>
                    <a:pt x="2106171" y="180578"/>
                    <a:pt x="2106171" y="184783"/>
                    <a:pt x="2106608" y="185085"/>
                  </a:cubicBezTo>
                  <a:cubicBezTo>
                    <a:pt x="2107046" y="185388"/>
                    <a:pt x="2107349" y="188281"/>
                    <a:pt x="2107349" y="188281"/>
                  </a:cubicBezTo>
                  <a:lnTo>
                    <a:pt x="2102873" y="190165"/>
                  </a:lnTo>
                  <a:lnTo>
                    <a:pt x="2101560" y="193495"/>
                  </a:lnTo>
                  <a:lnTo>
                    <a:pt x="2098363" y="197263"/>
                  </a:lnTo>
                  <a:lnTo>
                    <a:pt x="2092844" y="200728"/>
                  </a:lnTo>
                  <a:cubicBezTo>
                    <a:pt x="2092844" y="200728"/>
                    <a:pt x="2091700" y="203049"/>
                    <a:pt x="2091531" y="203486"/>
                  </a:cubicBezTo>
                  <a:cubicBezTo>
                    <a:pt x="2091397" y="203923"/>
                    <a:pt x="2085002" y="209138"/>
                    <a:pt x="2085002" y="209138"/>
                  </a:cubicBezTo>
                  <a:lnTo>
                    <a:pt x="2082815" y="205673"/>
                  </a:lnTo>
                  <a:lnTo>
                    <a:pt x="2078473" y="201771"/>
                  </a:lnTo>
                  <a:lnTo>
                    <a:pt x="2074670" y="202141"/>
                  </a:lnTo>
                  <a:cubicBezTo>
                    <a:pt x="2074670" y="202141"/>
                    <a:pt x="2069555" y="204731"/>
                    <a:pt x="2068579" y="204865"/>
                  </a:cubicBezTo>
                  <a:cubicBezTo>
                    <a:pt x="2067603" y="204966"/>
                    <a:pt x="2068579" y="199988"/>
                    <a:pt x="2068579" y="199988"/>
                  </a:cubicBezTo>
                  <a:cubicBezTo>
                    <a:pt x="2068579" y="199988"/>
                    <a:pt x="2063901" y="200862"/>
                    <a:pt x="2063026" y="200425"/>
                  </a:cubicBezTo>
                  <a:cubicBezTo>
                    <a:pt x="2062151" y="199988"/>
                    <a:pt x="2063026" y="198575"/>
                    <a:pt x="2063026" y="198575"/>
                  </a:cubicBezTo>
                  <a:cubicBezTo>
                    <a:pt x="2063026" y="198575"/>
                    <a:pt x="2061175" y="195413"/>
                    <a:pt x="2060300" y="195211"/>
                  </a:cubicBezTo>
                  <a:cubicBezTo>
                    <a:pt x="2059425" y="195009"/>
                    <a:pt x="2059559" y="195211"/>
                    <a:pt x="2059088" y="195211"/>
                  </a:cubicBezTo>
                  <a:cubicBezTo>
                    <a:pt x="2058651" y="195211"/>
                    <a:pt x="2053872" y="194235"/>
                    <a:pt x="2053232" y="194000"/>
                  </a:cubicBezTo>
                  <a:cubicBezTo>
                    <a:pt x="2052593" y="193798"/>
                    <a:pt x="2052795" y="192385"/>
                    <a:pt x="2052795" y="192385"/>
                  </a:cubicBezTo>
                  <a:cubicBezTo>
                    <a:pt x="2052795" y="192385"/>
                    <a:pt x="2052795" y="187070"/>
                    <a:pt x="2052795" y="186734"/>
                  </a:cubicBezTo>
                  <a:cubicBezTo>
                    <a:pt x="2052795" y="186397"/>
                    <a:pt x="2053939" y="181755"/>
                    <a:pt x="2053939" y="181755"/>
                  </a:cubicBezTo>
                  <a:lnTo>
                    <a:pt x="2053468" y="171865"/>
                  </a:lnTo>
                  <a:cubicBezTo>
                    <a:pt x="2053468" y="171865"/>
                    <a:pt x="2050843" y="169577"/>
                    <a:pt x="2050439" y="169376"/>
                  </a:cubicBezTo>
                  <a:cubicBezTo>
                    <a:pt x="2050002" y="169174"/>
                    <a:pt x="2046098" y="163926"/>
                    <a:pt x="2046098" y="163926"/>
                  </a:cubicBezTo>
                  <a:lnTo>
                    <a:pt x="2046199" y="161302"/>
                  </a:lnTo>
                  <a:cubicBezTo>
                    <a:pt x="2046199" y="161302"/>
                    <a:pt x="2044011" y="159351"/>
                    <a:pt x="2043708" y="159351"/>
                  </a:cubicBezTo>
                  <a:cubicBezTo>
                    <a:pt x="2043405" y="159351"/>
                    <a:pt x="2040242" y="156424"/>
                    <a:pt x="2040242" y="156424"/>
                  </a:cubicBezTo>
                  <a:lnTo>
                    <a:pt x="2037852" y="153262"/>
                  </a:lnTo>
                  <a:lnTo>
                    <a:pt x="2037516" y="148822"/>
                  </a:lnTo>
                  <a:lnTo>
                    <a:pt x="2037852" y="146534"/>
                  </a:lnTo>
                  <a:lnTo>
                    <a:pt x="2036439" y="143507"/>
                  </a:lnTo>
                  <a:lnTo>
                    <a:pt x="2033612" y="140143"/>
                  </a:lnTo>
                  <a:lnTo>
                    <a:pt x="2031761" y="137317"/>
                  </a:lnTo>
                  <a:cubicBezTo>
                    <a:pt x="2031761" y="137317"/>
                    <a:pt x="2031660" y="134727"/>
                    <a:pt x="2031424" y="133852"/>
                  </a:cubicBezTo>
                  <a:cubicBezTo>
                    <a:pt x="2031222" y="132977"/>
                    <a:pt x="2031088" y="131262"/>
                    <a:pt x="2030886" y="130589"/>
                  </a:cubicBezTo>
                  <a:cubicBezTo>
                    <a:pt x="2030684" y="129950"/>
                    <a:pt x="2030112" y="127965"/>
                    <a:pt x="2029910" y="127326"/>
                  </a:cubicBezTo>
                  <a:cubicBezTo>
                    <a:pt x="2029708" y="126687"/>
                    <a:pt x="2028496" y="124837"/>
                    <a:pt x="2028496" y="124837"/>
                  </a:cubicBezTo>
                  <a:lnTo>
                    <a:pt x="2025568" y="120598"/>
                  </a:lnTo>
                  <a:lnTo>
                    <a:pt x="2024492" y="120060"/>
                  </a:lnTo>
                  <a:lnTo>
                    <a:pt x="2024256" y="116359"/>
                  </a:lnTo>
                  <a:lnTo>
                    <a:pt x="2025333" y="113096"/>
                  </a:lnTo>
                  <a:lnTo>
                    <a:pt x="2028799" y="111246"/>
                  </a:lnTo>
                  <a:lnTo>
                    <a:pt x="2030549" y="109396"/>
                  </a:lnTo>
                  <a:cubicBezTo>
                    <a:pt x="2030549" y="109396"/>
                    <a:pt x="2033477" y="107983"/>
                    <a:pt x="2033814" y="107781"/>
                  </a:cubicBezTo>
                  <a:cubicBezTo>
                    <a:pt x="2034150" y="107580"/>
                    <a:pt x="2034150" y="107142"/>
                    <a:pt x="2034150" y="106705"/>
                  </a:cubicBezTo>
                  <a:cubicBezTo>
                    <a:pt x="2034150" y="106268"/>
                    <a:pt x="2033814" y="106066"/>
                    <a:pt x="2033376" y="105494"/>
                  </a:cubicBezTo>
                  <a:cubicBezTo>
                    <a:pt x="2032939" y="104956"/>
                    <a:pt x="2031424" y="104619"/>
                    <a:pt x="2030886" y="103980"/>
                  </a:cubicBezTo>
                  <a:cubicBezTo>
                    <a:pt x="2030347" y="103341"/>
                    <a:pt x="2027285" y="103005"/>
                    <a:pt x="2025467" y="102466"/>
                  </a:cubicBezTo>
                  <a:cubicBezTo>
                    <a:pt x="2023616" y="101928"/>
                    <a:pt x="2022640" y="102466"/>
                    <a:pt x="2021126" y="102264"/>
                  </a:cubicBezTo>
                  <a:cubicBezTo>
                    <a:pt x="2019611" y="102029"/>
                    <a:pt x="2019174" y="102029"/>
                    <a:pt x="2018837" y="101928"/>
                  </a:cubicBezTo>
                  <a:cubicBezTo>
                    <a:pt x="2018501" y="101827"/>
                    <a:pt x="2017525" y="103879"/>
                    <a:pt x="2017087" y="104216"/>
                  </a:cubicBezTo>
                  <a:cubicBezTo>
                    <a:pt x="2016650" y="104552"/>
                    <a:pt x="2014496" y="106167"/>
                    <a:pt x="2012847" y="106268"/>
                  </a:cubicBezTo>
                  <a:cubicBezTo>
                    <a:pt x="2011231" y="106369"/>
                    <a:pt x="2010558" y="106167"/>
                    <a:pt x="2009919" y="105729"/>
                  </a:cubicBezTo>
                  <a:cubicBezTo>
                    <a:pt x="2009246" y="105292"/>
                    <a:pt x="2007967" y="106066"/>
                    <a:pt x="2007530" y="105830"/>
                  </a:cubicBezTo>
                  <a:cubicBezTo>
                    <a:pt x="2007092" y="105628"/>
                    <a:pt x="2006015" y="104518"/>
                    <a:pt x="2005578" y="103879"/>
                  </a:cubicBezTo>
                  <a:cubicBezTo>
                    <a:pt x="2005140" y="103240"/>
                    <a:pt x="2005477" y="102668"/>
                    <a:pt x="2005477" y="102029"/>
                  </a:cubicBezTo>
                  <a:cubicBezTo>
                    <a:pt x="2005477" y="101390"/>
                    <a:pt x="2004938" y="101053"/>
                    <a:pt x="2004703" y="99977"/>
                  </a:cubicBezTo>
                  <a:cubicBezTo>
                    <a:pt x="2004501" y="98901"/>
                    <a:pt x="2003727" y="98665"/>
                    <a:pt x="2003727" y="98665"/>
                  </a:cubicBezTo>
                  <a:cubicBezTo>
                    <a:pt x="2003727" y="98665"/>
                    <a:pt x="2002953" y="97252"/>
                    <a:pt x="2002515" y="96378"/>
                  </a:cubicBezTo>
                  <a:cubicBezTo>
                    <a:pt x="2002077" y="95503"/>
                    <a:pt x="2001875" y="95738"/>
                    <a:pt x="2001539" y="95167"/>
                  </a:cubicBezTo>
                  <a:cubicBezTo>
                    <a:pt x="2001202" y="94628"/>
                    <a:pt x="2000226" y="93653"/>
                    <a:pt x="1999486" y="92677"/>
                  </a:cubicBezTo>
                  <a:cubicBezTo>
                    <a:pt x="1998712" y="91702"/>
                    <a:pt x="1998813" y="91466"/>
                    <a:pt x="1998409" y="90491"/>
                  </a:cubicBezTo>
                  <a:cubicBezTo>
                    <a:pt x="1997972" y="89515"/>
                    <a:pt x="1997736" y="88842"/>
                    <a:pt x="1997298" y="88203"/>
                  </a:cubicBezTo>
                  <a:cubicBezTo>
                    <a:pt x="1996861" y="87564"/>
                    <a:pt x="1995986" y="87127"/>
                    <a:pt x="1995683" y="87026"/>
                  </a:cubicBezTo>
                  <a:cubicBezTo>
                    <a:pt x="1995347" y="86925"/>
                    <a:pt x="1994169" y="86588"/>
                    <a:pt x="1992957" y="86252"/>
                  </a:cubicBezTo>
                  <a:cubicBezTo>
                    <a:pt x="1991779" y="85916"/>
                    <a:pt x="1990567" y="84637"/>
                    <a:pt x="1990231" y="84301"/>
                  </a:cubicBezTo>
                  <a:cubicBezTo>
                    <a:pt x="1989895" y="83965"/>
                    <a:pt x="1988717" y="82787"/>
                    <a:pt x="1987842" y="82114"/>
                  </a:cubicBezTo>
                  <a:cubicBezTo>
                    <a:pt x="1986967" y="81475"/>
                    <a:pt x="1986764" y="81576"/>
                    <a:pt x="1986764" y="81576"/>
                  </a:cubicBezTo>
                  <a:lnTo>
                    <a:pt x="1984712" y="81913"/>
                  </a:lnTo>
                  <a:cubicBezTo>
                    <a:pt x="1984712" y="81913"/>
                    <a:pt x="1983736" y="84940"/>
                    <a:pt x="1983399" y="85176"/>
                  </a:cubicBezTo>
                  <a:cubicBezTo>
                    <a:pt x="1983063" y="85377"/>
                    <a:pt x="1982625" y="87564"/>
                    <a:pt x="1982423" y="88001"/>
                  </a:cubicBezTo>
                  <a:cubicBezTo>
                    <a:pt x="1982188" y="88439"/>
                    <a:pt x="1981010" y="90726"/>
                    <a:pt x="1981010" y="90726"/>
                  </a:cubicBezTo>
                  <a:lnTo>
                    <a:pt x="1980370" y="92240"/>
                  </a:lnTo>
                  <a:cubicBezTo>
                    <a:pt x="1980370" y="92240"/>
                    <a:pt x="1979697" y="95066"/>
                    <a:pt x="1979394" y="95839"/>
                  </a:cubicBezTo>
                  <a:cubicBezTo>
                    <a:pt x="1979058" y="96613"/>
                    <a:pt x="1978317" y="98564"/>
                    <a:pt x="1978317" y="98564"/>
                  </a:cubicBezTo>
                  <a:cubicBezTo>
                    <a:pt x="1978317" y="98564"/>
                    <a:pt x="1977341" y="99775"/>
                    <a:pt x="1976904" y="99775"/>
                  </a:cubicBezTo>
                  <a:cubicBezTo>
                    <a:pt x="1976466" y="99775"/>
                    <a:pt x="1975289" y="100212"/>
                    <a:pt x="1974851" y="100212"/>
                  </a:cubicBezTo>
                  <a:cubicBezTo>
                    <a:pt x="1974414" y="100212"/>
                    <a:pt x="1972798" y="101188"/>
                    <a:pt x="1972798" y="101188"/>
                  </a:cubicBezTo>
                  <a:lnTo>
                    <a:pt x="1975188" y="105528"/>
                  </a:lnTo>
                  <a:cubicBezTo>
                    <a:pt x="1975188" y="105528"/>
                    <a:pt x="1974312" y="106839"/>
                    <a:pt x="1974312" y="107142"/>
                  </a:cubicBezTo>
                  <a:cubicBezTo>
                    <a:pt x="1974312" y="107479"/>
                    <a:pt x="1972125" y="108555"/>
                    <a:pt x="1971586" y="109093"/>
                  </a:cubicBezTo>
                  <a:cubicBezTo>
                    <a:pt x="1971048" y="109632"/>
                    <a:pt x="1970173" y="109732"/>
                    <a:pt x="1970173" y="109732"/>
                  </a:cubicBezTo>
                  <a:lnTo>
                    <a:pt x="1967009" y="110069"/>
                  </a:lnTo>
                  <a:cubicBezTo>
                    <a:pt x="1967009" y="110069"/>
                    <a:pt x="1964822" y="110405"/>
                    <a:pt x="1964519" y="110405"/>
                  </a:cubicBezTo>
                  <a:cubicBezTo>
                    <a:pt x="1964182" y="110405"/>
                    <a:pt x="1961927" y="109329"/>
                    <a:pt x="1961927" y="109329"/>
                  </a:cubicBezTo>
                  <a:lnTo>
                    <a:pt x="1960077" y="107479"/>
                  </a:lnTo>
                  <a:lnTo>
                    <a:pt x="1958225" y="106268"/>
                  </a:lnTo>
                  <a:lnTo>
                    <a:pt x="1956173" y="103442"/>
                  </a:lnTo>
                  <a:lnTo>
                    <a:pt x="1955399" y="101356"/>
                  </a:lnTo>
                  <a:lnTo>
                    <a:pt x="1955298" y="98631"/>
                  </a:lnTo>
                  <a:lnTo>
                    <a:pt x="1954860" y="95267"/>
                  </a:lnTo>
                  <a:cubicBezTo>
                    <a:pt x="1954860" y="95267"/>
                    <a:pt x="1952908" y="93855"/>
                    <a:pt x="1951932" y="93653"/>
                  </a:cubicBezTo>
                  <a:cubicBezTo>
                    <a:pt x="1950956" y="93451"/>
                    <a:pt x="1947927" y="93888"/>
                    <a:pt x="1947590" y="93888"/>
                  </a:cubicBezTo>
                  <a:cubicBezTo>
                    <a:pt x="1947254" y="93888"/>
                    <a:pt x="1944225" y="94763"/>
                    <a:pt x="1944225" y="94763"/>
                  </a:cubicBezTo>
                  <a:lnTo>
                    <a:pt x="1942475" y="96075"/>
                  </a:lnTo>
                  <a:lnTo>
                    <a:pt x="1936720" y="96613"/>
                  </a:lnTo>
                  <a:lnTo>
                    <a:pt x="1932379" y="93350"/>
                  </a:lnTo>
                  <a:lnTo>
                    <a:pt x="1930528" y="92576"/>
                  </a:lnTo>
                  <a:lnTo>
                    <a:pt x="1929014" y="90188"/>
                  </a:lnTo>
                  <a:cubicBezTo>
                    <a:pt x="1929014" y="90188"/>
                    <a:pt x="1926523" y="87463"/>
                    <a:pt x="1926086" y="87362"/>
                  </a:cubicBezTo>
                  <a:cubicBezTo>
                    <a:pt x="1925648" y="87261"/>
                    <a:pt x="1924234" y="87564"/>
                    <a:pt x="1922956" y="87564"/>
                  </a:cubicBezTo>
                  <a:cubicBezTo>
                    <a:pt x="1921643" y="87564"/>
                    <a:pt x="1921306" y="87766"/>
                    <a:pt x="1920667" y="88001"/>
                  </a:cubicBezTo>
                  <a:cubicBezTo>
                    <a:pt x="1920028" y="88203"/>
                    <a:pt x="1916965" y="90053"/>
                    <a:pt x="1915248" y="90053"/>
                  </a:cubicBezTo>
                  <a:cubicBezTo>
                    <a:pt x="1913498" y="90053"/>
                    <a:pt x="1914037" y="89280"/>
                    <a:pt x="1914037" y="89280"/>
                  </a:cubicBezTo>
                  <a:cubicBezTo>
                    <a:pt x="1914037" y="89280"/>
                    <a:pt x="1915013" y="83864"/>
                    <a:pt x="1915248" y="83527"/>
                  </a:cubicBezTo>
                  <a:cubicBezTo>
                    <a:pt x="1915451" y="83191"/>
                    <a:pt x="1915248" y="82114"/>
                    <a:pt x="1915248" y="82114"/>
                  </a:cubicBezTo>
                  <a:cubicBezTo>
                    <a:pt x="1915248" y="82114"/>
                    <a:pt x="1918176" y="80903"/>
                    <a:pt x="1918614" y="80601"/>
                  </a:cubicBezTo>
                  <a:cubicBezTo>
                    <a:pt x="1919051" y="80264"/>
                    <a:pt x="1920903" y="79726"/>
                    <a:pt x="1921004" y="79087"/>
                  </a:cubicBezTo>
                  <a:cubicBezTo>
                    <a:pt x="1921104" y="78448"/>
                    <a:pt x="1924605" y="74848"/>
                    <a:pt x="1924605" y="74848"/>
                  </a:cubicBezTo>
                  <a:lnTo>
                    <a:pt x="1925244" y="73772"/>
                  </a:lnTo>
                  <a:lnTo>
                    <a:pt x="1924605" y="72022"/>
                  </a:lnTo>
                  <a:lnTo>
                    <a:pt x="1922417" y="70946"/>
                  </a:lnTo>
                  <a:lnTo>
                    <a:pt x="1923932" y="68356"/>
                  </a:lnTo>
                  <a:lnTo>
                    <a:pt x="1928374" y="66741"/>
                  </a:lnTo>
                  <a:lnTo>
                    <a:pt x="1932379" y="63713"/>
                  </a:lnTo>
                  <a:lnTo>
                    <a:pt x="1933893" y="61661"/>
                  </a:lnTo>
                  <a:lnTo>
                    <a:pt x="1934970" y="59071"/>
                  </a:lnTo>
                  <a:cubicBezTo>
                    <a:pt x="1934970" y="59071"/>
                    <a:pt x="1937797" y="56885"/>
                    <a:pt x="1938235" y="56447"/>
                  </a:cubicBezTo>
                  <a:cubicBezTo>
                    <a:pt x="1938672" y="56010"/>
                    <a:pt x="1939446" y="54160"/>
                    <a:pt x="1939648" y="53823"/>
                  </a:cubicBezTo>
                  <a:cubicBezTo>
                    <a:pt x="1939850" y="53487"/>
                    <a:pt x="1940826" y="51536"/>
                    <a:pt x="1940826" y="51536"/>
                  </a:cubicBezTo>
                  <a:lnTo>
                    <a:pt x="1942004" y="48508"/>
                  </a:lnTo>
                  <a:lnTo>
                    <a:pt x="1942341" y="45245"/>
                  </a:lnTo>
                  <a:lnTo>
                    <a:pt x="1941466" y="43765"/>
                  </a:lnTo>
                  <a:lnTo>
                    <a:pt x="1940725" y="38887"/>
                  </a:lnTo>
                  <a:cubicBezTo>
                    <a:pt x="1940725" y="38887"/>
                    <a:pt x="1942138" y="37676"/>
                    <a:pt x="1942576" y="37273"/>
                  </a:cubicBezTo>
                  <a:cubicBezTo>
                    <a:pt x="1943014" y="36835"/>
                    <a:pt x="1944326" y="36398"/>
                    <a:pt x="1944326" y="36398"/>
                  </a:cubicBezTo>
                  <a:lnTo>
                    <a:pt x="1948331" y="34649"/>
                  </a:lnTo>
                  <a:lnTo>
                    <a:pt x="1951596" y="32260"/>
                  </a:lnTo>
                  <a:lnTo>
                    <a:pt x="1951898" y="30074"/>
                  </a:lnTo>
                  <a:lnTo>
                    <a:pt x="1950048" y="27585"/>
                  </a:lnTo>
                  <a:lnTo>
                    <a:pt x="1949173" y="25633"/>
                  </a:lnTo>
                  <a:lnTo>
                    <a:pt x="1945370" y="21832"/>
                  </a:lnTo>
                  <a:lnTo>
                    <a:pt x="1940793" y="18031"/>
                  </a:lnTo>
                  <a:lnTo>
                    <a:pt x="1937090" y="13052"/>
                  </a:lnTo>
                  <a:lnTo>
                    <a:pt x="1931335" y="8376"/>
                  </a:lnTo>
                  <a:lnTo>
                    <a:pt x="1927634" y="4373"/>
                  </a:lnTo>
                  <a:lnTo>
                    <a:pt x="1927634" y="34"/>
                  </a:lnTo>
                  <a:lnTo>
                    <a:pt x="1926759" y="0"/>
                  </a:lnTo>
                  <a:lnTo>
                    <a:pt x="1925008" y="0"/>
                  </a:lnTo>
                  <a:lnTo>
                    <a:pt x="1921979" y="0"/>
                  </a:lnTo>
                  <a:lnTo>
                    <a:pt x="1918210" y="706"/>
                  </a:lnTo>
                  <a:lnTo>
                    <a:pt x="1912859" y="1716"/>
                  </a:lnTo>
                  <a:lnTo>
                    <a:pt x="1910537" y="1716"/>
                  </a:lnTo>
                  <a:lnTo>
                    <a:pt x="1907643" y="1716"/>
                  </a:lnTo>
                  <a:lnTo>
                    <a:pt x="1905758" y="1716"/>
                  </a:lnTo>
                  <a:lnTo>
                    <a:pt x="1903133" y="3364"/>
                  </a:lnTo>
                  <a:lnTo>
                    <a:pt x="1898791" y="6930"/>
                  </a:lnTo>
                  <a:lnTo>
                    <a:pt x="1897479" y="9385"/>
                  </a:lnTo>
                  <a:lnTo>
                    <a:pt x="1893710" y="10395"/>
                  </a:lnTo>
                  <a:lnTo>
                    <a:pt x="1874594" y="10395"/>
                  </a:lnTo>
                  <a:lnTo>
                    <a:pt x="1872002" y="10395"/>
                  </a:lnTo>
                  <a:lnTo>
                    <a:pt x="1870252" y="11471"/>
                  </a:lnTo>
                  <a:lnTo>
                    <a:pt x="1868502" y="12850"/>
                  </a:lnTo>
                  <a:lnTo>
                    <a:pt x="1864733" y="14734"/>
                  </a:lnTo>
                  <a:lnTo>
                    <a:pt x="1862276" y="16315"/>
                  </a:lnTo>
                  <a:lnTo>
                    <a:pt x="1861570" y="17190"/>
                  </a:lnTo>
                  <a:lnTo>
                    <a:pt x="1860425" y="20083"/>
                  </a:lnTo>
                  <a:cubicBezTo>
                    <a:pt x="1860425" y="20083"/>
                    <a:pt x="1860291" y="21664"/>
                    <a:pt x="1860291" y="22101"/>
                  </a:cubicBezTo>
                  <a:cubicBezTo>
                    <a:pt x="1860291" y="22539"/>
                    <a:pt x="1859853" y="23985"/>
                    <a:pt x="1859853" y="23985"/>
                  </a:cubicBezTo>
                  <a:lnTo>
                    <a:pt x="1859281" y="25734"/>
                  </a:lnTo>
                  <a:lnTo>
                    <a:pt x="1858541" y="27484"/>
                  </a:lnTo>
                  <a:lnTo>
                    <a:pt x="1857396" y="29065"/>
                  </a:lnTo>
                  <a:cubicBezTo>
                    <a:pt x="1857396" y="29065"/>
                    <a:pt x="1856084" y="31386"/>
                    <a:pt x="1855646" y="31958"/>
                  </a:cubicBezTo>
                  <a:cubicBezTo>
                    <a:pt x="1855209" y="32530"/>
                    <a:pt x="1854199" y="34582"/>
                    <a:pt x="1854199" y="34582"/>
                  </a:cubicBezTo>
                  <a:lnTo>
                    <a:pt x="1852315" y="36903"/>
                  </a:lnTo>
                  <a:lnTo>
                    <a:pt x="1851002" y="38786"/>
                  </a:lnTo>
                  <a:lnTo>
                    <a:pt x="1849420" y="39796"/>
                  </a:lnTo>
                  <a:lnTo>
                    <a:pt x="1847839" y="41545"/>
                  </a:lnTo>
                  <a:cubicBezTo>
                    <a:pt x="1847839" y="41545"/>
                    <a:pt x="1846391" y="43563"/>
                    <a:pt x="1845954" y="43732"/>
                  </a:cubicBezTo>
                  <a:cubicBezTo>
                    <a:pt x="1845516" y="43866"/>
                    <a:pt x="1843497" y="44741"/>
                    <a:pt x="1843497" y="44741"/>
                  </a:cubicBezTo>
                  <a:lnTo>
                    <a:pt x="1841747" y="45481"/>
                  </a:lnTo>
                  <a:lnTo>
                    <a:pt x="1838853" y="48105"/>
                  </a:lnTo>
                  <a:lnTo>
                    <a:pt x="1837540" y="49114"/>
                  </a:lnTo>
                  <a:lnTo>
                    <a:pt x="1835790" y="50426"/>
                  </a:lnTo>
                  <a:lnTo>
                    <a:pt x="1835487" y="51300"/>
                  </a:lnTo>
                  <a:lnTo>
                    <a:pt x="1835487" y="53184"/>
                  </a:lnTo>
                  <a:lnTo>
                    <a:pt x="1835622" y="55943"/>
                  </a:lnTo>
                  <a:lnTo>
                    <a:pt x="1833737" y="58701"/>
                  </a:lnTo>
                  <a:lnTo>
                    <a:pt x="1833434" y="61460"/>
                  </a:lnTo>
                  <a:lnTo>
                    <a:pt x="1831684" y="63915"/>
                  </a:lnTo>
                  <a:lnTo>
                    <a:pt x="1829799" y="65227"/>
                  </a:lnTo>
                  <a:lnTo>
                    <a:pt x="1827612" y="67246"/>
                  </a:lnTo>
                  <a:lnTo>
                    <a:pt x="1822396" y="67818"/>
                  </a:lnTo>
                  <a:lnTo>
                    <a:pt x="1819804" y="67818"/>
                  </a:lnTo>
                  <a:lnTo>
                    <a:pt x="1817920" y="69129"/>
                  </a:lnTo>
                  <a:lnTo>
                    <a:pt x="1815463" y="71316"/>
                  </a:lnTo>
                  <a:lnTo>
                    <a:pt x="1815025" y="71316"/>
                  </a:lnTo>
                  <a:lnTo>
                    <a:pt x="1814016" y="72527"/>
                  </a:lnTo>
                  <a:lnTo>
                    <a:pt x="1814588" y="75656"/>
                  </a:lnTo>
                  <a:lnTo>
                    <a:pt x="1814588" y="77102"/>
                  </a:lnTo>
                  <a:lnTo>
                    <a:pt x="1814285" y="78111"/>
                  </a:lnTo>
                  <a:lnTo>
                    <a:pt x="1813275" y="81576"/>
                  </a:lnTo>
                  <a:lnTo>
                    <a:pt x="1812838" y="86050"/>
                  </a:lnTo>
                  <a:cubicBezTo>
                    <a:pt x="1812838" y="86050"/>
                    <a:pt x="1812838" y="87934"/>
                    <a:pt x="1812838" y="88371"/>
                  </a:cubicBezTo>
                  <a:cubicBezTo>
                    <a:pt x="1812838" y="88809"/>
                    <a:pt x="1813343" y="90390"/>
                    <a:pt x="1813343" y="90827"/>
                  </a:cubicBezTo>
                  <a:cubicBezTo>
                    <a:pt x="1813343" y="91264"/>
                    <a:pt x="1813982" y="92845"/>
                    <a:pt x="1813982" y="92845"/>
                  </a:cubicBezTo>
                  <a:lnTo>
                    <a:pt x="1814857" y="94426"/>
                  </a:lnTo>
                  <a:lnTo>
                    <a:pt x="1815732" y="95301"/>
                  </a:lnTo>
                  <a:cubicBezTo>
                    <a:pt x="1815732" y="95301"/>
                    <a:pt x="1816876" y="95604"/>
                    <a:pt x="1817482" y="95604"/>
                  </a:cubicBezTo>
                  <a:cubicBezTo>
                    <a:pt x="1818054" y="95604"/>
                    <a:pt x="1821117" y="96344"/>
                    <a:pt x="1821117" y="96344"/>
                  </a:cubicBezTo>
                  <a:lnTo>
                    <a:pt x="1823708" y="96209"/>
                  </a:lnTo>
                  <a:lnTo>
                    <a:pt x="1825896" y="95469"/>
                  </a:lnTo>
                  <a:lnTo>
                    <a:pt x="1827477" y="94595"/>
                  </a:lnTo>
                  <a:cubicBezTo>
                    <a:pt x="1827477" y="94595"/>
                    <a:pt x="1829059" y="94460"/>
                    <a:pt x="1829665" y="93148"/>
                  </a:cubicBezTo>
                  <a:cubicBezTo>
                    <a:pt x="1830237" y="91836"/>
                    <a:pt x="1831247" y="90692"/>
                    <a:pt x="1831247" y="90692"/>
                  </a:cubicBezTo>
                  <a:lnTo>
                    <a:pt x="1833132" y="88237"/>
                  </a:lnTo>
                  <a:cubicBezTo>
                    <a:pt x="1833132" y="88237"/>
                    <a:pt x="1835319" y="87059"/>
                    <a:pt x="1836766" y="86555"/>
                  </a:cubicBezTo>
                  <a:cubicBezTo>
                    <a:pt x="1838213" y="86050"/>
                    <a:pt x="1839088" y="86487"/>
                    <a:pt x="1839526" y="86723"/>
                  </a:cubicBezTo>
                  <a:cubicBezTo>
                    <a:pt x="1839963" y="86958"/>
                    <a:pt x="1841848" y="86218"/>
                    <a:pt x="1843295" y="86790"/>
                  </a:cubicBezTo>
                  <a:cubicBezTo>
                    <a:pt x="1844742" y="87362"/>
                    <a:pt x="1845315" y="86487"/>
                    <a:pt x="1846627" y="86790"/>
                  </a:cubicBezTo>
                  <a:cubicBezTo>
                    <a:pt x="1847939" y="87093"/>
                    <a:pt x="1848949" y="87362"/>
                    <a:pt x="1849656" y="87665"/>
                  </a:cubicBezTo>
                  <a:cubicBezTo>
                    <a:pt x="1850396" y="87968"/>
                    <a:pt x="1852112" y="88674"/>
                    <a:pt x="1852685" y="89111"/>
                  </a:cubicBezTo>
                  <a:cubicBezTo>
                    <a:pt x="1853257" y="89549"/>
                    <a:pt x="1854570" y="90121"/>
                    <a:pt x="1855007" y="90255"/>
                  </a:cubicBezTo>
                  <a:cubicBezTo>
                    <a:pt x="1855444" y="90390"/>
                    <a:pt x="1857464" y="92139"/>
                    <a:pt x="1858069" y="92274"/>
                  </a:cubicBezTo>
                  <a:cubicBezTo>
                    <a:pt x="1858642" y="92408"/>
                    <a:pt x="1858776" y="93148"/>
                    <a:pt x="1858776" y="93148"/>
                  </a:cubicBezTo>
                  <a:lnTo>
                    <a:pt x="1859786" y="94595"/>
                  </a:lnTo>
                  <a:lnTo>
                    <a:pt x="1861098" y="96344"/>
                  </a:lnTo>
                  <a:lnTo>
                    <a:pt x="1863252" y="99977"/>
                  </a:lnTo>
                  <a:lnTo>
                    <a:pt x="1863252" y="102433"/>
                  </a:lnTo>
                  <a:lnTo>
                    <a:pt x="1861872" y="104754"/>
                  </a:lnTo>
                  <a:lnTo>
                    <a:pt x="1860358" y="106940"/>
                  </a:lnTo>
                  <a:lnTo>
                    <a:pt x="1859921" y="109564"/>
                  </a:lnTo>
                  <a:lnTo>
                    <a:pt x="1859786" y="112188"/>
                  </a:lnTo>
                  <a:lnTo>
                    <a:pt x="1859786" y="115081"/>
                  </a:lnTo>
                  <a:lnTo>
                    <a:pt x="1862175" y="117402"/>
                  </a:lnTo>
                  <a:lnTo>
                    <a:pt x="1865574" y="119152"/>
                  </a:lnTo>
                  <a:lnTo>
                    <a:pt x="1867324" y="120901"/>
                  </a:lnTo>
                  <a:lnTo>
                    <a:pt x="1870084" y="122045"/>
                  </a:lnTo>
                  <a:lnTo>
                    <a:pt x="1872104" y="123491"/>
                  </a:lnTo>
                  <a:lnTo>
                    <a:pt x="1874291" y="124938"/>
                  </a:lnTo>
                  <a:lnTo>
                    <a:pt x="1875435" y="129580"/>
                  </a:lnTo>
                  <a:lnTo>
                    <a:pt x="1875435" y="135231"/>
                  </a:lnTo>
                  <a:lnTo>
                    <a:pt x="1874224" y="141017"/>
                  </a:lnTo>
                  <a:cubicBezTo>
                    <a:pt x="1874224" y="141017"/>
                    <a:pt x="1872709" y="146231"/>
                    <a:pt x="1872709" y="146803"/>
                  </a:cubicBezTo>
                  <a:cubicBezTo>
                    <a:pt x="1872709" y="147375"/>
                    <a:pt x="1869377" y="152589"/>
                    <a:pt x="1869377" y="152589"/>
                  </a:cubicBezTo>
                  <a:lnTo>
                    <a:pt x="1862714" y="159553"/>
                  </a:lnTo>
                  <a:lnTo>
                    <a:pt x="1854738" y="165507"/>
                  </a:lnTo>
                  <a:lnTo>
                    <a:pt x="1848781" y="170418"/>
                  </a:lnTo>
                  <a:lnTo>
                    <a:pt x="1840233" y="177382"/>
                  </a:lnTo>
                  <a:lnTo>
                    <a:pt x="1833838" y="183033"/>
                  </a:lnTo>
                  <a:lnTo>
                    <a:pt x="1829766" y="191578"/>
                  </a:lnTo>
                  <a:lnTo>
                    <a:pt x="1825425" y="198978"/>
                  </a:lnTo>
                  <a:lnTo>
                    <a:pt x="1823977" y="206951"/>
                  </a:lnTo>
                  <a:lnTo>
                    <a:pt x="1823102" y="218254"/>
                  </a:lnTo>
                  <a:lnTo>
                    <a:pt x="1821521" y="226058"/>
                  </a:lnTo>
                  <a:lnTo>
                    <a:pt x="1817448" y="233459"/>
                  </a:lnTo>
                  <a:lnTo>
                    <a:pt x="1812098" y="242575"/>
                  </a:lnTo>
                  <a:lnTo>
                    <a:pt x="1810953" y="248799"/>
                  </a:lnTo>
                  <a:lnTo>
                    <a:pt x="1804727" y="261851"/>
                  </a:lnTo>
                  <a:lnTo>
                    <a:pt x="1798400" y="274096"/>
                  </a:lnTo>
                  <a:lnTo>
                    <a:pt x="1795640" y="279680"/>
                  </a:lnTo>
                  <a:cubicBezTo>
                    <a:pt x="1795640" y="279680"/>
                    <a:pt x="1793756" y="282506"/>
                    <a:pt x="1793688" y="282708"/>
                  </a:cubicBezTo>
                  <a:cubicBezTo>
                    <a:pt x="1793621" y="282943"/>
                    <a:pt x="1790929" y="287282"/>
                    <a:pt x="1790929" y="287282"/>
                  </a:cubicBezTo>
                  <a:lnTo>
                    <a:pt x="1789919" y="292295"/>
                  </a:lnTo>
                  <a:lnTo>
                    <a:pt x="1789414" y="298081"/>
                  </a:lnTo>
                  <a:lnTo>
                    <a:pt x="1785342" y="306423"/>
                  </a:lnTo>
                  <a:lnTo>
                    <a:pt x="1783020" y="310763"/>
                  </a:lnTo>
                  <a:lnTo>
                    <a:pt x="1782650" y="311638"/>
                  </a:lnTo>
                  <a:cubicBezTo>
                    <a:pt x="1782650" y="311638"/>
                    <a:pt x="1781573" y="313286"/>
                    <a:pt x="1781573" y="313589"/>
                  </a:cubicBezTo>
                  <a:cubicBezTo>
                    <a:pt x="1781573" y="313891"/>
                    <a:pt x="1780765" y="315540"/>
                    <a:pt x="1780765" y="315540"/>
                  </a:cubicBezTo>
                  <a:lnTo>
                    <a:pt x="1780496" y="317625"/>
                  </a:lnTo>
                  <a:lnTo>
                    <a:pt x="1779755" y="319072"/>
                  </a:lnTo>
                  <a:lnTo>
                    <a:pt x="1779755" y="321326"/>
                  </a:lnTo>
                  <a:lnTo>
                    <a:pt x="1779755" y="323210"/>
                  </a:lnTo>
                  <a:cubicBezTo>
                    <a:pt x="1779755" y="323210"/>
                    <a:pt x="1779755" y="324656"/>
                    <a:pt x="1779755" y="324959"/>
                  </a:cubicBezTo>
                  <a:cubicBezTo>
                    <a:pt x="1779755" y="325262"/>
                    <a:pt x="1778880" y="327650"/>
                    <a:pt x="1778880" y="327650"/>
                  </a:cubicBezTo>
                  <a:cubicBezTo>
                    <a:pt x="1778880" y="327650"/>
                    <a:pt x="1777938" y="328827"/>
                    <a:pt x="1777433" y="329164"/>
                  </a:cubicBezTo>
                  <a:cubicBezTo>
                    <a:pt x="1776928" y="329534"/>
                    <a:pt x="1775851" y="330173"/>
                    <a:pt x="1775851" y="330173"/>
                  </a:cubicBezTo>
                  <a:lnTo>
                    <a:pt x="1774472" y="330980"/>
                  </a:lnTo>
                  <a:cubicBezTo>
                    <a:pt x="1774472" y="330980"/>
                    <a:pt x="1772149" y="332225"/>
                    <a:pt x="1771947" y="332292"/>
                  </a:cubicBezTo>
                  <a:cubicBezTo>
                    <a:pt x="1771745" y="332360"/>
                    <a:pt x="1770567" y="333234"/>
                    <a:pt x="1770567" y="333234"/>
                  </a:cubicBezTo>
                  <a:lnTo>
                    <a:pt x="1769895" y="335051"/>
                  </a:lnTo>
                  <a:lnTo>
                    <a:pt x="1768952" y="337439"/>
                  </a:lnTo>
                  <a:lnTo>
                    <a:pt x="1768380" y="339323"/>
                  </a:lnTo>
                  <a:lnTo>
                    <a:pt x="1769524" y="340332"/>
                  </a:lnTo>
                  <a:lnTo>
                    <a:pt x="1771914" y="342149"/>
                  </a:lnTo>
                  <a:cubicBezTo>
                    <a:pt x="1771914" y="342149"/>
                    <a:pt x="1773294" y="342216"/>
                    <a:pt x="1773495" y="342283"/>
                  </a:cubicBezTo>
                  <a:cubicBezTo>
                    <a:pt x="1773698" y="342351"/>
                    <a:pt x="1775515" y="342418"/>
                    <a:pt x="1775818" y="342283"/>
                  </a:cubicBezTo>
                  <a:cubicBezTo>
                    <a:pt x="1776121" y="342149"/>
                    <a:pt x="1777501" y="342081"/>
                    <a:pt x="1777770" y="342081"/>
                  </a:cubicBezTo>
                  <a:cubicBezTo>
                    <a:pt x="1778039" y="342081"/>
                    <a:pt x="1779082" y="341644"/>
                    <a:pt x="1779082" y="341644"/>
                  </a:cubicBezTo>
                  <a:cubicBezTo>
                    <a:pt x="1779082" y="341644"/>
                    <a:pt x="1780226" y="341207"/>
                    <a:pt x="1780462" y="341140"/>
                  </a:cubicBezTo>
                  <a:cubicBezTo>
                    <a:pt x="1780698" y="341072"/>
                    <a:pt x="1782044" y="341072"/>
                    <a:pt x="1782347" y="341140"/>
                  </a:cubicBezTo>
                  <a:cubicBezTo>
                    <a:pt x="1782650" y="341207"/>
                    <a:pt x="1783524" y="341140"/>
                    <a:pt x="1783524" y="341140"/>
                  </a:cubicBezTo>
                  <a:lnTo>
                    <a:pt x="1785712" y="342653"/>
                  </a:lnTo>
                  <a:lnTo>
                    <a:pt x="1786587" y="344604"/>
                  </a:lnTo>
                  <a:lnTo>
                    <a:pt x="1787092" y="349684"/>
                  </a:lnTo>
                  <a:lnTo>
                    <a:pt x="1786957" y="353452"/>
                  </a:lnTo>
                  <a:lnTo>
                    <a:pt x="1786823" y="356917"/>
                  </a:lnTo>
                  <a:lnTo>
                    <a:pt x="1786385" y="359608"/>
                  </a:lnTo>
                  <a:lnTo>
                    <a:pt x="1785510" y="362501"/>
                  </a:lnTo>
                  <a:lnTo>
                    <a:pt x="1783693" y="365764"/>
                  </a:lnTo>
                  <a:lnTo>
                    <a:pt x="1782077" y="367950"/>
                  </a:lnTo>
                  <a:lnTo>
                    <a:pt x="1779822" y="370406"/>
                  </a:lnTo>
                  <a:lnTo>
                    <a:pt x="1777298" y="372794"/>
                  </a:lnTo>
                  <a:lnTo>
                    <a:pt x="1773664" y="374981"/>
                  </a:lnTo>
                  <a:lnTo>
                    <a:pt x="1768447" y="379119"/>
                  </a:lnTo>
                  <a:lnTo>
                    <a:pt x="1762558" y="379119"/>
                  </a:lnTo>
                  <a:lnTo>
                    <a:pt x="1756264" y="380868"/>
                  </a:lnTo>
                  <a:lnTo>
                    <a:pt x="1752798" y="380868"/>
                  </a:lnTo>
                  <a:lnTo>
                    <a:pt x="1750207" y="382516"/>
                  </a:lnTo>
                  <a:lnTo>
                    <a:pt x="1745865" y="385880"/>
                  </a:lnTo>
                  <a:lnTo>
                    <a:pt x="1729778" y="396510"/>
                  </a:lnTo>
                  <a:cubicBezTo>
                    <a:pt x="1729778" y="396510"/>
                    <a:pt x="1709350" y="410841"/>
                    <a:pt x="1709014" y="411076"/>
                  </a:cubicBezTo>
                  <a:cubicBezTo>
                    <a:pt x="1708677" y="411278"/>
                    <a:pt x="1706388" y="414339"/>
                    <a:pt x="1706388" y="414339"/>
                  </a:cubicBezTo>
                  <a:cubicBezTo>
                    <a:pt x="1706388" y="414339"/>
                    <a:pt x="1704739" y="415988"/>
                    <a:pt x="1703999" y="416526"/>
                  </a:cubicBezTo>
                  <a:cubicBezTo>
                    <a:pt x="1703225" y="417064"/>
                    <a:pt x="1701273" y="419251"/>
                    <a:pt x="1700398" y="420092"/>
                  </a:cubicBezTo>
                  <a:cubicBezTo>
                    <a:pt x="1699523" y="420966"/>
                    <a:pt x="1696056" y="422917"/>
                    <a:pt x="1695484" y="423119"/>
                  </a:cubicBezTo>
                  <a:cubicBezTo>
                    <a:pt x="1694946" y="423321"/>
                    <a:pt x="1692321" y="425945"/>
                    <a:pt x="1692321" y="425945"/>
                  </a:cubicBezTo>
                  <a:lnTo>
                    <a:pt x="1689258" y="425844"/>
                  </a:lnTo>
                  <a:cubicBezTo>
                    <a:pt x="1689258" y="425844"/>
                    <a:pt x="1685018" y="428031"/>
                    <a:pt x="1684580" y="428132"/>
                  </a:cubicBezTo>
                  <a:cubicBezTo>
                    <a:pt x="1684143" y="428233"/>
                    <a:pt x="1683402" y="428233"/>
                    <a:pt x="1682965" y="428132"/>
                  </a:cubicBezTo>
                  <a:cubicBezTo>
                    <a:pt x="1682527" y="428031"/>
                    <a:pt x="1681450" y="428771"/>
                    <a:pt x="1681215" y="429107"/>
                  </a:cubicBezTo>
                  <a:cubicBezTo>
                    <a:pt x="1681013" y="429444"/>
                    <a:pt x="1680003" y="430756"/>
                    <a:pt x="1679700" y="431058"/>
                  </a:cubicBezTo>
                  <a:cubicBezTo>
                    <a:pt x="1679364" y="431395"/>
                    <a:pt x="1677109" y="431933"/>
                    <a:pt x="1676234" y="432034"/>
                  </a:cubicBezTo>
                  <a:cubicBezTo>
                    <a:pt x="1675359" y="432135"/>
                    <a:pt x="1673945" y="432471"/>
                    <a:pt x="1673306" y="432471"/>
                  </a:cubicBezTo>
                  <a:cubicBezTo>
                    <a:pt x="1672666" y="432471"/>
                    <a:pt x="1669267" y="432572"/>
                    <a:pt x="1668863" y="432572"/>
                  </a:cubicBezTo>
                  <a:cubicBezTo>
                    <a:pt x="1668426" y="432572"/>
                    <a:pt x="1667012" y="432370"/>
                    <a:pt x="1667012" y="432370"/>
                  </a:cubicBezTo>
                  <a:cubicBezTo>
                    <a:pt x="1667012" y="432370"/>
                    <a:pt x="1665498" y="431731"/>
                    <a:pt x="1665263" y="431395"/>
                  </a:cubicBezTo>
                  <a:cubicBezTo>
                    <a:pt x="1665027" y="431058"/>
                    <a:pt x="1662873" y="429780"/>
                    <a:pt x="1662873" y="429780"/>
                  </a:cubicBezTo>
                  <a:lnTo>
                    <a:pt x="1660685" y="427392"/>
                  </a:lnTo>
                  <a:lnTo>
                    <a:pt x="1658296" y="423691"/>
                  </a:lnTo>
                  <a:lnTo>
                    <a:pt x="1655772" y="421101"/>
                  </a:lnTo>
                  <a:lnTo>
                    <a:pt x="1653618" y="420865"/>
                  </a:lnTo>
                  <a:lnTo>
                    <a:pt x="1650993" y="420865"/>
                  </a:lnTo>
                  <a:lnTo>
                    <a:pt x="1647392" y="421572"/>
                  </a:lnTo>
                  <a:lnTo>
                    <a:pt x="1642950" y="422278"/>
                  </a:lnTo>
                  <a:lnTo>
                    <a:pt x="1635209" y="423893"/>
                  </a:lnTo>
                  <a:cubicBezTo>
                    <a:pt x="1635209" y="423893"/>
                    <a:pt x="1632180" y="423893"/>
                    <a:pt x="1631204" y="423557"/>
                  </a:cubicBezTo>
                  <a:cubicBezTo>
                    <a:pt x="1630228" y="423220"/>
                    <a:pt x="1627300" y="422346"/>
                    <a:pt x="1625785" y="421269"/>
                  </a:cubicBezTo>
                  <a:cubicBezTo>
                    <a:pt x="1624271" y="420193"/>
                    <a:pt x="1623396" y="420933"/>
                    <a:pt x="1621646" y="419856"/>
                  </a:cubicBezTo>
                  <a:cubicBezTo>
                    <a:pt x="1619896" y="418780"/>
                    <a:pt x="1618483" y="418342"/>
                    <a:pt x="1617843" y="417905"/>
                  </a:cubicBezTo>
                  <a:cubicBezTo>
                    <a:pt x="1617204" y="417468"/>
                    <a:pt x="1616093" y="416930"/>
                    <a:pt x="1615016" y="416156"/>
                  </a:cubicBezTo>
                  <a:cubicBezTo>
                    <a:pt x="1613939" y="415382"/>
                    <a:pt x="1612727" y="415281"/>
                    <a:pt x="1611987" y="414541"/>
                  </a:cubicBezTo>
                  <a:cubicBezTo>
                    <a:pt x="1611213" y="413767"/>
                    <a:pt x="1609799" y="413566"/>
                    <a:pt x="1609261" y="413128"/>
                  </a:cubicBezTo>
                  <a:cubicBezTo>
                    <a:pt x="1608723" y="412691"/>
                    <a:pt x="1606771" y="411514"/>
                    <a:pt x="1605896" y="410639"/>
                  </a:cubicBezTo>
                  <a:cubicBezTo>
                    <a:pt x="1605021" y="409764"/>
                    <a:pt x="1603708" y="409428"/>
                    <a:pt x="1603069" y="408789"/>
                  </a:cubicBezTo>
                  <a:cubicBezTo>
                    <a:pt x="1602429" y="408150"/>
                    <a:pt x="1601016" y="407578"/>
                    <a:pt x="1599804" y="406300"/>
                  </a:cubicBezTo>
                  <a:cubicBezTo>
                    <a:pt x="1598593" y="404988"/>
                    <a:pt x="1598256" y="405761"/>
                    <a:pt x="1596741" y="404550"/>
                  </a:cubicBezTo>
                  <a:cubicBezTo>
                    <a:pt x="1595227" y="403373"/>
                    <a:pt x="1595429" y="404012"/>
                    <a:pt x="1593915" y="403137"/>
                  </a:cubicBezTo>
                  <a:cubicBezTo>
                    <a:pt x="1592400" y="402263"/>
                    <a:pt x="1591525" y="402498"/>
                    <a:pt x="1590314" y="401725"/>
                  </a:cubicBezTo>
                  <a:cubicBezTo>
                    <a:pt x="1589102" y="400951"/>
                    <a:pt x="1587486" y="401725"/>
                    <a:pt x="1587486" y="401725"/>
                  </a:cubicBezTo>
                  <a:lnTo>
                    <a:pt x="1586511" y="401725"/>
                  </a:lnTo>
                  <a:lnTo>
                    <a:pt x="1584660" y="402532"/>
                  </a:lnTo>
                  <a:lnTo>
                    <a:pt x="1581833" y="405829"/>
                  </a:lnTo>
                  <a:lnTo>
                    <a:pt x="1578568" y="412691"/>
                  </a:lnTo>
                  <a:lnTo>
                    <a:pt x="1575741" y="416930"/>
                  </a:lnTo>
                  <a:lnTo>
                    <a:pt x="1573352" y="424532"/>
                  </a:lnTo>
                  <a:lnTo>
                    <a:pt x="1569885" y="430957"/>
                  </a:lnTo>
                  <a:lnTo>
                    <a:pt x="1566520" y="439771"/>
                  </a:lnTo>
                  <a:cubicBezTo>
                    <a:pt x="1566520" y="439771"/>
                    <a:pt x="1561068" y="452251"/>
                    <a:pt x="1561068" y="452588"/>
                  </a:cubicBezTo>
                  <a:cubicBezTo>
                    <a:pt x="1561068" y="452924"/>
                    <a:pt x="1560092" y="457364"/>
                    <a:pt x="1560092" y="457364"/>
                  </a:cubicBezTo>
                  <a:cubicBezTo>
                    <a:pt x="1560092" y="457364"/>
                    <a:pt x="1558880" y="464092"/>
                    <a:pt x="1558443" y="466178"/>
                  </a:cubicBezTo>
                  <a:cubicBezTo>
                    <a:pt x="1558005" y="468230"/>
                    <a:pt x="1555380" y="471493"/>
                    <a:pt x="1555515" y="471830"/>
                  </a:cubicBezTo>
                  <a:cubicBezTo>
                    <a:pt x="1555616" y="472166"/>
                    <a:pt x="1554303" y="476068"/>
                    <a:pt x="1554303" y="476068"/>
                  </a:cubicBezTo>
                  <a:cubicBezTo>
                    <a:pt x="1554303" y="476068"/>
                    <a:pt x="1551275" y="479869"/>
                    <a:pt x="1550399" y="480206"/>
                  </a:cubicBezTo>
                  <a:cubicBezTo>
                    <a:pt x="1549524" y="480542"/>
                    <a:pt x="1548111" y="486059"/>
                    <a:pt x="1548111" y="486395"/>
                  </a:cubicBezTo>
                  <a:cubicBezTo>
                    <a:pt x="1548111" y="486732"/>
                    <a:pt x="1545822" y="490836"/>
                    <a:pt x="1545620" y="491408"/>
                  </a:cubicBezTo>
                  <a:cubicBezTo>
                    <a:pt x="1545385" y="491946"/>
                    <a:pt x="1544544" y="499650"/>
                    <a:pt x="1544544" y="499650"/>
                  </a:cubicBezTo>
                  <a:lnTo>
                    <a:pt x="1540000" y="510313"/>
                  </a:lnTo>
                  <a:cubicBezTo>
                    <a:pt x="1540000" y="510313"/>
                    <a:pt x="1540202" y="514014"/>
                    <a:pt x="1540202" y="514552"/>
                  </a:cubicBezTo>
                  <a:cubicBezTo>
                    <a:pt x="1540202" y="515090"/>
                    <a:pt x="1540303" y="521381"/>
                    <a:pt x="1540101" y="521818"/>
                  </a:cubicBezTo>
                  <a:cubicBezTo>
                    <a:pt x="1539866" y="522255"/>
                    <a:pt x="1539327" y="526931"/>
                    <a:pt x="1539024" y="528109"/>
                  </a:cubicBezTo>
                  <a:cubicBezTo>
                    <a:pt x="1538687" y="529286"/>
                    <a:pt x="1536433" y="530497"/>
                    <a:pt x="1535221" y="531809"/>
                  </a:cubicBezTo>
                  <a:cubicBezTo>
                    <a:pt x="1534043" y="533121"/>
                    <a:pt x="1532831" y="534971"/>
                    <a:pt x="1532596" y="535274"/>
                  </a:cubicBezTo>
                  <a:cubicBezTo>
                    <a:pt x="1532394" y="535610"/>
                    <a:pt x="1527178" y="540589"/>
                    <a:pt x="1526740" y="540824"/>
                  </a:cubicBezTo>
                  <a:cubicBezTo>
                    <a:pt x="1526303" y="541026"/>
                    <a:pt x="1524452" y="544962"/>
                    <a:pt x="1524351" y="545265"/>
                  </a:cubicBezTo>
                  <a:cubicBezTo>
                    <a:pt x="1524250" y="545601"/>
                    <a:pt x="1521423" y="547889"/>
                    <a:pt x="1521086" y="548091"/>
                  </a:cubicBezTo>
                  <a:cubicBezTo>
                    <a:pt x="1520783" y="548292"/>
                    <a:pt x="1520009" y="552329"/>
                    <a:pt x="1520009" y="552329"/>
                  </a:cubicBezTo>
                  <a:cubicBezTo>
                    <a:pt x="1520009" y="552329"/>
                    <a:pt x="1519773" y="556568"/>
                    <a:pt x="1519773" y="556904"/>
                  </a:cubicBezTo>
                  <a:cubicBezTo>
                    <a:pt x="1519773" y="557241"/>
                    <a:pt x="1520413" y="561244"/>
                    <a:pt x="1520413" y="561244"/>
                  </a:cubicBezTo>
                  <a:lnTo>
                    <a:pt x="1520649" y="569485"/>
                  </a:lnTo>
                  <a:cubicBezTo>
                    <a:pt x="1520649" y="569485"/>
                    <a:pt x="1523913" y="574060"/>
                    <a:pt x="1524115" y="574700"/>
                  </a:cubicBezTo>
                  <a:cubicBezTo>
                    <a:pt x="1524317" y="575339"/>
                    <a:pt x="1524553" y="578299"/>
                    <a:pt x="1524553" y="578938"/>
                  </a:cubicBezTo>
                  <a:cubicBezTo>
                    <a:pt x="1524553" y="579577"/>
                    <a:pt x="1523240" y="581663"/>
                    <a:pt x="1521625" y="583076"/>
                  </a:cubicBezTo>
                  <a:cubicBezTo>
                    <a:pt x="1520009" y="584489"/>
                    <a:pt x="1518898" y="585565"/>
                    <a:pt x="1517822" y="586238"/>
                  </a:cubicBezTo>
                  <a:cubicBezTo>
                    <a:pt x="1516745" y="586877"/>
                    <a:pt x="1513379" y="590140"/>
                    <a:pt x="1512942" y="590477"/>
                  </a:cubicBezTo>
                  <a:cubicBezTo>
                    <a:pt x="1512504" y="590813"/>
                    <a:pt x="1510653" y="592226"/>
                    <a:pt x="1509879" y="592327"/>
                  </a:cubicBezTo>
                  <a:cubicBezTo>
                    <a:pt x="1509105" y="592428"/>
                    <a:pt x="1505740" y="594816"/>
                    <a:pt x="1505201" y="594715"/>
                  </a:cubicBezTo>
                  <a:cubicBezTo>
                    <a:pt x="1504663" y="594614"/>
                    <a:pt x="1504764" y="596666"/>
                    <a:pt x="1504764" y="596666"/>
                  </a:cubicBezTo>
                  <a:cubicBezTo>
                    <a:pt x="1504764" y="596666"/>
                    <a:pt x="1504663" y="601342"/>
                    <a:pt x="1504663" y="601880"/>
                  </a:cubicBezTo>
                  <a:cubicBezTo>
                    <a:pt x="1504663" y="602419"/>
                    <a:pt x="1504764" y="607431"/>
                    <a:pt x="1504764" y="607431"/>
                  </a:cubicBezTo>
                  <a:cubicBezTo>
                    <a:pt x="1504764" y="607431"/>
                    <a:pt x="1505437" y="610896"/>
                    <a:pt x="1505538" y="611333"/>
                  </a:cubicBezTo>
                  <a:cubicBezTo>
                    <a:pt x="1505639" y="611770"/>
                    <a:pt x="1505975" y="613183"/>
                    <a:pt x="1505975" y="613183"/>
                  </a:cubicBezTo>
                  <a:cubicBezTo>
                    <a:pt x="1505975" y="613183"/>
                    <a:pt x="1507389" y="619171"/>
                    <a:pt x="1507591" y="619474"/>
                  </a:cubicBezTo>
                  <a:cubicBezTo>
                    <a:pt x="1507826" y="619810"/>
                    <a:pt x="1508903" y="621223"/>
                    <a:pt x="1508903" y="621223"/>
                  </a:cubicBezTo>
                  <a:lnTo>
                    <a:pt x="1512706" y="625563"/>
                  </a:lnTo>
                  <a:lnTo>
                    <a:pt x="1515870" y="629263"/>
                  </a:lnTo>
                  <a:cubicBezTo>
                    <a:pt x="1515870" y="629263"/>
                    <a:pt x="1520884" y="634814"/>
                    <a:pt x="1521086" y="635251"/>
                  </a:cubicBezTo>
                  <a:cubicBezTo>
                    <a:pt x="1521322" y="635688"/>
                    <a:pt x="1524149" y="638850"/>
                    <a:pt x="1524149" y="638850"/>
                  </a:cubicBezTo>
                  <a:lnTo>
                    <a:pt x="1532966" y="643526"/>
                  </a:lnTo>
                  <a:cubicBezTo>
                    <a:pt x="1532966" y="643526"/>
                    <a:pt x="1535053" y="645477"/>
                    <a:pt x="1535457" y="645814"/>
                  </a:cubicBezTo>
                  <a:cubicBezTo>
                    <a:pt x="1535894" y="646150"/>
                    <a:pt x="1537207" y="645814"/>
                    <a:pt x="1537207" y="645814"/>
                  </a:cubicBezTo>
                  <a:lnTo>
                    <a:pt x="1541010" y="644737"/>
                  </a:lnTo>
                  <a:lnTo>
                    <a:pt x="1543399" y="641272"/>
                  </a:lnTo>
                  <a:cubicBezTo>
                    <a:pt x="1543399" y="641272"/>
                    <a:pt x="1541986" y="635957"/>
                    <a:pt x="1541986" y="635285"/>
                  </a:cubicBezTo>
                  <a:cubicBezTo>
                    <a:pt x="1541986" y="634645"/>
                    <a:pt x="1543197" y="632896"/>
                    <a:pt x="1544914" y="632021"/>
                  </a:cubicBezTo>
                  <a:cubicBezTo>
                    <a:pt x="1546663" y="631147"/>
                    <a:pt x="1548717" y="630407"/>
                    <a:pt x="1549827" y="629835"/>
                  </a:cubicBezTo>
                  <a:cubicBezTo>
                    <a:pt x="1550904" y="629297"/>
                    <a:pt x="1553866" y="628220"/>
                    <a:pt x="1556020" y="627648"/>
                  </a:cubicBezTo>
                  <a:cubicBezTo>
                    <a:pt x="1558207" y="627110"/>
                    <a:pt x="1560159" y="626673"/>
                    <a:pt x="1561674" y="626336"/>
                  </a:cubicBezTo>
                  <a:cubicBezTo>
                    <a:pt x="1563188" y="626000"/>
                    <a:pt x="1565712" y="625024"/>
                    <a:pt x="1567428" y="624587"/>
                  </a:cubicBezTo>
                  <a:cubicBezTo>
                    <a:pt x="1569179" y="624150"/>
                    <a:pt x="1577121" y="624251"/>
                    <a:pt x="1577121" y="624251"/>
                  </a:cubicBezTo>
                  <a:lnTo>
                    <a:pt x="1579746" y="624251"/>
                  </a:lnTo>
                  <a:cubicBezTo>
                    <a:pt x="1579746" y="624251"/>
                    <a:pt x="1584323" y="626269"/>
                    <a:pt x="1584525" y="625933"/>
                  </a:cubicBezTo>
                  <a:cubicBezTo>
                    <a:pt x="1584727" y="625596"/>
                    <a:pt x="1587554" y="624587"/>
                    <a:pt x="1588429" y="623914"/>
                  </a:cubicBezTo>
                  <a:cubicBezTo>
                    <a:pt x="1589304" y="623275"/>
                    <a:pt x="1593107" y="623040"/>
                    <a:pt x="1594857" y="622401"/>
                  </a:cubicBezTo>
                  <a:cubicBezTo>
                    <a:pt x="1596607" y="621761"/>
                    <a:pt x="1598559" y="621761"/>
                    <a:pt x="1598996" y="621425"/>
                  </a:cubicBezTo>
                  <a:cubicBezTo>
                    <a:pt x="1599434" y="621089"/>
                    <a:pt x="1606064" y="621189"/>
                    <a:pt x="1606064" y="621189"/>
                  </a:cubicBezTo>
                  <a:lnTo>
                    <a:pt x="1611281" y="620214"/>
                  </a:lnTo>
                  <a:lnTo>
                    <a:pt x="1617035" y="620113"/>
                  </a:lnTo>
                  <a:lnTo>
                    <a:pt x="1624002" y="621526"/>
                  </a:lnTo>
                  <a:lnTo>
                    <a:pt x="1637598" y="629128"/>
                  </a:lnTo>
                  <a:cubicBezTo>
                    <a:pt x="1637598" y="629128"/>
                    <a:pt x="1639988" y="631853"/>
                    <a:pt x="1641199" y="633266"/>
                  </a:cubicBezTo>
                  <a:cubicBezTo>
                    <a:pt x="1642411" y="634679"/>
                    <a:pt x="1648267" y="637067"/>
                    <a:pt x="1648704" y="637168"/>
                  </a:cubicBezTo>
                  <a:cubicBezTo>
                    <a:pt x="1649142" y="637269"/>
                    <a:pt x="1653382" y="638043"/>
                    <a:pt x="1653921" y="637942"/>
                  </a:cubicBezTo>
                  <a:cubicBezTo>
                    <a:pt x="1654459" y="637841"/>
                    <a:pt x="1659238" y="637606"/>
                    <a:pt x="1660214" y="637067"/>
                  </a:cubicBezTo>
                  <a:cubicBezTo>
                    <a:pt x="1661190" y="636529"/>
                    <a:pt x="1662805" y="635318"/>
                    <a:pt x="1662907" y="635015"/>
                  </a:cubicBezTo>
                  <a:cubicBezTo>
                    <a:pt x="1663008" y="634679"/>
                    <a:pt x="1663681" y="632291"/>
                    <a:pt x="1663782" y="630878"/>
                  </a:cubicBezTo>
                  <a:cubicBezTo>
                    <a:pt x="1663883" y="629465"/>
                    <a:pt x="1664421" y="628927"/>
                    <a:pt x="1664421" y="628927"/>
                  </a:cubicBezTo>
                  <a:lnTo>
                    <a:pt x="1664959" y="626875"/>
                  </a:lnTo>
                  <a:lnTo>
                    <a:pt x="1664959" y="624385"/>
                  </a:lnTo>
                  <a:lnTo>
                    <a:pt x="1668157" y="620786"/>
                  </a:lnTo>
                  <a:lnTo>
                    <a:pt x="1669940" y="618196"/>
                  </a:lnTo>
                  <a:lnTo>
                    <a:pt x="1671892" y="615706"/>
                  </a:lnTo>
                  <a:lnTo>
                    <a:pt x="1674383" y="612006"/>
                  </a:lnTo>
                  <a:cubicBezTo>
                    <a:pt x="1674383" y="612006"/>
                    <a:pt x="1677647" y="608844"/>
                    <a:pt x="1678085" y="608406"/>
                  </a:cubicBezTo>
                  <a:cubicBezTo>
                    <a:pt x="1678522" y="607969"/>
                    <a:pt x="1682426" y="606119"/>
                    <a:pt x="1682426" y="606119"/>
                  </a:cubicBezTo>
                  <a:cubicBezTo>
                    <a:pt x="1682426" y="606119"/>
                    <a:pt x="1685792" y="603932"/>
                    <a:pt x="1686431" y="603831"/>
                  </a:cubicBezTo>
                  <a:cubicBezTo>
                    <a:pt x="1687071" y="603731"/>
                    <a:pt x="1691446" y="601006"/>
                    <a:pt x="1691446" y="601006"/>
                  </a:cubicBezTo>
                  <a:lnTo>
                    <a:pt x="1694037" y="599694"/>
                  </a:lnTo>
                  <a:cubicBezTo>
                    <a:pt x="1694037" y="599694"/>
                    <a:pt x="1700028" y="596330"/>
                    <a:pt x="1700364" y="596229"/>
                  </a:cubicBezTo>
                  <a:cubicBezTo>
                    <a:pt x="1700701" y="596128"/>
                    <a:pt x="1707768" y="596128"/>
                    <a:pt x="1707768" y="596128"/>
                  </a:cubicBezTo>
                  <a:lnTo>
                    <a:pt x="1714499" y="594715"/>
                  </a:lnTo>
                  <a:lnTo>
                    <a:pt x="1719177" y="594715"/>
                  </a:lnTo>
                  <a:cubicBezTo>
                    <a:pt x="1719177" y="594715"/>
                    <a:pt x="1721667" y="595220"/>
                    <a:pt x="1722341" y="595859"/>
                  </a:cubicBezTo>
                  <a:cubicBezTo>
                    <a:pt x="1722980" y="596498"/>
                    <a:pt x="1725066" y="596229"/>
                    <a:pt x="1725066" y="596229"/>
                  </a:cubicBezTo>
                  <a:cubicBezTo>
                    <a:pt x="1725066" y="596229"/>
                    <a:pt x="1728668" y="597305"/>
                    <a:pt x="1729105" y="597440"/>
                  </a:cubicBezTo>
                  <a:cubicBezTo>
                    <a:pt x="1729543" y="597541"/>
                    <a:pt x="1732706" y="600602"/>
                    <a:pt x="1733009" y="601039"/>
                  </a:cubicBezTo>
                  <a:cubicBezTo>
                    <a:pt x="1733346" y="601477"/>
                    <a:pt x="1734422" y="602116"/>
                    <a:pt x="1734422" y="602116"/>
                  </a:cubicBezTo>
                  <a:cubicBezTo>
                    <a:pt x="1734422" y="602116"/>
                    <a:pt x="1735399" y="602351"/>
                    <a:pt x="1735836" y="602890"/>
                  </a:cubicBezTo>
                  <a:cubicBezTo>
                    <a:pt x="1736274" y="603428"/>
                    <a:pt x="1738999" y="602688"/>
                    <a:pt x="1739303" y="602890"/>
                  </a:cubicBezTo>
                  <a:cubicBezTo>
                    <a:pt x="1739639" y="603125"/>
                    <a:pt x="1741894" y="603529"/>
                    <a:pt x="1742466" y="603529"/>
                  </a:cubicBezTo>
                  <a:cubicBezTo>
                    <a:pt x="1743005" y="603529"/>
                    <a:pt x="1745630" y="605715"/>
                    <a:pt x="1746067" y="606253"/>
                  </a:cubicBezTo>
                  <a:cubicBezTo>
                    <a:pt x="1746504" y="606792"/>
                    <a:pt x="1748457" y="608642"/>
                    <a:pt x="1748457" y="608642"/>
                  </a:cubicBezTo>
                  <a:cubicBezTo>
                    <a:pt x="1748457" y="608642"/>
                    <a:pt x="1750408" y="610694"/>
                    <a:pt x="1750509" y="611030"/>
                  </a:cubicBezTo>
                  <a:cubicBezTo>
                    <a:pt x="1750611" y="611367"/>
                    <a:pt x="1753437" y="613520"/>
                    <a:pt x="1753875" y="613856"/>
                  </a:cubicBezTo>
                  <a:cubicBezTo>
                    <a:pt x="1754312" y="614192"/>
                    <a:pt x="1757240" y="617220"/>
                    <a:pt x="1757678" y="617556"/>
                  </a:cubicBezTo>
                  <a:cubicBezTo>
                    <a:pt x="1758115" y="617893"/>
                    <a:pt x="1760067" y="619306"/>
                    <a:pt x="1760303" y="619608"/>
                  </a:cubicBezTo>
                  <a:cubicBezTo>
                    <a:pt x="1760505" y="619945"/>
                    <a:pt x="1763029" y="620046"/>
                    <a:pt x="1764308" y="620248"/>
                  </a:cubicBezTo>
                  <a:cubicBezTo>
                    <a:pt x="1765620" y="620449"/>
                    <a:pt x="1766260" y="620349"/>
                    <a:pt x="1769524" y="620248"/>
                  </a:cubicBezTo>
                  <a:cubicBezTo>
                    <a:pt x="1772789" y="620147"/>
                    <a:pt x="1772015" y="621122"/>
                    <a:pt x="1773664" y="621122"/>
                  </a:cubicBezTo>
                  <a:cubicBezTo>
                    <a:pt x="1775313" y="621122"/>
                    <a:pt x="1775279" y="621560"/>
                    <a:pt x="1776289" y="621660"/>
                  </a:cubicBezTo>
                  <a:cubicBezTo>
                    <a:pt x="1777265" y="621761"/>
                    <a:pt x="1779553" y="624251"/>
                    <a:pt x="1781404" y="625462"/>
                  </a:cubicBezTo>
                  <a:cubicBezTo>
                    <a:pt x="1783255" y="626673"/>
                    <a:pt x="1783054" y="627076"/>
                    <a:pt x="1785005" y="627514"/>
                  </a:cubicBezTo>
                  <a:cubicBezTo>
                    <a:pt x="1786957" y="627951"/>
                    <a:pt x="1787159" y="628927"/>
                    <a:pt x="1787159" y="628927"/>
                  </a:cubicBezTo>
                  <a:cubicBezTo>
                    <a:pt x="1787159" y="628927"/>
                    <a:pt x="1790525" y="631416"/>
                    <a:pt x="1790962" y="631752"/>
                  </a:cubicBezTo>
                  <a:cubicBezTo>
                    <a:pt x="1791400" y="632089"/>
                    <a:pt x="1791602" y="634914"/>
                    <a:pt x="1791736" y="635217"/>
                  </a:cubicBezTo>
                  <a:cubicBezTo>
                    <a:pt x="1791837" y="635554"/>
                    <a:pt x="1794025" y="640431"/>
                    <a:pt x="1794462" y="640532"/>
                  </a:cubicBezTo>
                  <a:cubicBezTo>
                    <a:pt x="1794900" y="640633"/>
                    <a:pt x="1795438" y="640734"/>
                    <a:pt x="1797390" y="641508"/>
                  </a:cubicBezTo>
                  <a:cubicBezTo>
                    <a:pt x="1799342" y="642282"/>
                    <a:pt x="1799241" y="641272"/>
                    <a:pt x="1799578" y="641508"/>
                  </a:cubicBezTo>
                  <a:cubicBezTo>
                    <a:pt x="1799914" y="641710"/>
                    <a:pt x="1802068" y="642046"/>
                    <a:pt x="1803818" y="643257"/>
                  </a:cubicBezTo>
                  <a:cubicBezTo>
                    <a:pt x="1805568" y="644468"/>
                    <a:pt x="1804054" y="645107"/>
                    <a:pt x="1804054" y="645107"/>
                  </a:cubicBezTo>
                  <a:lnTo>
                    <a:pt x="1805232" y="647832"/>
                  </a:lnTo>
                  <a:cubicBezTo>
                    <a:pt x="1805232" y="647832"/>
                    <a:pt x="1807184" y="650120"/>
                    <a:pt x="1808833" y="651095"/>
                  </a:cubicBezTo>
                  <a:cubicBezTo>
                    <a:pt x="1810448" y="652071"/>
                    <a:pt x="1813713" y="655771"/>
                    <a:pt x="1814386" y="656208"/>
                  </a:cubicBezTo>
                  <a:cubicBezTo>
                    <a:pt x="1815025" y="656646"/>
                    <a:pt x="1818088" y="659471"/>
                    <a:pt x="1818391" y="659808"/>
                  </a:cubicBezTo>
                  <a:cubicBezTo>
                    <a:pt x="1818727" y="660144"/>
                    <a:pt x="1823944" y="664686"/>
                    <a:pt x="1824247" y="665022"/>
                  </a:cubicBezTo>
                  <a:cubicBezTo>
                    <a:pt x="1824583" y="665358"/>
                    <a:pt x="1830338" y="669597"/>
                    <a:pt x="1830540" y="669900"/>
                  </a:cubicBezTo>
                  <a:cubicBezTo>
                    <a:pt x="1830742" y="670236"/>
                    <a:pt x="1836396" y="676325"/>
                    <a:pt x="1836396" y="676325"/>
                  </a:cubicBezTo>
                  <a:lnTo>
                    <a:pt x="1839223" y="680664"/>
                  </a:lnTo>
                  <a:lnTo>
                    <a:pt x="1841713" y="683726"/>
                  </a:lnTo>
                  <a:cubicBezTo>
                    <a:pt x="1841713" y="683726"/>
                    <a:pt x="1844877" y="689915"/>
                    <a:pt x="1845180" y="690016"/>
                  </a:cubicBezTo>
                  <a:cubicBezTo>
                    <a:pt x="1845516" y="690117"/>
                    <a:pt x="1853324" y="696105"/>
                    <a:pt x="1854098" y="696744"/>
                  </a:cubicBezTo>
                  <a:cubicBezTo>
                    <a:pt x="1854872" y="697383"/>
                    <a:pt x="1856824" y="700209"/>
                    <a:pt x="1857464" y="701319"/>
                  </a:cubicBezTo>
                  <a:cubicBezTo>
                    <a:pt x="1858103" y="702396"/>
                    <a:pt x="1856387" y="703708"/>
                    <a:pt x="1856286" y="704145"/>
                  </a:cubicBezTo>
                  <a:cubicBezTo>
                    <a:pt x="1856185" y="704582"/>
                    <a:pt x="1853896" y="707071"/>
                    <a:pt x="1853459" y="707509"/>
                  </a:cubicBezTo>
                  <a:cubicBezTo>
                    <a:pt x="1853021" y="707946"/>
                    <a:pt x="1857464" y="711411"/>
                    <a:pt x="1859550" y="712622"/>
                  </a:cubicBezTo>
                  <a:cubicBezTo>
                    <a:pt x="1861603" y="713799"/>
                    <a:pt x="1861704" y="713799"/>
                    <a:pt x="1861704" y="713799"/>
                  </a:cubicBezTo>
                  <a:cubicBezTo>
                    <a:pt x="1861704" y="713799"/>
                    <a:pt x="1866820" y="719451"/>
                    <a:pt x="1867156" y="719989"/>
                  </a:cubicBezTo>
                  <a:cubicBezTo>
                    <a:pt x="1867493" y="720527"/>
                    <a:pt x="1867156" y="722916"/>
                    <a:pt x="1867156" y="722916"/>
                  </a:cubicBezTo>
                  <a:cubicBezTo>
                    <a:pt x="1867156" y="722916"/>
                    <a:pt x="1866483" y="724665"/>
                    <a:pt x="1866180" y="724766"/>
                  </a:cubicBezTo>
                  <a:cubicBezTo>
                    <a:pt x="1865844" y="724867"/>
                    <a:pt x="1862916" y="727592"/>
                    <a:pt x="1862478" y="727794"/>
                  </a:cubicBezTo>
                  <a:cubicBezTo>
                    <a:pt x="1862041" y="727995"/>
                    <a:pt x="1857800" y="731158"/>
                    <a:pt x="1857800" y="731158"/>
                  </a:cubicBezTo>
                  <a:cubicBezTo>
                    <a:pt x="1857800" y="731158"/>
                    <a:pt x="1851810" y="736170"/>
                    <a:pt x="1851170" y="736473"/>
                  </a:cubicBezTo>
                  <a:cubicBezTo>
                    <a:pt x="1850531" y="736809"/>
                    <a:pt x="1849118" y="738222"/>
                    <a:pt x="1849118" y="738222"/>
                  </a:cubicBezTo>
                  <a:lnTo>
                    <a:pt x="1842689" y="740947"/>
                  </a:lnTo>
                  <a:cubicBezTo>
                    <a:pt x="1842689" y="740947"/>
                    <a:pt x="1837271" y="742696"/>
                    <a:pt x="1836834" y="742898"/>
                  </a:cubicBezTo>
                  <a:cubicBezTo>
                    <a:pt x="1836396" y="743100"/>
                    <a:pt x="1830641" y="744210"/>
                    <a:pt x="1830641" y="744210"/>
                  </a:cubicBezTo>
                  <a:lnTo>
                    <a:pt x="1825727" y="744411"/>
                  </a:lnTo>
                  <a:cubicBezTo>
                    <a:pt x="1825727" y="744411"/>
                    <a:pt x="1815496" y="744210"/>
                    <a:pt x="1814318" y="744311"/>
                  </a:cubicBezTo>
                  <a:cubicBezTo>
                    <a:pt x="1813107" y="744411"/>
                    <a:pt x="1806174" y="745084"/>
                    <a:pt x="1805737" y="744950"/>
                  </a:cubicBezTo>
                  <a:cubicBezTo>
                    <a:pt x="1805299" y="744849"/>
                    <a:pt x="1803347" y="744411"/>
                    <a:pt x="1801732" y="743739"/>
                  </a:cubicBezTo>
                  <a:cubicBezTo>
                    <a:pt x="1800083" y="743100"/>
                    <a:pt x="1798568" y="742427"/>
                    <a:pt x="1798131" y="741989"/>
                  </a:cubicBezTo>
                  <a:cubicBezTo>
                    <a:pt x="1797693" y="741552"/>
                    <a:pt x="1796381" y="740139"/>
                    <a:pt x="1796078" y="739803"/>
                  </a:cubicBezTo>
                  <a:cubicBezTo>
                    <a:pt x="1795741" y="739466"/>
                    <a:pt x="1794429" y="737953"/>
                    <a:pt x="1793688" y="736775"/>
                  </a:cubicBezTo>
                  <a:cubicBezTo>
                    <a:pt x="1792914" y="735564"/>
                    <a:pt x="1792510" y="735800"/>
                    <a:pt x="1792510" y="735800"/>
                  </a:cubicBezTo>
                  <a:lnTo>
                    <a:pt x="1790996" y="734286"/>
                  </a:lnTo>
                  <a:lnTo>
                    <a:pt x="1788606" y="732537"/>
                  </a:lnTo>
                  <a:lnTo>
                    <a:pt x="1786857" y="731662"/>
                  </a:lnTo>
                  <a:lnTo>
                    <a:pt x="1784803" y="731763"/>
                  </a:lnTo>
                  <a:cubicBezTo>
                    <a:pt x="1784803" y="731763"/>
                    <a:pt x="1783491" y="731561"/>
                    <a:pt x="1782515" y="731763"/>
                  </a:cubicBezTo>
                  <a:cubicBezTo>
                    <a:pt x="1781539" y="731965"/>
                    <a:pt x="1780563" y="731763"/>
                    <a:pt x="1780563" y="731763"/>
                  </a:cubicBezTo>
                  <a:cubicBezTo>
                    <a:pt x="1780563" y="731763"/>
                    <a:pt x="1778712" y="732402"/>
                    <a:pt x="1778376" y="732537"/>
                  </a:cubicBezTo>
                  <a:cubicBezTo>
                    <a:pt x="1778072" y="732638"/>
                    <a:pt x="1776087" y="734488"/>
                    <a:pt x="1775784" y="734824"/>
                  </a:cubicBezTo>
                  <a:cubicBezTo>
                    <a:pt x="1775448" y="735161"/>
                    <a:pt x="1774034" y="736136"/>
                    <a:pt x="1774034" y="736136"/>
                  </a:cubicBezTo>
                  <a:cubicBezTo>
                    <a:pt x="1774034" y="736136"/>
                    <a:pt x="1771645" y="737650"/>
                    <a:pt x="1771207" y="738087"/>
                  </a:cubicBezTo>
                  <a:cubicBezTo>
                    <a:pt x="1770770" y="738525"/>
                    <a:pt x="1768481" y="738861"/>
                    <a:pt x="1768144" y="738962"/>
                  </a:cubicBezTo>
                  <a:cubicBezTo>
                    <a:pt x="1767842" y="739063"/>
                    <a:pt x="1766731" y="738962"/>
                    <a:pt x="1766731" y="738962"/>
                  </a:cubicBezTo>
                  <a:lnTo>
                    <a:pt x="1763567" y="738962"/>
                  </a:lnTo>
                  <a:cubicBezTo>
                    <a:pt x="1763567" y="738962"/>
                    <a:pt x="1760741" y="738693"/>
                    <a:pt x="1760101" y="738794"/>
                  </a:cubicBezTo>
                  <a:cubicBezTo>
                    <a:pt x="1759462" y="738895"/>
                    <a:pt x="1757813" y="738726"/>
                    <a:pt x="1757375" y="738726"/>
                  </a:cubicBezTo>
                  <a:cubicBezTo>
                    <a:pt x="1756938" y="738726"/>
                    <a:pt x="1752260" y="737213"/>
                    <a:pt x="1751182" y="736876"/>
                  </a:cubicBezTo>
                  <a:cubicBezTo>
                    <a:pt x="1750106" y="736540"/>
                    <a:pt x="1747279" y="736237"/>
                    <a:pt x="1746605" y="735800"/>
                  </a:cubicBezTo>
                  <a:cubicBezTo>
                    <a:pt x="1745966" y="735362"/>
                    <a:pt x="1744216" y="735699"/>
                    <a:pt x="1743779" y="735800"/>
                  </a:cubicBezTo>
                  <a:cubicBezTo>
                    <a:pt x="1743341" y="735901"/>
                    <a:pt x="1739740" y="735800"/>
                    <a:pt x="1739740" y="735800"/>
                  </a:cubicBezTo>
                  <a:cubicBezTo>
                    <a:pt x="1739740" y="735800"/>
                    <a:pt x="1736576" y="736573"/>
                    <a:pt x="1736173" y="736674"/>
                  </a:cubicBezTo>
                  <a:cubicBezTo>
                    <a:pt x="1735735" y="736775"/>
                    <a:pt x="1733346" y="737549"/>
                    <a:pt x="1733346" y="737549"/>
                  </a:cubicBezTo>
                  <a:lnTo>
                    <a:pt x="1729879" y="738861"/>
                  </a:lnTo>
                  <a:lnTo>
                    <a:pt x="1725538" y="740913"/>
                  </a:lnTo>
                  <a:cubicBezTo>
                    <a:pt x="1725538" y="740913"/>
                    <a:pt x="1723350" y="741687"/>
                    <a:pt x="1722913" y="741788"/>
                  </a:cubicBezTo>
                  <a:cubicBezTo>
                    <a:pt x="1722475" y="741888"/>
                    <a:pt x="1720321" y="742662"/>
                    <a:pt x="1720321" y="742662"/>
                  </a:cubicBezTo>
                  <a:lnTo>
                    <a:pt x="1717158" y="743840"/>
                  </a:lnTo>
                  <a:cubicBezTo>
                    <a:pt x="1717158" y="743840"/>
                    <a:pt x="1714432" y="745589"/>
                    <a:pt x="1713994" y="745791"/>
                  </a:cubicBezTo>
                  <a:cubicBezTo>
                    <a:pt x="1713557" y="746026"/>
                    <a:pt x="1711605" y="747742"/>
                    <a:pt x="1711268" y="748078"/>
                  </a:cubicBezTo>
                  <a:cubicBezTo>
                    <a:pt x="1710965" y="748415"/>
                    <a:pt x="1708677" y="750029"/>
                    <a:pt x="1708340" y="750130"/>
                  </a:cubicBezTo>
                  <a:cubicBezTo>
                    <a:pt x="1708004" y="750231"/>
                    <a:pt x="1705311" y="752519"/>
                    <a:pt x="1704537" y="753057"/>
                  </a:cubicBezTo>
                  <a:cubicBezTo>
                    <a:pt x="1703763" y="753595"/>
                    <a:pt x="1700499" y="756084"/>
                    <a:pt x="1699960" y="756421"/>
                  </a:cubicBezTo>
                  <a:cubicBezTo>
                    <a:pt x="1699422" y="756757"/>
                    <a:pt x="1698008" y="757632"/>
                    <a:pt x="1697335" y="757396"/>
                  </a:cubicBezTo>
                  <a:cubicBezTo>
                    <a:pt x="1696696" y="757161"/>
                    <a:pt x="1692321" y="760020"/>
                    <a:pt x="1692321" y="760020"/>
                  </a:cubicBezTo>
                  <a:lnTo>
                    <a:pt x="1688282" y="760121"/>
                  </a:lnTo>
                  <a:lnTo>
                    <a:pt x="1682527" y="759146"/>
                  </a:lnTo>
                  <a:cubicBezTo>
                    <a:pt x="1682527" y="759146"/>
                    <a:pt x="1679700" y="757935"/>
                    <a:pt x="1679364" y="757497"/>
                  </a:cubicBezTo>
                  <a:cubicBezTo>
                    <a:pt x="1679027" y="757060"/>
                    <a:pt x="1677950" y="758036"/>
                    <a:pt x="1677950" y="758036"/>
                  </a:cubicBezTo>
                  <a:cubicBezTo>
                    <a:pt x="1677950" y="758036"/>
                    <a:pt x="1675224" y="758036"/>
                    <a:pt x="1674349" y="758036"/>
                  </a:cubicBezTo>
                  <a:cubicBezTo>
                    <a:pt x="1673474" y="758036"/>
                    <a:pt x="1672397" y="758372"/>
                    <a:pt x="1672060" y="758574"/>
                  </a:cubicBezTo>
                  <a:cubicBezTo>
                    <a:pt x="1671724" y="758776"/>
                    <a:pt x="1667921" y="760323"/>
                    <a:pt x="1667921" y="760323"/>
                  </a:cubicBezTo>
                  <a:lnTo>
                    <a:pt x="1664454" y="764225"/>
                  </a:lnTo>
                  <a:lnTo>
                    <a:pt x="1662940" y="767589"/>
                  </a:lnTo>
                  <a:cubicBezTo>
                    <a:pt x="1662940" y="767589"/>
                    <a:pt x="1663041" y="772265"/>
                    <a:pt x="1662940" y="772601"/>
                  </a:cubicBezTo>
                  <a:cubicBezTo>
                    <a:pt x="1662839" y="772938"/>
                    <a:pt x="1660854" y="776638"/>
                    <a:pt x="1660349" y="777177"/>
                  </a:cubicBezTo>
                  <a:cubicBezTo>
                    <a:pt x="1659811" y="777715"/>
                    <a:pt x="1658599" y="780002"/>
                    <a:pt x="1657959" y="781079"/>
                  </a:cubicBezTo>
                  <a:cubicBezTo>
                    <a:pt x="1657320" y="782155"/>
                    <a:pt x="1655133" y="783232"/>
                    <a:pt x="1654358" y="783568"/>
                  </a:cubicBezTo>
                  <a:cubicBezTo>
                    <a:pt x="1653584" y="783904"/>
                    <a:pt x="1651868" y="784443"/>
                    <a:pt x="1651195" y="784443"/>
                  </a:cubicBezTo>
                  <a:cubicBezTo>
                    <a:pt x="1650556" y="784443"/>
                    <a:pt x="1648805" y="784443"/>
                    <a:pt x="1647930" y="784241"/>
                  </a:cubicBezTo>
                  <a:cubicBezTo>
                    <a:pt x="1647055" y="784039"/>
                    <a:pt x="1645743" y="783164"/>
                    <a:pt x="1644868" y="783164"/>
                  </a:cubicBezTo>
                  <a:cubicBezTo>
                    <a:pt x="1643993" y="783164"/>
                    <a:pt x="1638339" y="782391"/>
                    <a:pt x="1637464" y="781953"/>
                  </a:cubicBezTo>
                  <a:cubicBezTo>
                    <a:pt x="1636589" y="781516"/>
                    <a:pt x="1631911" y="781751"/>
                    <a:pt x="1631608" y="781953"/>
                  </a:cubicBezTo>
                  <a:cubicBezTo>
                    <a:pt x="1631271" y="782155"/>
                    <a:pt x="1626829" y="781953"/>
                    <a:pt x="1626829" y="781953"/>
                  </a:cubicBezTo>
                  <a:lnTo>
                    <a:pt x="1621074" y="783265"/>
                  </a:lnTo>
                  <a:cubicBezTo>
                    <a:pt x="1621074" y="783265"/>
                    <a:pt x="1614646" y="786427"/>
                    <a:pt x="1614444" y="786730"/>
                  </a:cubicBezTo>
                  <a:cubicBezTo>
                    <a:pt x="1614242" y="787067"/>
                    <a:pt x="1606602" y="792718"/>
                    <a:pt x="1606199" y="792718"/>
                  </a:cubicBezTo>
                  <a:cubicBezTo>
                    <a:pt x="1605795" y="792718"/>
                    <a:pt x="1600343" y="794333"/>
                    <a:pt x="1600343" y="794333"/>
                  </a:cubicBezTo>
                  <a:lnTo>
                    <a:pt x="1595463" y="798672"/>
                  </a:lnTo>
                  <a:lnTo>
                    <a:pt x="1593410" y="805198"/>
                  </a:lnTo>
                  <a:lnTo>
                    <a:pt x="1590919" y="808798"/>
                  </a:lnTo>
                  <a:lnTo>
                    <a:pt x="1585804" y="813575"/>
                  </a:lnTo>
                  <a:lnTo>
                    <a:pt x="1583953" y="815526"/>
                  </a:lnTo>
                  <a:lnTo>
                    <a:pt x="1581227" y="818351"/>
                  </a:lnTo>
                  <a:lnTo>
                    <a:pt x="1577962" y="822691"/>
                  </a:lnTo>
                  <a:lnTo>
                    <a:pt x="1576212" y="826829"/>
                  </a:lnTo>
                  <a:lnTo>
                    <a:pt x="1574563" y="828040"/>
                  </a:lnTo>
                  <a:cubicBezTo>
                    <a:pt x="1574563" y="828040"/>
                    <a:pt x="1573823" y="831067"/>
                    <a:pt x="1573486" y="831404"/>
                  </a:cubicBezTo>
                  <a:cubicBezTo>
                    <a:pt x="1573150" y="831740"/>
                    <a:pt x="1572712" y="833893"/>
                    <a:pt x="1572712" y="833893"/>
                  </a:cubicBezTo>
                  <a:cubicBezTo>
                    <a:pt x="1572712" y="833893"/>
                    <a:pt x="1572510" y="835743"/>
                    <a:pt x="1572376" y="836618"/>
                  </a:cubicBezTo>
                  <a:cubicBezTo>
                    <a:pt x="1572275" y="837492"/>
                    <a:pt x="1572039" y="837694"/>
                    <a:pt x="1572039" y="837694"/>
                  </a:cubicBezTo>
                  <a:lnTo>
                    <a:pt x="1573654" y="840318"/>
                  </a:lnTo>
                  <a:lnTo>
                    <a:pt x="1576683" y="845431"/>
                  </a:lnTo>
                  <a:lnTo>
                    <a:pt x="1577323" y="847618"/>
                  </a:lnTo>
                  <a:lnTo>
                    <a:pt x="1577861" y="851083"/>
                  </a:lnTo>
                  <a:lnTo>
                    <a:pt x="1577861" y="854548"/>
                  </a:lnTo>
                  <a:lnTo>
                    <a:pt x="1577861" y="856600"/>
                  </a:lnTo>
                  <a:lnTo>
                    <a:pt x="1577054" y="858349"/>
                  </a:lnTo>
                  <a:cubicBezTo>
                    <a:pt x="1577054" y="858349"/>
                    <a:pt x="1575472" y="859863"/>
                    <a:pt x="1575034" y="860098"/>
                  </a:cubicBezTo>
                  <a:cubicBezTo>
                    <a:pt x="1574597" y="860334"/>
                    <a:pt x="1572544" y="862049"/>
                    <a:pt x="1572544" y="862049"/>
                  </a:cubicBezTo>
                  <a:cubicBezTo>
                    <a:pt x="1572544" y="862049"/>
                    <a:pt x="1570155" y="862688"/>
                    <a:pt x="1569818" y="862924"/>
                  </a:cubicBezTo>
                  <a:cubicBezTo>
                    <a:pt x="1569481" y="863126"/>
                    <a:pt x="1565678" y="862924"/>
                    <a:pt x="1565678" y="862924"/>
                  </a:cubicBezTo>
                  <a:lnTo>
                    <a:pt x="1561236" y="863698"/>
                  </a:lnTo>
                  <a:lnTo>
                    <a:pt x="1558207" y="864236"/>
                  </a:lnTo>
                  <a:lnTo>
                    <a:pt x="1555918" y="865110"/>
                  </a:lnTo>
                  <a:cubicBezTo>
                    <a:pt x="1555918" y="865110"/>
                    <a:pt x="1553529" y="866860"/>
                    <a:pt x="1553193" y="866961"/>
                  </a:cubicBezTo>
                  <a:cubicBezTo>
                    <a:pt x="1552856" y="867062"/>
                    <a:pt x="1551341" y="868710"/>
                    <a:pt x="1551341" y="868710"/>
                  </a:cubicBezTo>
                  <a:lnTo>
                    <a:pt x="1549928" y="870997"/>
                  </a:lnTo>
                  <a:lnTo>
                    <a:pt x="1547438" y="874462"/>
                  </a:lnTo>
                  <a:lnTo>
                    <a:pt x="1542995" y="878802"/>
                  </a:lnTo>
                  <a:lnTo>
                    <a:pt x="1538519" y="880316"/>
                  </a:lnTo>
                  <a:lnTo>
                    <a:pt x="1533202" y="885631"/>
                  </a:lnTo>
                  <a:cubicBezTo>
                    <a:pt x="1533202" y="885631"/>
                    <a:pt x="1527649" y="891047"/>
                    <a:pt x="1527312" y="891282"/>
                  </a:cubicBezTo>
                  <a:cubicBezTo>
                    <a:pt x="1527009" y="891484"/>
                    <a:pt x="1520918" y="895285"/>
                    <a:pt x="1520918" y="895285"/>
                  </a:cubicBezTo>
                  <a:lnTo>
                    <a:pt x="1515802" y="896799"/>
                  </a:lnTo>
                  <a:lnTo>
                    <a:pt x="1509812" y="899187"/>
                  </a:lnTo>
                  <a:lnTo>
                    <a:pt x="1502240" y="900600"/>
                  </a:lnTo>
                  <a:lnTo>
                    <a:pt x="1479624" y="900600"/>
                  </a:lnTo>
                  <a:lnTo>
                    <a:pt x="1467441" y="900600"/>
                  </a:lnTo>
                  <a:lnTo>
                    <a:pt x="1459397" y="900600"/>
                  </a:lnTo>
                  <a:cubicBezTo>
                    <a:pt x="1459397" y="900600"/>
                    <a:pt x="1453643" y="901139"/>
                    <a:pt x="1453306" y="901139"/>
                  </a:cubicBezTo>
                  <a:cubicBezTo>
                    <a:pt x="1452969" y="901139"/>
                    <a:pt x="1446878" y="902114"/>
                    <a:pt x="1446878" y="902114"/>
                  </a:cubicBezTo>
                  <a:cubicBezTo>
                    <a:pt x="1446878" y="902114"/>
                    <a:pt x="1443613" y="903191"/>
                    <a:pt x="1443176" y="903191"/>
                  </a:cubicBezTo>
                  <a:cubicBezTo>
                    <a:pt x="1442739" y="903191"/>
                    <a:pt x="1439272" y="904940"/>
                    <a:pt x="1439036" y="905243"/>
                  </a:cubicBezTo>
                  <a:cubicBezTo>
                    <a:pt x="1438801" y="905579"/>
                    <a:pt x="1437959" y="906555"/>
                    <a:pt x="1437959" y="906555"/>
                  </a:cubicBezTo>
                  <a:lnTo>
                    <a:pt x="1436983" y="908405"/>
                  </a:lnTo>
                  <a:lnTo>
                    <a:pt x="1436983" y="911567"/>
                  </a:lnTo>
                  <a:lnTo>
                    <a:pt x="1435233" y="915368"/>
                  </a:lnTo>
                  <a:lnTo>
                    <a:pt x="1435233" y="920246"/>
                  </a:lnTo>
                  <a:lnTo>
                    <a:pt x="1432070" y="925023"/>
                  </a:lnTo>
                  <a:lnTo>
                    <a:pt x="1427055" y="930674"/>
                  </a:lnTo>
                  <a:lnTo>
                    <a:pt x="1421401" y="936225"/>
                  </a:lnTo>
                  <a:lnTo>
                    <a:pt x="1412180" y="942953"/>
                  </a:lnTo>
                  <a:cubicBezTo>
                    <a:pt x="1412180" y="942953"/>
                    <a:pt x="1400670" y="955567"/>
                    <a:pt x="1400233" y="955668"/>
                  </a:cubicBezTo>
                  <a:cubicBezTo>
                    <a:pt x="1399795" y="955769"/>
                    <a:pt x="1389699" y="962834"/>
                    <a:pt x="1389699" y="962834"/>
                  </a:cubicBezTo>
                  <a:cubicBezTo>
                    <a:pt x="1389699" y="962834"/>
                    <a:pt x="1380242" y="970133"/>
                    <a:pt x="1378626" y="970672"/>
                  </a:cubicBezTo>
                  <a:cubicBezTo>
                    <a:pt x="1377011" y="971210"/>
                    <a:pt x="1374722" y="971849"/>
                    <a:pt x="1374722" y="971849"/>
                  </a:cubicBezTo>
                  <a:lnTo>
                    <a:pt x="1364828" y="975314"/>
                  </a:lnTo>
                  <a:lnTo>
                    <a:pt x="1355169" y="975314"/>
                  </a:lnTo>
                  <a:cubicBezTo>
                    <a:pt x="1355169" y="975314"/>
                    <a:pt x="1348438" y="974776"/>
                    <a:pt x="1348001" y="974776"/>
                  </a:cubicBezTo>
                  <a:cubicBezTo>
                    <a:pt x="1347563" y="974776"/>
                    <a:pt x="1342549" y="974237"/>
                    <a:pt x="1341808" y="974338"/>
                  </a:cubicBezTo>
                  <a:cubicBezTo>
                    <a:pt x="1341034" y="974439"/>
                    <a:pt x="1337130" y="974776"/>
                    <a:pt x="1336255" y="974776"/>
                  </a:cubicBezTo>
                  <a:cubicBezTo>
                    <a:pt x="1335380" y="974776"/>
                    <a:pt x="1333428" y="974540"/>
                    <a:pt x="1332553" y="974237"/>
                  </a:cubicBezTo>
                  <a:cubicBezTo>
                    <a:pt x="1331678" y="973901"/>
                    <a:pt x="1328010" y="973262"/>
                    <a:pt x="1327135" y="973262"/>
                  </a:cubicBezTo>
                  <a:cubicBezTo>
                    <a:pt x="1326260" y="973262"/>
                    <a:pt x="1322995" y="972051"/>
                    <a:pt x="1322558" y="972051"/>
                  </a:cubicBezTo>
                  <a:cubicBezTo>
                    <a:pt x="1322120" y="972051"/>
                    <a:pt x="1317139" y="971513"/>
                    <a:pt x="1317139" y="971513"/>
                  </a:cubicBezTo>
                  <a:lnTo>
                    <a:pt x="1307582" y="967711"/>
                  </a:lnTo>
                  <a:lnTo>
                    <a:pt x="1302264" y="968351"/>
                  </a:lnTo>
                  <a:lnTo>
                    <a:pt x="1298024" y="968351"/>
                  </a:lnTo>
                  <a:lnTo>
                    <a:pt x="1293446" y="967812"/>
                  </a:lnTo>
                  <a:lnTo>
                    <a:pt x="1289307" y="966063"/>
                  </a:lnTo>
                  <a:lnTo>
                    <a:pt x="1284427" y="963574"/>
                  </a:lnTo>
                  <a:lnTo>
                    <a:pt x="1274735" y="954760"/>
                  </a:lnTo>
                  <a:cubicBezTo>
                    <a:pt x="1274735" y="954760"/>
                    <a:pt x="1272446" y="952271"/>
                    <a:pt x="1272143" y="952035"/>
                  </a:cubicBezTo>
                  <a:cubicBezTo>
                    <a:pt x="1271840" y="951800"/>
                    <a:pt x="1269956" y="949748"/>
                    <a:pt x="1269653" y="949546"/>
                  </a:cubicBezTo>
                  <a:cubicBezTo>
                    <a:pt x="1269316" y="949310"/>
                    <a:pt x="1267364" y="948234"/>
                    <a:pt x="1267028" y="948133"/>
                  </a:cubicBezTo>
                  <a:cubicBezTo>
                    <a:pt x="1266691" y="948032"/>
                    <a:pt x="1262249" y="947494"/>
                    <a:pt x="1262249" y="947494"/>
                  </a:cubicBezTo>
                  <a:lnTo>
                    <a:pt x="1253566" y="947494"/>
                  </a:lnTo>
                  <a:lnTo>
                    <a:pt x="1240508" y="947494"/>
                  </a:lnTo>
                  <a:lnTo>
                    <a:pt x="1236907" y="947696"/>
                  </a:lnTo>
                  <a:cubicBezTo>
                    <a:pt x="1236907" y="947696"/>
                    <a:pt x="1233777" y="947729"/>
                    <a:pt x="1233340" y="947830"/>
                  </a:cubicBezTo>
                  <a:cubicBezTo>
                    <a:pt x="1232902" y="947931"/>
                    <a:pt x="1229739" y="948806"/>
                    <a:pt x="1229739" y="948806"/>
                  </a:cubicBezTo>
                  <a:lnTo>
                    <a:pt x="1227450" y="949344"/>
                  </a:lnTo>
                  <a:cubicBezTo>
                    <a:pt x="1227450" y="949344"/>
                    <a:pt x="1224859" y="950858"/>
                    <a:pt x="1222873" y="951632"/>
                  </a:cubicBezTo>
                  <a:cubicBezTo>
                    <a:pt x="1220921" y="952405"/>
                    <a:pt x="1219507" y="953280"/>
                    <a:pt x="1219507" y="953280"/>
                  </a:cubicBezTo>
                  <a:lnTo>
                    <a:pt x="1216479" y="955870"/>
                  </a:lnTo>
                  <a:lnTo>
                    <a:pt x="1213753" y="957922"/>
                  </a:lnTo>
                  <a:cubicBezTo>
                    <a:pt x="1213753" y="957922"/>
                    <a:pt x="1210589" y="960513"/>
                    <a:pt x="1210152" y="960950"/>
                  </a:cubicBezTo>
                  <a:cubicBezTo>
                    <a:pt x="1209714" y="961387"/>
                    <a:pt x="1208099" y="964953"/>
                    <a:pt x="1208099" y="964953"/>
                  </a:cubicBezTo>
                  <a:lnTo>
                    <a:pt x="1205810" y="969831"/>
                  </a:lnTo>
                  <a:lnTo>
                    <a:pt x="1200358" y="975684"/>
                  </a:lnTo>
                  <a:lnTo>
                    <a:pt x="1198171" y="985675"/>
                  </a:lnTo>
                  <a:lnTo>
                    <a:pt x="1197194" y="987962"/>
                  </a:lnTo>
                  <a:lnTo>
                    <a:pt x="1195243" y="992403"/>
                  </a:lnTo>
                  <a:lnTo>
                    <a:pt x="1193728" y="996641"/>
                  </a:lnTo>
                  <a:lnTo>
                    <a:pt x="1191978" y="1000544"/>
                  </a:lnTo>
                  <a:lnTo>
                    <a:pt x="1191002" y="1004984"/>
                  </a:lnTo>
                  <a:lnTo>
                    <a:pt x="1190565" y="1009559"/>
                  </a:lnTo>
                  <a:lnTo>
                    <a:pt x="1189689" y="1012721"/>
                  </a:lnTo>
                  <a:lnTo>
                    <a:pt x="1188377" y="1015648"/>
                  </a:lnTo>
                  <a:lnTo>
                    <a:pt x="1185314" y="1019348"/>
                  </a:lnTo>
                  <a:lnTo>
                    <a:pt x="1184574" y="1021299"/>
                  </a:lnTo>
                  <a:lnTo>
                    <a:pt x="1184776" y="1024764"/>
                  </a:lnTo>
                  <a:cubicBezTo>
                    <a:pt x="1184776" y="1024764"/>
                    <a:pt x="1184776" y="1027153"/>
                    <a:pt x="1184776" y="1027691"/>
                  </a:cubicBezTo>
                  <a:cubicBezTo>
                    <a:pt x="1184776" y="1028229"/>
                    <a:pt x="1185819" y="1030752"/>
                    <a:pt x="1185819" y="1030752"/>
                  </a:cubicBezTo>
                  <a:lnTo>
                    <a:pt x="1188040" y="1033342"/>
                  </a:lnTo>
                  <a:lnTo>
                    <a:pt x="1191204" y="1036942"/>
                  </a:lnTo>
                  <a:lnTo>
                    <a:pt x="1192718" y="1043569"/>
                  </a:lnTo>
                  <a:lnTo>
                    <a:pt x="1192920" y="1046731"/>
                  </a:lnTo>
                  <a:lnTo>
                    <a:pt x="1198036" y="1054434"/>
                  </a:lnTo>
                  <a:lnTo>
                    <a:pt x="1201300" y="1059850"/>
                  </a:lnTo>
                  <a:lnTo>
                    <a:pt x="1207493" y="1064863"/>
                  </a:lnTo>
                  <a:lnTo>
                    <a:pt x="1218464" y="1074854"/>
                  </a:lnTo>
                  <a:lnTo>
                    <a:pt x="1221931" y="1078991"/>
                  </a:lnTo>
                  <a:lnTo>
                    <a:pt x="1225296" y="1082153"/>
                  </a:lnTo>
                  <a:lnTo>
                    <a:pt x="1226508" y="1085618"/>
                  </a:lnTo>
                  <a:lnTo>
                    <a:pt x="1226508" y="1089857"/>
                  </a:lnTo>
                  <a:lnTo>
                    <a:pt x="1226036" y="1095845"/>
                  </a:lnTo>
                  <a:lnTo>
                    <a:pt x="1222267" y="1100622"/>
                  </a:lnTo>
                  <a:cubicBezTo>
                    <a:pt x="1222267" y="1100622"/>
                    <a:pt x="1217926" y="1106273"/>
                    <a:pt x="1217589" y="1106273"/>
                  </a:cubicBezTo>
                  <a:cubicBezTo>
                    <a:pt x="1217253" y="1106273"/>
                    <a:pt x="1207493" y="1114851"/>
                    <a:pt x="1207493" y="1114851"/>
                  </a:cubicBezTo>
                  <a:lnTo>
                    <a:pt x="1196420" y="1123429"/>
                  </a:lnTo>
                  <a:lnTo>
                    <a:pt x="1185314" y="1129518"/>
                  </a:lnTo>
                  <a:lnTo>
                    <a:pt x="1166535" y="1137423"/>
                  </a:lnTo>
                  <a:lnTo>
                    <a:pt x="1159569" y="1140586"/>
                  </a:lnTo>
                  <a:lnTo>
                    <a:pt x="1153141" y="1142436"/>
                  </a:lnTo>
                  <a:cubicBezTo>
                    <a:pt x="1153141" y="1142436"/>
                    <a:pt x="1149136" y="1144824"/>
                    <a:pt x="1148799" y="1145160"/>
                  </a:cubicBezTo>
                  <a:cubicBezTo>
                    <a:pt x="1148463" y="1145497"/>
                    <a:pt x="1144323" y="1147784"/>
                    <a:pt x="1144020" y="1148087"/>
                  </a:cubicBezTo>
                  <a:cubicBezTo>
                    <a:pt x="1143684" y="1148423"/>
                    <a:pt x="1141193" y="1150812"/>
                    <a:pt x="1140857" y="1151552"/>
                  </a:cubicBezTo>
                  <a:cubicBezTo>
                    <a:pt x="1140520" y="1152292"/>
                    <a:pt x="1137794" y="1155589"/>
                    <a:pt x="1137794" y="1155589"/>
                  </a:cubicBezTo>
                  <a:lnTo>
                    <a:pt x="1135943" y="1158852"/>
                  </a:lnTo>
                  <a:lnTo>
                    <a:pt x="1134092" y="1162014"/>
                  </a:lnTo>
                  <a:lnTo>
                    <a:pt x="1131467" y="1165378"/>
                  </a:lnTo>
                  <a:lnTo>
                    <a:pt x="1129179" y="1168103"/>
                  </a:lnTo>
                  <a:lnTo>
                    <a:pt x="1126789" y="1172341"/>
                  </a:lnTo>
                  <a:lnTo>
                    <a:pt x="1123323" y="1175941"/>
                  </a:lnTo>
                  <a:lnTo>
                    <a:pt x="1120832" y="1180818"/>
                  </a:lnTo>
                  <a:lnTo>
                    <a:pt x="1115818" y="1189195"/>
                  </a:lnTo>
                  <a:lnTo>
                    <a:pt x="1094178" y="1207562"/>
                  </a:lnTo>
                  <a:cubicBezTo>
                    <a:pt x="1094178" y="1207562"/>
                    <a:pt x="1091351" y="1211262"/>
                    <a:pt x="1091014" y="1211599"/>
                  </a:cubicBezTo>
                  <a:cubicBezTo>
                    <a:pt x="1090678" y="1211935"/>
                    <a:pt x="1088288" y="1214963"/>
                    <a:pt x="1087851" y="1215198"/>
                  </a:cubicBezTo>
                  <a:cubicBezTo>
                    <a:pt x="1087413" y="1215400"/>
                    <a:pt x="1084923" y="1217048"/>
                    <a:pt x="1084923" y="1217048"/>
                  </a:cubicBezTo>
                  <a:cubicBezTo>
                    <a:pt x="1084923" y="1217048"/>
                    <a:pt x="1081557" y="1219437"/>
                    <a:pt x="1080783" y="1220110"/>
                  </a:cubicBezTo>
                  <a:cubicBezTo>
                    <a:pt x="1080043" y="1220749"/>
                    <a:pt x="1077519" y="1221287"/>
                    <a:pt x="1076105" y="1221422"/>
                  </a:cubicBezTo>
                  <a:cubicBezTo>
                    <a:pt x="1074692" y="1221522"/>
                    <a:pt x="1071966" y="1222296"/>
                    <a:pt x="1070889" y="1222498"/>
                  </a:cubicBezTo>
                  <a:cubicBezTo>
                    <a:pt x="1069812" y="1222733"/>
                    <a:pt x="1068398" y="1222834"/>
                    <a:pt x="1067523" y="1222935"/>
                  </a:cubicBezTo>
                  <a:cubicBezTo>
                    <a:pt x="1066648" y="1223036"/>
                    <a:pt x="1062745" y="1223373"/>
                    <a:pt x="1062745" y="1223373"/>
                  </a:cubicBezTo>
                  <a:cubicBezTo>
                    <a:pt x="1062745" y="1223373"/>
                    <a:pt x="1056451" y="1224146"/>
                    <a:pt x="1055340" y="1224146"/>
                  </a:cubicBezTo>
                  <a:cubicBezTo>
                    <a:pt x="1054263" y="1224146"/>
                    <a:pt x="1051436" y="1224584"/>
                    <a:pt x="1051436" y="1224584"/>
                  </a:cubicBezTo>
                  <a:lnTo>
                    <a:pt x="1046657" y="1226636"/>
                  </a:lnTo>
                  <a:lnTo>
                    <a:pt x="1040028" y="1230235"/>
                  </a:lnTo>
                  <a:lnTo>
                    <a:pt x="1034037" y="1234238"/>
                  </a:lnTo>
                  <a:cubicBezTo>
                    <a:pt x="1034037" y="1234238"/>
                    <a:pt x="1025994" y="1241202"/>
                    <a:pt x="1025657" y="1241504"/>
                  </a:cubicBezTo>
                  <a:cubicBezTo>
                    <a:pt x="1025321" y="1241841"/>
                    <a:pt x="1016873" y="1244734"/>
                    <a:pt x="1016873" y="1244734"/>
                  </a:cubicBezTo>
                  <a:lnTo>
                    <a:pt x="1002536" y="1244734"/>
                  </a:lnTo>
                  <a:lnTo>
                    <a:pt x="978944" y="1246079"/>
                  </a:lnTo>
                  <a:lnTo>
                    <a:pt x="959055" y="1248199"/>
                  </a:lnTo>
                  <a:lnTo>
                    <a:pt x="953199" y="1248636"/>
                  </a:lnTo>
                  <a:lnTo>
                    <a:pt x="941352" y="1246786"/>
                  </a:lnTo>
                  <a:lnTo>
                    <a:pt x="926242" y="1245272"/>
                  </a:lnTo>
                  <a:lnTo>
                    <a:pt x="916010" y="1245474"/>
                  </a:lnTo>
                  <a:lnTo>
                    <a:pt x="890130" y="1246113"/>
                  </a:lnTo>
                  <a:lnTo>
                    <a:pt x="883702" y="1246449"/>
                  </a:lnTo>
                  <a:lnTo>
                    <a:pt x="871250" y="1248064"/>
                  </a:lnTo>
                  <a:lnTo>
                    <a:pt x="860615" y="1248064"/>
                  </a:lnTo>
                  <a:cubicBezTo>
                    <a:pt x="860615" y="1248064"/>
                    <a:pt x="856711" y="1245508"/>
                    <a:pt x="856576" y="1245171"/>
                  </a:cubicBezTo>
                  <a:cubicBezTo>
                    <a:pt x="856475" y="1244835"/>
                    <a:pt x="852235" y="1243388"/>
                    <a:pt x="852235" y="1243388"/>
                  </a:cubicBezTo>
                  <a:lnTo>
                    <a:pt x="847692" y="1242850"/>
                  </a:lnTo>
                  <a:lnTo>
                    <a:pt x="842038" y="1243085"/>
                  </a:lnTo>
                  <a:lnTo>
                    <a:pt x="837898" y="1243422"/>
                  </a:lnTo>
                  <a:lnTo>
                    <a:pt x="833994" y="1244734"/>
                  </a:lnTo>
                  <a:lnTo>
                    <a:pt x="828677" y="1247459"/>
                  </a:lnTo>
                  <a:lnTo>
                    <a:pt x="815854" y="1255936"/>
                  </a:lnTo>
                  <a:lnTo>
                    <a:pt x="812354" y="1260073"/>
                  </a:lnTo>
                  <a:lnTo>
                    <a:pt x="803234" y="1262361"/>
                  </a:lnTo>
                  <a:lnTo>
                    <a:pt x="794214" y="1262563"/>
                  </a:lnTo>
                  <a:lnTo>
                    <a:pt x="785633" y="1262462"/>
                  </a:lnTo>
                  <a:lnTo>
                    <a:pt x="780079" y="1263437"/>
                  </a:lnTo>
                  <a:lnTo>
                    <a:pt x="770084" y="1267239"/>
                  </a:lnTo>
                  <a:lnTo>
                    <a:pt x="735184" y="1282444"/>
                  </a:lnTo>
                  <a:lnTo>
                    <a:pt x="719097" y="1288734"/>
                  </a:lnTo>
                  <a:lnTo>
                    <a:pt x="693890" y="1299062"/>
                  </a:lnTo>
                  <a:lnTo>
                    <a:pt x="667808" y="1313291"/>
                  </a:lnTo>
                  <a:lnTo>
                    <a:pt x="661817" y="1316117"/>
                  </a:lnTo>
                  <a:lnTo>
                    <a:pt x="655962" y="1322105"/>
                  </a:lnTo>
                  <a:lnTo>
                    <a:pt x="647817" y="1326344"/>
                  </a:lnTo>
                  <a:lnTo>
                    <a:pt x="645428" y="1328934"/>
                  </a:lnTo>
                  <a:lnTo>
                    <a:pt x="643476" y="1332096"/>
                  </a:lnTo>
                  <a:cubicBezTo>
                    <a:pt x="643476" y="1332096"/>
                    <a:pt x="639336" y="1333946"/>
                    <a:pt x="638899" y="1333946"/>
                  </a:cubicBezTo>
                  <a:cubicBezTo>
                    <a:pt x="638461" y="1333946"/>
                    <a:pt x="634860" y="1332432"/>
                    <a:pt x="634423" y="1332298"/>
                  </a:cubicBezTo>
                  <a:cubicBezTo>
                    <a:pt x="633985" y="1332197"/>
                    <a:pt x="633447" y="1329573"/>
                    <a:pt x="633447" y="1329573"/>
                  </a:cubicBezTo>
                  <a:lnTo>
                    <a:pt x="632134" y="1325973"/>
                  </a:lnTo>
                  <a:lnTo>
                    <a:pt x="627994" y="1324998"/>
                  </a:lnTo>
                  <a:lnTo>
                    <a:pt x="621600" y="1324022"/>
                  </a:lnTo>
                  <a:lnTo>
                    <a:pt x="616720" y="1324897"/>
                  </a:lnTo>
                  <a:cubicBezTo>
                    <a:pt x="616720" y="1324897"/>
                    <a:pt x="611403" y="1325671"/>
                    <a:pt x="611066" y="1325873"/>
                  </a:cubicBezTo>
                  <a:cubicBezTo>
                    <a:pt x="610730" y="1326074"/>
                    <a:pt x="606927" y="1325873"/>
                    <a:pt x="606489" y="1325873"/>
                  </a:cubicBezTo>
                  <a:cubicBezTo>
                    <a:pt x="606052" y="1325873"/>
                    <a:pt x="602350" y="1324796"/>
                    <a:pt x="602047" y="1324460"/>
                  </a:cubicBezTo>
                  <a:cubicBezTo>
                    <a:pt x="601710" y="1324123"/>
                    <a:pt x="600432" y="1322408"/>
                    <a:pt x="600432" y="1322408"/>
                  </a:cubicBezTo>
                  <a:lnTo>
                    <a:pt x="599119" y="1318505"/>
                  </a:lnTo>
                  <a:lnTo>
                    <a:pt x="599119" y="1311542"/>
                  </a:lnTo>
                  <a:lnTo>
                    <a:pt x="599119" y="1308077"/>
                  </a:lnTo>
                  <a:lnTo>
                    <a:pt x="599119" y="1303199"/>
                  </a:lnTo>
                  <a:cubicBezTo>
                    <a:pt x="599119" y="1303199"/>
                    <a:pt x="596797" y="1300273"/>
                    <a:pt x="596561" y="1299936"/>
                  </a:cubicBezTo>
                  <a:cubicBezTo>
                    <a:pt x="596359" y="1299600"/>
                    <a:pt x="594441" y="1298288"/>
                    <a:pt x="594441" y="1298288"/>
                  </a:cubicBezTo>
                  <a:lnTo>
                    <a:pt x="589426" y="1297851"/>
                  </a:lnTo>
                  <a:lnTo>
                    <a:pt x="584648" y="1300475"/>
                  </a:lnTo>
                  <a:lnTo>
                    <a:pt x="572262" y="1303199"/>
                  </a:lnTo>
                  <a:lnTo>
                    <a:pt x="539988" y="1302224"/>
                  </a:lnTo>
                  <a:lnTo>
                    <a:pt x="531170" y="1300374"/>
                  </a:lnTo>
                  <a:lnTo>
                    <a:pt x="518684" y="1299297"/>
                  </a:lnTo>
                  <a:lnTo>
                    <a:pt x="507275" y="1294621"/>
                  </a:lnTo>
                  <a:lnTo>
                    <a:pt x="486073" y="1282881"/>
                  </a:lnTo>
                  <a:lnTo>
                    <a:pt x="454774" y="1267575"/>
                  </a:lnTo>
                  <a:lnTo>
                    <a:pt x="438788" y="1259434"/>
                  </a:lnTo>
                  <a:lnTo>
                    <a:pt x="420750" y="1254859"/>
                  </a:lnTo>
                  <a:lnTo>
                    <a:pt x="411932" y="1252471"/>
                  </a:lnTo>
                  <a:lnTo>
                    <a:pt x="406480" y="1250621"/>
                  </a:lnTo>
                  <a:lnTo>
                    <a:pt x="398672" y="1248232"/>
                  </a:lnTo>
                  <a:lnTo>
                    <a:pt x="394634" y="1246046"/>
                  </a:lnTo>
                  <a:cubicBezTo>
                    <a:pt x="394634" y="1246046"/>
                    <a:pt x="391908" y="1242581"/>
                    <a:pt x="391706" y="1242244"/>
                  </a:cubicBezTo>
                  <a:cubicBezTo>
                    <a:pt x="391470" y="1241908"/>
                    <a:pt x="389619" y="1238107"/>
                    <a:pt x="389619" y="1238107"/>
                  </a:cubicBezTo>
                  <a:lnTo>
                    <a:pt x="389081" y="1233532"/>
                  </a:lnTo>
                  <a:lnTo>
                    <a:pt x="383629" y="1227443"/>
                  </a:lnTo>
                  <a:lnTo>
                    <a:pt x="376561" y="1219067"/>
                  </a:lnTo>
                  <a:lnTo>
                    <a:pt x="374912" y="1215366"/>
                  </a:lnTo>
                  <a:lnTo>
                    <a:pt x="371311" y="1210791"/>
                  </a:lnTo>
                  <a:lnTo>
                    <a:pt x="368383" y="1208840"/>
                  </a:lnTo>
                  <a:lnTo>
                    <a:pt x="365152" y="1208100"/>
                  </a:lnTo>
                  <a:lnTo>
                    <a:pt x="359936" y="1208100"/>
                  </a:lnTo>
                  <a:lnTo>
                    <a:pt x="355056" y="1208100"/>
                  </a:lnTo>
                  <a:lnTo>
                    <a:pt x="346036" y="1206586"/>
                  </a:lnTo>
                  <a:lnTo>
                    <a:pt x="337892" y="1204534"/>
                  </a:lnTo>
                  <a:lnTo>
                    <a:pt x="315949" y="1193770"/>
                  </a:lnTo>
                  <a:lnTo>
                    <a:pt x="284549" y="1183005"/>
                  </a:lnTo>
                  <a:lnTo>
                    <a:pt x="267285" y="1182366"/>
                  </a:lnTo>
                  <a:lnTo>
                    <a:pt x="213909" y="1185528"/>
                  </a:lnTo>
                  <a:lnTo>
                    <a:pt x="185773" y="1185528"/>
                  </a:lnTo>
                  <a:lnTo>
                    <a:pt x="139330" y="1179607"/>
                  </a:lnTo>
                  <a:lnTo>
                    <a:pt x="109075" y="1171938"/>
                  </a:lnTo>
                  <a:lnTo>
                    <a:pt x="84776" y="1167026"/>
                  </a:lnTo>
                  <a:lnTo>
                    <a:pt x="58593" y="1161476"/>
                  </a:lnTo>
                  <a:lnTo>
                    <a:pt x="23390" y="1148625"/>
                  </a:lnTo>
                  <a:lnTo>
                    <a:pt x="0" y="1142974"/>
                  </a:lnTo>
                  <a:lnTo>
                    <a:pt x="4341" y="1164100"/>
                  </a:lnTo>
                  <a:lnTo>
                    <a:pt x="9255" y="1184956"/>
                  </a:lnTo>
                  <a:lnTo>
                    <a:pt x="18813" y="1206687"/>
                  </a:lnTo>
                  <a:lnTo>
                    <a:pt x="19957" y="1215232"/>
                  </a:lnTo>
                  <a:lnTo>
                    <a:pt x="22919" y="1221253"/>
                  </a:lnTo>
                  <a:cubicBezTo>
                    <a:pt x="22919" y="1221253"/>
                    <a:pt x="24669" y="1228217"/>
                    <a:pt x="24736" y="1228553"/>
                  </a:cubicBezTo>
                  <a:cubicBezTo>
                    <a:pt x="24803" y="1228923"/>
                    <a:pt x="25375" y="1231581"/>
                    <a:pt x="25375" y="1231883"/>
                  </a:cubicBezTo>
                  <a:cubicBezTo>
                    <a:pt x="25375" y="1232186"/>
                    <a:pt x="27395" y="1236458"/>
                    <a:pt x="27462" y="1236896"/>
                  </a:cubicBezTo>
                  <a:cubicBezTo>
                    <a:pt x="27529" y="1237333"/>
                    <a:pt x="29784" y="1241874"/>
                    <a:pt x="29784" y="1241874"/>
                  </a:cubicBezTo>
                  <a:lnTo>
                    <a:pt x="28977" y="1245205"/>
                  </a:lnTo>
                  <a:lnTo>
                    <a:pt x="28842" y="1248602"/>
                  </a:lnTo>
                  <a:cubicBezTo>
                    <a:pt x="28842" y="1248602"/>
                    <a:pt x="30727" y="1250991"/>
                    <a:pt x="31467" y="1251933"/>
                  </a:cubicBezTo>
                  <a:cubicBezTo>
                    <a:pt x="32174" y="1252875"/>
                    <a:pt x="34294" y="1256945"/>
                    <a:pt x="34294" y="1256945"/>
                  </a:cubicBezTo>
                  <a:cubicBezTo>
                    <a:pt x="34294" y="1256945"/>
                    <a:pt x="34159" y="1259031"/>
                    <a:pt x="33991" y="1259266"/>
                  </a:cubicBezTo>
                  <a:cubicBezTo>
                    <a:pt x="33857" y="1259468"/>
                    <a:pt x="33688" y="1262226"/>
                    <a:pt x="33688" y="1262226"/>
                  </a:cubicBezTo>
                  <a:cubicBezTo>
                    <a:pt x="33688" y="1262226"/>
                    <a:pt x="35876" y="1263673"/>
                    <a:pt x="36212" y="1263976"/>
                  </a:cubicBezTo>
                  <a:cubicBezTo>
                    <a:pt x="36583" y="1264278"/>
                    <a:pt x="37727" y="1265792"/>
                    <a:pt x="37794" y="1265994"/>
                  </a:cubicBezTo>
                  <a:cubicBezTo>
                    <a:pt x="37861" y="1266196"/>
                    <a:pt x="38366" y="1267575"/>
                    <a:pt x="38366" y="1267878"/>
                  </a:cubicBezTo>
                  <a:cubicBezTo>
                    <a:pt x="38366" y="1268181"/>
                    <a:pt x="38871" y="1270132"/>
                    <a:pt x="38871" y="1270132"/>
                  </a:cubicBezTo>
                  <a:lnTo>
                    <a:pt x="36616" y="1272621"/>
                  </a:lnTo>
                  <a:cubicBezTo>
                    <a:pt x="36616" y="1272621"/>
                    <a:pt x="30457" y="1276961"/>
                    <a:pt x="30020" y="1276961"/>
                  </a:cubicBezTo>
                  <a:cubicBezTo>
                    <a:pt x="29582" y="1276961"/>
                    <a:pt x="26621" y="1279046"/>
                    <a:pt x="25948" y="1279214"/>
                  </a:cubicBezTo>
                  <a:cubicBezTo>
                    <a:pt x="25308" y="1279349"/>
                    <a:pt x="22986" y="1280728"/>
                    <a:pt x="22246" y="1280896"/>
                  </a:cubicBezTo>
                  <a:cubicBezTo>
                    <a:pt x="21539" y="1281031"/>
                    <a:pt x="18779" y="1282982"/>
                    <a:pt x="17467" y="1283285"/>
                  </a:cubicBezTo>
                  <a:cubicBezTo>
                    <a:pt x="16154" y="1283588"/>
                    <a:pt x="16087" y="1284227"/>
                    <a:pt x="15885" y="1284294"/>
                  </a:cubicBezTo>
                  <a:cubicBezTo>
                    <a:pt x="15683" y="1284361"/>
                    <a:pt x="14943" y="1285875"/>
                    <a:pt x="15077" y="1286178"/>
                  </a:cubicBezTo>
                  <a:cubicBezTo>
                    <a:pt x="15212" y="1286481"/>
                    <a:pt x="15077" y="1287759"/>
                    <a:pt x="15077" y="1288062"/>
                  </a:cubicBezTo>
                  <a:cubicBezTo>
                    <a:pt x="15077" y="1288364"/>
                    <a:pt x="16827" y="1291022"/>
                    <a:pt x="16827" y="1291022"/>
                  </a:cubicBezTo>
                  <a:lnTo>
                    <a:pt x="20294" y="1294924"/>
                  </a:lnTo>
                  <a:cubicBezTo>
                    <a:pt x="20294" y="1294924"/>
                    <a:pt x="21741" y="1299566"/>
                    <a:pt x="22380" y="1300340"/>
                  </a:cubicBezTo>
                  <a:cubicBezTo>
                    <a:pt x="23020" y="1301147"/>
                    <a:pt x="25847" y="1304410"/>
                    <a:pt x="25780" y="1304612"/>
                  </a:cubicBezTo>
                  <a:cubicBezTo>
                    <a:pt x="25712" y="1304814"/>
                    <a:pt x="25780" y="1307371"/>
                    <a:pt x="25780" y="1307371"/>
                  </a:cubicBezTo>
                  <a:lnTo>
                    <a:pt x="29414" y="1314469"/>
                  </a:lnTo>
                  <a:lnTo>
                    <a:pt x="32174" y="1318674"/>
                  </a:lnTo>
                  <a:lnTo>
                    <a:pt x="34058" y="1323585"/>
                  </a:lnTo>
                  <a:cubicBezTo>
                    <a:pt x="34058" y="1323585"/>
                    <a:pt x="35943" y="1326478"/>
                    <a:pt x="36313" y="1327151"/>
                  </a:cubicBezTo>
                  <a:cubicBezTo>
                    <a:pt x="36684" y="1327790"/>
                    <a:pt x="38635" y="1330481"/>
                    <a:pt x="38905" y="1330784"/>
                  </a:cubicBezTo>
                  <a:cubicBezTo>
                    <a:pt x="39208" y="1331087"/>
                    <a:pt x="40655" y="1332096"/>
                    <a:pt x="40924" y="1332163"/>
                  </a:cubicBezTo>
                  <a:cubicBezTo>
                    <a:pt x="41227" y="1332230"/>
                    <a:pt x="43886" y="1334619"/>
                    <a:pt x="44626" y="1334854"/>
                  </a:cubicBezTo>
                  <a:cubicBezTo>
                    <a:pt x="45333" y="1335056"/>
                    <a:pt x="46814" y="1336435"/>
                    <a:pt x="46814" y="1336435"/>
                  </a:cubicBezTo>
                  <a:lnTo>
                    <a:pt x="47116" y="1339900"/>
                  </a:lnTo>
                  <a:lnTo>
                    <a:pt x="50145" y="1343432"/>
                  </a:lnTo>
                  <a:cubicBezTo>
                    <a:pt x="50145" y="1343432"/>
                    <a:pt x="53410" y="1346628"/>
                    <a:pt x="54419" y="1347267"/>
                  </a:cubicBezTo>
                  <a:cubicBezTo>
                    <a:pt x="55429" y="1347907"/>
                    <a:pt x="57314" y="1349353"/>
                    <a:pt x="59064" y="1350530"/>
                  </a:cubicBezTo>
                  <a:cubicBezTo>
                    <a:pt x="60814" y="1351674"/>
                    <a:pt x="60881" y="1352852"/>
                    <a:pt x="60881" y="1352852"/>
                  </a:cubicBezTo>
                  <a:cubicBezTo>
                    <a:pt x="60881" y="1352852"/>
                    <a:pt x="62126" y="1352986"/>
                    <a:pt x="63203" y="1352482"/>
                  </a:cubicBezTo>
                  <a:cubicBezTo>
                    <a:pt x="64280" y="1351977"/>
                    <a:pt x="65593" y="1352482"/>
                    <a:pt x="65896" y="1352482"/>
                  </a:cubicBezTo>
                  <a:cubicBezTo>
                    <a:pt x="66199" y="1352482"/>
                    <a:pt x="68723" y="1355509"/>
                    <a:pt x="68723" y="1355509"/>
                  </a:cubicBezTo>
                  <a:lnTo>
                    <a:pt x="69362" y="1357830"/>
                  </a:lnTo>
                  <a:lnTo>
                    <a:pt x="74074" y="1358705"/>
                  </a:lnTo>
                  <a:lnTo>
                    <a:pt x="74444" y="1360959"/>
                  </a:lnTo>
                  <a:lnTo>
                    <a:pt x="74579" y="1362641"/>
                  </a:lnTo>
                  <a:cubicBezTo>
                    <a:pt x="74579" y="1362641"/>
                    <a:pt x="74646" y="1365601"/>
                    <a:pt x="74646" y="1365904"/>
                  </a:cubicBezTo>
                  <a:cubicBezTo>
                    <a:pt x="74646" y="1366207"/>
                    <a:pt x="74646" y="1369032"/>
                    <a:pt x="74579" y="1369671"/>
                  </a:cubicBezTo>
                  <a:cubicBezTo>
                    <a:pt x="74511" y="1370311"/>
                    <a:pt x="74074" y="1371925"/>
                    <a:pt x="73838" y="1372363"/>
                  </a:cubicBezTo>
                  <a:cubicBezTo>
                    <a:pt x="73636" y="1372800"/>
                    <a:pt x="72593" y="1373607"/>
                    <a:pt x="72593" y="1373607"/>
                  </a:cubicBezTo>
                  <a:cubicBezTo>
                    <a:pt x="72593" y="1373607"/>
                    <a:pt x="71146" y="1375188"/>
                    <a:pt x="70944" y="1375424"/>
                  </a:cubicBezTo>
                  <a:cubicBezTo>
                    <a:pt x="70708" y="1375626"/>
                    <a:pt x="70574" y="1377509"/>
                    <a:pt x="70641" y="1377812"/>
                  </a:cubicBezTo>
                  <a:cubicBezTo>
                    <a:pt x="70708" y="1378115"/>
                    <a:pt x="71280" y="1379494"/>
                    <a:pt x="71280" y="1379898"/>
                  </a:cubicBezTo>
                  <a:cubicBezTo>
                    <a:pt x="71280" y="1380335"/>
                    <a:pt x="71146" y="1381849"/>
                    <a:pt x="70910" y="1382656"/>
                  </a:cubicBezTo>
                  <a:cubicBezTo>
                    <a:pt x="70675" y="1383464"/>
                    <a:pt x="69732" y="1383228"/>
                    <a:pt x="69732" y="1383228"/>
                  </a:cubicBezTo>
                  <a:cubicBezTo>
                    <a:pt x="69732" y="1383228"/>
                    <a:pt x="67780" y="1384809"/>
                    <a:pt x="67410" y="1385045"/>
                  </a:cubicBezTo>
                  <a:cubicBezTo>
                    <a:pt x="67040" y="1385246"/>
                    <a:pt x="66535" y="1386121"/>
                    <a:pt x="66535" y="1386121"/>
                  </a:cubicBezTo>
                  <a:lnTo>
                    <a:pt x="65223" y="1389822"/>
                  </a:lnTo>
                  <a:lnTo>
                    <a:pt x="64583" y="1392849"/>
                  </a:lnTo>
                  <a:lnTo>
                    <a:pt x="63944" y="1395036"/>
                  </a:lnTo>
                  <a:lnTo>
                    <a:pt x="63304" y="1396919"/>
                  </a:lnTo>
                  <a:cubicBezTo>
                    <a:pt x="63304" y="1396919"/>
                    <a:pt x="62429" y="1399005"/>
                    <a:pt x="62227" y="1399308"/>
                  </a:cubicBezTo>
                  <a:cubicBezTo>
                    <a:pt x="62025" y="1399611"/>
                    <a:pt x="61420" y="1401192"/>
                    <a:pt x="61352" y="1401494"/>
                  </a:cubicBezTo>
                  <a:cubicBezTo>
                    <a:pt x="61285" y="1401797"/>
                    <a:pt x="63170" y="1402571"/>
                    <a:pt x="63742" y="1402571"/>
                  </a:cubicBezTo>
                  <a:cubicBezTo>
                    <a:pt x="64314" y="1402571"/>
                    <a:pt x="67444" y="1402874"/>
                    <a:pt x="67444" y="1402874"/>
                  </a:cubicBezTo>
                  <a:lnTo>
                    <a:pt x="70136" y="1402672"/>
                  </a:lnTo>
                  <a:lnTo>
                    <a:pt x="71011" y="1402100"/>
                  </a:lnTo>
                  <a:lnTo>
                    <a:pt x="71718" y="1399779"/>
                  </a:lnTo>
                  <a:lnTo>
                    <a:pt x="75622" y="1400216"/>
                  </a:lnTo>
                  <a:lnTo>
                    <a:pt x="75622" y="1402806"/>
                  </a:lnTo>
                  <a:cubicBezTo>
                    <a:pt x="75622" y="1402806"/>
                    <a:pt x="79189" y="1404556"/>
                    <a:pt x="79761" y="1404690"/>
                  </a:cubicBezTo>
                  <a:cubicBezTo>
                    <a:pt x="80333" y="1404825"/>
                    <a:pt x="86223" y="1405397"/>
                    <a:pt x="86223" y="1405397"/>
                  </a:cubicBezTo>
                  <a:lnTo>
                    <a:pt x="92180" y="1405531"/>
                  </a:lnTo>
                  <a:lnTo>
                    <a:pt x="94065" y="1403345"/>
                  </a:lnTo>
                  <a:lnTo>
                    <a:pt x="95815" y="1399140"/>
                  </a:lnTo>
                  <a:lnTo>
                    <a:pt x="99719" y="1397559"/>
                  </a:lnTo>
                  <a:lnTo>
                    <a:pt x="103925" y="1393656"/>
                  </a:lnTo>
                  <a:lnTo>
                    <a:pt x="109579" y="1388577"/>
                  </a:lnTo>
                  <a:cubicBezTo>
                    <a:pt x="109579" y="1388577"/>
                    <a:pt x="114661" y="1385684"/>
                    <a:pt x="115806" y="1385246"/>
                  </a:cubicBezTo>
                  <a:cubicBezTo>
                    <a:pt x="116950" y="1384809"/>
                    <a:pt x="119878" y="1384675"/>
                    <a:pt x="119878" y="1384675"/>
                  </a:cubicBezTo>
                  <a:lnTo>
                    <a:pt x="122334" y="1383228"/>
                  </a:lnTo>
                  <a:lnTo>
                    <a:pt x="124656" y="1380335"/>
                  </a:lnTo>
                  <a:lnTo>
                    <a:pt x="126844" y="1380032"/>
                  </a:lnTo>
                  <a:lnTo>
                    <a:pt x="129604" y="1380167"/>
                  </a:lnTo>
                  <a:lnTo>
                    <a:pt x="132195" y="1377543"/>
                  </a:lnTo>
                  <a:lnTo>
                    <a:pt x="135090" y="1375357"/>
                  </a:lnTo>
                  <a:cubicBezTo>
                    <a:pt x="135090" y="1375357"/>
                    <a:pt x="141888" y="1374482"/>
                    <a:pt x="142494" y="1374482"/>
                  </a:cubicBezTo>
                  <a:cubicBezTo>
                    <a:pt x="143066" y="1374482"/>
                    <a:pt x="148148" y="1375491"/>
                    <a:pt x="148148" y="1375491"/>
                  </a:cubicBezTo>
                  <a:lnTo>
                    <a:pt x="152051" y="1373876"/>
                  </a:lnTo>
                  <a:lnTo>
                    <a:pt x="157133" y="1372867"/>
                  </a:lnTo>
                  <a:lnTo>
                    <a:pt x="161037" y="1375121"/>
                  </a:lnTo>
                  <a:lnTo>
                    <a:pt x="162484" y="1375256"/>
                  </a:lnTo>
                  <a:lnTo>
                    <a:pt x="165244" y="1376635"/>
                  </a:lnTo>
                  <a:cubicBezTo>
                    <a:pt x="165244" y="1376635"/>
                    <a:pt x="167936" y="1376635"/>
                    <a:pt x="168206" y="1376635"/>
                  </a:cubicBezTo>
                  <a:cubicBezTo>
                    <a:pt x="168475" y="1376635"/>
                    <a:pt x="170965" y="1376568"/>
                    <a:pt x="170965" y="1376568"/>
                  </a:cubicBezTo>
                  <a:cubicBezTo>
                    <a:pt x="170965" y="1376568"/>
                    <a:pt x="173792" y="1376568"/>
                    <a:pt x="174297" y="1376500"/>
                  </a:cubicBezTo>
                  <a:cubicBezTo>
                    <a:pt x="174802" y="1376433"/>
                    <a:pt x="178134" y="1376870"/>
                    <a:pt x="178437" y="1376870"/>
                  </a:cubicBezTo>
                  <a:cubicBezTo>
                    <a:pt x="178739" y="1376870"/>
                    <a:pt x="180187" y="1376568"/>
                    <a:pt x="180321" y="1376063"/>
                  </a:cubicBezTo>
                  <a:cubicBezTo>
                    <a:pt x="180456" y="1375558"/>
                    <a:pt x="181567" y="1375424"/>
                    <a:pt x="181634" y="1375188"/>
                  </a:cubicBezTo>
                  <a:cubicBezTo>
                    <a:pt x="181701" y="1374986"/>
                    <a:pt x="182139" y="1373876"/>
                    <a:pt x="182139" y="1373876"/>
                  </a:cubicBezTo>
                  <a:lnTo>
                    <a:pt x="182711" y="1372564"/>
                  </a:lnTo>
                  <a:lnTo>
                    <a:pt x="183720" y="1371320"/>
                  </a:lnTo>
                  <a:cubicBezTo>
                    <a:pt x="183720" y="1371320"/>
                    <a:pt x="183855" y="1369941"/>
                    <a:pt x="183855" y="1369571"/>
                  </a:cubicBezTo>
                  <a:cubicBezTo>
                    <a:pt x="183855" y="1369200"/>
                    <a:pt x="185437" y="1367552"/>
                    <a:pt x="185437" y="1367552"/>
                  </a:cubicBezTo>
                  <a:cubicBezTo>
                    <a:pt x="185437" y="1367552"/>
                    <a:pt x="186749" y="1366745"/>
                    <a:pt x="187187" y="1366677"/>
                  </a:cubicBezTo>
                  <a:cubicBezTo>
                    <a:pt x="187624" y="1366610"/>
                    <a:pt x="188567" y="1368494"/>
                    <a:pt x="188567" y="1368494"/>
                  </a:cubicBezTo>
                  <a:cubicBezTo>
                    <a:pt x="188567" y="1368494"/>
                    <a:pt x="192033" y="1369806"/>
                    <a:pt x="192908" y="1369941"/>
                  </a:cubicBezTo>
                  <a:cubicBezTo>
                    <a:pt x="193783" y="1370075"/>
                    <a:pt x="194860" y="1370580"/>
                    <a:pt x="194860" y="1370580"/>
                  </a:cubicBezTo>
                  <a:cubicBezTo>
                    <a:pt x="194860" y="1370580"/>
                    <a:pt x="200009" y="1372262"/>
                    <a:pt x="200278" y="1372463"/>
                  </a:cubicBezTo>
                  <a:cubicBezTo>
                    <a:pt x="200581" y="1372665"/>
                    <a:pt x="201591" y="1372463"/>
                    <a:pt x="201591" y="1372463"/>
                  </a:cubicBezTo>
                  <a:cubicBezTo>
                    <a:pt x="201591" y="1372463"/>
                    <a:pt x="204048" y="1373405"/>
                    <a:pt x="204351" y="1373473"/>
                  </a:cubicBezTo>
                  <a:cubicBezTo>
                    <a:pt x="204654" y="1373540"/>
                    <a:pt x="207918" y="1374549"/>
                    <a:pt x="208995" y="1374785"/>
                  </a:cubicBezTo>
                  <a:cubicBezTo>
                    <a:pt x="210072" y="1374986"/>
                    <a:pt x="211384" y="1375087"/>
                    <a:pt x="211687" y="1375121"/>
                  </a:cubicBezTo>
                  <a:cubicBezTo>
                    <a:pt x="211990" y="1375155"/>
                    <a:pt x="213774" y="1375054"/>
                    <a:pt x="214380" y="1375155"/>
                  </a:cubicBezTo>
                  <a:cubicBezTo>
                    <a:pt x="214952" y="1375222"/>
                    <a:pt x="215894" y="1375087"/>
                    <a:pt x="216567" y="1375155"/>
                  </a:cubicBezTo>
                  <a:cubicBezTo>
                    <a:pt x="217207" y="1375222"/>
                    <a:pt x="218519" y="1375155"/>
                    <a:pt x="218519" y="1375155"/>
                  </a:cubicBezTo>
                  <a:lnTo>
                    <a:pt x="218755" y="1376399"/>
                  </a:lnTo>
                  <a:cubicBezTo>
                    <a:pt x="218755" y="1376399"/>
                    <a:pt x="220067" y="1378216"/>
                    <a:pt x="220269" y="1378216"/>
                  </a:cubicBezTo>
                  <a:cubicBezTo>
                    <a:pt x="220505" y="1378216"/>
                    <a:pt x="223298" y="1379797"/>
                    <a:pt x="223534" y="1379898"/>
                  </a:cubicBezTo>
                  <a:cubicBezTo>
                    <a:pt x="223769" y="1379965"/>
                    <a:pt x="226159" y="1381916"/>
                    <a:pt x="226428" y="1381916"/>
                  </a:cubicBezTo>
                  <a:cubicBezTo>
                    <a:pt x="226697" y="1381916"/>
                    <a:pt x="228952" y="1384237"/>
                    <a:pt x="228952" y="1384237"/>
                  </a:cubicBezTo>
                  <a:lnTo>
                    <a:pt x="229827" y="1385751"/>
                  </a:lnTo>
                  <a:lnTo>
                    <a:pt x="230399" y="1388510"/>
                  </a:lnTo>
                  <a:lnTo>
                    <a:pt x="230534" y="1391638"/>
                  </a:lnTo>
                  <a:cubicBezTo>
                    <a:pt x="230534" y="1391638"/>
                    <a:pt x="231779" y="1394363"/>
                    <a:pt x="232082" y="1394464"/>
                  </a:cubicBezTo>
                  <a:cubicBezTo>
                    <a:pt x="232419" y="1394565"/>
                    <a:pt x="233159" y="1395675"/>
                    <a:pt x="233496" y="1395978"/>
                  </a:cubicBezTo>
                  <a:cubicBezTo>
                    <a:pt x="233832" y="1396314"/>
                    <a:pt x="234371" y="1397290"/>
                    <a:pt x="234371" y="1397290"/>
                  </a:cubicBezTo>
                  <a:lnTo>
                    <a:pt x="235683" y="1401629"/>
                  </a:lnTo>
                  <a:lnTo>
                    <a:pt x="235246" y="1402605"/>
                  </a:lnTo>
                  <a:cubicBezTo>
                    <a:pt x="235246" y="1402605"/>
                    <a:pt x="234269" y="1403917"/>
                    <a:pt x="233933" y="1404118"/>
                  </a:cubicBezTo>
                  <a:cubicBezTo>
                    <a:pt x="233597" y="1404354"/>
                    <a:pt x="232957" y="1404892"/>
                    <a:pt x="232957" y="1405195"/>
                  </a:cubicBezTo>
                  <a:cubicBezTo>
                    <a:pt x="232957" y="1405531"/>
                    <a:pt x="233933" y="1407045"/>
                    <a:pt x="233933" y="1407045"/>
                  </a:cubicBezTo>
                  <a:cubicBezTo>
                    <a:pt x="233933" y="1407045"/>
                    <a:pt x="233933" y="1410510"/>
                    <a:pt x="233933" y="1410846"/>
                  </a:cubicBezTo>
                  <a:cubicBezTo>
                    <a:pt x="233933" y="1411183"/>
                    <a:pt x="232991" y="1413470"/>
                    <a:pt x="232991" y="1413470"/>
                  </a:cubicBezTo>
                  <a:cubicBezTo>
                    <a:pt x="232991" y="1413470"/>
                    <a:pt x="231846" y="1414681"/>
                    <a:pt x="231846" y="1414984"/>
                  </a:cubicBezTo>
                  <a:cubicBezTo>
                    <a:pt x="231846" y="1415320"/>
                    <a:pt x="231308" y="1415859"/>
                    <a:pt x="230668" y="1416632"/>
                  </a:cubicBezTo>
                  <a:cubicBezTo>
                    <a:pt x="230029" y="1417406"/>
                    <a:pt x="228481" y="1418920"/>
                    <a:pt x="228178" y="1419021"/>
                  </a:cubicBezTo>
                  <a:cubicBezTo>
                    <a:pt x="227842" y="1419122"/>
                    <a:pt x="227101" y="1420333"/>
                    <a:pt x="227101" y="1420333"/>
                  </a:cubicBezTo>
                  <a:lnTo>
                    <a:pt x="224813" y="1422519"/>
                  </a:lnTo>
                  <a:cubicBezTo>
                    <a:pt x="224813" y="1422519"/>
                    <a:pt x="223601" y="1423495"/>
                    <a:pt x="223063" y="1423730"/>
                  </a:cubicBezTo>
                  <a:cubicBezTo>
                    <a:pt x="222524" y="1423932"/>
                    <a:pt x="221548" y="1424941"/>
                    <a:pt x="221548" y="1424941"/>
                  </a:cubicBezTo>
                  <a:cubicBezTo>
                    <a:pt x="221548" y="1424941"/>
                    <a:pt x="220135" y="1425917"/>
                    <a:pt x="219697" y="1426556"/>
                  </a:cubicBezTo>
                  <a:cubicBezTo>
                    <a:pt x="219260" y="1427195"/>
                    <a:pt x="218284" y="1428171"/>
                    <a:pt x="218284" y="1428171"/>
                  </a:cubicBezTo>
                  <a:cubicBezTo>
                    <a:pt x="218284" y="1428171"/>
                    <a:pt x="218385" y="1430021"/>
                    <a:pt x="218485" y="1430660"/>
                  </a:cubicBezTo>
                  <a:cubicBezTo>
                    <a:pt x="218587" y="1431299"/>
                    <a:pt x="217846" y="1431736"/>
                    <a:pt x="217308" y="1432073"/>
                  </a:cubicBezTo>
                  <a:cubicBezTo>
                    <a:pt x="216769" y="1432409"/>
                    <a:pt x="216231" y="1432611"/>
                    <a:pt x="216231" y="1432611"/>
                  </a:cubicBezTo>
                  <a:cubicBezTo>
                    <a:pt x="216231" y="1432611"/>
                    <a:pt x="214481" y="1433923"/>
                    <a:pt x="214178" y="1434024"/>
                  </a:cubicBezTo>
                  <a:cubicBezTo>
                    <a:pt x="213841" y="1434125"/>
                    <a:pt x="210577" y="1439036"/>
                    <a:pt x="210577" y="1439036"/>
                  </a:cubicBezTo>
                  <a:cubicBezTo>
                    <a:pt x="210577" y="1439036"/>
                    <a:pt x="209601" y="1440449"/>
                    <a:pt x="208961" y="1441425"/>
                  </a:cubicBezTo>
                  <a:cubicBezTo>
                    <a:pt x="208322" y="1442400"/>
                    <a:pt x="207110" y="1443477"/>
                    <a:pt x="206908" y="1444015"/>
                  </a:cubicBezTo>
                  <a:cubicBezTo>
                    <a:pt x="206706" y="1444553"/>
                    <a:pt x="205832" y="1446504"/>
                    <a:pt x="205832" y="1446504"/>
                  </a:cubicBezTo>
                  <a:cubicBezTo>
                    <a:pt x="205832" y="1446504"/>
                    <a:pt x="206033" y="1448018"/>
                    <a:pt x="206807" y="1448691"/>
                  </a:cubicBezTo>
                  <a:cubicBezTo>
                    <a:pt x="207581" y="1449330"/>
                    <a:pt x="208019" y="1452055"/>
                    <a:pt x="208019" y="1452694"/>
                  </a:cubicBezTo>
                  <a:cubicBezTo>
                    <a:pt x="208019" y="1453333"/>
                    <a:pt x="207481" y="1454309"/>
                    <a:pt x="207245" y="1454746"/>
                  </a:cubicBezTo>
                  <a:cubicBezTo>
                    <a:pt x="207009" y="1455183"/>
                    <a:pt x="205730" y="1455621"/>
                    <a:pt x="205192" y="1456260"/>
                  </a:cubicBezTo>
                  <a:cubicBezTo>
                    <a:pt x="204654" y="1456899"/>
                    <a:pt x="202601" y="1458177"/>
                    <a:pt x="202601" y="1458177"/>
                  </a:cubicBezTo>
                  <a:cubicBezTo>
                    <a:pt x="202601" y="1458177"/>
                    <a:pt x="201288" y="1458648"/>
                    <a:pt x="200110" y="1458312"/>
                  </a:cubicBezTo>
                  <a:cubicBezTo>
                    <a:pt x="198898" y="1457975"/>
                    <a:pt x="196644" y="1458312"/>
                    <a:pt x="196644" y="1458312"/>
                  </a:cubicBezTo>
                  <a:lnTo>
                    <a:pt x="196442" y="1458312"/>
                  </a:lnTo>
                  <a:lnTo>
                    <a:pt x="195028" y="1459557"/>
                  </a:lnTo>
                  <a:lnTo>
                    <a:pt x="193716" y="1461239"/>
                  </a:lnTo>
                  <a:cubicBezTo>
                    <a:pt x="193716" y="1461239"/>
                    <a:pt x="192538" y="1462988"/>
                    <a:pt x="192201" y="1463425"/>
                  </a:cubicBezTo>
                  <a:cubicBezTo>
                    <a:pt x="191865" y="1463862"/>
                    <a:pt x="191023" y="1464602"/>
                    <a:pt x="190451" y="1465174"/>
                  </a:cubicBezTo>
                  <a:cubicBezTo>
                    <a:pt x="189913" y="1465713"/>
                    <a:pt x="187961" y="1467025"/>
                    <a:pt x="187961" y="1467025"/>
                  </a:cubicBezTo>
                  <a:lnTo>
                    <a:pt x="186884" y="1467025"/>
                  </a:lnTo>
                  <a:lnTo>
                    <a:pt x="182744" y="1467025"/>
                  </a:lnTo>
                  <a:lnTo>
                    <a:pt x="180793" y="1467025"/>
                  </a:lnTo>
                  <a:lnTo>
                    <a:pt x="178605" y="1467899"/>
                  </a:lnTo>
                  <a:cubicBezTo>
                    <a:pt x="178605" y="1467899"/>
                    <a:pt x="177730" y="1468774"/>
                    <a:pt x="177393" y="1468875"/>
                  </a:cubicBezTo>
                  <a:cubicBezTo>
                    <a:pt x="177057" y="1468976"/>
                    <a:pt x="176754" y="1469648"/>
                    <a:pt x="175879" y="1470287"/>
                  </a:cubicBezTo>
                  <a:cubicBezTo>
                    <a:pt x="175004" y="1470927"/>
                    <a:pt x="173826" y="1471902"/>
                    <a:pt x="173388" y="1472474"/>
                  </a:cubicBezTo>
                  <a:cubicBezTo>
                    <a:pt x="172951" y="1473012"/>
                    <a:pt x="172513" y="1473012"/>
                    <a:pt x="171538" y="1473248"/>
                  </a:cubicBezTo>
                  <a:cubicBezTo>
                    <a:pt x="170561" y="1473483"/>
                    <a:pt x="170461" y="1474122"/>
                    <a:pt x="170124" y="1474324"/>
                  </a:cubicBezTo>
                  <a:cubicBezTo>
                    <a:pt x="169787" y="1474560"/>
                    <a:pt x="167936" y="1475535"/>
                    <a:pt x="167936" y="1475535"/>
                  </a:cubicBezTo>
                  <a:cubicBezTo>
                    <a:pt x="167936" y="1475535"/>
                    <a:pt x="166422" y="1477823"/>
                    <a:pt x="166186" y="1478126"/>
                  </a:cubicBezTo>
                  <a:cubicBezTo>
                    <a:pt x="165984" y="1478462"/>
                    <a:pt x="165311" y="1479875"/>
                    <a:pt x="165311" y="1479875"/>
                  </a:cubicBezTo>
                  <a:lnTo>
                    <a:pt x="164436" y="1482465"/>
                  </a:lnTo>
                  <a:lnTo>
                    <a:pt x="163898" y="1483542"/>
                  </a:lnTo>
                  <a:lnTo>
                    <a:pt x="161508" y="1485022"/>
                  </a:lnTo>
                  <a:lnTo>
                    <a:pt x="158917" y="1485156"/>
                  </a:lnTo>
                  <a:cubicBezTo>
                    <a:pt x="158917" y="1485156"/>
                    <a:pt x="154677" y="1484820"/>
                    <a:pt x="154475" y="1485156"/>
                  </a:cubicBezTo>
                  <a:cubicBezTo>
                    <a:pt x="154273" y="1485493"/>
                    <a:pt x="156965" y="1487982"/>
                    <a:pt x="159254" y="1488621"/>
                  </a:cubicBezTo>
                  <a:cubicBezTo>
                    <a:pt x="161542" y="1489260"/>
                    <a:pt x="161980" y="1487847"/>
                    <a:pt x="161980" y="1487847"/>
                  </a:cubicBezTo>
                  <a:cubicBezTo>
                    <a:pt x="161980" y="1487847"/>
                    <a:pt x="165009" y="1487074"/>
                    <a:pt x="166119" y="1486603"/>
                  </a:cubicBezTo>
                  <a:cubicBezTo>
                    <a:pt x="167196" y="1486132"/>
                    <a:pt x="168744" y="1486636"/>
                    <a:pt x="168744" y="1486636"/>
                  </a:cubicBezTo>
                  <a:cubicBezTo>
                    <a:pt x="168744" y="1486636"/>
                    <a:pt x="173187" y="1486535"/>
                    <a:pt x="173523" y="1486636"/>
                  </a:cubicBezTo>
                  <a:cubicBezTo>
                    <a:pt x="173860" y="1486737"/>
                    <a:pt x="180254" y="1488049"/>
                    <a:pt x="180691" y="1488150"/>
                  </a:cubicBezTo>
                  <a:cubicBezTo>
                    <a:pt x="181129" y="1488251"/>
                    <a:pt x="184057" y="1488688"/>
                    <a:pt x="184057" y="1488688"/>
                  </a:cubicBezTo>
                  <a:cubicBezTo>
                    <a:pt x="184057" y="1488688"/>
                    <a:pt x="189374" y="1492052"/>
                    <a:pt x="189711" y="1492490"/>
                  </a:cubicBezTo>
                  <a:cubicBezTo>
                    <a:pt x="190048" y="1492927"/>
                    <a:pt x="191764" y="1498040"/>
                    <a:pt x="191764" y="1498040"/>
                  </a:cubicBezTo>
                  <a:lnTo>
                    <a:pt x="196980" y="1497401"/>
                  </a:lnTo>
                  <a:lnTo>
                    <a:pt x="200884" y="1500025"/>
                  </a:lnTo>
                  <a:lnTo>
                    <a:pt x="204788" y="1502514"/>
                  </a:lnTo>
                  <a:lnTo>
                    <a:pt x="208591" y="1505105"/>
                  </a:lnTo>
                  <a:lnTo>
                    <a:pt x="214043" y="1506955"/>
                  </a:lnTo>
                  <a:cubicBezTo>
                    <a:pt x="214043" y="1506955"/>
                    <a:pt x="220034" y="1506955"/>
                    <a:pt x="220337" y="1506955"/>
                  </a:cubicBezTo>
                  <a:cubicBezTo>
                    <a:pt x="220673" y="1506955"/>
                    <a:pt x="223500" y="1507762"/>
                    <a:pt x="224039" y="1507661"/>
                  </a:cubicBezTo>
                  <a:cubicBezTo>
                    <a:pt x="224577" y="1507560"/>
                    <a:pt x="226866" y="1508569"/>
                    <a:pt x="227202" y="1508569"/>
                  </a:cubicBezTo>
                  <a:cubicBezTo>
                    <a:pt x="227539" y="1508569"/>
                    <a:pt x="229491" y="1511294"/>
                    <a:pt x="229491" y="1511732"/>
                  </a:cubicBezTo>
                  <a:cubicBezTo>
                    <a:pt x="229491" y="1512169"/>
                    <a:pt x="228717" y="1514019"/>
                    <a:pt x="227976" y="1514793"/>
                  </a:cubicBezTo>
                  <a:cubicBezTo>
                    <a:pt x="227236" y="1515567"/>
                    <a:pt x="229053" y="1516643"/>
                    <a:pt x="229188" y="1516979"/>
                  </a:cubicBezTo>
                  <a:cubicBezTo>
                    <a:pt x="229289" y="1517316"/>
                    <a:pt x="230803" y="1518930"/>
                    <a:pt x="230803" y="1518930"/>
                  </a:cubicBezTo>
                  <a:cubicBezTo>
                    <a:pt x="230803" y="1518930"/>
                    <a:pt x="230904" y="1521958"/>
                    <a:pt x="230904" y="1522395"/>
                  </a:cubicBezTo>
                  <a:cubicBezTo>
                    <a:pt x="230904" y="1522833"/>
                    <a:pt x="230668" y="1525221"/>
                    <a:pt x="230668" y="1525658"/>
                  </a:cubicBezTo>
                  <a:cubicBezTo>
                    <a:pt x="230668" y="1526096"/>
                    <a:pt x="230467" y="1528585"/>
                    <a:pt x="230231" y="1528921"/>
                  </a:cubicBezTo>
                  <a:cubicBezTo>
                    <a:pt x="230029" y="1529258"/>
                    <a:pt x="230769" y="1531949"/>
                    <a:pt x="230769" y="1531949"/>
                  </a:cubicBezTo>
                  <a:cubicBezTo>
                    <a:pt x="230769" y="1531949"/>
                    <a:pt x="233260" y="1532723"/>
                    <a:pt x="234673" y="1532723"/>
                  </a:cubicBezTo>
                  <a:cubicBezTo>
                    <a:pt x="236087" y="1532723"/>
                    <a:pt x="234774" y="1533698"/>
                    <a:pt x="234673" y="1534674"/>
                  </a:cubicBezTo>
                  <a:cubicBezTo>
                    <a:pt x="234572" y="1535649"/>
                    <a:pt x="236625" y="1536524"/>
                    <a:pt x="236625" y="1536524"/>
                  </a:cubicBezTo>
                  <a:lnTo>
                    <a:pt x="240092" y="1536524"/>
                  </a:lnTo>
                  <a:lnTo>
                    <a:pt x="242279" y="1536524"/>
                  </a:lnTo>
                  <a:lnTo>
                    <a:pt x="245308" y="1537836"/>
                  </a:lnTo>
                  <a:cubicBezTo>
                    <a:pt x="245308" y="1537836"/>
                    <a:pt x="247933" y="1542411"/>
                    <a:pt x="247799" y="1542714"/>
                  </a:cubicBezTo>
                  <a:cubicBezTo>
                    <a:pt x="247698" y="1543050"/>
                    <a:pt x="245308" y="1549004"/>
                    <a:pt x="245308" y="1549004"/>
                  </a:cubicBezTo>
                  <a:lnTo>
                    <a:pt x="245847" y="1550417"/>
                  </a:lnTo>
                  <a:lnTo>
                    <a:pt x="250087" y="1552032"/>
                  </a:lnTo>
                  <a:lnTo>
                    <a:pt x="251938" y="1551258"/>
                  </a:lnTo>
                  <a:cubicBezTo>
                    <a:pt x="251938" y="1551258"/>
                    <a:pt x="253688" y="1550922"/>
                    <a:pt x="254227" y="1550922"/>
                  </a:cubicBezTo>
                  <a:cubicBezTo>
                    <a:pt x="254765" y="1550922"/>
                    <a:pt x="256078" y="1551124"/>
                    <a:pt x="256078" y="1551124"/>
                  </a:cubicBezTo>
                  <a:cubicBezTo>
                    <a:pt x="256078" y="1551124"/>
                    <a:pt x="258366" y="1551662"/>
                    <a:pt x="258905" y="1552099"/>
                  </a:cubicBezTo>
                  <a:cubicBezTo>
                    <a:pt x="259443" y="1552536"/>
                    <a:pt x="260419" y="1553075"/>
                    <a:pt x="260419" y="1553075"/>
                  </a:cubicBezTo>
                  <a:cubicBezTo>
                    <a:pt x="260419" y="1553075"/>
                    <a:pt x="261496" y="1552536"/>
                    <a:pt x="261934" y="1552200"/>
                  </a:cubicBezTo>
                  <a:cubicBezTo>
                    <a:pt x="262371" y="1551864"/>
                    <a:pt x="262674" y="1550350"/>
                    <a:pt x="262674" y="1550350"/>
                  </a:cubicBezTo>
                  <a:lnTo>
                    <a:pt x="266140" y="1550350"/>
                  </a:lnTo>
                  <a:lnTo>
                    <a:pt x="267890" y="1550350"/>
                  </a:lnTo>
                  <a:lnTo>
                    <a:pt x="269641" y="1550350"/>
                  </a:lnTo>
                  <a:lnTo>
                    <a:pt x="273006" y="1550350"/>
                  </a:lnTo>
                  <a:lnTo>
                    <a:pt x="275496" y="1551325"/>
                  </a:lnTo>
                  <a:cubicBezTo>
                    <a:pt x="275496" y="1551325"/>
                    <a:pt x="276809" y="1552738"/>
                    <a:pt x="277886" y="1554488"/>
                  </a:cubicBezTo>
                  <a:cubicBezTo>
                    <a:pt x="278963" y="1556237"/>
                    <a:pt x="277886" y="1557212"/>
                    <a:pt x="277886" y="1557650"/>
                  </a:cubicBezTo>
                  <a:cubicBezTo>
                    <a:pt x="277886" y="1558087"/>
                    <a:pt x="277448" y="1558726"/>
                    <a:pt x="276371" y="1559399"/>
                  </a:cubicBezTo>
                  <a:cubicBezTo>
                    <a:pt x="275294" y="1560038"/>
                    <a:pt x="274184" y="1561350"/>
                    <a:pt x="274184" y="1561787"/>
                  </a:cubicBezTo>
                  <a:cubicBezTo>
                    <a:pt x="274184" y="1562225"/>
                    <a:pt x="275160" y="1563839"/>
                    <a:pt x="275261" y="1564277"/>
                  </a:cubicBezTo>
                  <a:cubicBezTo>
                    <a:pt x="275362" y="1564714"/>
                    <a:pt x="275059" y="1567304"/>
                    <a:pt x="275059" y="1567304"/>
                  </a:cubicBezTo>
                  <a:lnTo>
                    <a:pt x="274184" y="1568280"/>
                  </a:lnTo>
                  <a:cubicBezTo>
                    <a:pt x="274184" y="1568280"/>
                    <a:pt x="273410" y="1569491"/>
                    <a:pt x="272669" y="1570130"/>
                  </a:cubicBezTo>
                  <a:cubicBezTo>
                    <a:pt x="271895" y="1570769"/>
                    <a:pt x="273107" y="1571206"/>
                    <a:pt x="273208" y="1571543"/>
                  </a:cubicBezTo>
                  <a:cubicBezTo>
                    <a:pt x="273309" y="1571879"/>
                    <a:pt x="274419" y="1574369"/>
                    <a:pt x="274419" y="1574369"/>
                  </a:cubicBezTo>
                  <a:cubicBezTo>
                    <a:pt x="274419" y="1574369"/>
                    <a:pt x="273006" y="1575580"/>
                    <a:pt x="272905" y="1575882"/>
                  </a:cubicBezTo>
                  <a:cubicBezTo>
                    <a:pt x="272804" y="1576219"/>
                    <a:pt x="271929" y="1577060"/>
                    <a:pt x="271391" y="1577497"/>
                  </a:cubicBezTo>
                  <a:cubicBezTo>
                    <a:pt x="270852" y="1577934"/>
                    <a:pt x="270145" y="1579549"/>
                    <a:pt x="270145" y="1579549"/>
                  </a:cubicBezTo>
                  <a:cubicBezTo>
                    <a:pt x="270145" y="1579549"/>
                    <a:pt x="272030" y="1581601"/>
                    <a:pt x="272568" y="1581937"/>
                  </a:cubicBezTo>
                  <a:cubicBezTo>
                    <a:pt x="273107" y="1582274"/>
                    <a:pt x="273746" y="1583148"/>
                    <a:pt x="274083" y="1583249"/>
                  </a:cubicBezTo>
                  <a:cubicBezTo>
                    <a:pt x="274419" y="1583350"/>
                    <a:pt x="274083" y="1586613"/>
                    <a:pt x="274083" y="1586613"/>
                  </a:cubicBezTo>
                  <a:cubicBezTo>
                    <a:pt x="274083" y="1586613"/>
                    <a:pt x="272568" y="1588026"/>
                    <a:pt x="271357" y="1589103"/>
                  </a:cubicBezTo>
                  <a:cubicBezTo>
                    <a:pt x="270145" y="1590179"/>
                    <a:pt x="270044" y="1591491"/>
                    <a:pt x="270145" y="1592029"/>
                  </a:cubicBezTo>
                  <a:cubicBezTo>
                    <a:pt x="270246" y="1592568"/>
                    <a:pt x="271996" y="1593341"/>
                    <a:pt x="272333" y="1593442"/>
                  </a:cubicBezTo>
                  <a:cubicBezTo>
                    <a:pt x="272669" y="1593543"/>
                    <a:pt x="275362" y="1593442"/>
                    <a:pt x="275799" y="1593442"/>
                  </a:cubicBezTo>
                  <a:cubicBezTo>
                    <a:pt x="276237" y="1593442"/>
                    <a:pt x="277415" y="1593980"/>
                    <a:pt x="277852" y="1594418"/>
                  </a:cubicBezTo>
                  <a:cubicBezTo>
                    <a:pt x="278290" y="1594855"/>
                    <a:pt x="278054" y="1595057"/>
                    <a:pt x="278391" y="1596705"/>
                  </a:cubicBezTo>
                  <a:cubicBezTo>
                    <a:pt x="278727" y="1598320"/>
                    <a:pt x="280006" y="1599094"/>
                    <a:pt x="280343" y="1599430"/>
                  </a:cubicBezTo>
                  <a:cubicBezTo>
                    <a:pt x="280679" y="1599766"/>
                    <a:pt x="282631" y="1601045"/>
                    <a:pt x="283069" y="1601280"/>
                  </a:cubicBezTo>
                  <a:cubicBezTo>
                    <a:pt x="283506" y="1601482"/>
                    <a:pt x="286535" y="1601919"/>
                    <a:pt x="286535" y="1601919"/>
                  </a:cubicBezTo>
                  <a:cubicBezTo>
                    <a:pt x="286535" y="1601919"/>
                    <a:pt x="289127" y="1601583"/>
                    <a:pt x="289463" y="1601583"/>
                  </a:cubicBezTo>
                  <a:cubicBezTo>
                    <a:pt x="289800" y="1601583"/>
                    <a:pt x="290776" y="1600944"/>
                    <a:pt x="291213" y="1600069"/>
                  </a:cubicBezTo>
                  <a:cubicBezTo>
                    <a:pt x="291651" y="1599195"/>
                    <a:pt x="292727" y="1599531"/>
                    <a:pt x="293704" y="1598757"/>
                  </a:cubicBezTo>
                  <a:cubicBezTo>
                    <a:pt x="294680" y="1597984"/>
                    <a:pt x="296194" y="1596705"/>
                    <a:pt x="296968" y="1596032"/>
                  </a:cubicBezTo>
                  <a:cubicBezTo>
                    <a:pt x="297742" y="1595393"/>
                    <a:pt x="298920" y="1595158"/>
                    <a:pt x="299256" y="1594821"/>
                  </a:cubicBezTo>
                  <a:cubicBezTo>
                    <a:pt x="299593" y="1594485"/>
                    <a:pt x="302285" y="1594485"/>
                    <a:pt x="303396" y="1594384"/>
                  </a:cubicBezTo>
                  <a:cubicBezTo>
                    <a:pt x="304473" y="1594283"/>
                    <a:pt x="306223" y="1595158"/>
                    <a:pt x="307536" y="1595360"/>
                  </a:cubicBezTo>
                  <a:cubicBezTo>
                    <a:pt x="308848" y="1595561"/>
                    <a:pt x="309588" y="1597210"/>
                    <a:pt x="309588" y="1597546"/>
                  </a:cubicBezTo>
                  <a:cubicBezTo>
                    <a:pt x="309588" y="1597883"/>
                    <a:pt x="307637" y="1601247"/>
                    <a:pt x="307199" y="1601348"/>
                  </a:cubicBezTo>
                  <a:cubicBezTo>
                    <a:pt x="306762" y="1601448"/>
                    <a:pt x="305785" y="1601886"/>
                    <a:pt x="304709" y="1602121"/>
                  </a:cubicBezTo>
                  <a:cubicBezTo>
                    <a:pt x="303632" y="1602323"/>
                    <a:pt x="302757" y="1602996"/>
                    <a:pt x="302218" y="1603534"/>
                  </a:cubicBezTo>
                  <a:cubicBezTo>
                    <a:pt x="301680" y="1604072"/>
                    <a:pt x="301579" y="1605048"/>
                    <a:pt x="300603" y="1605822"/>
                  </a:cubicBezTo>
                  <a:cubicBezTo>
                    <a:pt x="299627" y="1606595"/>
                    <a:pt x="300603" y="1607133"/>
                    <a:pt x="300603" y="1607133"/>
                  </a:cubicBezTo>
                  <a:cubicBezTo>
                    <a:pt x="300603" y="1607133"/>
                    <a:pt x="302555" y="1610161"/>
                    <a:pt x="302891" y="1610397"/>
                  </a:cubicBezTo>
                  <a:cubicBezTo>
                    <a:pt x="303228" y="1610632"/>
                    <a:pt x="304406" y="1612247"/>
                    <a:pt x="304641" y="1612684"/>
                  </a:cubicBezTo>
                  <a:cubicBezTo>
                    <a:pt x="304877" y="1613121"/>
                    <a:pt x="306156" y="1613861"/>
                    <a:pt x="306156" y="1613861"/>
                  </a:cubicBezTo>
                  <a:cubicBezTo>
                    <a:pt x="306156" y="1613861"/>
                    <a:pt x="308343" y="1614501"/>
                    <a:pt x="308747" y="1614938"/>
                  </a:cubicBezTo>
                  <a:cubicBezTo>
                    <a:pt x="309185" y="1615375"/>
                    <a:pt x="310800" y="1616351"/>
                    <a:pt x="310767" y="1616687"/>
                  </a:cubicBezTo>
                  <a:cubicBezTo>
                    <a:pt x="310733" y="1617024"/>
                    <a:pt x="311137" y="1617663"/>
                    <a:pt x="310867" y="1618201"/>
                  </a:cubicBezTo>
                  <a:cubicBezTo>
                    <a:pt x="310598" y="1618739"/>
                    <a:pt x="311036" y="1620253"/>
                    <a:pt x="310935" y="1620690"/>
                  </a:cubicBezTo>
                  <a:cubicBezTo>
                    <a:pt x="310834" y="1621128"/>
                    <a:pt x="310935" y="1623180"/>
                    <a:pt x="310935" y="1623852"/>
                  </a:cubicBezTo>
                  <a:cubicBezTo>
                    <a:pt x="310935" y="1624525"/>
                    <a:pt x="311137" y="1624828"/>
                    <a:pt x="312012" y="1626880"/>
                  </a:cubicBezTo>
                  <a:cubicBezTo>
                    <a:pt x="312887" y="1628932"/>
                    <a:pt x="314065" y="1628394"/>
                    <a:pt x="314401" y="1628495"/>
                  </a:cubicBezTo>
                  <a:cubicBezTo>
                    <a:pt x="314738" y="1628596"/>
                    <a:pt x="315916" y="1628831"/>
                    <a:pt x="316252" y="1629033"/>
                  </a:cubicBezTo>
                  <a:cubicBezTo>
                    <a:pt x="316589" y="1629235"/>
                    <a:pt x="318002" y="1629235"/>
                    <a:pt x="319853" y="1628932"/>
                  </a:cubicBezTo>
                  <a:cubicBezTo>
                    <a:pt x="321704" y="1628596"/>
                    <a:pt x="320930" y="1628932"/>
                    <a:pt x="322041" y="1628932"/>
                  </a:cubicBezTo>
                  <a:cubicBezTo>
                    <a:pt x="323118" y="1628932"/>
                    <a:pt x="324329" y="1629033"/>
                    <a:pt x="324329" y="1629033"/>
                  </a:cubicBezTo>
                  <a:cubicBezTo>
                    <a:pt x="324329" y="1629033"/>
                    <a:pt x="326180" y="1630009"/>
                    <a:pt x="326517" y="1630547"/>
                  </a:cubicBezTo>
                  <a:cubicBezTo>
                    <a:pt x="326853" y="1631085"/>
                    <a:pt x="327829" y="1632061"/>
                    <a:pt x="328368" y="1632599"/>
                  </a:cubicBezTo>
                  <a:cubicBezTo>
                    <a:pt x="328906" y="1633137"/>
                    <a:pt x="329007" y="1633238"/>
                    <a:pt x="329344" y="1634012"/>
                  </a:cubicBezTo>
                  <a:cubicBezTo>
                    <a:pt x="329680" y="1634785"/>
                    <a:pt x="330656" y="1636938"/>
                    <a:pt x="331632" y="1638788"/>
                  </a:cubicBezTo>
                  <a:cubicBezTo>
                    <a:pt x="332608" y="1640639"/>
                    <a:pt x="334560" y="1641513"/>
                    <a:pt x="335435" y="1641951"/>
                  </a:cubicBezTo>
                  <a:cubicBezTo>
                    <a:pt x="336310" y="1642388"/>
                    <a:pt x="336411" y="1641311"/>
                    <a:pt x="336411" y="1641311"/>
                  </a:cubicBezTo>
                  <a:cubicBezTo>
                    <a:pt x="336411" y="1641311"/>
                    <a:pt x="339440" y="1638687"/>
                    <a:pt x="339777" y="1638486"/>
                  </a:cubicBezTo>
                  <a:cubicBezTo>
                    <a:pt x="340113" y="1638284"/>
                    <a:pt x="343041" y="1637510"/>
                    <a:pt x="343041" y="1637510"/>
                  </a:cubicBezTo>
                  <a:lnTo>
                    <a:pt x="346844" y="1639260"/>
                  </a:lnTo>
                  <a:cubicBezTo>
                    <a:pt x="346844" y="1639260"/>
                    <a:pt x="348359" y="1642287"/>
                    <a:pt x="348695" y="1643834"/>
                  </a:cubicBezTo>
                  <a:cubicBezTo>
                    <a:pt x="349032" y="1645348"/>
                    <a:pt x="350344" y="1645685"/>
                    <a:pt x="350782" y="1646223"/>
                  </a:cubicBezTo>
                  <a:cubicBezTo>
                    <a:pt x="351219" y="1646761"/>
                    <a:pt x="352936" y="1646862"/>
                    <a:pt x="354147" y="1646660"/>
                  </a:cubicBezTo>
                  <a:cubicBezTo>
                    <a:pt x="355359" y="1646458"/>
                    <a:pt x="355897" y="1646223"/>
                    <a:pt x="356335" y="1646021"/>
                  </a:cubicBezTo>
                  <a:cubicBezTo>
                    <a:pt x="356772" y="1645819"/>
                    <a:pt x="357109" y="1643195"/>
                    <a:pt x="357109" y="1642758"/>
                  </a:cubicBezTo>
                  <a:cubicBezTo>
                    <a:pt x="357109" y="1642321"/>
                    <a:pt x="357546" y="1640470"/>
                    <a:pt x="357546" y="1640033"/>
                  </a:cubicBezTo>
                  <a:cubicBezTo>
                    <a:pt x="357546" y="1639596"/>
                    <a:pt x="359397" y="1637207"/>
                    <a:pt x="359734" y="1636669"/>
                  </a:cubicBezTo>
                  <a:cubicBezTo>
                    <a:pt x="360070" y="1636131"/>
                    <a:pt x="363200" y="1633406"/>
                    <a:pt x="363200" y="1633406"/>
                  </a:cubicBezTo>
                  <a:lnTo>
                    <a:pt x="364614" y="1631657"/>
                  </a:lnTo>
                  <a:cubicBezTo>
                    <a:pt x="364614" y="1631657"/>
                    <a:pt x="367441" y="1628192"/>
                    <a:pt x="368619" y="1627317"/>
                  </a:cubicBezTo>
                  <a:cubicBezTo>
                    <a:pt x="369830" y="1626443"/>
                    <a:pt x="370806" y="1625904"/>
                    <a:pt x="371883" y="1625366"/>
                  </a:cubicBezTo>
                  <a:cubicBezTo>
                    <a:pt x="372960" y="1624828"/>
                    <a:pt x="375686" y="1622339"/>
                    <a:pt x="377436" y="1621767"/>
                  </a:cubicBezTo>
                  <a:cubicBezTo>
                    <a:pt x="379186" y="1621229"/>
                    <a:pt x="380162" y="1619177"/>
                    <a:pt x="380162" y="1619177"/>
                  </a:cubicBezTo>
                  <a:cubicBezTo>
                    <a:pt x="380162" y="1619177"/>
                    <a:pt x="379523" y="1617427"/>
                    <a:pt x="379186" y="1616889"/>
                  </a:cubicBezTo>
                  <a:cubicBezTo>
                    <a:pt x="378850" y="1616351"/>
                    <a:pt x="376561" y="1614400"/>
                    <a:pt x="375720" y="1614299"/>
                  </a:cubicBezTo>
                  <a:cubicBezTo>
                    <a:pt x="374845" y="1614198"/>
                    <a:pt x="374205" y="1612785"/>
                    <a:pt x="374205" y="1612785"/>
                  </a:cubicBezTo>
                  <a:cubicBezTo>
                    <a:pt x="374205" y="1612785"/>
                    <a:pt x="370840" y="1609522"/>
                    <a:pt x="370503" y="1609320"/>
                  </a:cubicBezTo>
                  <a:cubicBezTo>
                    <a:pt x="370200" y="1609118"/>
                    <a:pt x="368652" y="1605519"/>
                    <a:pt x="368652" y="1605519"/>
                  </a:cubicBezTo>
                  <a:cubicBezTo>
                    <a:pt x="368652" y="1605519"/>
                    <a:pt x="367777" y="1602256"/>
                    <a:pt x="367474" y="1602054"/>
                  </a:cubicBezTo>
                  <a:cubicBezTo>
                    <a:pt x="367138" y="1601819"/>
                    <a:pt x="366397" y="1598354"/>
                    <a:pt x="366397" y="1598354"/>
                  </a:cubicBezTo>
                  <a:lnTo>
                    <a:pt x="361719" y="1595965"/>
                  </a:lnTo>
                  <a:lnTo>
                    <a:pt x="356604" y="1593341"/>
                  </a:lnTo>
                  <a:cubicBezTo>
                    <a:pt x="356604" y="1593341"/>
                    <a:pt x="353676" y="1591929"/>
                    <a:pt x="353239" y="1591592"/>
                  </a:cubicBezTo>
                  <a:cubicBezTo>
                    <a:pt x="352801" y="1591256"/>
                    <a:pt x="352464" y="1588766"/>
                    <a:pt x="352464" y="1588766"/>
                  </a:cubicBezTo>
                  <a:lnTo>
                    <a:pt x="353339" y="1586580"/>
                  </a:lnTo>
                  <a:cubicBezTo>
                    <a:pt x="353339" y="1586580"/>
                    <a:pt x="356705" y="1586042"/>
                    <a:pt x="357142" y="1586042"/>
                  </a:cubicBezTo>
                  <a:cubicBezTo>
                    <a:pt x="357580" y="1586042"/>
                    <a:pt x="358354" y="1586243"/>
                    <a:pt x="358993" y="1586243"/>
                  </a:cubicBezTo>
                  <a:cubicBezTo>
                    <a:pt x="359633" y="1586243"/>
                    <a:pt x="363133" y="1588094"/>
                    <a:pt x="363873" y="1588194"/>
                  </a:cubicBezTo>
                  <a:cubicBezTo>
                    <a:pt x="364647" y="1588295"/>
                    <a:pt x="367575" y="1589506"/>
                    <a:pt x="367575" y="1589506"/>
                  </a:cubicBezTo>
                  <a:cubicBezTo>
                    <a:pt x="367575" y="1589506"/>
                    <a:pt x="371042" y="1590146"/>
                    <a:pt x="371479" y="1590280"/>
                  </a:cubicBezTo>
                  <a:cubicBezTo>
                    <a:pt x="371917" y="1590381"/>
                    <a:pt x="375821" y="1592029"/>
                    <a:pt x="375821" y="1592029"/>
                  </a:cubicBezTo>
                  <a:lnTo>
                    <a:pt x="379523" y="1592029"/>
                  </a:lnTo>
                  <a:lnTo>
                    <a:pt x="382451" y="1591659"/>
                  </a:lnTo>
                  <a:cubicBezTo>
                    <a:pt x="382451" y="1591659"/>
                    <a:pt x="384840" y="1589876"/>
                    <a:pt x="385278" y="1589742"/>
                  </a:cubicBezTo>
                  <a:cubicBezTo>
                    <a:pt x="385715" y="1589641"/>
                    <a:pt x="389417" y="1588531"/>
                    <a:pt x="389855" y="1588329"/>
                  </a:cubicBezTo>
                  <a:cubicBezTo>
                    <a:pt x="390292" y="1588127"/>
                    <a:pt x="395509" y="1586277"/>
                    <a:pt x="395509" y="1586277"/>
                  </a:cubicBezTo>
                  <a:lnTo>
                    <a:pt x="397696" y="1584662"/>
                  </a:lnTo>
                  <a:cubicBezTo>
                    <a:pt x="397696" y="1584662"/>
                    <a:pt x="399312" y="1584023"/>
                    <a:pt x="401062" y="1583586"/>
                  </a:cubicBezTo>
                  <a:cubicBezTo>
                    <a:pt x="402812" y="1583148"/>
                    <a:pt x="405403" y="1583384"/>
                    <a:pt x="405403" y="1583384"/>
                  </a:cubicBezTo>
                  <a:cubicBezTo>
                    <a:pt x="405403" y="1583384"/>
                    <a:pt x="408668" y="1583384"/>
                    <a:pt x="409105" y="1583384"/>
                  </a:cubicBezTo>
                  <a:cubicBezTo>
                    <a:pt x="409543" y="1583384"/>
                    <a:pt x="410081" y="1582207"/>
                    <a:pt x="410418" y="1581534"/>
                  </a:cubicBezTo>
                  <a:cubicBezTo>
                    <a:pt x="410754" y="1580895"/>
                    <a:pt x="411629" y="1580659"/>
                    <a:pt x="412370" y="1579919"/>
                  </a:cubicBezTo>
                  <a:cubicBezTo>
                    <a:pt x="413144" y="1579145"/>
                    <a:pt x="415398" y="1577968"/>
                    <a:pt x="415836" y="1577968"/>
                  </a:cubicBezTo>
                  <a:cubicBezTo>
                    <a:pt x="416274" y="1577968"/>
                    <a:pt x="419000" y="1578304"/>
                    <a:pt x="419303" y="1578405"/>
                  </a:cubicBezTo>
                  <a:cubicBezTo>
                    <a:pt x="419639" y="1578506"/>
                    <a:pt x="421692" y="1582207"/>
                    <a:pt x="422029" y="1582543"/>
                  </a:cubicBezTo>
                  <a:cubicBezTo>
                    <a:pt x="422365" y="1582879"/>
                    <a:pt x="423106" y="1584393"/>
                    <a:pt x="423106" y="1584393"/>
                  </a:cubicBezTo>
                  <a:lnTo>
                    <a:pt x="425596" y="1588733"/>
                  </a:lnTo>
                  <a:lnTo>
                    <a:pt x="429500" y="1591222"/>
                  </a:lnTo>
                  <a:cubicBezTo>
                    <a:pt x="429500" y="1591222"/>
                    <a:pt x="431553" y="1591659"/>
                    <a:pt x="431889" y="1591323"/>
                  </a:cubicBezTo>
                  <a:cubicBezTo>
                    <a:pt x="432226" y="1590987"/>
                    <a:pt x="436130" y="1591088"/>
                    <a:pt x="438082" y="1591088"/>
                  </a:cubicBezTo>
                  <a:cubicBezTo>
                    <a:pt x="440034" y="1591088"/>
                    <a:pt x="442423" y="1591962"/>
                    <a:pt x="442861" y="1591962"/>
                  </a:cubicBezTo>
                  <a:cubicBezTo>
                    <a:pt x="443298" y="1591962"/>
                    <a:pt x="444611" y="1593476"/>
                    <a:pt x="445048" y="1594149"/>
                  </a:cubicBezTo>
                  <a:cubicBezTo>
                    <a:pt x="445486" y="1594788"/>
                    <a:pt x="446798" y="1597176"/>
                    <a:pt x="447236" y="1597311"/>
                  </a:cubicBezTo>
                  <a:cubicBezTo>
                    <a:pt x="447673" y="1597412"/>
                    <a:pt x="453765" y="1597849"/>
                    <a:pt x="453765" y="1597849"/>
                  </a:cubicBezTo>
                  <a:cubicBezTo>
                    <a:pt x="453765" y="1597849"/>
                    <a:pt x="459722" y="1597849"/>
                    <a:pt x="460395" y="1597647"/>
                  </a:cubicBezTo>
                  <a:cubicBezTo>
                    <a:pt x="461034" y="1597445"/>
                    <a:pt x="464501" y="1597311"/>
                    <a:pt x="464501" y="1597311"/>
                  </a:cubicBezTo>
                  <a:cubicBezTo>
                    <a:pt x="464501" y="1597311"/>
                    <a:pt x="468102" y="1597311"/>
                    <a:pt x="470255" y="1597311"/>
                  </a:cubicBezTo>
                  <a:cubicBezTo>
                    <a:pt x="472409" y="1597311"/>
                    <a:pt x="472207" y="1596873"/>
                    <a:pt x="472544" y="1596537"/>
                  </a:cubicBezTo>
                  <a:cubicBezTo>
                    <a:pt x="472881" y="1596201"/>
                    <a:pt x="474732" y="1595763"/>
                    <a:pt x="475035" y="1595461"/>
                  </a:cubicBezTo>
                  <a:cubicBezTo>
                    <a:pt x="475371" y="1595124"/>
                    <a:pt x="476246" y="1594149"/>
                    <a:pt x="476246" y="1594149"/>
                  </a:cubicBezTo>
                  <a:lnTo>
                    <a:pt x="481799" y="1589675"/>
                  </a:lnTo>
                  <a:lnTo>
                    <a:pt x="487453" y="1585873"/>
                  </a:lnTo>
                  <a:cubicBezTo>
                    <a:pt x="487453" y="1585873"/>
                    <a:pt x="490381" y="1584023"/>
                    <a:pt x="491256" y="1583384"/>
                  </a:cubicBezTo>
                  <a:cubicBezTo>
                    <a:pt x="492131" y="1582745"/>
                    <a:pt x="494184" y="1580895"/>
                    <a:pt x="494184" y="1580895"/>
                  </a:cubicBezTo>
                  <a:cubicBezTo>
                    <a:pt x="494184" y="1580895"/>
                    <a:pt x="495934" y="1578405"/>
                    <a:pt x="496237" y="1577531"/>
                  </a:cubicBezTo>
                  <a:cubicBezTo>
                    <a:pt x="496573" y="1576656"/>
                    <a:pt x="498290" y="1575781"/>
                    <a:pt x="498290" y="1575781"/>
                  </a:cubicBezTo>
                  <a:lnTo>
                    <a:pt x="500242" y="1575580"/>
                  </a:lnTo>
                  <a:cubicBezTo>
                    <a:pt x="500242" y="1575580"/>
                    <a:pt x="503405" y="1574268"/>
                    <a:pt x="503843" y="1573931"/>
                  </a:cubicBezTo>
                  <a:cubicBezTo>
                    <a:pt x="504280" y="1573595"/>
                    <a:pt x="506670" y="1572518"/>
                    <a:pt x="507982" y="1571980"/>
                  </a:cubicBezTo>
                  <a:cubicBezTo>
                    <a:pt x="509295" y="1571442"/>
                    <a:pt x="510910" y="1571543"/>
                    <a:pt x="512559" y="1571105"/>
                  </a:cubicBezTo>
                  <a:cubicBezTo>
                    <a:pt x="514175" y="1570668"/>
                    <a:pt x="514208" y="1570332"/>
                    <a:pt x="514511" y="1570231"/>
                  </a:cubicBezTo>
                  <a:cubicBezTo>
                    <a:pt x="514848" y="1570130"/>
                    <a:pt x="516800" y="1568919"/>
                    <a:pt x="517103" y="1568717"/>
                  </a:cubicBezTo>
                  <a:cubicBezTo>
                    <a:pt x="517439" y="1568515"/>
                    <a:pt x="519593" y="1568381"/>
                    <a:pt x="519930" y="1568179"/>
                  </a:cubicBezTo>
                  <a:cubicBezTo>
                    <a:pt x="520266" y="1567977"/>
                    <a:pt x="523194" y="1567102"/>
                    <a:pt x="523531" y="1566867"/>
                  </a:cubicBezTo>
                  <a:cubicBezTo>
                    <a:pt x="523867" y="1566631"/>
                    <a:pt x="526560" y="1565656"/>
                    <a:pt x="527973" y="1565454"/>
                  </a:cubicBezTo>
                  <a:cubicBezTo>
                    <a:pt x="529387" y="1565219"/>
                    <a:pt x="533627" y="1565353"/>
                    <a:pt x="534940" y="1565454"/>
                  </a:cubicBezTo>
                  <a:cubicBezTo>
                    <a:pt x="536252" y="1565555"/>
                    <a:pt x="539281" y="1565992"/>
                    <a:pt x="539281" y="1565992"/>
                  </a:cubicBezTo>
                  <a:cubicBezTo>
                    <a:pt x="539281" y="1565992"/>
                    <a:pt x="543084" y="1565992"/>
                    <a:pt x="544161" y="1565992"/>
                  </a:cubicBezTo>
                  <a:cubicBezTo>
                    <a:pt x="545238" y="1565992"/>
                    <a:pt x="547863" y="1566766"/>
                    <a:pt x="548300" y="1566968"/>
                  </a:cubicBezTo>
                  <a:cubicBezTo>
                    <a:pt x="548738" y="1567170"/>
                    <a:pt x="549815" y="1567842"/>
                    <a:pt x="552339" y="1568919"/>
                  </a:cubicBezTo>
                  <a:cubicBezTo>
                    <a:pt x="554829" y="1569995"/>
                    <a:pt x="555503" y="1571946"/>
                    <a:pt x="555940" y="1572619"/>
                  </a:cubicBezTo>
                  <a:cubicBezTo>
                    <a:pt x="556378" y="1573258"/>
                    <a:pt x="558767" y="1575445"/>
                    <a:pt x="558767" y="1575445"/>
                  </a:cubicBezTo>
                  <a:cubicBezTo>
                    <a:pt x="558767" y="1575445"/>
                    <a:pt x="558767" y="1577497"/>
                    <a:pt x="558666" y="1578170"/>
                  </a:cubicBezTo>
                  <a:cubicBezTo>
                    <a:pt x="558565" y="1578809"/>
                    <a:pt x="557690" y="1579246"/>
                    <a:pt x="557690" y="1579246"/>
                  </a:cubicBezTo>
                  <a:cubicBezTo>
                    <a:pt x="557690" y="1579246"/>
                    <a:pt x="556815" y="1580861"/>
                    <a:pt x="555738" y="1581635"/>
                  </a:cubicBezTo>
                  <a:cubicBezTo>
                    <a:pt x="554661" y="1582408"/>
                    <a:pt x="553887" y="1584662"/>
                    <a:pt x="553887" y="1584999"/>
                  </a:cubicBezTo>
                  <a:cubicBezTo>
                    <a:pt x="553887" y="1585335"/>
                    <a:pt x="555301" y="1587051"/>
                    <a:pt x="555301" y="1587051"/>
                  </a:cubicBezTo>
                  <a:lnTo>
                    <a:pt x="557690" y="1590953"/>
                  </a:lnTo>
                  <a:lnTo>
                    <a:pt x="558229" y="1593005"/>
                  </a:lnTo>
                  <a:lnTo>
                    <a:pt x="559104" y="1595932"/>
                  </a:lnTo>
                  <a:cubicBezTo>
                    <a:pt x="559104" y="1595932"/>
                    <a:pt x="561291" y="1599531"/>
                    <a:pt x="561830" y="1600069"/>
                  </a:cubicBezTo>
                  <a:cubicBezTo>
                    <a:pt x="562368" y="1600607"/>
                    <a:pt x="564118" y="1603231"/>
                    <a:pt x="564118" y="1603231"/>
                  </a:cubicBezTo>
                  <a:cubicBezTo>
                    <a:pt x="564118" y="1603231"/>
                    <a:pt x="564657" y="1608681"/>
                    <a:pt x="564657" y="1608984"/>
                  </a:cubicBezTo>
                  <a:cubicBezTo>
                    <a:pt x="564657" y="1609320"/>
                    <a:pt x="565633" y="1613323"/>
                    <a:pt x="565733" y="1613761"/>
                  </a:cubicBezTo>
                  <a:cubicBezTo>
                    <a:pt x="565835" y="1614198"/>
                    <a:pt x="565835" y="1618874"/>
                    <a:pt x="565835" y="1618874"/>
                  </a:cubicBezTo>
                  <a:cubicBezTo>
                    <a:pt x="565835" y="1618874"/>
                    <a:pt x="564421" y="1621599"/>
                    <a:pt x="563984" y="1621700"/>
                  </a:cubicBezTo>
                  <a:cubicBezTo>
                    <a:pt x="563546" y="1621801"/>
                    <a:pt x="560955" y="1623449"/>
                    <a:pt x="560517" y="1623751"/>
                  </a:cubicBezTo>
                  <a:cubicBezTo>
                    <a:pt x="560080" y="1624088"/>
                    <a:pt x="557353" y="1626678"/>
                    <a:pt x="556916" y="1627015"/>
                  </a:cubicBezTo>
                  <a:cubicBezTo>
                    <a:pt x="556478" y="1627351"/>
                    <a:pt x="556378" y="1628966"/>
                    <a:pt x="556378" y="1628966"/>
                  </a:cubicBezTo>
                  <a:lnTo>
                    <a:pt x="552474" y="1632868"/>
                  </a:lnTo>
                  <a:lnTo>
                    <a:pt x="551161" y="1635256"/>
                  </a:lnTo>
                  <a:cubicBezTo>
                    <a:pt x="551161" y="1635256"/>
                    <a:pt x="547022" y="1636131"/>
                    <a:pt x="546483" y="1636434"/>
                  </a:cubicBezTo>
                  <a:cubicBezTo>
                    <a:pt x="545945" y="1636770"/>
                    <a:pt x="544767" y="1639899"/>
                    <a:pt x="544767" y="1639899"/>
                  </a:cubicBezTo>
                  <a:lnTo>
                    <a:pt x="541065" y="1645886"/>
                  </a:lnTo>
                  <a:lnTo>
                    <a:pt x="539113" y="1652514"/>
                  </a:lnTo>
                  <a:cubicBezTo>
                    <a:pt x="539113" y="1652514"/>
                    <a:pt x="534872" y="1658064"/>
                    <a:pt x="534098" y="1658939"/>
                  </a:cubicBezTo>
                  <a:cubicBezTo>
                    <a:pt x="533324" y="1659813"/>
                    <a:pt x="529521" y="1662538"/>
                    <a:pt x="529218" y="1662841"/>
                  </a:cubicBezTo>
                  <a:cubicBezTo>
                    <a:pt x="528882" y="1663177"/>
                    <a:pt x="519425" y="1667618"/>
                    <a:pt x="519425" y="1667618"/>
                  </a:cubicBezTo>
                  <a:lnTo>
                    <a:pt x="510304" y="1672731"/>
                  </a:lnTo>
                  <a:lnTo>
                    <a:pt x="498391" y="1677777"/>
                  </a:lnTo>
                  <a:cubicBezTo>
                    <a:pt x="498391" y="1677777"/>
                    <a:pt x="494823" y="1679593"/>
                    <a:pt x="494520" y="1679728"/>
                  </a:cubicBezTo>
                  <a:cubicBezTo>
                    <a:pt x="494184" y="1679862"/>
                    <a:pt x="492871" y="1680502"/>
                    <a:pt x="492636" y="1680636"/>
                  </a:cubicBezTo>
                  <a:cubicBezTo>
                    <a:pt x="492400" y="1680737"/>
                    <a:pt x="491593" y="1681544"/>
                    <a:pt x="491525" y="1681645"/>
                  </a:cubicBezTo>
                  <a:cubicBezTo>
                    <a:pt x="491458" y="1681713"/>
                    <a:pt x="491458" y="1682352"/>
                    <a:pt x="491458" y="1682352"/>
                  </a:cubicBezTo>
                  <a:lnTo>
                    <a:pt x="492366" y="1684135"/>
                  </a:lnTo>
                  <a:lnTo>
                    <a:pt x="495261" y="1684135"/>
                  </a:lnTo>
                  <a:cubicBezTo>
                    <a:pt x="495261" y="1684135"/>
                    <a:pt x="498155" y="1685514"/>
                    <a:pt x="498593" y="1686086"/>
                  </a:cubicBezTo>
                  <a:cubicBezTo>
                    <a:pt x="499030" y="1686658"/>
                    <a:pt x="501049" y="1688777"/>
                    <a:pt x="501218" y="1689349"/>
                  </a:cubicBezTo>
                  <a:cubicBezTo>
                    <a:pt x="501352" y="1689921"/>
                    <a:pt x="501924" y="1691973"/>
                    <a:pt x="501924" y="1691973"/>
                  </a:cubicBezTo>
                  <a:lnTo>
                    <a:pt x="501924" y="1693285"/>
                  </a:lnTo>
                  <a:cubicBezTo>
                    <a:pt x="501924" y="1693285"/>
                    <a:pt x="501049" y="1694731"/>
                    <a:pt x="500915" y="1695169"/>
                  </a:cubicBezTo>
                  <a:cubicBezTo>
                    <a:pt x="500780" y="1695606"/>
                    <a:pt x="500174" y="1696615"/>
                    <a:pt x="500174" y="1696615"/>
                  </a:cubicBezTo>
                  <a:lnTo>
                    <a:pt x="500309" y="1697792"/>
                  </a:lnTo>
                  <a:lnTo>
                    <a:pt x="501453" y="1699239"/>
                  </a:lnTo>
                  <a:lnTo>
                    <a:pt x="501319" y="1701560"/>
                  </a:lnTo>
                  <a:lnTo>
                    <a:pt x="501891" y="1709398"/>
                  </a:lnTo>
                  <a:cubicBezTo>
                    <a:pt x="501891" y="1709398"/>
                    <a:pt x="501891" y="1712291"/>
                    <a:pt x="501891" y="1712863"/>
                  </a:cubicBezTo>
                  <a:cubicBezTo>
                    <a:pt x="501891" y="1713435"/>
                    <a:pt x="501319" y="1715453"/>
                    <a:pt x="501319" y="1715453"/>
                  </a:cubicBezTo>
                  <a:lnTo>
                    <a:pt x="498424" y="1716900"/>
                  </a:lnTo>
                  <a:lnTo>
                    <a:pt x="495799" y="1715453"/>
                  </a:lnTo>
                  <a:lnTo>
                    <a:pt x="492770" y="1715453"/>
                  </a:lnTo>
                  <a:lnTo>
                    <a:pt x="490583" y="1715453"/>
                  </a:lnTo>
                  <a:lnTo>
                    <a:pt x="485804" y="1715453"/>
                  </a:lnTo>
                  <a:lnTo>
                    <a:pt x="483987" y="1718279"/>
                  </a:lnTo>
                  <a:lnTo>
                    <a:pt x="484054" y="1718918"/>
                  </a:lnTo>
                  <a:cubicBezTo>
                    <a:pt x="484054" y="1718918"/>
                    <a:pt x="483919" y="1722820"/>
                    <a:pt x="484054" y="1723426"/>
                  </a:cubicBezTo>
                  <a:cubicBezTo>
                    <a:pt x="484188" y="1723998"/>
                    <a:pt x="484054" y="1726622"/>
                    <a:pt x="484054" y="1727059"/>
                  </a:cubicBezTo>
                  <a:cubicBezTo>
                    <a:pt x="484054" y="1727496"/>
                    <a:pt x="484626" y="1730255"/>
                    <a:pt x="484626" y="1730255"/>
                  </a:cubicBezTo>
                  <a:cubicBezTo>
                    <a:pt x="484626" y="1730255"/>
                    <a:pt x="485501" y="1732273"/>
                    <a:pt x="486376" y="1733719"/>
                  </a:cubicBezTo>
                  <a:cubicBezTo>
                    <a:pt x="487251" y="1735166"/>
                    <a:pt x="487251" y="1736478"/>
                    <a:pt x="487554" y="1737184"/>
                  </a:cubicBezTo>
                  <a:cubicBezTo>
                    <a:pt x="487857" y="1737924"/>
                    <a:pt x="487251" y="1739775"/>
                    <a:pt x="487689" y="1740380"/>
                  </a:cubicBezTo>
                  <a:cubicBezTo>
                    <a:pt x="488126" y="1740952"/>
                    <a:pt x="487251" y="1743408"/>
                    <a:pt x="487689" y="1744148"/>
                  </a:cubicBezTo>
                  <a:cubicBezTo>
                    <a:pt x="488126" y="1744854"/>
                    <a:pt x="487689" y="1746469"/>
                    <a:pt x="487689" y="1746469"/>
                  </a:cubicBezTo>
                  <a:lnTo>
                    <a:pt x="492333" y="1748487"/>
                  </a:lnTo>
                  <a:cubicBezTo>
                    <a:pt x="492333" y="1748487"/>
                    <a:pt x="496371" y="1748487"/>
                    <a:pt x="496977" y="1748487"/>
                  </a:cubicBezTo>
                  <a:cubicBezTo>
                    <a:pt x="497549" y="1748487"/>
                    <a:pt x="501319" y="1750506"/>
                    <a:pt x="501891" y="1751111"/>
                  </a:cubicBezTo>
                  <a:cubicBezTo>
                    <a:pt x="502463" y="1751683"/>
                    <a:pt x="509429" y="1753567"/>
                    <a:pt x="510001" y="1753870"/>
                  </a:cubicBezTo>
                  <a:cubicBezTo>
                    <a:pt x="510574" y="1754172"/>
                    <a:pt x="514074" y="1755619"/>
                    <a:pt x="514074" y="1755619"/>
                  </a:cubicBezTo>
                  <a:lnTo>
                    <a:pt x="518718" y="1759958"/>
                  </a:lnTo>
                  <a:lnTo>
                    <a:pt x="519795" y="1764298"/>
                  </a:lnTo>
                  <a:cubicBezTo>
                    <a:pt x="519795" y="1764298"/>
                    <a:pt x="528276" y="1774154"/>
                    <a:pt x="528545" y="1774424"/>
                  </a:cubicBezTo>
                  <a:cubicBezTo>
                    <a:pt x="528848" y="1774726"/>
                    <a:pt x="536454" y="1782093"/>
                    <a:pt x="537531" y="1783203"/>
                  </a:cubicBezTo>
                  <a:cubicBezTo>
                    <a:pt x="538608" y="1784280"/>
                    <a:pt x="544262" y="1789931"/>
                    <a:pt x="544262" y="1789931"/>
                  </a:cubicBezTo>
                  <a:cubicBezTo>
                    <a:pt x="544262" y="1789931"/>
                    <a:pt x="549175" y="1792892"/>
                    <a:pt x="549411" y="1792959"/>
                  </a:cubicBezTo>
                  <a:cubicBezTo>
                    <a:pt x="549613" y="1793026"/>
                    <a:pt x="553416" y="1794775"/>
                    <a:pt x="553416" y="1794775"/>
                  </a:cubicBezTo>
                  <a:lnTo>
                    <a:pt x="555704" y="1796087"/>
                  </a:lnTo>
                  <a:lnTo>
                    <a:pt x="558430" y="1791950"/>
                  </a:lnTo>
                  <a:lnTo>
                    <a:pt x="562435" y="1791950"/>
                  </a:lnTo>
                  <a:lnTo>
                    <a:pt x="564623" y="1795684"/>
                  </a:lnTo>
                  <a:cubicBezTo>
                    <a:pt x="564623" y="1795684"/>
                    <a:pt x="564791" y="1795785"/>
                    <a:pt x="565061" y="1795919"/>
                  </a:cubicBezTo>
                  <a:lnTo>
                    <a:pt x="565767" y="1794372"/>
                  </a:lnTo>
                  <a:lnTo>
                    <a:pt x="569469" y="1792925"/>
                  </a:lnTo>
                  <a:cubicBezTo>
                    <a:pt x="569469" y="1792925"/>
                    <a:pt x="572094" y="1790167"/>
                    <a:pt x="572969" y="1790167"/>
                  </a:cubicBezTo>
                  <a:cubicBezTo>
                    <a:pt x="573844" y="1790167"/>
                    <a:pt x="575796" y="1790167"/>
                    <a:pt x="575796" y="1790167"/>
                  </a:cubicBezTo>
                  <a:lnTo>
                    <a:pt x="584277" y="1786904"/>
                  </a:lnTo>
                  <a:lnTo>
                    <a:pt x="593398" y="1784515"/>
                  </a:lnTo>
                  <a:lnTo>
                    <a:pt x="595989" y="1781690"/>
                  </a:lnTo>
                  <a:cubicBezTo>
                    <a:pt x="595989" y="1781690"/>
                    <a:pt x="605109" y="1784078"/>
                    <a:pt x="605984" y="1784078"/>
                  </a:cubicBezTo>
                  <a:cubicBezTo>
                    <a:pt x="606859" y="1784078"/>
                    <a:pt x="615105" y="1784280"/>
                    <a:pt x="617057" y="1783876"/>
                  </a:cubicBezTo>
                  <a:cubicBezTo>
                    <a:pt x="619009" y="1783439"/>
                    <a:pt x="622071" y="1781690"/>
                    <a:pt x="622071" y="1781690"/>
                  </a:cubicBezTo>
                  <a:lnTo>
                    <a:pt x="632302" y="1779099"/>
                  </a:lnTo>
                  <a:cubicBezTo>
                    <a:pt x="632302" y="1779099"/>
                    <a:pt x="635769" y="1776475"/>
                    <a:pt x="636644" y="1776475"/>
                  </a:cubicBezTo>
                  <a:cubicBezTo>
                    <a:pt x="637519" y="1776475"/>
                    <a:pt x="646000" y="1773650"/>
                    <a:pt x="646000" y="1773650"/>
                  </a:cubicBezTo>
                  <a:lnTo>
                    <a:pt x="653168" y="1768873"/>
                  </a:lnTo>
                  <a:lnTo>
                    <a:pt x="658183" y="1767561"/>
                  </a:lnTo>
                  <a:lnTo>
                    <a:pt x="667943" y="1767561"/>
                  </a:lnTo>
                  <a:lnTo>
                    <a:pt x="669693" y="1767561"/>
                  </a:lnTo>
                  <a:cubicBezTo>
                    <a:pt x="669693" y="1767561"/>
                    <a:pt x="667505" y="1767325"/>
                    <a:pt x="673832" y="1767561"/>
                  </a:cubicBezTo>
                  <a:cubicBezTo>
                    <a:pt x="680126" y="1767763"/>
                    <a:pt x="681303" y="1769579"/>
                    <a:pt x="681303" y="1769579"/>
                  </a:cubicBezTo>
                  <a:cubicBezTo>
                    <a:pt x="681303" y="1769579"/>
                    <a:pt x="685443" y="1769007"/>
                    <a:pt x="685880" y="1768940"/>
                  </a:cubicBezTo>
                  <a:cubicBezTo>
                    <a:pt x="686318" y="1768873"/>
                    <a:pt x="688640" y="1765240"/>
                    <a:pt x="688135" y="1765173"/>
                  </a:cubicBezTo>
                  <a:cubicBezTo>
                    <a:pt x="687630" y="1765105"/>
                    <a:pt x="683053" y="1764668"/>
                    <a:pt x="682852" y="1764432"/>
                  </a:cubicBezTo>
                  <a:cubicBezTo>
                    <a:pt x="682616" y="1764197"/>
                    <a:pt x="680664" y="1762179"/>
                    <a:pt x="680765" y="1761909"/>
                  </a:cubicBezTo>
                  <a:cubicBezTo>
                    <a:pt x="680832" y="1761607"/>
                    <a:pt x="681135" y="1759454"/>
                    <a:pt x="682717" y="1759151"/>
                  </a:cubicBezTo>
                  <a:cubicBezTo>
                    <a:pt x="684299" y="1758848"/>
                    <a:pt x="686856" y="1758411"/>
                    <a:pt x="687058" y="1758579"/>
                  </a:cubicBezTo>
                  <a:cubicBezTo>
                    <a:pt x="687260" y="1758714"/>
                    <a:pt x="692073" y="1758546"/>
                    <a:pt x="692073" y="1758546"/>
                  </a:cubicBezTo>
                  <a:lnTo>
                    <a:pt x="703650" y="1752188"/>
                  </a:lnTo>
                  <a:cubicBezTo>
                    <a:pt x="703650" y="1752188"/>
                    <a:pt x="707419" y="1748723"/>
                    <a:pt x="707722" y="1747545"/>
                  </a:cubicBezTo>
                  <a:cubicBezTo>
                    <a:pt x="708025" y="1746402"/>
                    <a:pt x="708597" y="1739438"/>
                    <a:pt x="707722" y="1738261"/>
                  </a:cubicBezTo>
                  <a:cubicBezTo>
                    <a:pt x="706847" y="1737117"/>
                    <a:pt x="704256" y="1731028"/>
                    <a:pt x="704256" y="1731028"/>
                  </a:cubicBezTo>
                  <a:lnTo>
                    <a:pt x="699914" y="1725242"/>
                  </a:lnTo>
                  <a:lnTo>
                    <a:pt x="698467" y="1720028"/>
                  </a:lnTo>
                  <a:cubicBezTo>
                    <a:pt x="698467" y="1720028"/>
                    <a:pt x="698164" y="1715958"/>
                    <a:pt x="698164" y="1715117"/>
                  </a:cubicBezTo>
                  <a:cubicBezTo>
                    <a:pt x="698164" y="1714242"/>
                    <a:pt x="701059" y="1708759"/>
                    <a:pt x="701059" y="1708759"/>
                  </a:cubicBezTo>
                  <a:cubicBezTo>
                    <a:pt x="701059" y="1708759"/>
                    <a:pt x="703953" y="1707010"/>
                    <a:pt x="704525" y="1706135"/>
                  </a:cubicBezTo>
                  <a:cubicBezTo>
                    <a:pt x="705097" y="1705260"/>
                    <a:pt x="709439" y="1701795"/>
                    <a:pt x="709439" y="1701795"/>
                  </a:cubicBezTo>
                  <a:lnTo>
                    <a:pt x="708698" y="1697759"/>
                  </a:lnTo>
                  <a:lnTo>
                    <a:pt x="709439" y="1691973"/>
                  </a:lnTo>
                  <a:cubicBezTo>
                    <a:pt x="709439" y="1691973"/>
                    <a:pt x="711020" y="1689517"/>
                    <a:pt x="710886" y="1688205"/>
                  </a:cubicBezTo>
                  <a:cubicBezTo>
                    <a:pt x="710751" y="1686893"/>
                    <a:pt x="710684" y="1684303"/>
                    <a:pt x="710246" y="1684000"/>
                  </a:cubicBezTo>
                  <a:cubicBezTo>
                    <a:pt x="709809" y="1683697"/>
                    <a:pt x="707116" y="1681814"/>
                    <a:pt x="707116" y="1680367"/>
                  </a:cubicBezTo>
                  <a:cubicBezTo>
                    <a:pt x="707116" y="1678921"/>
                    <a:pt x="707116" y="1674581"/>
                    <a:pt x="707116" y="1674581"/>
                  </a:cubicBezTo>
                  <a:cubicBezTo>
                    <a:pt x="707116" y="1674581"/>
                    <a:pt x="707689" y="1661529"/>
                    <a:pt x="708126" y="1661125"/>
                  </a:cubicBezTo>
                  <a:cubicBezTo>
                    <a:pt x="708564" y="1660688"/>
                    <a:pt x="711895" y="1656348"/>
                    <a:pt x="712030" y="1655911"/>
                  </a:cubicBezTo>
                  <a:cubicBezTo>
                    <a:pt x="712165" y="1655474"/>
                    <a:pt x="714790" y="1646660"/>
                    <a:pt x="714790" y="1646055"/>
                  </a:cubicBezTo>
                  <a:cubicBezTo>
                    <a:pt x="714790" y="1645483"/>
                    <a:pt x="717819" y="1637645"/>
                    <a:pt x="717987" y="1637073"/>
                  </a:cubicBezTo>
                  <a:cubicBezTo>
                    <a:pt x="718121" y="1636501"/>
                    <a:pt x="722059" y="1633002"/>
                    <a:pt x="723203" y="1631724"/>
                  </a:cubicBezTo>
                  <a:cubicBezTo>
                    <a:pt x="724348" y="1630412"/>
                    <a:pt x="727679" y="1626947"/>
                    <a:pt x="727679" y="1626947"/>
                  </a:cubicBezTo>
                  <a:cubicBezTo>
                    <a:pt x="727679" y="1626947"/>
                    <a:pt x="729867" y="1624189"/>
                    <a:pt x="730002" y="1623751"/>
                  </a:cubicBezTo>
                  <a:cubicBezTo>
                    <a:pt x="730136" y="1623314"/>
                    <a:pt x="732324" y="1619547"/>
                    <a:pt x="732324" y="1618975"/>
                  </a:cubicBezTo>
                  <a:cubicBezTo>
                    <a:pt x="732324" y="1618403"/>
                    <a:pt x="733468" y="1616956"/>
                    <a:pt x="734208" y="1616519"/>
                  </a:cubicBezTo>
                  <a:cubicBezTo>
                    <a:pt x="734915" y="1616082"/>
                    <a:pt x="737103" y="1614198"/>
                    <a:pt x="737675" y="1613761"/>
                  </a:cubicBezTo>
                  <a:cubicBezTo>
                    <a:pt x="738247" y="1613323"/>
                    <a:pt x="741747" y="1611137"/>
                    <a:pt x="741747" y="1611137"/>
                  </a:cubicBezTo>
                  <a:lnTo>
                    <a:pt x="745651" y="1608815"/>
                  </a:lnTo>
                  <a:lnTo>
                    <a:pt x="747973" y="1606797"/>
                  </a:lnTo>
                  <a:cubicBezTo>
                    <a:pt x="747973" y="1606797"/>
                    <a:pt x="748714" y="1601448"/>
                    <a:pt x="748714" y="1600843"/>
                  </a:cubicBezTo>
                  <a:cubicBezTo>
                    <a:pt x="748714" y="1600271"/>
                    <a:pt x="749420" y="1597647"/>
                    <a:pt x="749420" y="1597647"/>
                  </a:cubicBezTo>
                  <a:lnTo>
                    <a:pt x="752752" y="1592736"/>
                  </a:lnTo>
                  <a:cubicBezTo>
                    <a:pt x="752752" y="1592736"/>
                    <a:pt x="754940" y="1589271"/>
                    <a:pt x="755512" y="1589271"/>
                  </a:cubicBezTo>
                  <a:cubicBezTo>
                    <a:pt x="756084" y="1589271"/>
                    <a:pt x="757699" y="1590415"/>
                    <a:pt x="758574" y="1590583"/>
                  </a:cubicBezTo>
                  <a:cubicBezTo>
                    <a:pt x="759449" y="1590717"/>
                    <a:pt x="759719" y="1590583"/>
                    <a:pt x="761906" y="1590583"/>
                  </a:cubicBezTo>
                  <a:cubicBezTo>
                    <a:pt x="764094" y="1590583"/>
                    <a:pt x="765675" y="1589136"/>
                    <a:pt x="766820" y="1589271"/>
                  </a:cubicBezTo>
                  <a:cubicBezTo>
                    <a:pt x="767964" y="1589406"/>
                    <a:pt x="769007" y="1588968"/>
                    <a:pt x="770454" y="1587959"/>
                  </a:cubicBezTo>
                  <a:cubicBezTo>
                    <a:pt x="771901" y="1586950"/>
                    <a:pt x="773214" y="1586210"/>
                    <a:pt x="773652" y="1585941"/>
                  </a:cubicBezTo>
                  <a:cubicBezTo>
                    <a:pt x="774089" y="1585638"/>
                    <a:pt x="775974" y="1585066"/>
                    <a:pt x="775974" y="1585066"/>
                  </a:cubicBezTo>
                  <a:lnTo>
                    <a:pt x="781056" y="1585066"/>
                  </a:lnTo>
                  <a:cubicBezTo>
                    <a:pt x="781056" y="1585066"/>
                    <a:pt x="785834" y="1585503"/>
                    <a:pt x="787147" y="1584494"/>
                  </a:cubicBezTo>
                  <a:cubicBezTo>
                    <a:pt x="788460" y="1583485"/>
                    <a:pt x="790613" y="1581029"/>
                    <a:pt x="790613" y="1581029"/>
                  </a:cubicBezTo>
                  <a:lnTo>
                    <a:pt x="794686" y="1581769"/>
                  </a:lnTo>
                  <a:cubicBezTo>
                    <a:pt x="794686" y="1581769"/>
                    <a:pt x="795258" y="1584528"/>
                    <a:pt x="795392" y="1584965"/>
                  </a:cubicBezTo>
                  <a:cubicBezTo>
                    <a:pt x="795527" y="1585402"/>
                    <a:pt x="794955" y="1587993"/>
                    <a:pt x="795392" y="1588598"/>
                  </a:cubicBezTo>
                  <a:cubicBezTo>
                    <a:pt x="795830" y="1589170"/>
                    <a:pt x="795426" y="1592063"/>
                    <a:pt x="795426" y="1592063"/>
                  </a:cubicBezTo>
                  <a:lnTo>
                    <a:pt x="793811" y="1595965"/>
                  </a:lnTo>
                  <a:lnTo>
                    <a:pt x="795594" y="1598724"/>
                  </a:lnTo>
                  <a:lnTo>
                    <a:pt x="796705" y="1603366"/>
                  </a:lnTo>
                  <a:cubicBezTo>
                    <a:pt x="796705" y="1603366"/>
                    <a:pt x="796065" y="1607436"/>
                    <a:pt x="796469" y="1608008"/>
                  </a:cubicBezTo>
                  <a:cubicBezTo>
                    <a:pt x="796907" y="1608580"/>
                    <a:pt x="797546" y="1611641"/>
                    <a:pt x="797546" y="1611641"/>
                  </a:cubicBezTo>
                  <a:lnTo>
                    <a:pt x="797546" y="1619042"/>
                  </a:lnTo>
                  <a:lnTo>
                    <a:pt x="799734" y="1617730"/>
                  </a:lnTo>
                  <a:cubicBezTo>
                    <a:pt x="799734" y="1617730"/>
                    <a:pt x="800474" y="1618033"/>
                    <a:pt x="801349" y="1617596"/>
                  </a:cubicBezTo>
                  <a:cubicBezTo>
                    <a:pt x="802224" y="1617158"/>
                    <a:pt x="804681" y="1617596"/>
                    <a:pt x="804681" y="1617596"/>
                  </a:cubicBezTo>
                  <a:lnTo>
                    <a:pt x="807441" y="1620354"/>
                  </a:lnTo>
                  <a:lnTo>
                    <a:pt x="808585" y="1623953"/>
                  </a:lnTo>
                  <a:lnTo>
                    <a:pt x="809595" y="1627284"/>
                  </a:lnTo>
                  <a:cubicBezTo>
                    <a:pt x="809595" y="1627284"/>
                    <a:pt x="809729" y="1628730"/>
                    <a:pt x="809595" y="1630311"/>
                  </a:cubicBezTo>
                  <a:cubicBezTo>
                    <a:pt x="809460" y="1631892"/>
                    <a:pt x="809023" y="1634651"/>
                    <a:pt x="809023" y="1634651"/>
                  </a:cubicBezTo>
                  <a:cubicBezTo>
                    <a:pt x="809023" y="1634651"/>
                    <a:pt x="808888" y="1635660"/>
                    <a:pt x="807710" y="1635660"/>
                  </a:cubicBezTo>
                  <a:cubicBezTo>
                    <a:pt x="806566" y="1635660"/>
                    <a:pt x="805960" y="1635357"/>
                    <a:pt x="805388" y="1635223"/>
                  </a:cubicBezTo>
                  <a:cubicBezTo>
                    <a:pt x="804816" y="1635088"/>
                    <a:pt x="803638" y="1634785"/>
                    <a:pt x="803638" y="1634785"/>
                  </a:cubicBezTo>
                  <a:cubicBezTo>
                    <a:pt x="803638" y="1634785"/>
                    <a:pt x="800441" y="1634785"/>
                    <a:pt x="799868" y="1634483"/>
                  </a:cubicBezTo>
                  <a:cubicBezTo>
                    <a:pt x="799296" y="1634180"/>
                    <a:pt x="796840" y="1634045"/>
                    <a:pt x="796840" y="1634045"/>
                  </a:cubicBezTo>
                  <a:lnTo>
                    <a:pt x="791488" y="1636232"/>
                  </a:lnTo>
                  <a:cubicBezTo>
                    <a:pt x="791488" y="1636232"/>
                    <a:pt x="787887" y="1637241"/>
                    <a:pt x="787719" y="1637678"/>
                  </a:cubicBezTo>
                  <a:cubicBezTo>
                    <a:pt x="787585" y="1638116"/>
                    <a:pt x="785262" y="1642758"/>
                    <a:pt x="785262" y="1642758"/>
                  </a:cubicBezTo>
                  <a:lnTo>
                    <a:pt x="780854" y="1644204"/>
                  </a:lnTo>
                  <a:lnTo>
                    <a:pt x="778229" y="1649856"/>
                  </a:lnTo>
                  <a:lnTo>
                    <a:pt x="776479" y="1653758"/>
                  </a:lnTo>
                  <a:lnTo>
                    <a:pt x="773450" y="1657458"/>
                  </a:lnTo>
                  <a:lnTo>
                    <a:pt x="772810" y="1660284"/>
                  </a:lnTo>
                  <a:lnTo>
                    <a:pt x="771733" y="1662908"/>
                  </a:lnTo>
                  <a:lnTo>
                    <a:pt x="771296" y="1665936"/>
                  </a:lnTo>
                  <a:lnTo>
                    <a:pt x="770757" y="1667887"/>
                  </a:lnTo>
                  <a:lnTo>
                    <a:pt x="768031" y="1670948"/>
                  </a:lnTo>
                  <a:lnTo>
                    <a:pt x="768031" y="1674648"/>
                  </a:lnTo>
                  <a:lnTo>
                    <a:pt x="768805" y="1676398"/>
                  </a:lnTo>
                  <a:lnTo>
                    <a:pt x="771531" y="1680098"/>
                  </a:lnTo>
                  <a:lnTo>
                    <a:pt x="771531" y="1681612"/>
                  </a:lnTo>
                  <a:cubicBezTo>
                    <a:pt x="771531" y="1681612"/>
                    <a:pt x="770656" y="1683798"/>
                    <a:pt x="770454" y="1684438"/>
                  </a:cubicBezTo>
                  <a:cubicBezTo>
                    <a:pt x="770219" y="1685077"/>
                    <a:pt x="769815" y="1685077"/>
                    <a:pt x="768940" y="1685951"/>
                  </a:cubicBezTo>
                  <a:cubicBezTo>
                    <a:pt x="768065" y="1686826"/>
                    <a:pt x="768065" y="1689820"/>
                    <a:pt x="767190" y="1689181"/>
                  </a:cubicBezTo>
                  <a:cubicBezTo>
                    <a:pt x="766315" y="1688541"/>
                    <a:pt x="767829" y="1692881"/>
                    <a:pt x="767829" y="1692881"/>
                  </a:cubicBezTo>
                  <a:lnTo>
                    <a:pt x="768906" y="1695505"/>
                  </a:lnTo>
                  <a:lnTo>
                    <a:pt x="767594" y="1700080"/>
                  </a:lnTo>
                  <a:lnTo>
                    <a:pt x="767358" y="1703545"/>
                  </a:lnTo>
                  <a:lnTo>
                    <a:pt x="768435" y="1705059"/>
                  </a:lnTo>
                  <a:lnTo>
                    <a:pt x="773652" y="1710037"/>
                  </a:lnTo>
                  <a:lnTo>
                    <a:pt x="777791" y="1712863"/>
                  </a:lnTo>
                  <a:lnTo>
                    <a:pt x="780181" y="1714377"/>
                  </a:lnTo>
                  <a:lnTo>
                    <a:pt x="784758" y="1717404"/>
                  </a:lnTo>
                  <a:lnTo>
                    <a:pt x="790109" y="1720095"/>
                  </a:lnTo>
                  <a:lnTo>
                    <a:pt x="799027" y="1726252"/>
                  </a:lnTo>
                  <a:cubicBezTo>
                    <a:pt x="799027" y="1726252"/>
                    <a:pt x="802224" y="1727833"/>
                    <a:pt x="803099" y="1727698"/>
                  </a:cubicBezTo>
                  <a:cubicBezTo>
                    <a:pt x="803974" y="1727564"/>
                    <a:pt x="808888" y="1727765"/>
                    <a:pt x="809123" y="1727698"/>
                  </a:cubicBezTo>
                  <a:cubicBezTo>
                    <a:pt x="809325" y="1727631"/>
                    <a:pt x="812523" y="1726992"/>
                    <a:pt x="812523" y="1726992"/>
                  </a:cubicBezTo>
                  <a:cubicBezTo>
                    <a:pt x="812523" y="1726992"/>
                    <a:pt x="817941" y="1724771"/>
                    <a:pt x="818176" y="1724704"/>
                  </a:cubicBezTo>
                  <a:cubicBezTo>
                    <a:pt x="818412" y="1724637"/>
                    <a:pt x="821071" y="1722417"/>
                    <a:pt x="821508" y="1722417"/>
                  </a:cubicBezTo>
                  <a:cubicBezTo>
                    <a:pt x="821946" y="1722417"/>
                    <a:pt x="824537" y="1722417"/>
                    <a:pt x="824537" y="1722417"/>
                  </a:cubicBezTo>
                  <a:lnTo>
                    <a:pt x="827600" y="1723224"/>
                  </a:lnTo>
                  <a:lnTo>
                    <a:pt x="833624" y="1725108"/>
                  </a:lnTo>
                  <a:cubicBezTo>
                    <a:pt x="833624" y="1725108"/>
                    <a:pt x="835374" y="1725915"/>
                    <a:pt x="835509" y="1726352"/>
                  </a:cubicBezTo>
                  <a:cubicBezTo>
                    <a:pt x="835643" y="1726790"/>
                    <a:pt x="840220" y="1732004"/>
                    <a:pt x="840220" y="1732004"/>
                  </a:cubicBezTo>
                  <a:lnTo>
                    <a:pt x="842812" y="1734830"/>
                  </a:lnTo>
                  <a:lnTo>
                    <a:pt x="845942" y="1741288"/>
                  </a:lnTo>
                  <a:lnTo>
                    <a:pt x="850081" y="1746132"/>
                  </a:lnTo>
                  <a:lnTo>
                    <a:pt x="851091" y="1750337"/>
                  </a:lnTo>
                  <a:cubicBezTo>
                    <a:pt x="851091" y="1750337"/>
                    <a:pt x="852605" y="1753096"/>
                    <a:pt x="853043" y="1753601"/>
                  </a:cubicBezTo>
                  <a:cubicBezTo>
                    <a:pt x="853480" y="1754105"/>
                    <a:pt x="856442" y="1755854"/>
                    <a:pt x="857384" y="1755854"/>
                  </a:cubicBezTo>
                  <a:cubicBezTo>
                    <a:pt x="858326" y="1755854"/>
                    <a:pt x="861793" y="1755484"/>
                    <a:pt x="861793" y="1755484"/>
                  </a:cubicBezTo>
                  <a:lnTo>
                    <a:pt x="867918" y="1756023"/>
                  </a:lnTo>
                  <a:lnTo>
                    <a:pt x="873774" y="1758209"/>
                  </a:lnTo>
                  <a:cubicBezTo>
                    <a:pt x="873774" y="1758209"/>
                    <a:pt x="878889" y="1760059"/>
                    <a:pt x="880202" y="1759958"/>
                  </a:cubicBezTo>
                  <a:cubicBezTo>
                    <a:pt x="881514" y="1759858"/>
                    <a:pt x="886630" y="1760934"/>
                    <a:pt x="886630" y="1760934"/>
                  </a:cubicBezTo>
                  <a:lnTo>
                    <a:pt x="891072" y="1759958"/>
                  </a:lnTo>
                  <a:lnTo>
                    <a:pt x="891611" y="1762986"/>
                  </a:lnTo>
                  <a:lnTo>
                    <a:pt x="895313" y="1764937"/>
                  </a:lnTo>
                  <a:cubicBezTo>
                    <a:pt x="895313" y="1764937"/>
                    <a:pt x="897601" y="1769714"/>
                    <a:pt x="897938" y="1770151"/>
                  </a:cubicBezTo>
                  <a:cubicBezTo>
                    <a:pt x="898275" y="1770589"/>
                    <a:pt x="900967" y="1777215"/>
                    <a:pt x="900967" y="1777653"/>
                  </a:cubicBezTo>
                  <a:cubicBezTo>
                    <a:pt x="900967" y="1778090"/>
                    <a:pt x="903255" y="1781454"/>
                    <a:pt x="903693" y="1781454"/>
                  </a:cubicBezTo>
                  <a:cubicBezTo>
                    <a:pt x="904130" y="1781454"/>
                    <a:pt x="909683" y="1783203"/>
                    <a:pt x="910121" y="1783069"/>
                  </a:cubicBezTo>
                  <a:cubicBezTo>
                    <a:pt x="910558" y="1782968"/>
                    <a:pt x="911433" y="1780142"/>
                    <a:pt x="911433" y="1780142"/>
                  </a:cubicBezTo>
                  <a:lnTo>
                    <a:pt x="915001" y="1779806"/>
                  </a:lnTo>
                  <a:lnTo>
                    <a:pt x="918905" y="1779806"/>
                  </a:lnTo>
                  <a:lnTo>
                    <a:pt x="922068" y="1782699"/>
                  </a:lnTo>
                  <a:lnTo>
                    <a:pt x="925434" y="1785020"/>
                  </a:lnTo>
                  <a:lnTo>
                    <a:pt x="932400" y="1785020"/>
                  </a:lnTo>
                  <a:lnTo>
                    <a:pt x="937415" y="1781118"/>
                  </a:lnTo>
                  <a:lnTo>
                    <a:pt x="941554" y="1780041"/>
                  </a:lnTo>
                  <a:lnTo>
                    <a:pt x="952862" y="1783304"/>
                  </a:lnTo>
                  <a:lnTo>
                    <a:pt x="960536" y="1782564"/>
                  </a:lnTo>
                  <a:cubicBezTo>
                    <a:pt x="960536" y="1782564"/>
                    <a:pt x="962285" y="1782699"/>
                    <a:pt x="964574" y="1782564"/>
                  </a:cubicBezTo>
                  <a:cubicBezTo>
                    <a:pt x="966862" y="1782430"/>
                    <a:pt x="966324" y="1782261"/>
                    <a:pt x="967199" y="1781420"/>
                  </a:cubicBezTo>
                  <a:cubicBezTo>
                    <a:pt x="968074" y="1780546"/>
                    <a:pt x="970262" y="1781420"/>
                    <a:pt x="970262" y="1781420"/>
                  </a:cubicBezTo>
                  <a:cubicBezTo>
                    <a:pt x="970262" y="1781420"/>
                    <a:pt x="970834" y="1779402"/>
                    <a:pt x="970968" y="1778965"/>
                  </a:cubicBezTo>
                  <a:cubicBezTo>
                    <a:pt x="971103" y="1778527"/>
                    <a:pt x="970968" y="1776778"/>
                    <a:pt x="970531" y="1776644"/>
                  </a:cubicBezTo>
                  <a:cubicBezTo>
                    <a:pt x="970093" y="1776509"/>
                    <a:pt x="969387" y="1775635"/>
                    <a:pt x="968343" y="1774625"/>
                  </a:cubicBezTo>
                  <a:cubicBezTo>
                    <a:pt x="967334" y="1773616"/>
                    <a:pt x="966324" y="1773751"/>
                    <a:pt x="966324" y="1773751"/>
                  </a:cubicBezTo>
                  <a:cubicBezTo>
                    <a:pt x="966324" y="1773751"/>
                    <a:pt x="964574" y="1771564"/>
                    <a:pt x="964574" y="1771160"/>
                  </a:cubicBezTo>
                  <a:cubicBezTo>
                    <a:pt x="964540" y="1770723"/>
                    <a:pt x="964574" y="1768570"/>
                    <a:pt x="964574" y="1768570"/>
                  </a:cubicBezTo>
                  <a:lnTo>
                    <a:pt x="964574" y="1765105"/>
                  </a:lnTo>
                  <a:cubicBezTo>
                    <a:pt x="964574" y="1765105"/>
                    <a:pt x="964439" y="1762650"/>
                    <a:pt x="965011" y="1762212"/>
                  </a:cubicBezTo>
                  <a:cubicBezTo>
                    <a:pt x="965584" y="1761775"/>
                    <a:pt x="964574" y="1759891"/>
                    <a:pt x="964574" y="1759891"/>
                  </a:cubicBezTo>
                  <a:lnTo>
                    <a:pt x="964574" y="1754677"/>
                  </a:lnTo>
                  <a:lnTo>
                    <a:pt x="964574" y="1752053"/>
                  </a:lnTo>
                  <a:lnTo>
                    <a:pt x="966324" y="1749463"/>
                  </a:lnTo>
                  <a:lnTo>
                    <a:pt x="966324" y="1747714"/>
                  </a:lnTo>
                  <a:lnTo>
                    <a:pt x="966324" y="1745695"/>
                  </a:lnTo>
                  <a:lnTo>
                    <a:pt x="968074" y="1742500"/>
                  </a:lnTo>
                  <a:lnTo>
                    <a:pt x="968074" y="1740481"/>
                  </a:lnTo>
                  <a:lnTo>
                    <a:pt x="970766" y="1740178"/>
                  </a:lnTo>
                  <a:lnTo>
                    <a:pt x="972281" y="1740616"/>
                  </a:lnTo>
                  <a:lnTo>
                    <a:pt x="973425" y="1744249"/>
                  </a:lnTo>
                  <a:cubicBezTo>
                    <a:pt x="973425" y="1744249"/>
                    <a:pt x="976454" y="1746132"/>
                    <a:pt x="976622" y="1746570"/>
                  </a:cubicBezTo>
                  <a:cubicBezTo>
                    <a:pt x="976757" y="1747007"/>
                    <a:pt x="977329" y="1750203"/>
                    <a:pt x="977497" y="1751044"/>
                  </a:cubicBezTo>
                  <a:cubicBezTo>
                    <a:pt x="977632" y="1751919"/>
                    <a:pt x="978204" y="1752356"/>
                    <a:pt x="978642" y="1752591"/>
                  </a:cubicBezTo>
                  <a:cubicBezTo>
                    <a:pt x="979079" y="1752827"/>
                    <a:pt x="981401" y="1752625"/>
                    <a:pt x="983589" y="1752490"/>
                  </a:cubicBezTo>
                  <a:cubicBezTo>
                    <a:pt x="985776" y="1752356"/>
                    <a:pt x="985608" y="1752793"/>
                    <a:pt x="986180" y="1752490"/>
                  </a:cubicBezTo>
                  <a:cubicBezTo>
                    <a:pt x="986752" y="1752188"/>
                    <a:pt x="986921" y="1750741"/>
                    <a:pt x="987055" y="1750304"/>
                  </a:cubicBezTo>
                  <a:cubicBezTo>
                    <a:pt x="987190" y="1749866"/>
                    <a:pt x="987930" y="1747848"/>
                    <a:pt x="987930" y="1747848"/>
                  </a:cubicBezTo>
                  <a:lnTo>
                    <a:pt x="989680" y="1744081"/>
                  </a:lnTo>
                  <a:cubicBezTo>
                    <a:pt x="989680" y="1744081"/>
                    <a:pt x="990825" y="1742062"/>
                    <a:pt x="990993" y="1741625"/>
                  </a:cubicBezTo>
                  <a:cubicBezTo>
                    <a:pt x="991127" y="1741188"/>
                    <a:pt x="991127" y="1738732"/>
                    <a:pt x="991127" y="1738732"/>
                  </a:cubicBezTo>
                  <a:lnTo>
                    <a:pt x="990825" y="1735671"/>
                  </a:lnTo>
                  <a:cubicBezTo>
                    <a:pt x="990825" y="1735671"/>
                    <a:pt x="989512" y="1732340"/>
                    <a:pt x="989075" y="1732206"/>
                  </a:cubicBezTo>
                  <a:cubicBezTo>
                    <a:pt x="988637" y="1732071"/>
                    <a:pt x="985743" y="1729313"/>
                    <a:pt x="985171" y="1728438"/>
                  </a:cubicBezTo>
                  <a:cubicBezTo>
                    <a:pt x="984598" y="1727564"/>
                    <a:pt x="982411" y="1728438"/>
                    <a:pt x="982411" y="1728438"/>
                  </a:cubicBezTo>
                  <a:lnTo>
                    <a:pt x="979348" y="1725680"/>
                  </a:lnTo>
                  <a:lnTo>
                    <a:pt x="977464" y="1722349"/>
                  </a:lnTo>
                  <a:lnTo>
                    <a:pt x="978473" y="1716395"/>
                  </a:lnTo>
                  <a:lnTo>
                    <a:pt x="978473" y="1711282"/>
                  </a:lnTo>
                  <a:lnTo>
                    <a:pt x="978473" y="1709533"/>
                  </a:lnTo>
                  <a:lnTo>
                    <a:pt x="978473" y="1706505"/>
                  </a:lnTo>
                  <a:lnTo>
                    <a:pt x="982613" y="1702165"/>
                  </a:lnTo>
                  <a:lnTo>
                    <a:pt x="981973" y="1697692"/>
                  </a:lnTo>
                  <a:lnTo>
                    <a:pt x="984733" y="1694798"/>
                  </a:lnTo>
                  <a:lnTo>
                    <a:pt x="986315" y="1691334"/>
                  </a:lnTo>
                  <a:lnTo>
                    <a:pt x="991094" y="1691334"/>
                  </a:lnTo>
                  <a:lnTo>
                    <a:pt x="995166" y="1689315"/>
                  </a:lnTo>
                  <a:lnTo>
                    <a:pt x="997185" y="1688306"/>
                  </a:lnTo>
                  <a:lnTo>
                    <a:pt x="1001392" y="1684673"/>
                  </a:lnTo>
                  <a:cubicBezTo>
                    <a:pt x="1001392" y="1684673"/>
                    <a:pt x="1003984" y="1679896"/>
                    <a:pt x="1004286" y="1679459"/>
                  </a:cubicBezTo>
                  <a:cubicBezTo>
                    <a:pt x="1004589" y="1679021"/>
                    <a:pt x="1007921" y="1678147"/>
                    <a:pt x="1007921" y="1678147"/>
                  </a:cubicBezTo>
                  <a:lnTo>
                    <a:pt x="1010378" y="1675388"/>
                  </a:lnTo>
                  <a:lnTo>
                    <a:pt x="1014013" y="1674514"/>
                  </a:lnTo>
                  <a:lnTo>
                    <a:pt x="1018219" y="1673807"/>
                  </a:lnTo>
                  <a:lnTo>
                    <a:pt x="1017647" y="1671352"/>
                  </a:lnTo>
                  <a:lnTo>
                    <a:pt x="1016032" y="1668021"/>
                  </a:lnTo>
                  <a:lnTo>
                    <a:pt x="1016772" y="1664388"/>
                  </a:lnTo>
                  <a:lnTo>
                    <a:pt x="1016772" y="1659746"/>
                  </a:lnTo>
                  <a:cubicBezTo>
                    <a:pt x="1016772" y="1659746"/>
                    <a:pt x="1018590" y="1656113"/>
                    <a:pt x="1018590" y="1655709"/>
                  </a:cubicBezTo>
                  <a:cubicBezTo>
                    <a:pt x="1018590" y="1655272"/>
                    <a:pt x="1021282" y="1650495"/>
                    <a:pt x="1021282" y="1650495"/>
                  </a:cubicBezTo>
                  <a:lnTo>
                    <a:pt x="1024479" y="1648611"/>
                  </a:lnTo>
                  <a:lnTo>
                    <a:pt x="1028114" y="1651370"/>
                  </a:lnTo>
                  <a:lnTo>
                    <a:pt x="1033027" y="1651370"/>
                  </a:lnTo>
                  <a:lnTo>
                    <a:pt x="1038109" y="1649923"/>
                  </a:lnTo>
                  <a:lnTo>
                    <a:pt x="1039994" y="1645853"/>
                  </a:lnTo>
                  <a:lnTo>
                    <a:pt x="1042888" y="1643532"/>
                  </a:lnTo>
                  <a:lnTo>
                    <a:pt x="1042888" y="1639629"/>
                  </a:lnTo>
                  <a:cubicBezTo>
                    <a:pt x="1042888" y="1639629"/>
                    <a:pt x="1043393" y="1634853"/>
                    <a:pt x="1043393" y="1634415"/>
                  </a:cubicBezTo>
                  <a:cubicBezTo>
                    <a:pt x="1043393" y="1633978"/>
                    <a:pt x="1043763" y="1630210"/>
                    <a:pt x="1043763" y="1630210"/>
                  </a:cubicBezTo>
                  <a:lnTo>
                    <a:pt x="1045345" y="1625568"/>
                  </a:lnTo>
                  <a:lnTo>
                    <a:pt x="1046927" y="1622103"/>
                  </a:lnTo>
                  <a:lnTo>
                    <a:pt x="1053018" y="1620522"/>
                  </a:lnTo>
                  <a:lnTo>
                    <a:pt x="1057932" y="1618638"/>
                  </a:lnTo>
                  <a:lnTo>
                    <a:pt x="1062711" y="1615745"/>
                  </a:lnTo>
                  <a:cubicBezTo>
                    <a:pt x="1062711" y="1615745"/>
                    <a:pt x="1065605" y="1612852"/>
                    <a:pt x="1065773" y="1611978"/>
                  </a:cubicBezTo>
                  <a:cubicBezTo>
                    <a:pt x="1065908" y="1611103"/>
                    <a:pt x="1069980" y="1607504"/>
                    <a:pt x="1070990" y="1606629"/>
                  </a:cubicBezTo>
                  <a:cubicBezTo>
                    <a:pt x="1072000" y="1605754"/>
                    <a:pt x="1074894" y="1605317"/>
                    <a:pt x="1074894" y="1605317"/>
                  </a:cubicBezTo>
                  <a:cubicBezTo>
                    <a:pt x="1074894" y="1605317"/>
                    <a:pt x="1078091" y="1602996"/>
                    <a:pt x="1078966" y="1602121"/>
                  </a:cubicBezTo>
                  <a:cubicBezTo>
                    <a:pt x="1079841" y="1601247"/>
                    <a:pt x="1082432" y="1600540"/>
                    <a:pt x="1082870" y="1600237"/>
                  </a:cubicBezTo>
                  <a:cubicBezTo>
                    <a:pt x="1083307" y="1599935"/>
                    <a:pt x="1086505" y="1598051"/>
                    <a:pt x="1086942" y="1597614"/>
                  </a:cubicBezTo>
                  <a:cubicBezTo>
                    <a:pt x="1087379" y="1597176"/>
                    <a:pt x="1088524" y="1596032"/>
                    <a:pt x="1088524" y="1596032"/>
                  </a:cubicBezTo>
                  <a:cubicBezTo>
                    <a:pt x="1088524" y="1596032"/>
                    <a:pt x="1090274" y="1594586"/>
                    <a:pt x="1091284" y="1593577"/>
                  </a:cubicBezTo>
                  <a:cubicBezTo>
                    <a:pt x="1092293" y="1592568"/>
                    <a:pt x="1093471" y="1591558"/>
                    <a:pt x="1093168" y="1590818"/>
                  </a:cubicBezTo>
                  <a:lnTo>
                    <a:pt x="1088389" y="1589069"/>
                  </a:lnTo>
                  <a:lnTo>
                    <a:pt x="1084182" y="1584999"/>
                  </a:lnTo>
                  <a:lnTo>
                    <a:pt x="1080110" y="1581366"/>
                  </a:lnTo>
                  <a:lnTo>
                    <a:pt x="1084182" y="1578473"/>
                  </a:lnTo>
                  <a:lnTo>
                    <a:pt x="1088961" y="1578338"/>
                  </a:lnTo>
                  <a:lnTo>
                    <a:pt x="1092596" y="1578338"/>
                  </a:lnTo>
                  <a:lnTo>
                    <a:pt x="1097106" y="1577699"/>
                  </a:lnTo>
                  <a:lnTo>
                    <a:pt x="1100303" y="1579213"/>
                  </a:lnTo>
                  <a:lnTo>
                    <a:pt x="1100303" y="1582846"/>
                  </a:lnTo>
                  <a:lnTo>
                    <a:pt x="1101279" y="1585301"/>
                  </a:lnTo>
                  <a:lnTo>
                    <a:pt x="1104375" y="1589641"/>
                  </a:lnTo>
                  <a:lnTo>
                    <a:pt x="1107707" y="1592399"/>
                  </a:lnTo>
                  <a:lnTo>
                    <a:pt x="1111476" y="1596739"/>
                  </a:lnTo>
                  <a:lnTo>
                    <a:pt x="1113630" y="1595427"/>
                  </a:lnTo>
                  <a:cubicBezTo>
                    <a:pt x="1113630" y="1595427"/>
                    <a:pt x="1113193" y="1592231"/>
                    <a:pt x="1113630" y="1591962"/>
                  </a:cubicBezTo>
                  <a:cubicBezTo>
                    <a:pt x="1114068" y="1591659"/>
                    <a:pt x="1117265" y="1590818"/>
                    <a:pt x="1117265" y="1590818"/>
                  </a:cubicBezTo>
                  <a:lnTo>
                    <a:pt x="1119856" y="1590684"/>
                  </a:lnTo>
                  <a:lnTo>
                    <a:pt x="1122178" y="1591390"/>
                  </a:lnTo>
                  <a:lnTo>
                    <a:pt x="1125073" y="1593139"/>
                  </a:lnTo>
                  <a:cubicBezTo>
                    <a:pt x="1125073" y="1593139"/>
                    <a:pt x="1128977" y="1594283"/>
                    <a:pt x="1129852" y="1594586"/>
                  </a:cubicBezTo>
                  <a:cubicBezTo>
                    <a:pt x="1130727" y="1594889"/>
                    <a:pt x="1134328" y="1599497"/>
                    <a:pt x="1134933" y="1599228"/>
                  </a:cubicBezTo>
                  <a:cubicBezTo>
                    <a:pt x="1135506" y="1598925"/>
                    <a:pt x="1136381" y="1599228"/>
                    <a:pt x="1136381" y="1599228"/>
                  </a:cubicBezTo>
                  <a:lnTo>
                    <a:pt x="1137693" y="1596638"/>
                  </a:lnTo>
                  <a:lnTo>
                    <a:pt x="1140285" y="1594889"/>
                  </a:lnTo>
                  <a:lnTo>
                    <a:pt x="1140285" y="1592130"/>
                  </a:lnTo>
                  <a:cubicBezTo>
                    <a:pt x="1140285" y="1592130"/>
                    <a:pt x="1142371" y="1589675"/>
                    <a:pt x="1142674" y="1589237"/>
                  </a:cubicBezTo>
                  <a:cubicBezTo>
                    <a:pt x="1142977" y="1588800"/>
                    <a:pt x="1144357" y="1584595"/>
                    <a:pt x="1144357" y="1584595"/>
                  </a:cubicBezTo>
                  <a:lnTo>
                    <a:pt x="1149136" y="1579381"/>
                  </a:lnTo>
                  <a:cubicBezTo>
                    <a:pt x="1149136" y="1579381"/>
                    <a:pt x="1153477" y="1575310"/>
                    <a:pt x="1153477" y="1574907"/>
                  </a:cubicBezTo>
                  <a:cubicBezTo>
                    <a:pt x="1153477" y="1574469"/>
                    <a:pt x="1161319" y="1569255"/>
                    <a:pt x="1161319" y="1569255"/>
                  </a:cubicBezTo>
                  <a:lnTo>
                    <a:pt x="1165660" y="1566362"/>
                  </a:lnTo>
                  <a:lnTo>
                    <a:pt x="1169867" y="1563167"/>
                  </a:lnTo>
                  <a:lnTo>
                    <a:pt x="1173333" y="1562023"/>
                  </a:lnTo>
                  <a:lnTo>
                    <a:pt x="1174781" y="1562897"/>
                  </a:lnTo>
                  <a:lnTo>
                    <a:pt x="1176665" y="1563772"/>
                  </a:lnTo>
                  <a:lnTo>
                    <a:pt x="1176968" y="1565521"/>
                  </a:lnTo>
                  <a:lnTo>
                    <a:pt x="1175521" y="1568414"/>
                  </a:lnTo>
                  <a:lnTo>
                    <a:pt x="1173333" y="1570601"/>
                  </a:lnTo>
                  <a:lnTo>
                    <a:pt x="1173333" y="1574066"/>
                  </a:lnTo>
                  <a:lnTo>
                    <a:pt x="1174208" y="1578405"/>
                  </a:lnTo>
                  <a:lnTo>
                    <a:pt x="1182050" y="1578405"/>
                  </a:lnTo>
                  <a:lnTo>
                    <a:pt x="1182050" y="1582173"/>
                  </a:lnTo>
                  <a:lnTo>
                    <a:pt x="1180838" y="1585032"/>
                  </a:lnTo>
                  <a:lnTo>
                    <a:pt x="1181410" y="1585739"/>
                  </a:lnTo>
                  <a:cubicBezTo>
                    <a:pt x="1181882" y="1585772"/>
                    <a:pt x="1182353" y="1585840"/>
                    <a:pt x="1182925" y="1585907"/>
                  </a:cubicBezTo>
                  <a:cubicBezTo>
                    <a:pt x="1184877" y="1586142"/>
                    <a:pt x="1185314" y="1586008"/>
                    <a:pt x="1186627" y="1585907"/>
                  </a:cubicBezTo>
                  <a:cubicBezTo>
                    <a:pt x="1187939" y="1585806"/>
                    <a:pt x="1190329" y="1585268"/>
                    <a:pt x="1192045" y="1584595"/>
                  </a:cubicBezTo>
                  <a:cubicBezTo>
                    <a:pt x="1193795" y="1583956"/>
                    <a:pt x="1194233" y="1582947"/>
                    <a:pt x="1194670" y="1582644"/>
                  </a:cubicBezTo>
                  <a:cubicBezTo>
                    <a:pt x="1195108" y="1582307"/>
                    <a:pt x="1194670" y="1580155"/>
                    <a:pt x="1194670" y="1579818"/>
                  </a:cubicBezTo>
                  <a:cubicBezTo>
                    <a:pt x="1194670" y="1579482"/>
                    <a:pt x="1195411" y="1577867"/>
                    <a:pt x="1195411" y="1577867"/>
                  </a:cubicBezTo>
                  <a:cubicBezTo>
                    <a:pt x="1195411" y="1577867"/>
                    <a:pt x="1197699" y="1576017"/>
                    <a:pt x="1198339" y="1575815"/>
                  </a:cubicBezTo>
                  <a:cubicBezTo>
                    <a:pt x="1199012" y="1575580"/>
                    <a:pt x="1200829" y="1573528"/>
                    <a:pt x="1200829" y="1573528"/>
                  </a:cubicBezTo>
                  <a:cubicBezTo>
                    <a:pt x="1200829" y="1573528"/>
                    <a:pt x="1202478" y="1571476"/>
                    <a:pt x="1202478" y="1571139"/>
                  </a:cubicBezTo>
                  <a:cubicBezTo>
                    <a:pt x="1202478" y="1570803"/>
                    <a:pt x="1203690" y="1568650"/>
                    <a:pt x="1203791" y="1568313"/>
                  </a:cubicBezTo>
                  <a:cubicBezTo>
                    <a:pt x="1203892" y="1567977"/>
                    <a:pt x="1204329" y="1565690"/>
                    <a:pt x="1204329" y="1565387"/>
                  </a:cubicBezTo>
                  <a:cubicBezTo>
                    <a:pt x="1204329" y="1565050"/>
                    <a:pt x="1203993" y="1563436"/>
                    <a:pt x="1203993" y="1563436"/>
                  </a:cubicBezTo>
                  <a:lnTo>
                    <a:pt x="1201502" y="1562359"/>
                  </a:lnTo>
                  <a:lnTo>
                    <a:pt x="1199887" y="1561384"/>
                  </a:lnTo>
                  <a:cubicBezTo>
                    <a:pt x="1199887" y="1561384"/>
                    <a:pt x="1196959" y="1557381"/>
                    <a:pt x="1197060" y="1557044"/>
                  </a:cubicBezTo>
                  <a:cubicBezTo>
                    <a:pt x="1197161" y="1556708"/>
                    <a:pt x="1201738" y="1556405"/>
                    <a:pt x="1201738" y="1556405"/>
                  </a:cubicBezTo>
                  <a:lnTo>
                    <a:pt x="1205541" y="1555833"/>
                  </a:lnTo>
                  <a:lnTo>
                    <a:pt x="1212070" y="1555833"/>
                  </a:lnTo>
                  <a:lnTo>
                    <a:pt x="1222738" y="1556069"/>
                  </a:lnTo>
                  <a:cubicBezTo>
                    <a:pt x="1222738" y="1556069"/>
                    <a:pt x="1236638" y="1556472"/>
                    <a:pt x="1237075" y="1556371"/>
                  </a:cubicBezTo>
                  <a:cubicBezTo>
                    <a:pt x="1237513" y="1556270"/>
                    <a:pt x="1242729" y="1555160"/>
                    <a:pt x="1242729" y="1555160"/>
                  </a:cubicBezTo>
                  <a:lnTo>
                    <a:pt x="1246095" y="1549845"/>
                  </a:lnTo>
                  <a:lnTo>
                    <a:pt x="1248282" y="1546784"/>
                  </a:lnTo>
                  <a:lnTo>
                    <a:pt x="1249359" y="1540594"/>
                  </a:lnTo>
                  <a:lnTo>
                    <a:pt x="1249898" y="1532353"/>
                  </a:lnTo>
                  <a:lnTo>
                    <a:pt x="1249898" y="1528551"/>
                  </a:lnTo>
                  <a:lnTo>
                    <a:pt x="1251648" y="1520276"/>
                  </a:lnTo>
                  <a:lnTo>
                    <a:pt x="1256225" y="1514187"/>
                  </a:lnTo>
                  <a:lnTo>
                    <a:pt x="1258950" y="1507998"/>
                  </a:lnTo>
                  <a:lnTo>
                    <a:pt x="1263427" y="1501034"/>
                  </a:lnTo>
                  <a:lnTo>
                    <a:pt x="1268845" y="1491481"/>
                  </a:lnTo>
                  <a:lnTo>
                    <a:pt x="1275913" y="1485728"/>
                  </a:lnTo>
                  <a:lnTo>
                    <a:pt x="1282442" y="1479976"/>
                  </a:lnTo>
                  <a:lnTo>
                    <a:pt x="1288634" y="1479101"/>
                  </a:lnTo>
                  <a:cubicBezTo>
                    <a:pt x="1288634" y="1479101"/>
                    <a:pt x="1294524" y="1479337"/>
                    <a:pt x="1294826" y="1479337"/>
                  </a:cubicBezTo>
                  <a:cubicBezTo>
                    <a:pt x="1295163" y="1479337"/>
                    <a:pt x="1299504" y="1482263"/>
                    <a:pt x="1299504" y="1482263"/>
                  </a:cubicBezTo>
                  <a:cubicBezTo>
                    <a:pt x="1299504" y="1482263"/>
                    <a:pt x="1305596" y="1487276"/>
                    <a:pt x="1306033" y="1487376"/>
                  </a:cubicBezTo>
                  <a:cubicBezTo>
                    <a:pt x="1306471" y="1487477"/>
                    <a:pt x="1312663" y="1492591"/>
                    <a:pt x="1312663" y="1492591"/>
                  </a:cubicBezTo>
                  <a:lnTo>
                    <a:pt x="1317543" y="1494003"/>
                  </a:lnTo>
                  <a:lnTo>
                    <a:pt x="1322087" y="1493465"/>
                  </a:lnTo>
                  <a:lnTo>
                    <a:pt x="1325889" y="1490202"/>
                  </a:lnTo>
                  <a:lnTo>
                    <a:pt x="1329591" y="1485627"/>
                  </a:lnTo>
                  <a:lnTo>
                    <a:pt x="1332957" y="1481052"/>
                  </a:lnTo>
                  <a:lnTo>
                    <a:pt x="1337097" y="1472777"/>
                  </a:lnTo>
                  <a:lnTo>
                    <a:pt x="1338712" y="1470187"/>
                  </a:lnTo>
                  <a:cubicBezTo>
                    <a:pt x="1338712" y="1470187"/>
                    <a:pt x="1341438" y="1467798"/>
                    <a:pt x="1342212" y="1466722"/>
                  </a:cubicBezTo>
                  <a:cubicBezTo>
                    <a:pt x="1342986" y="1465645"/>
                    <a:pt x="1345477" y="1463560"/>
                    <a:pt x="1345477" y="1463560"/>
                  </a:cubicBezTo>
                  <a:lnTo>
                    <a:pt x="1351770" y="1462786"/>
                  </a:lnTo>
                  <a:lnTo>
                    <a:pt x="1356246" y="1464535"/>
                  </a:lnTo>
                  <a:lnTo>
                    <a:pt x="1360486" y="1467899"/>
                  </a:lnTo>
                  <a:lnTo>
                    <a:pt x="1362977" y="1471061"/>
                  </a:lnTo>
                  <a:cubicBezTo>
                    <a:pt x="1362977" y="1471061"/>
                    <a:pt x="1369843" y="1474425"/>
                    <a:pt x="1370246" y="1474762"/>
                  </a:cubicBezTo>
                  <a:cubicBezTo>
                    <a:pt x="1370684" y="1475098"/>
                    <a:pt x="1376540" y="1477150"/>
                    <a:pt x="1376540" y="1477150"/>
                  </a:cubicBezTo>
                  <a:lnTo>
                    <a:pt x="1381453" y="1476612"/>
                  </a:lnTo>
                  <a:lnTo>
                    <a:pt x="1384179" y="1475199"/>
                  </a:lnTo>
                  <a:lnTo>
                    <a:pt x="1386872" y="1472575"/>
                  </a:lnTo>
                  <a:cubicBezTo>
                    <a:pt x="1386872" y="1472575"/>
                    <a:pt x="1390473" y="1470725"/>
                    <a:pt x="1391247" y="1470624"/>
                  </a:cubicBezTo>
                  <a:cubicBezTo>
                    <a:pt x="1392021" y="1470523"/>
                    <a:pt x="1393434" y="1465847"/>
                    <a:pt x="1393434" y="1465847"/>
                  </a:cubicBezTo>
                  <a:lnTo>
                    <a:pt x="1395285" y="1462147"/>
                  </a:lnTo>
                  <a:lnTo>
                    <a:pt x="1397910" y="1459220"/>
                  </a:lnTo>
                  <a:lnTo>
                    <a:pt x="1401377" y="1455318"/>
                  </a:lnTo>
                  <a:lnTo>
                    <a:pt x="1402689" y="1451281"/>
                  </a:lnTo>
                  <a:lnTo>
                    <a:pt x="1404877" y="1449767"/>
                  </a:lnTo>
                  <a:lnTo>
                    <a:pt x="1406829" y="1450104"/>
                  </a:lnTo>
                  <a:cubicBezTo>
                    <a:pt x="1406829" y="1450104"/>
                    <a:pt x="1409454" y="1452829"/>
                    <a:pt x="1409757" y="1452930"/>
                  </a:cubicBezTo>
                  <a:cubicBezTo>
                    <a:pt x="1410093" y="1453030"/>
                    <a:pt x="1412584" y="1454679"/>
                    <a:pt x="1412584" y="1454679"/>
                  </a:cubicBezTo>
                  <a:cubicBezTo>
                    <a:pt x="1412584" y="1454679"/>
                    <a:pt x="1417464" y="1454241"/>
                    <a:pt x="1417901" y="1454140"/>
                  </a:cubicBezTo>
                  <a:cubicBezTo>
                    <a:pt x="1418339" y="1454040"/>
                    <a:pt x="1420392" y="1450676"/>
                    <a:pt x="1420392" y="1450676"/>
                  </a:cubicBezTo>
                  <a:lnTo>
                    <a:pt x="1420392" y="1446000"/>
                  </a:lnTo>
                  <a:lnTo>
                    <a:pt x="1422512" y="1444587"/>
                  </a:lnTo>
                  <a:lnTo>
                    <a:pt x="1425608" y="1443712"/>
                  </a:lnTo>
                  <a:lnTo>
                    <a:pt x="1425608" y="1438498"/>
                  </a:lnTo>
                  <a:lnTo>
                    <a:pt x="1425608" y="1435033"/>
                  </a:lnTo>
                  <a:lnTo>
                    <a:pt x="1425608" y="1429382"/>
                  </a:lnTo>
                  <a:lnTo>
                    <a:pt x="1426214" y="1426993"/>
                  </a:lnTo>
                  <a:lnTo>
                    <a:pt x="1428368" y="1425345"/>
                  </a:lnTo>
                  <a:lnTo>
                    <a:pt x="1429512" y="1423932"/>
                  </a:lnTo>
                  <a:lnTo>
                    <a:pt x="1431296" y="1423899"/>
                  </a:lnTo>
                  <a:lnTo>
                    <a:pt x="1430488" y="1422654"/>
                  </a:lnTo>
                  <a:lnTo>
                    <a:pt x="1428973" y="1418213"/>
                  </a:lnTo>
                  <a:lnTo>
                    <a:pt x="1427897" y="1414311"/>
                  </a:lnTo>
                  <a:lnTo>
                    <a:pt x="1426921" y="1410947"/>
                  </a:lnTo>
                  <a:lnTo>
                    <a:pt x="1423993" y="1406810"/>
                  </a:lnTo>
                  <a:cubicBezTo>
                    <a:pt x="1423993" y="1406810"/>
                    <a:pt x="1421872" y="1403042"/>
                    <a:pt x="1421267" y="1402907"/>
                  </a:cubicBezTo>
                  <a:cubicBezTo>
                    <a:pt x="1420695" y="1402773"/>
                    <a:pt x="1418238" y="1400586"/>
                    <a:pt x="1418069" y="1400149"/>
                  </a:cubicBezTo>
                  <a:cubicBezTo>
                    <a:pt x="1417935" y="1399712"/>
                    <a:pt x="1416185" y="1398131"/>
                    <a:pt x="1416185" y="1398131"/>
                  </a:cubicBezTo>
                  <a:lnTo>
                    <a:pt x="1415310" y="1395809"/>
                  </a:lnTo>
                  <a:lnTo>
                    <a:pt x="1414435" y="1394666"/>
                  </a:lnTo>
                  <a:lnTo>
                    <a:pt x="1412853" y="1393656"/>
                  </a:lnTo>
                  <a:lnTo>
                    <a:pt x="1410093" y="1392210"/>
                  </a:lnTo>
                  <a:lnTo>
                    <a:pt x="1408209" y="1391638"/>
                  </a:lnTo>
                  <a:lnTo>
                    <a:pt x="1408209" y="1389182"/>
                  </a:lnTo>
                  <a:lnTo>
                    <a:pt x="1408579" y="1386996"/>
                  </a:lnTo>
                  <a:cubicBezTo>
                    <a:pt x="1408579" y="1386996"/>
                    <a:pt x="1410396" y="1384036"/>
                    <a:pt x="1410396" y="1383363"/>
                  </a:cubicBezTo>
                  <a:cubicBezTo>
                    <a:pt x="1410396" y="1382724"/>
                    <a:pt x="1411911" y="1381412"/>
                    <a:pt x="1411911" y="1381412"/>
                  </a:cubicBezTo>
                  <a:lnTo>
                    <a:pt x="1414300" y="1380100"/>
                  </a:lnTo>
                  <a:cubicBezTo>
                    <a:pt x="1414300" y="1380100"/>
                    <a:pt x="1414300" y="1380100"/>
                    <a:pt x="1415377" y="1379460"/>
                  </a:cubicBezTo>
                  <a:cubicBezTo>
                    <a:pt x="1416454" y="1378821"/>
                    <a:pt x="1417329" y="1378586"/>
                    <a:pt x="1418642" y="1378384"/>
                  </a:cubicBezTo>
                  <a:cubicBezTo>
                    <a:pt x="1419954" y="1378149"/>
                    <a:pt x="1420829" y="1377106"/>
                    <a:pt x="1420829" y="1377106"/>
                  </a:cubicBezTo>
                  <a:lnTo>
                    <a:pt x="1423858" y="1374246"/>
                  </a:lnTo>
                  <a:lnTo>
                    <a:pt x="1423858" y="1371622"/>
                  </a:lnTo>
                  <a:lnTo>
                    <a:pt x="1422680" y="1369032"/>
                  </a:lnTo>
                  <a:lnTo>
                    <a:pt x="1421031" y="1367720"/>
                  </a:lnTo>
                  <a:lnTo>
                    <a:pt x="1418406" y="1367518"/>
                  </a:lnTo>
                  <a:lnTo>
                    <a:pt x="1416656" y="1367283"/>
                  </a:lnTo>
                  <a:lnTo>
                    <a:pt x="1415781" y="1363583"/>
                  </a:lnTo>
                  <a:lnTo>
                    <a:pt x="1418608" y="1362069"/>
                  </a:lnTo>
                  <a:lnTo>
                    <a:pt x="1418608" y="1357292"/>
                  </a:lnTo>
                  <a:lnTo>
                    <a:pt x="1416757" y="1353794"/>
                  </a:lnTo>
                  <a:lnTo>
                    <a:pt x="1413594" y="1352280"/>
                  </a:lnTo>
                  <a:lnTo>
                    <a:pt x="1409689" y="1352078"/>
                  </a:lnTo>
                  <a:lnTo>
                    <a:pt x="1408613" y="1351439"/>
                  </a:lnTo>
                  <a:lnTo>
                    <a:pt x="1406863" y="1349252"/>
                  </a:lnTo>
                  <a:lnTo>
                    <a:pt x="1407939" y="1346864"/>
                  </a:lnTo>
                  <a:lnTo>
                    <a:pt x="1409252" y="1344677"/>
                  </a:lnTo>
                  <a:lnTo>
                    <a:pt x="1415142" y="1339026"/>
                  </a:lnTo>
                  <a:lnTo>
                    <a:pt x="1418608" y="1336200"/>
                  </a:lnTo>
                  <a:lnTo>
                    <a:pt x="1421233" y="1334686"/>
                  </a:lnTo>
                  <a:lnTo>
                    <a:pt x="1426685" y="1335325"/>
                  </a:lnTo>
                  <a:cubicBezTo>
                    <a:pt x="1426685" y="1335325"/>
                    <a:pt x="1431363" y="1333475"/>
                    <a:pt x="1431531" y="1333542"/>
                  </a:cubicBezTo>
                  <a:cubicBezTo>
                    <a:pt x="1431700" y="1333610"/>
                    <a:pt x="1434527" y="1335763"/>
                    <a:pt x="1435334" y="1335998"/>
                  </a:cubicBezTo>
                  <a:cubicBezTo>
                    <a:pt x="1436142" y="1336200"/>
                    <a:pt x="1437118" y="1336435"/>
                    <a:pt x="1437993" y="1336335"/>
                  </a:cubicBezTo>
                  <a:cubicBezTo>
                    <a:pt x="1438868" y="1336234"/>
                    <a:pt x="1438936" y="1335157"/>
                    <a:pt x="1438936" y="1335157"/>
                  </a:cubicBezTo>
                  <a:lnTo>
                    <a:pt x="1438060" y="1332062"/>
                  </a:lnTo>
                  <a:cubicBezTo>
                    <a:pt x="1438060" y="1332062"/>
                    <a:pt x="1437690" y="1328026"/>
                    <a:pt x="1437623" y="1327824"/>
                  </a:cubicBezTo>
                  <a:cubicBezTo>
                    <a:pt x="1437589" y="1327622"/>
                    <a:pt x="1437421" y="1325603"/>
                    <a:pt x="1437421" y="1325368"/>
                  </a:cubicBezTo>
                  <a:cubicBezTo>
                    <a:pt x="1437421" y="1325166"/>
                    <a:pt x="1436445" y="1321230"/>
                    <a:pt x="1436445" y="1321230"/>
                  </a:cubicBezTo>
                  <a:lnTo>
                    <a:pt x="1435805" y="1318842"/>
                  </a:lnTo>
                  <a:cubicBezTo>
                    <a:pt x="1435805" y="1318842"/>
                    <a:pt x="1434729" y="1316083"/>
                    <a:pt x="1434729" y="1315848"/>
                  </a:cubicBezTo>
                  <a:cubicBezTo>
                    <a:pt x="1434729" y="1315613"/>
                    <a:pt x="1435503" y="1313560"/>
                    <a:pt x="1435503" y="1313560"/>
                  </a:cubicBezTo>
                  <a:lnTo>
                    <a:pt x="1435873" y="1311979"/>
                  </a:lnTo>
                  <a:lnTo>
                    <a:pt x="1434358" y="1309927"/>
                  </a:lnTo>
                  <a:lnTo>
                    <a:pt x="1434358" y="1307741"/>
                  </a:lnTo>
                  <a:lnTo>
                    <a:pt x="1435536" y="1305352"/>
                  </a:lnTo>
                  <a:lnTo>
                    <a:pt x="1435133" y="1302325"/>
                  </a:lnTo>
                  <a:lnTo>
                    <a:pt x="1436748" y="1298725"/>
                  </a:lnTo>
                  <a:cubicBezTo>
                    <a:pt x="1436748" y="1298725"/>
                    <a:pt x="1438599" y="1296101"/>
                    <a:pt x="1438599" y="1295799"/>
                  </a:cubicBezTo>
                  <a:cubicBezTo>
                    <a:pt x="1438599" y="1295462"/>
                    <a:pt x="1440652" y="1293410"/>
                    <a:pt x="1440652" y="1293410"/>
                  </a:cubicBezTo>
                  <a:cubicBezTo>
                    <a:pt x="1440652" y="1293410"/>
                    <a:pt x="1442301" y="1291022"/>
                    <a:pt x="1442805" y="1290585"/>
                  </a:cubicBezTo>
                  <a:cubicBezTo>
                    <a:pt x="1443344" y="1290147"/>
                    <a:pt x="1444993" y="1289508"/>
                    <a:pt x="1445296" y="1289374"/>
                  </a:cubicBezTo>
                  <a:cubicBezTo>
                    <a:pt x="1445633" y="1289273"/>
                    <a:pt x="1447248" y="1288835"/>
                    <a:pt x="1448022" y="1288499"/>
                  </a:cubicBezTo>
                  <a:cubicBezTo>
                    <a:pt x="1448762" y="1288163"/>
                    <a:pt x="1450950" y="1288499"/>
                    <a:pt x="1451825" y="1288263"/>
                  </a:cubicBezTo>
                  <a:cubicBezTo>
                    <a:pt x="1452700" y="1288062"/>
                    <a:pt x="1454214" y="1288163"/>
                    <a:pt x="1454652" y="1288163"/>
                  </a:cubicBezTo>
                  <a:cubicBezTo>
                    <a:pt x="1455089" y="1288163"/>
                    <a:pt x="1457479" y="1288263"/>
                    <a:pt x="1457916" y="1288263"/>
                  </a:cubicBezTo>
                  <a:cubicBezTo>
                    <a:pt x="1458354" y="1288263"/>
                    <a:pt x="1458994" y="1288163"/>
                    <a:pt x="1459431" y="1288062"/>
                  </a:cubicBezTo>
                  <a:cubicBezTo>
                    <a:pt x="1459869" y="1287961"/>
                    <a:pt x="1460744" y="1286548"/>
                    <a:pt x="1460744" y="1286548"/>
                  </a:cubicBezTo>
                  <a:lnTo>
                    <a:pt x="1461080" y="1285471"/>
                  </a:lnTo>
                  <a:lnTo>
                    <a:pt x="1461282" y="1282982"/>
                  </a:lnTo>
                  <a:cubicBezTo>
                    <a:pt x="1461282" y="1282982"/>
                    <a:pt x="1460643" y="1281906"/>
                    <a:pt x="1460306" y="1281132"/>
                  </a:cubicBezTo>
                  <a:cubicBezTo>
                    <a:pt x="1459970" y="1280358"/>
                    <a:pt x="1458994" y="1280156"/>
                    <a:pt x="1458994" y="1280156"/>
                  </a:cubicBezTo>
                  <a:lnTo>
                    <a:pt x="1458354" y="1278945"/>
                  </a:lnTo>
                  <a:lnTo>
                    <a:pt x="1456941" y="1276893"/>
                  </a:lnTo>
                  <a:lnTo>
                    <a:pt x="1456941" y="1274168"/>
                  </a:lnTo>
                  <a:cubicBezTo>
                    <a:pt x="1456941" y="1274168"/>
                    <a:pt x="1458354" y="1273193"/>
                    <a:pt x="1458691" y="1272857"/>
                  </a:cubicBezTo>
                  <a:cubicBezTo>
                    <a:pt x="1459027" y="1272520"/>
                    <a:pt x="1460979" y="1271982"/>
                    <a:pt x="1460979" y="1271982"/>
                  </a:cubicBezTo>
                  <a:lnTo>
                    <a:pt x="1462056" y="1270233"/>
                  </a:lnTo>
                  <a:lnTo>
                    <a:pt x="1462594" y="1268046"/>
                  </a:lnTo>
                  <a:cubicBezTo>
                    <a:pt x="1462594" y="1268046"/>
                    <a:pt x="1463469" y="1266431"/>
                    <a:pt x="1463570" y="1265994"/>
                  </a:cubicBezTo>
                  <a:cubicBezTo>
                    <a:pt x="1463672" y="1265557"/>
                    <a:pt x="1466061" y="1265355"/>
                    <a:pt x="1466498" y="1265355"/>
                  </a:cubicBezTo>
                  <a:cubicBezTo>
                    <a:pt x="1466936" y="1265355"/>
                    <a:pt x="1467575" y="1265557"/>
                    <a:pt x="1467912" y="1265557"/>
                  </a:cubicBezTo>
                  <a:cubicBezTo>
                    <a:pt x="1468249" y="1265557"/>
                    <a:pt x="1468888" y="1267071"/>
                    <a:pt x="1468888" y="1267071"/>
                  </a:cubicBezTo>
                  <a:lnTo>
                    <a:pt x="1471378" y="1269022"/>
                  </a:lnTo>
                  <a:lnTo>
                    <a:pt x="1472354" y="1267609"/>
                  </a:lnTo>
                  <a:lnTo>
                    <a:pt x="1474508" y="1264682"/>
                  </a:lnTo>
                  <a:lnTo>
                    <a:pt x="1476898" y="1266431"/>
                  </a:lnTo>
                  <a:lnTo>
                    <a:pt x="1477537" y="1269257"/>
                  </a:lnTo>
                  <a:lnTo>
                    <a:pt x="1480162" y="1269795"/>
                  </a:lnTo>
                  <a:lnTo>
                    <a:pt x="1482350" y="1268921"/>
                  </a:lnTo>
                  <a:lnTo>
                    <a:pt x="1483427" y="1267508"/>
                  </a:lnTo>
                  <a:lnTo>
                    <a:pt x="1484840" y="1264581"/>
                  </a:lnTo>
                  <a:lnTo>
                    <a:pt x="1485581" y="1263841"/>
                  </a:lnTo>
                  <a:cubicBezTo>
                    <a:pt x="1485581" y="1263841"/>
                    <a:pt x="1487869" y="1263841"/>
                    <a:pt x="1488946" y="1263841"/>
                  </a:cubicBezTo>
                  <a:cubicBezTo>
                    <a:pt x="1490023" y="1263841"/>
                    <a:pt x="1490158" y="1266028"/>
                    <a:pt x="1490359" y="1267407"/>
                  </a:cubicBezTo>
                  <a:cubicBezTo>
                    <a:pt x="1490562" y="1268820"/>
                    <a:pt x="1491437" y="1269156"/>
                    <a:pt x="1492211" y="1269257"/>
                  </a:cubicBezTo>
                  <a:cubicBezTo>
                    <a:pt x="1492985" y="1269358"/>
                    <a:pt x="1493187" y="1271746"/>
                    <a:pt x="1494162" y="1273496"/>
                  </a:cubicBezTo>
                  <a:cubicBezTo>
                    <a:pt x="1495139" y="1275245"/>
                    <a:pt x="1493287" y="1275009"/>
                    <a:pt x="1493287" y="1275009"/>
                  </a:cubicBezTo>
                  <a:cubicBezTo>
                    <a:pt x="1493287" y="1275009"/>
                    <a:pt x="1491100" y="1276187"/>
                    <a:pt x="1490460" y="1277398"/>
                  </a:cubicBezTo>
                  <a:cubicBezTo>
                    <a:pt x="1489821" y="1278575"/>
                    <a:pt x="1492312" y="1279584"/>
                    <a:pt x="1492412" y="1280022"/>
                  </a:cubicBezTo>
                  <a:cubicBezTo>
                    <a:pt x="1492513" y="1280459"/>
                    <a:pt x="1493725" y="1282074"/>
                    <a:pt x="1493725" y="1282074"/>
                  </a:cubicBezTo>
                  <a:cubicBezTo>
                    <a:pt x="1493725" y="1282074"/>
                    <a:pt x="1498739" y="1287187"/>
                    <a:pt x="1499043" y="1287389"/>
                  </a:cubicBezTo>
                  <a:cubicBezTo>
                    <a:pt x="1499379" y="1287591"/>
                    <a:pt x="1497965" y="1290551"/>
                    <a:pt x="1497965" y="1290551"/>
                  </a:cubicBezTo>
                  <a:lnTo>
                    <a:pt x="1498605" y="1297851"/>
                  </a:lnTo>
                  <a:lnTo>
                    <a:pt x="1497629" y="1299062"/>
                  </a:lnTo>
                  <a:cubicBezTo>
                    <a:pt x="1497629" y="1299062"/>
                    <a:pt x="1496215" y="1301349"/>
                    <a:pt x="1496215" y="1301652"/>
                  </a:cubicBezTo>
                  <a:cubicBezTo>
                    <a:pt x="1496215" y="1301988"/>
                    <a:pt x="1496754" y="1304814"/>
                    <a:pt x="1496754" y="1304814"/>
                  </a:cubicBezTo>
                  <a:cubicBezTo>
                    <a:pt x="1496754" y="1304814"/>
                    <a:pt x="1495980" y="1306126"/>
                    <a:pt x="1495677" y="1306227"/>
                  </a:cubicBezTo>
                  <a:cubicBezTo>
                    <a:pt x="1495340" y="1306328"/>
                    <a:pt x="1494365" y="1307539"/>
                    <a:pt x="1494365" y="1307539"/>
                  </a:cubicBezTo>
                  <a:cubicBezTo>
                    <a:pt x="1494365" y="1307539"/>
                    <a:pt x="1493927" y="1309726"/>
                    <a:pt x="1493927" y="1310028"/>
                  </a:cubicBezTo>
                  <a:cubicBezTo>
                    <a:pt x="1493927" y="1310365"/>
                    <a:pt x="1494566" y="1312215"/>
                    <a:pt x="1494701" y="1312518"/>
                  </a:cubicBezTo>
                  <a:cubicBezTo>
                    <a:pt x="1494802" y="1312854"/>
                    <a:pt x="1495677" y="1314570"/>
                    <a:pt x="1495677" y="1314570"/>
                  </a:cubicBezTo>
                  <a:cubicBezTo>
                    <a:pt x="1495677" y="1314570"/>
                    <a:pt x="1496316" y="1316756"/>
                    <a:pt x="1496316" y="1317194"/>
                  </a:cubicBezTo>
                  <a:cubicBezTo>
                    <a:pt x="1496316" y="1317631"/>
                    <a:pt x="1495879" y="1320558"/>
                    <a:pt x="1495879" y="1320995"/>
                  </a:cubicBezTo>
                  <a:cubicBezTo>
                    <a:pt x="1495879" y="1321432"/>
                    <a:pt x="1495240" y="1323282"/>
                    <a:pt x="1495139" y="1323720"/>
                  </a:cubicBezTo>
                  <a:cubicBezTo>
                    <a:pt x="1495037" y="1324157"/>
                    <a:pt x="1494162" y="1325032"/>
                    <a:pt x="1494062" y="1325469"/>
                  </a:cubicBezTo>
                  <a:cubicBezTo>
                    <a:pt x="1493961" y="1325906"/>
                    <a:pt x="1493187" y="1326983"/>
                    <a:pt x="1492008" y="1327319"/>
                  </a:cubicBezTo>
                  <a:cubicBezTo>
                    <a:pt x="1490831" y="1327655"/>
                    <a:pt x="1492008" y="1328194"/>
                    <a:pt x="1492008" y="1328194"/>
                  </a:cubicBezTo>
                  <a:lnTo>
                    <a:pt x="1497225" y="1327756"/>
                  </a:lnTo>
                  <a:lnTo>
                    <a:pt x="1498874" y="1326444"/>
                  </a:lnTo>
                  <a:lnTo>
                    <a:pt x="1502139" y="1325368"/>
                  </a:lnTo>
                  <a:lnTo>
                    <a:pt x="1504528" y="1326108"/>
                  </a:lnTo>
                  <a:cubicBezTo>
                    <a:pt x="1504528" y="1326108"/>
                    <a:pt x="1505841" y="1326646"/>
                    <a:pt x="1507793" y="1326646"/>
                  </a:cubicBezTo>
                  <a:cubicBezTo>
                    <a:pt x="1509744" y="1326646"/>
                    <a:pt x="1510418" y="1326209"/>
                    <a:pt x="1510721" y="1325671"/>
                  </a:cubicBezTo>
                  <a:cubicBezTo>
                    <a:pt x="1511057" y="1325132"/>
                    <a:pt x="1512134" y="1323484"/>
                    <a:pt x="1513009" y="1322946"/>
                  </a:cubicBezTo>
                  <a:cubicBezTo>
                    <a:pt x="1513884" y="1322408"/>
                    <a:pt x="1515399" y="1322172"/>
                    <a:pt x="1517149" y="1322172"/>
                  </a:cubicBezTo>
                  <a:cubicBezTo>
                    <a:pt x="1518898" y="1322172"/>
                    <a:pt x="1519202" y="1324998"/>
                    <a:pt x="1520615" y="1324998"/>
                  </a:cubicBezTo>
                  <a:cubicBezTo>
                    <a:pt x="1522028" y="1324998"/>
                    <a:pt x="1523442" y="1325099"/>
                    <a:pt x="1524654" y="1325099"/>
                  </a:cubicBezTo>
                  <a:cubicBezTo>
                    <a:pt x="1525865" y="1325099"/>
                    <a:pt x="1526707" y="1325435"/>
                    <a:pt x="1529533" y="1325334"/>
                  </a:cubicBezTo>
                  <a:cubicBezTo>
                    <a:pt x="1532360" y="1325233"/>
                    <a:pt x="1530408" y="1325233"/>
                    <a:pt x="1531822" y="1325233"/>
                  </a:cubicBezTo>
                  <a:cubicBezTo>
                    <a:pt x="1533235" y="1325233"/>
                    <a:pt x="1534985" y="1325233"/>
                    <a:pt x="1536837" y="1325032"/>
                  </a:cubicBezTo>
                  <a:cubicBezTo>
                    <a:pt x="1538687" y="1324796"/>
                    <a:pt x="1538149" y="1323955"/>
                    <a:pt x="1538486" y="1323282"/>
                  </a:cubicBezTo>
                  <a:cubicBezTo>
                    <a:pt x="1538822" y="1322643"/>
                    <a:pt x="1538587" y="1321769"/>
                    <a:pt x="1538587" y="1321769"/>
                  </a:cubicBezTo>
                  <a:lnTo>
                    <a:pt x="1536736" y="1320019"/>
                  </a:lnTo>
                  <a:cubicBezTo>
                    <a:pt x="1536736" y="1320019"/>
                    <a:pt x="1534245" y="1318270"/>
                    <a:pt x="1533808" y="1317967"/>
                  </a:cubicBezTo>
                  <a:cubicBezTo>
                    <a:pt x="1533370" y="1317631"/>
                    <a:pt x="1530341" y="1313931"/>
                    <a:pt x="1530106" y="1313493"/>
                  </a:cubicBezTo>
                  <a:cubicBezTo>
                    <a:pt x="1529904" y="1313056"/>
                    <a:pt x="1530644" y="1310903"/>
                    <a:pt x="1530880" y="1310466"/>
                  </a:cubicBezTo>
                  <a:cubicBezTo>
                    <a:pt x="1531082" y="1310028"/>
                    <a:pt x="1532394" y="1308178"/>
                    <a:pt x="1533707" y="1307741"/>
                  </a:cubicBezTo>
                  <a:cubicBezTo>
                    <a:pt x="1534985" y="1307304"/>
                    <a:pt x="1535659" y="1307741"/>
                    <a:pt x="1535659" y="1307741"/>
                  </a:cubicBezTo>
                  <a:cubicBezTo>
                    <a:pt x="1535659" y="1307741"/>
                    <a:pt x="1537846" y="1310567"/>
                    <a:pt x="1542524" y="1311778"/>
                  </a:cubicBezTo>
                  <a:cubicBezTo>
                    <a:pt x="1547202" y="1312989"/>
                    <a:pt x="1544274" y="1309591"/>
                    <a:pt x="1544274" y="1309591"/>
                  </a:cubicBezTo>
                  <a:lnTo>
                    <a:pt x="1545688" y="1306866"/>
                  </a:lnTo>
                  <a:lnTo>
                    <a:pt x="1548515" y="1304915"/>
                  </a:lnTo>
                  <a:lnTo>
                    <a:pt x="1556659" y="1299600"/>
                  </a:lnTo>
                  <a:lnTo>
                    <a:pt x="1559924" y="1296875"/>
                  </a:lnTo>
                  <a:cubicBezTo>
                    <a:pt x="1559924" y="1296875"/>
                    <a:pt x="1568304" y="1290349"/>
                    <a:pt x="1568405" y="1290013"/>
                  </a:cubicBezTo>
                  <a:cubicBezTo>
                    <a:pt x="1568506" y="1289676"/>
                    <a:pt x="1571770" y="1287187"/>
                    <a:pt x="1572107" y="1286985"/>
                  </a:cubicBezTo>
                  <a:cubicBezTo>
                    <a:pt x="1572443" y="1286783"/>
                    <a:pt x="1574933" y="1285236"/>
                    <a:pt x="1575136" y="1284933"/>
                  </a:cubicBezTo>
                  <a:cubicBezTo>
                    <a:pt x="1575337" y="1284597"/>
                    <a:pt x="1576549" y="1284395"/>
                    <a:pt x="1576549" y="1284395"/>
                  </a:cubicBezTo>
                  <a:cubicBezTo>
                    <a:pt x="1576549" y="1284395"/>
                    <a:pt x="1579477" y="1283520"/>
                    <a:pt x="1580789" y="1283520"/>
                  </a:cubicBezTo>
                  <a:cubicBezTo>
                    <a:pt x="1582102" y="1283520"/>
                    <a:pt x="1583414" y="1285572"/>
                    <a:pt x="1583414" y="1285572"/>
                  </a:cubicBezTo>
                  <a:lnTo>
                    <a:pt x="1585804" y="1288196"/>
                  </a:lnTo>
                  <a:lnTo>
                    <a:pt x="1588429" y="1289845"/>
                  </a:lnTo>
                  <a:lnTo>
                    <a:pt x="1589607" y="1291997"/>
                  </a:lnTo>
                  <a:cubicBezTo>
                    <a:pt x="1589607" y="1291997"/>
                    <a:pt x="1590684" y="1298423"/>
                    <a:pt x="1590684" y="1298725"/>
                  </a:cubicBezTo>
                  <a:cubicBezTo>
                    <a:pt x="1590684" y="1299062"/>
                    <a:pt x="1591223" y="1299701"/>
                    <a:pt x="1592198" y="1301013"/>
                  </a:cubicBezTo>
                  <a:cubicBezTo>
                    <a:pt x="1593174" y="1302325"/>
                    <a:pt x="1595328" y="1303300"/>
                    <a:pt x="1596102" y="1302964"/>
                  </a:cubicBezTo>
                  <a:lnTo>
                    <a:pt x="1596102" y="1299499"/>
                  </a:lnTo>
                  <a:lnTo>
                    <a:pt x="1596102" y="1296774"/>
                  </a:lnTo>
                  <a:lnTo>
                    <a:pt x="1597516" y="1294049"/>
                  </a:lnTo>
                  <a:lnTo>
                    <a:pt x="1599165" y="1292536"/>
                  </a:lnTo>
                  <a:cubicBezTo>
                    <a:pt x="1599165" y="1292536"/>
                    <a:pt x="1600242" y="1292098"/>
                    <a:pt x="1600679" y="1291997"/>
                  </a:cubicBezTo>
                  <a:cubicBezTo>
                    <a:pt x="1601117" y="1291897"/>
                    <a:pt x="1602968" y="1291123"/>
                    <a:pt x="1602968" y="1291123"/>
                  </a:cubicBezTo>
                  <a:lnTo>
                    <a:pt x="1604718" y="1290349"/>
                  </a:lnTo>
                  <a:lnTo>
                    <a:pt x="1607107" y="1288701"/>
                  </a:lnTo>
                  <a:lnTo>
                    <a:pt x="1608857" y="1286750"/>
                  </a:lnTo>
                  <a:lnTo>
                    <a:pt x="1611785" y="1283823"/>
                  </a:lnTo>
                  <a:lnTo>
                    <a:pt x="1611785" y="1282377"/>
                  </a:lnTo>
                  <a:lnTo>
                    <a:pt x="1613536" y="1280358"/>
                  </a:lnTo>
                  <a:lnTo>
                    <a:pt x="1613536" y="1278609"/>
                  </a:lnTo>
                  <a:lnTo>
                    <a:pt x="1615723" y="1275413"/>
                  </a:lnTo>
                  <a:lnTo>
                    <a:pt x="1617742" y="1273529"/>
                  </a:lnTo>
                  <a:cubicBezTo>
                    <a:pt x="1617742" y="1273529"/>
                    <a:pt x="1620064" y="1272386"/>
                    <a:pt x="1620771" y="1272386"/>
                  </a:cubicBezTo>
                  <a:cubicBezTo>
                    <a:pt x="1621478" y="1272386"/>
                    <a:pt x="1623968" y="1273395"/>
                    <a:pt x="1623968" y="1273395"/>
                  </a:cubicBezTo>
                  <a:cubicBezTo>
                    <a:pt x="1623968" y="1273395"/>
                    <a:pt x="1623968" y="1275279"/>
                    <a:pt x="1623968" y="1275985"/>
                  </a:cubicBezTo>
                  <a:cubicBezTo>
                    <a:pt x="1623968" y="1276725"/>
                    <a:pt x="1622959" y="1276994"/>
                    <a:pt x="1622656" y="1277566"/>
                  </a:cubicBezTo>
                  <a:cubicBezTo>
                    <a:pt x="1622353" y="1278138"/>
                    <a:pt x="1622083" y="1279450"/>
                    <a:pt x="1622353" y="1279887"/>
                  </a:cubicBezTo>
                  <a:cubicBezTo>
                    <a:pt x="1622656" y="1280325"/>
                    <a:pt x="1625112" y="1279147"/>
                    <a:pt x="1625112" y="1279147"/>
                  </a:cubicBezTo>
                  <a:lnTo>
                    <a:pt x="1626560" y="1275951"/>
                  </a:lnTo>
                  <a:lnTo>
                    <a:pt x="1629757" y="1275951"/>
                  </a:lnTo>
                  <a:lnTo>
                    <a:pt x="1631339" y="1277903"/>
                  </a:lnTo>
                  <a:lnTo>
                    <a:pt x="1634401" y="1281166"/>
                  </a:lnTo>
                  <a:cubicBezTo>
                    <a:pt x="1634401" y="1281166"/>
                    <a:pt x="1636858" y="1282477"/>
                    <a:pt x="1637901" y="1282477"/>
                  </a:cubicBezTo>
                  <a:cubicBezTo>
                    <a:pt x="1638911" y="1282477"/>
                    <a:pt x="1643690" y="1282175"/>
                    <a:pt x="1643690" y="1282175"/>
                  </a:cubicBezTo>
                  <a:cubicBezTo>
                    <a:pt x="1643690" y="1282175"/>
                    <a:pt x="1648906" y="1282040"/>
                    <a:pt x="1649478" y="1281737"/>
                  </a:cubicBezTo>
                  <a:cubicBezTo>
                    <a:pt x="1650051" y="1281435"/>
                    <a:pt x="1650353" y="1281166"/>
                    <a:pt x="1650623" y="1280594"/>
                  </a:cubicBezTo>
                  <a:cubicBezTo>
                    <a:pt x="1650926" y="1280022"/>
                    <a:pt x="1651195" y="1277566"/>
                    <a:pt x="1651632" y="1276086"/>
                  </a:cubicBezTo>
                  <a:cubicBezTo>
                    <a:pt x="1652070" y="1274639"/>
                    <a:pt x="1653214" y="1274505"/>
                    <a:pt x="1653214" y="1274505"/>
                  </a:cubicBezTo>
                  <a:lnTo>
                    <a:pt x="1656108" y="1274202"/>
                  </a:lnTo>
                  <a:cubicBezTo>
                    <a:pt x="1656108" y="1274202"/>
                    <a:pt x="1658262" y="1274202"/>
                    <a:pt x="1658868" y="1274202"/>
                  </a:cubicBezTo>
                  <a:cubicBezTo>
                    <a:pt x="1659440" y="1274202"/>
                    <a:pt x="1660450" y="1274135"/>
                    <a:pt x="1660887" y="1274000"/>
                  </a:cubicBezTo>
                  <a:cubicBezTo>
                    <a:pt x="1661325" y="1273866"/>
                    <a:pt x="1661762" y="1272621"/>
                    <a:pt x="1661897" y="1272184"/>
                  </a:cubicBezTo>
                  <a:cubicBezTo>
                    <a:pt x="1662031" y="1271746"/>
                    <a:pt x="1662604" y="1268719"/>
                    <a:pt x="1662604" y="1268113"/>
                  </a:cubicBezTo>
                  <a:cubicBezTo>
                    <a:pt x="1662604" y="1267541"/>
                    <a:pt x="1663479" y="1264043"/>
                    <a:pt x="1663479" y="1264043"/>
                  </a:cubicBezTo>
                  <a:lnTo>
                    <a:pt x="1664051" y="1261722"/>
                  </a:lnTo>
                  <a:lnTo>
                    <a:pt x="1663041" y="1259838"/>
                  </a:lnTo>
                  <a:lnTo>
                    <a:pt x="1660887" y="1258526"/>
                  </a:lnTo>
                  <a:lnTo>
                    <a:pt x="1656983" y="1256642"/>
                  </a:lnTo>
                  <a:cubicBezTo>
                    <a:pt x="1656983" y="1256642"/>
                    <a:pt x="1653954" y="1253312"/>
                    <a:pt x="1653954" y="1251563"/>
                  </a:cubicBezTo>
                  <a:cubicBezTo>
                    <a:pt x="1653954" y="1251563"/>
                    <a:pt x="1658733" y="1250251"/>
                    <a:pt x="1660181" y="1249813"/>
                  </a:cubicBezTo>
                  <a:cubicBezTo>
                    <a:pt x="1661628" y="1249376"/>
                    <a:pt x="1663075" y="1249107"/>
                    <a:pt x="1663075" y="1249107"/>
                  </a:cubicBezTo>
                  <a:lnTo>
                    <a:pt x="1664219" y="1245339"/>
                  </a:lnTo>
                  <a:lnTo>
                    <a:pt x="1662200" y="1241134"/>
                  </a:lnTo>
                  <a:lnTo>
                    <a:pt x="1662065" y="1239251"/>
                  </a:lnTo>
                  <a:lnTo>
                    <a:pt x="1661762" y="1236055"/>
                  </a:lnTo>
                  <a:lnTo>
                    <a:pt x="1661056" y="1234305"/>
                  </a:lnTo>
                  <a:cubicBezTo>
                    <a:pt x="1661056" y="1234305"/>
                    <a:pt x="1660753" y="1233162"/>
                    <a:pt x="1660618" y="1232556"/>
                  </a:cubicBezTo>
                  <a:cubicBezTo>
                    <a:pt x="1660483" y="1231984"/>
                    <a:pt x="1659743" y="1230807"/>
                    <a:pt x="1659743" y="1230807"/>
                  </a:cubicBezTo>
                  <a:lnTo>
                    <a:pt x="1658733" y="1229798"/>
                  </a:lnTo>
                  <a:lnTo>
                    <a:pt x="1658733" y="1226905"/>
                  </a:lnTo>
                  <a:cubicBezTo>
                    <a:pt x="1658733" y="1226905"/>
                    <a:pt x="1664758" y="1225896"/>
                    <a:pt x="1665464" y="1225761"/>
                  </a:cubicBezTo>
                  <a:cubicBezTo>
                    <a:pt x="1666205" y="1225626"/>
                    <a:pt x="1665094" y="1221859"/>
                    <a:pt x="1665397" y="1221422"/>
                  </a:cubicBezTo>
                  <a:cubicBezTo>
                    <a:pt x="1665666" y="1220984"/>
                    <a:pt x="1667282" y="1220984"/>
                    <a:pt x="1667854" y="1220681"/>
                  </a:cubicBezTo>
                  <a:cubicBezTo>
                    <a:pt x="1668426" y="1220412"/>
                    <a:pt x="1670748" y="1219975"/>
                    <a:pt x="1670748" y="1219975"/>
                  </a:cubicBezTo>
                  <a:cubicBezTo>
                    <a:pt x="1670748" y="1219975"/>
                    <a:pt x="1673777" y="1219100"/>
                    <a:pt x="1674383" y="1218831"/>
                  </a:cubicBezTo>
                  <a:cubicBezTo>
                    <a:pt x="1674955" y="1218528"/>
                    <a:pt x="1677277" y="1218697"/>
                    <a:pt x="1677277" y="1218697"/>
                  </a:cubicBezTo>
                  <a:cubicBezTo>
                    <a:pt x="1677277" y="1218697"/>
                    <a:pt x="1681046" y="1218999"/>
                    <a:pt x="1682628" y="1218999"/>
                  </a:cubicBezTo>
                  <a:cubicBezTo>
                    <a:pt x="1684243" y="1218999"/>
                    <a:pt x="1686263" y="1218697"/>
                    <a:pt x="1686263" y="1218697"/>
                  </a:cubicBezTo>
                  <a:lnTo>
                    <a:pt x="1687576" y="1216510"/>
                  </a:lnTo>
                  <a:cubicBezTo>
                    <a:pt x="1687576" y="1216510"/>
                    <a:pt x="1690335" y="1214626"/>
                    <a:pt x="1690907" y="1214626"/>
                  </a:cubicBezTo>
                  <a:cubicBezTo>
                    <a:pt x="1691479" y="1214626"/>
                    <a:pt x="1692489" y="1215636"/>
                    <a:pt x="1692489" y="1215636"/>
                  </a:cubicBezTo>
                  <a:lnTo>
                    <a:pt x="1696124" y="1217654"/>
                  </a:lnTo>
                  <a:lnTo>
                    <a:pt x="1697874" y="1218528"/>
                  </a:lnTo>
                  <a:lnTo>
                    <a:pt x="1701205" y="1218528"/>
                  </a:lnTo>
                  <a:cubicBezTo>
                    <a:pt x="1701205" y="1218528"/>
                    <a:pt x="1702215" y="1218158"/>
                    <a:pt x="1703831" y="1217889"/>
                  </a:cubicBezTo>
                  <a:cubicBezTo>
                    <a:pt x="1705412" y="1217587"/>
                    <a:pt x="1704571" y="1217385"/>
                    <a:pt x="1704571" y="1217385"/>
                  </a:cubicBezTo>
                  <a:lnTo>
                    <a:pt x="1707465" y="1214189"/>
                  </a:lnTo>
                  <a:lnTo>
                    <a:pt x="1707465" y="1212002"/>
                  </a:lnTo>
                  <a:lnTo>
                    <a:pt x="1708475" y="1209681"/>
                  </a:lnTo>
                  <a:cubicBezTo>
                    <a:pt x="1708475" y="1209681"/>
                    <a:pt x="1709047" y="1208538"/>
                    <a:pt x="1709350" y="1207966"/>
                  </a:cubicBezTo>
                  <a:cubicBezTo>
                    <a:pt x="1709619" y="1207394"/>
                    <a:pt x="1710359" y="1206082"/>
                    <a:pt x="1710797" y="1205645"/>
                  </a:cubicBezTo>
                  <a:cubicBezTo>
                    <a:pt x="1711234" y="1205207"/>
                    <a:pt x="1712985" y="1205073"/>
                    <a:pt x="1713826" y="1205207"/>
                  </a:cubicBezTo>
                  <a:cubicBezTo>
                    <a:pt x="1714701" y="1205342"/>
                    <a:pt x="1714701" y="1205779"/>
                    <a:pt x="1714701" y="1205779"/>
                  </a:cubicBezTo>
                  <a:lnTo>
                    <a:pt x="1716720" y="1207226"/>
                  </a:lnTo>
                  <a:cubicBezTo>
                    <a:pt x="1716720" y="1207226"/>
                    <a:pt x="1719749" y="1208369"/>
                    <a:pt x="1720220" y="1208235"/>
                  </a:cubicBezTo>
                  <a:cubicBezTo>
                    <a:pt x="1720658" y="1208100"/>
                    <a:pt x="1722374" y="1206486"/>
                    <a:pt x="1722374" y="1206486"/>
                  </a:cubicBezTo>
                  <a:lnTo>
                    <a:pt x="1724393" y="1203727"/>
                  </a:lnTo>
                  <a:lnTo>
                    <a:pt x="1727153" y="1202718"/>
                  </a:lnTo>
                  <a:lnTo>
                    <a:pt x="1730788" y="1201978"/>
                  </a:lnTo>
                  <a:lnTo>
                    <a:pt x="1733985" y="1201339"/>
                  </a:lnTo>
                  <a:lnTo>
                    <a:pt x="1739403" y="1203088"/>
                  </a:lnTo>
                  <a:cubicBezTo>
                    <a:pt x="1739403" y="1203088"/>
                    <a:pt x="1742028" y="1206351"/>
                    <a:pt x="1742668" y="1206553"/>
                  </a:cubicBezTo>
                  <a:cubicBezTo>
                    <a:pt x="1743307" y="1206788"/>
                    <a:pt x="1742668" y="1208504"/>
                    <a:pt x="1742668" y="1208504"/>
                  </a:cubicBezTo>
                  <a:lnTo>
                    <a:pt x="1743980" y="1211969"/>
                  </a:lnTo>
                  <a:lnTo>
                    <a:pt x="1749837" y="1215232"/>
                  </a:lnTo>
                  <a:lnTo>
                    <a:pt x="1754346" y="1219639"/>
                  </a:lnTo>
                  <a:lnTo>
                    <a:pt x="1756803" y="1221522"/>
                  </a:lnTo>
                  <a:cubicBezTo>
                    <a:pt x="1756803" y="1221522"/>
                    <a:pt x="1757509" y="1223104"/>
                    <a:pt x="1757476" y="1223406"/>
                  </a:cubicBezTo>
                  <a:cubicBezTo>
                    <a:pt x="1757409" y="1223675"/>
                    <a:pt x="1758486" y="1225727"/>
                    <a:pt x="1758486" y="1225727"/>
                  </a:cubicBezTo>
                  <a:cubicBezTo>
                    <a:pt x="1758486" y="1225727"/>
                    <a:pt x="1759663" y="1227174"/>
                    <a:pt x="1759731" y="1227409"/>
                  </a:cubicBezTo>
                  <a:cubicBezTo>
                    <a:pt x="1759798" y="1227611"/>
                    <a:pt x="1760976" y="1228990"/>
                    <a:pt x="1760976" y="1228990"/>
                  </a:cubicBezTo>
                  <a:lnTo>
                    <a:pt x="1761481" y="1231379"/>
                  </a:lnTo>
                  <a:lnTo>
                    <a:pt x="1760034" y="1233532"/>
                  </a:lnTo>
                  <a:lnTo>
                    <a:pt x="1759764" y="1233902"/>
                  </a:lnTo>
                  <a:cubicBezTo>
                    <a:pt x="1759764" y="1233902"/>
                    <a:pt x="1757509" y="1236156"/>
                    <a:pt x="1757509" y="1236425"/>
                  </a:cubicBezTo>
                  <a:cubicBezTo>
                    <a:pt x="1757509" y="1236728"/>
                    <a:pt x="1758317" y="1239183"/>
                    <a:pt x="1758317" y="1239183"/>
                  </a:cubicBezTo>
                  <a:lnTo>
                    <a:pt x="1759731" y="1242278"/>
                  </a:lnTo>
                  <a:cubicBezTo>
                    <a:pt x="1759731" y="1242278"/>
                    <a:pt x="1763971" y="1244936"/>
                    <a:pt x="1764072" y="1245037"/>
                  </a:cubicBezTo>
                  <a:cubicBezTo>
                    <a:pt x="1764173" y="1245137"/>
                    <a:pt x="1764745" y="1246180"/>
                    <a:pt x="1764745" y="1246180"/>
                  </a:cubicBezTo>
                  <a:cubicBezTo>
                    <a:pt x="1764745" y="1246180"/>
                    <a:pt x="1764308" y="1247526"/>
                    <a:pt x="1764140" y="1248031"/>
                  </a:cubicBezTo>
                  <a:cubicBezTo>
                    <a:pt x="1763971" y="1248535"/>
                    <a:pt x="1764140" y="1250520"/>
                    <a:pt x="1764140" y="1250688"/>
                  </a:cubicBezTo>
                  <a:cubicBezTo>
                    <a:pt x="1764140" y="1250856"/>
                    <a:pt x="1764779" y="1251058"/>
                    <a:pt x="1764779" y="1251058"/>
                  </a:cubicBezTo>
                  <a:lnTo>
                    <a:pt x="1766899" y="1249645"/>
                  </a:lnTo>
                  <a:lnTo>
                    <a:pt x="1769793" y="1251764"/>
                  </a:lnTo>
                  <a:lnTo>
                    <a:pt x="1770500" y="1252942"/>
                  </a:lnTo>
                  <a:lnTo>
                    <a:pt x="1771173" y="1254624"/>
                  </a:lnTo>
                  <a:lnTo>
                    <a:pt x="1768380" y="1255835"/>
                  </a:lnTo>
                  <a:lnTo>
                    <a:pt x="1768380" y="1257853"/>
                  </a:lnTo>
                  <a:cubicBezTo>
                    <a:pt x="1768380" y="1257853"/>
                    <a:pt x="1769188" y="1258728"/>
                    <a:pt x="1769491" y="1259300"/>
                  </a:cubicBezTo>
                  <a:cubicBezTo>
                    <a:pt x="1769760" y="1259872"/>
                    <a:pt x="1770702" y="1260746"/>
                    <a:pt x="1770702" y="1260746"/>
                  </a:cubicBezTo>
                  <a:cubicBezTo>
                    <a:pt x="1770702" y="1260746"/>
                    <a:pt x="1772452" y="1260881"/>
                    <a:pt x="1772520" y="1260881"/>
                  </a:cubicBezTo>
                  <a:cubicBezTo>
                    <a:pt x="1772620" y="1260881"/>
                    <a:pt x="1774169" y="1259434"/>
                    <a:pt x="1774169" y="1259434"/>
                  </a:cubicBezTo>
                  <a:cubicBezTo>
                    <a:pt x="1774169" y="1259434"/>
                    <a:pt x="1775044" y="1258122"/>
                    <a:pt x="1775313" y="1257550"/>
                  </a:cubicBezTo>
                  <a:cubicBezTo>
                    <a:pt x="1775616" y="1256979"/>
                    <a:pt x="1776053" y="1255969"/>
                    <a:pt x="1776491" y="1255667"/>
                  </a:cubicBezTo>
                  <a:cubicBezTo>
                    <a:pt x="1776928" y="1255364"/>
                    <a:pt x="1778072" y="1254927"/>
                    <a:pt x="1778678" y="1254927"/>
                  </a:cubicBezTo>
                  <a:cubicBezTo>
                    <a:pt x="1779251" y="1254927"/>
                    <a:pt x="1781438" y="1256676"/>
                    <a:pt x="1781438" y="1256676"/>
                  </a:cubicBezTo>
                  <a:lnTo>
                    <a:pt x="1782448" y="1256676"/>
                  </a:lnTo>
                  <a:lnTo>
                    <a:pt x="1783154" y="1258997"/>
                  </a:lnTo>
                  <a:lnTo>
                    <a:pt x="1782582" y="1260746"/>
                  </a:lnTo>
                  <a:cubicBezTo>
                    <a:pt x="1782582" y="1260746"/>
                    <a:pt x="1780832" y="1262193"/>
                    <a:pt x="1781000" y="1263067"/>
                  </a:cubicBezTo>
                  <a:cubicBezTo>
                    <a:pt x="1781135" y="1263942"/>
                    <a:pt x="1783457" y="1264648"/>
                    <a:pt x="1783457" y="1264648"/>
                  </a:cubicBezTo>
                  <a:cubicBezTo>
                    <a:pt x="1783457" y="1264648"/>
                    <a:pt x="1786789" y="1265389"/>
                    <a:pt x="1787799" y="1265389"/>
                  </a:cubicBezTo>
                  <a:cubicBezTo>
                    <a:pt x="1788808" y="1265389"/>
                    <a:pt x="1787664" y="1267979"/>
                    <a:pt x="1787227" y="1267979"/>
                  </a:cubicBezTo>
                  <a:cubicBezTo>
                    <a:pt x="1786789" y="1267979"/>
                    <a:pt x="1784770" y="1269997"/>
                    <a:pt x="1783760" y="1270872"/>
                  </a:cubicBezTo>
                  <a:cubicBezTo>
                    <a:pt x="1782750" y="1271746"/>
                    <a:pt x="1783188" y="1272756"/>
                    <a:pt x="1783188" y="1272756"/>
                  </a:cubicBezTo>
                  <a:lnTo>
                    <a:pt x="1786520" y="1276086"/>
                  </a:lnTo>
                  <a:lnTo>
                    <a:pt x="1787395" y="1279551"/>
                  </a:lnTo>
                  <a:cubicBezTo>
                    <a:pt x="1787395" y="1279551"/>
                    <a:pt x="1789280" y="1282175"/>
                    <a:pt x="1789851" y="1283184"/>
                  </a:cubicBezTo>
                  <a:cubicBezTo>
                    <a:pt x="1790424" y="1284193"/>
                    <a:pt x="1790559" y="1288835"/>
                    <a:pt x="1790559" y="1288835"/>
                  </a:cubicBezTo>
                  <a:cubicBezTo>
                    <a:pt x="1790559" y="1288835"/>
                    <a:pt x="1789111" y="1291728"/>
                    <a:pt x="1787361" y="1292468"/>
                  </a:cubicBezTo>
                  <a:cubicBezTo>
                    <a:pt x="1785611" y="1293209"/>
                    <a:pt x="1784467" y="1291762"/>
                    <a:pt x="1784164" y="1291156"/>
                  </a:cubicBezTo>
                  <a:cubicBezTo>
                    <a:pt x="1783861" y="1290585"/>
                    <a:pt x="1780967" y="1288835"/>
                    <a:pt x="1780967" y="1288835"/>
                  </a:cubicBezTo>
                  <a:cubicBezTo>
                    <a:pt x="1780967" y="1288835"/>
                    <a:pt x="1779654" y="1288398"/>
                    <a:pt x="1777770" y="1287961"/>
                  </a:cubicBezTo>
                  <a:cubicBezTo>
                    <a:pt x="1775885" y="1287523"/>
                    <a:pt x="1776188" y="1287961"/>
                    <a:pt x="1776188" y="1287961"/>
                  </a:cubicBezTo>
                  <a:lnTo>
                    <a:pt x="1775616" y="1287961"/>
                  </a:lnTo>
                  <a:lnTo>
                    <a:pt x="1774741" y="1289037"/>
                  </a:lnTo>
                  <a:cubicBezTo>
                    <a:pt x="1774741" y="1289037"/>
                    <a:pt x="1773125" y="1292435"/>
                    <a:pt x="1772721" y="1293007"/>
                  </a:cubicBezTo>
                  <a:cubicBezTo>
                    <a:pt x="1772284" y="1293578"/>
                    <a:pt x="1772721" y="1295193"/>
                    <a:pt x="1772721" y="1295193"/>
                  </a:cubicBezTo>
                  <a:cubicBezTo>
                    <a:pt x="1772721" y="1295193"/>
                    <a:pt x="1773596" y="1297212"/>
                    <a:pt x="1773866" y="1298086"/>
                  </a:cubicBezTo>
                  <a:cubicBezTo>
                    <a:pt x="1774169" y="1298961"/>
                    <a:pt x="1775885" y="1301282"/>
                    <a:pt x="1776323" y="1301854"/>
                  </a:cubicBezTo>
                  <a:cubicBezTo>
                    <a:pt x="1776760" y="1302426"/>
                    <a:pt x="1777029" y="1303300"/>
                    <a:pt x="1777467" y="1303603"/>
                  </a:cubicBezTo>
                  <a:cubicBezTo>
                    <a:pt x="1777904" y="1303906"/>
                    <a:pt x="1780226" y="1304175"/>
                    <a:pt x="1780799" y="1304478"/>
                  </a:cubicBezTo>
                  <a:cubicBezTo>
                    <a:pt x="1781371" y="1304781"/>
                    <a:pt x="1783693" y="1307943"/>
                    <a:pt x="1783693" y="1307943"/>
                  </a:cubicBezTo>
                  <a:lnTo>
                    <a:pt x="1780058" y="1309961"/>
                  </a:lnTo>
                  <a:lnTo>
                    <a:pt x="1781236" y="1312989"/>
                  </a:lnTo>
                  <a:lnTo>
                    <a:pt x="1788337" y="1313998"/>
                  </a:lnTo>
                  <a:lnTo>
                    <a:pt x="1789212" y="1314872"/>
                  </a:lnTo>
                  <a:cubicBezTo>
                    <a:pt x="1789212" y="1314872"/>
                    <a:pt x="1789212" y="1319515"/>
                    <a:pt x="1789212" y="1320087"/>
                  </a:cubicBezTo>
                  <a:cubicBezTo>
                    <a:pt x="1789212" y="1320658"/>
                    <a:pt x="1788506" y="1321533"/>
                    <a:pt x="1787631" y="1322105"/>
                  </a:cubicBezTo>
                  <a:cubicBezTo>
                    <a:pt x="1786756" y="1322677"/>
                    <a:pt x="1787193" y="1323417"/>
                    <a:pt x="1787193" y="1323854"/>
                  </a:cubicBezTo>
                  <a:cubicBezTo>
                    <a:pt x="1787193" y="1324291"/>
                    <a:pt x="1788068" y="1325435"/>
                    <a:pt x="1788068" y="1325873"/>
                  </a:cubicBezTo>
                  <a:cubicBezTo>
                    <a:pt x="1788068" y="1326310"/>
                    <a:pt x="1789212" y="1328194"/>
                    <a:pt x="1789212" y="1328194"/>
                  </a:cubicBezTo>
                  <a:lnTo>
                    <a:pt x="1790794" y="1332264"/>
                  </a:lnTo>
                  <a:cubicBezTo>
                    <a:pt x="1790794" y="1332264"/>
                    <a:pt x="1791097" y="1335292"/>
                    <a:pt x="1791366" y="1335897"/>
                  </a:cubicBezTo>
                  <a:cubicBezTo>
                    <a:pt x="1791669" y="1336469"/>
                    <a:pt x="1792544" y="1336469"/>
                    <a:pt x="1793116" y="1336604"/>
                  </a:cubicBezTo>
                  <a:cubicBezTo>
                    <a:pt x="1793688" y="1336738"/>
                    <a:pt x="1798636" y="1339934"/>
                    <a:pt x="1798636" y="1339934"/>
                  </a:cubicBezTo>
                  <a:lnTo>
                    <a:pt x="1800958" y="1338790"/>
                  </a:lnTo>
                  <a:cubicBezTo>
                    <a:pt x="1800958" y="1338790"/>
                    <a:pt x="1802539" y="1338487"/>
                    <a:pt x="1803987" y="1338050"/>
                  </a:cubicBezTo>
                  <a:cubicBezTo>
                    <a:pt x="1805434" y="1337613"/>
                    <a:pt x="1806746" y="1336469"/>
                    <a:pt x="1806746" y="1336469"/>
                  </a:cubicBezTo>
                  <a:cubicBezTo>
                    <a:pt x="1806746" y="1336469"/>
                    <a:pt x="1808328" y="1333845"/>
                    <a:pt x="1808496" y="1333273"/>
                  </a:cubicBezTo>
                  <a:cubicBezTo>
                    <a:pt x="1808631" y="1332701"/>
                    <a:pt x="1810078" y="1330649"/>
                    <a:pt x="1810515" y="1330818"/>
                  </a:cubicBezTo>
                  <a:cubicBezTo>
                    <a:pt x="1810953" y="1330952"/>
                    <a:pt x="1814420" y="1333576"/>
                    <a:pt x="1814420" y="1333576"/>
                  </a:cubicBezTo>
                  <a:lnTo>
                    <a:pt x="1816607" y="1333441"/>
                  </a:lnTo>
                  <a:cubicBezTo>
                    <a:pt x="1816607" y="1333441"/>
                    <a:pt x="1818054" y="1335763"/>
                    <a:pt x="1818189" y="1336200"/>
                  </a:cubicBezTo>
                  <a:cubicBezTo>
                    <a:pt x="1818324" y="1336637"/>
                    <a:pt x="1821218" y="1335460"/>
                    <a:pt x="1821218" y="1335460"/>
                  </a:cubicBezTo>
                  <a:lnTo>
                    <a:pt x="1826569" y="1334585"/>
                  </a:lnTo>
                  <a:lnTo>
                    <a:pt x="1831348" y="1332264"/>
                  </a:lnTo>
                  <a:cubicBezTo>
                    <a:pt x="1831348" y="1332264"/>
                    <a:pt x="1833535" y="1333408"/>
                    <a:pt x="1834107" y="1333711"/>
                  </a:cubicBezTo>
                  <a:cubicBezTo>
                    <a:pt x="1834680" y="1334013"/>
                    <a:pt x="1835857" y="1335157"/>
                    <a:pt x="1836733" y="1335729"/>
                  </a:cubicBezTo>
                  <a:cubicBezTo>
                    <a:pt x="1837608" y="1336301"/>
                    <a:pt x="1840637" y="1338925"/>
                    <a:pt x="1841074" y="1338757"/>
                  </a:cubicBezTo>
                  <a:cubicBezTo>
                    <a:pt x="1841512" y="1338622"/>
                    <a:pt x="1843093" y="1337310"/>
                    <a:pt x="1843093" y="1337310"/>
                  </a:cubicBezTo>
                  <a:cubicBezTo>
                    <a:pt x="1843093" y="1337310"/>
                    <a:pt x="1844406" y="1334989"/>
                    <a:pt x="1845112" y="1334720"/>
                  </a:cubicBezTo>
                  <a:cubicBezTo>
                    <a:pt x="1845853" y="1334417"/>
                    <a:pt x="1848007" y="1334148"/>
                    <a:pt x="1848007" y="1334148"/>
                  </a:cubicBezTo>
                  <a:lnTo>
                    <a:pt x="1850194" y="1336166"/>
                  </a:lnTo>
                  <a:lnTo>
                    <a:pt x="1852516" y="1336906"/>
                  </a:lnTo>
                  <a:lnTo>
                    <a:pt x="1857733" y="1336166"/>
                  </a:lnTo>
                  <a:lnTo>
                    <a:pt x="1862377" y="1333980"/>
                  </a:lnTo>
                  <a:lnTo>
                    <a:pt x="1865272" y="1332365"/>
                  </a:lnTo>
                  <a:cubicBezTo>
                    <a:pt x="1865272" y="1332365"/>
                    <a:pt x="1867863" y="1332096"/>
                    <a:pt x="1868906" y="1332399"/>
                  </a:cubicBezTo>
                  <a:cubicBezTo>
                    <a:pt x="1869916" y="1332701"/>
                    <a:pt x="1875132" y="1332264"/>
                    <a:pt x="1875704" y="1332399"/>
                  </a:cubicBezTo>
                  <a:cubicBezTo>
                    <a:pt x="1875805" y="1332432"/>
                    <a:pt x="1876176" y="1332500"/>
                    <a:pt x="1876176" y="1332634"/>
                  </a:cubicBezTo>
                  <a:cubicBezTo>
                    <a:pt x="1876176" y="1332634"/>
                    <a:pt x="1876176" y="1332634"/>
                    <a:pt x="1876176" y="1332634"/>
                  </a:cubicBezTo>
                  <a:lnTo>
                    <a:pt x="1876176" y="1332264"/>
                  </a:lnTo>
                  <a:lnTo>
                    <a:pt x="1876176" y="1325301"/>
                  </a:lnTo>
                  <a:cubicBezTo>
                    <a:pt x="1876176" y="1325301"/>
                    <a:pt x="1877858" y="1322206"/>
                    <a:pt x="1877959" y="1322038"/>
                  </a:cubicBezTo>
                  <a:cubicBezTo>
                    <a:pt x="1878060" y="1321869"/>
                    <a:pt x="1880281" y="1317900"/>
                    <a:pt x="1880281" y="1317900"/>
                  </a:cubicBezTo>
                  <a:cubicBezTo>
                    <a:pt x="1880281" y="1317900"/>
                    <a:pt x="1881359" y="1314536"/>
                    <a:pt x="1881359" y="1314301"/>
                  </a:cubicBezTo>
                  <a:cubicBezTo>
                    <a:pt x="1881359" y="1314099"/>
                    <a:pt x="1881359" y="1309625"/>
                    <a:pt x="1881359" y="1309625"/>
                  </a:cubicBezTo>
                  <a:lnTo>
                    <a:pt x="1876478" y="1306261"/>
                  </a:lnTo>
                  <a:cubicBezTo>
                    <a:pt x="1876478" y="1306261"/>
                    <a:pt x="1875704" y="1302796"/>
                    <a:pt x="1876142" y="1302661"/>
                  </a:cubicBezTo>
                  <a:cubicBezTo>
                    <a:pt x="1876579" y="1302560"/>
                    <a:pt x="1877724" y="1300475"/>
                    <a:pt x="1877724" y="1300475"/>
                  </a:cubicBezTo>
                  <a:cubicBezTo>
                    <a:pt x="1877724" y="1300475"/>
                    <a:pt x="1878801" y="1298591"/>
                    <a:pt x="1878094" y="1297884"/>
                  </a:cubicBezTo>
                  <a:cubicBezTo>
                    <a:pt x="1877387" y="1297178"/>
                    <a:pt x="1873685" y="1294251"/>
                    <a:pt x="1873685" y="1294251"/>
                  </a:cubicBezTo>
                  <a:lnTo>
                    <a:pt x="1872171" y="1292334"/>
                  </a:lnTo>
                  <a:lnTo>
                    <a:pt x="1871666" y="1283756"/>
                  </a:lnTo>
                  <a:cubicBezTo>
                    <a:pt x="1871666" y="1283756"/>
                    <a:pt x="1871127" y="1279854"/>
                    <a:pt x="1871026" y="1279685"/>
                  </a:cubicBezTo>
                  <a:cubicBezTo>
                    <a:pt x="1870926" y="1279517"/>
                    <a:pt x="1869176" y="1277398"/>
                    <a:pt x="1869176" y="1277398"/>
                  </a:cubicBezTo>
                  <a:lnTo>
                    <a:pt x="1869176" y="1274841"/>
                  </a:lnTo>
                  <a:lnTo>
                    <a:pt x="1869983" y="1272251"/>
                  </a:lnTo>
                  <a:cubicBezTo>
                    <a:pt x="1869983" y="1272251"/>
                    <a:pt x="1870993" y="1270401"/>
                    <a:pt x="1870993" y="1270199"/>
                  </a:cubicBezTo>
                  <a:cubicBezTo>
                    <a:pt x="1870993" y="1269997"/>
                    <a:pt x="1870926" y="1265691"/>
                    <a:pt x="1870926" y="1265489"/>
                  </a:cubicBezTo>
                  <a:cubicBezTo>
                    <a:pt x="1870926" y="1265254"/>
                    <a:pt x="1870926" y="1262731"/>
                    <a:pt x="1870926" y="1262731"/>
                  </a:cubicBezTo>
                  <a:lnTo>
                    <a:pt x="1872810" y="1258762"/>
                  </a:lnTo>
                  <a:lnTo>
                    <a:pt x="1874392" y="1254153"/>
                  </a:lnTo>
                  <a:lnTo>
                    <a:pt x="1876883" y="1249477"/>
                  </a:lnTo>
                  <a:lnTo>
                    <a:pt x="1878060" y="1246651"/>
                  </a:lnTo>
                  <a:lnTo>
                    <a:pt x="1875772" y="1245440"/>
                  </a:lnTo>
                  <a:cubicBezTo>
                    <a:pt x="1875772" y="1245440"/>
                    <a:pt x="1873584" y="1244465"/>
                    <a:pt x="1873180" y="1244465"/>
                  </a:cubicBezTo>
                  <a:cubicBezTo>
                    <a:pt x="1872743" y="1244465"/>
                    <a:pt x="1871767" y="1244465"/>
                    <a:pt x="1871767" y="1244465"/>
                  </a:cubicBezTo>
                  <a:cubicBezTo>
                    <a:pt x="1871767" y="1244465"/>
                    <a:pt x="1869916" y="1243287"/>
                    <a:pt x="1869916" y="1242514"/>
                  </a:cubicBezTo>
                  <a:cubicBezTo>
                    <a:pt x="1869916" y="1241740"/>
                    <a:pt x="1870118" y="1240865"/>
                    <a:pt x="1870118" y="1240865"/>
                  </a:cubicBezTo>
                  <a:lnTo>
                    <a:pt x="1870252" y="1239654"/>
                  </a:lnTo>
                  <a:lnTo>
                    <a:pt x="1866550" y="1238679"/>
                  </a:lnTo>
                  <a:lnTo>
                    <a:pt x="1864800" y="1238040"/>
                  </a:lnTo>
                  <a:cubicBezTo>
                    <a:pt x="1864800" y="1238040"/>
                    <a:pt x="1863724" y="1237602"/>
                    <a:pt x="1862950" y="1236728"/>
                  </a:cubicBezTo>
                  <a:cubicBezTo>
                    <a:pt x="1862209" y="1235853"/>
                    <a:pt x="1861973" y="1234003"/>
                    <a:pt x="1861973" y="1234003"/>
                  </a:cubicBezTo>
                  <a:lnTo>
                    <a:pt x="1862613" y="1232153"/>
                  </a:lnTo>
                  <a:lnTo>
                    <a:pt x="1863151" y="1230201"/>
                  </a:lnTo>
                  <a:lnTo>
                    <a:pt x="1864800" y="1228789"/>
                  </a:lnTo>
                  <a:lnTo>
                    <a:pt x="1866012" y="1227376"/>
                  </a:lnTo>
                  <a:lnTo>
                    <a:pt x="1866853" y="1224685"/>
                  </a:lnTo>
                  <a:lnTo>
                    <a:pt x="1867998" y="1221825"/>
                  </a:lnTo>
                  <a:lnTo>
                    <a:pt x="1870017" y="1221825"/>
                  </a:lnTo>
                  <a:lnTo>
                    <a:pt x="1871767" y="1221825"/>
                  </a:lnTo>
                  <a:lnTo>
                    <a:pt x="1871666" y="1220244"/>
                  </a:lnTo>
                  <a:lnTo>
                    <a:pt x="1872507" y="1218999"/>
                  </a:lnTo>
                  <a:lnTo>
                    <a:pt x="1874459" y="1218360"/>
                  </a:lnTo>
                  <a:lnTo>
                    <a:pt x="1876983" y="1218360"/>
                  </a:lnTo>
                  <a:cubicBezTo>
                    <a:pt x="1876983" y="1218360"/>
                    <a:pt x="1878161" y="1217048"/>
                    <a:pt x="1878431" y="1216981"/>
                  </a:cubicBezTo>
                  <a:cubicBezTo>
                    <a:pt x="1878700" y="1216914"/>
                    <a:pt x="1879575" y="1215400"/>
                    <a:pt x="1879575" y="1215400"/>
                  </a:cubicBezTo>
                  <a:lnTo>
                    <a:pt x="1879575" y="1214021"/>
                  </a:lnTo>
                  <a:lnTo>
                    <a:pt x="1882099" y="1212272"/>
                  </a:lnTo>
                  <a:lnTo>
                    <a:pt x="1882536" y="1209883"/>
                  </a:lnTo>
                  <a:lnTo>
                    <a:pt x="1883714" y="1210186"/>
                  </a:lnTo>
                  <a:lnTo>
                    <a:pt x="1885801" y="1211060"/>
                  </a:lnTo>
                  <a:lnTo>
                    <a:pt x="1887046" y="1213247"/>
                  </a:lnTo>
                  <a:lnTo>
                    <a:pt x="1888931" y="1217587"/>
                  </a:lnTo>
                  <a:lnTo>
                    <a:pt x="1890883" y="1220177"/>
                  </a:lnTo>
                  <a:lnTo>
                    <a:pt x="1891690" y="1222061"/>
                  </a:lnTo>
                  <a:lnTo>
                    <a:pt x="1891421" y="1223070"/>
                  </a:lnTo>
                  <a:lnTo>
                    <a:pt x="1891118" y="1224584"/>
                  </a:lnTo>
                  <a:lnTo>
                    <a:pt x="1893306" y="1225727"/>
                  </a:lnTo>
                  <a:lnTo>
                    <a:pt x="1895863" y="1225593"/>
                  </a:lnTo>
                  <a:lnTo>
                    <a:pt x="1896974" y="1226972"/>
                  </a:lnTo>
                  <a:lnTo>
                    <a:pt x="1896974" y="1229663"/>
                  </a:lnTo>
                  <a:lnTo>
                    <a:pt x="1898051" y="1230740"/>
                  </a:lnTo>
                  <a:lnTo>
                    <a:pt x="1899195" y="1229360"/>
                  </a:lnTo>
                  <a:lnTo>
                    <a:pt x="1900272" y="1229226"/>
                  </a:lnTo>
                  <a:cubicBezTo>
                    <a:pt x="1900272" y="1229226"/>
                    <a:pt x="1900643" y="1229024"/>
                    <a:pt x="1900912" y="1229024"/>
                  </a:cubicBezTo>
                  <a:cubicBezTo>
                    <a:pt x="1901215" y="1229024"/>
                    <a:pt x="1903604" y="1228890"/>
                    <a:pt x="1903604" y="1228890"/>
                  </a:cubicBezTo>
                  <a:lnTo>
                    <a:pt x="1908013" y="1228318"/>
                  </a:lnTo>
                  <a:lnTo>
                    <a:pt x="1912489" y="1228755"/>
                  </a:lnTo>
                  <a:lnTo>
                    <a:pt x="1914441" y="1230201"/>
                  </a:lnTo>
                  <a:lnTo>
                    <a:pt x="1914172" y="1232657"/>
                  </a:lnTo>
                  <a:lnTo>
                    <a:pt x="1912724" y="1234541"/>
                  </a:lnTo>
                  <a:lnTo>
                    <a:pt x="1912085" y="1236492"/>
                  </a:lnTo>
                  <a:lnTo>
                    <a:pt x="1912455" y="1241202"/>
                  </a:lnTo>
                  <a:lnTo>
                    <a:pt x="1914475" y="1244027"/>
                  </a:lnTo>
                  <a:lnTo>
                    <a:pt x="1917537" y="1245474"/>
                  </a:lnTo>
                  <a:cubicBezTo>
                    <a:pt x="1917537" y="1245474"/>
                    <a:pt x="1917739" y="1246786"/>
                    <a:pt x="1917537" y="1246988"/>
                  </a:cubicBezTo>
                  <a:cubicBezTo>
                    <a:pt x="1917335" y="1247190"/>
                    <a:pt x="1920431" y="1250688"/>
                    <a:pt x="1920431" y="1250688"/>
                  </a:cubicBezTo>
                  <a:lnTo>
                    <a:pt x="1926388" y="1257550"/>
                  </a:lnTo>
                  <a:lnTo>
                    <a:pt x="1931234" y="1262832"/>
                  </a:lnTo>
                  <a:lnTo>
                    <a:pt x="1931571" y="1267104"/>
                  </a:lnTo>
                  <a:lnTo>
                    <a:pt x="1931739" y="1269930"/>
                  </a:lnTo>
                  <a:lnTo>
                    <a:pt x="1931739" y="1271376"/>
                  </a:lnTo>
                  <a:lnTo>
                    <a:pt x="1931739" y="1274841"/>
                  </a:lnTo>
                  <a:lnTo>
                    <a:pt x="1933489" y="1280123"/>
                  </a:lnTo>
                  <a:lnTo>
                    <a:pt x="1933489" y="1283520"/>
                  </a:lnTo>
                  <a:cubicBezTo>
                    <a:pt x="1933489" y="1283520"/>
                    <a:pt x="1935744" y="1285841"/>
                    <a:pt x="1935946" y="1285841"/>
                  </a:cubicBezTo>
                  <a:cubicBezTo>
                    <a:pt x="1936182" y="1285841"/>
                    <a:pt x="1940590" y="1286279"/>
                    <a:pt x="1940860" y="1286077"/>
                  </a:cubicBezTo>
                  <a:cubicBezTo>
                    <a:pt x="1941163" y="1285841"/>
                    <a:pt x="1943182" y="1283621"/>
                    <a:pt x="1943182" y="1283184"/>
                  </a:cubicBezTo>
                  <a:cubicBezTo>
                    <a:pt x="1943182" y="1282747"/>
                    <a:pt x="1943451" y="1280358"/>
                    <a:pt x="1943451" y="1280055"/>
                  </a:cubicBezTo>
                  <a:cubicBezTo>
                    <a:pt x="1943451" y="1279753"/>
                    <a:pt x="1940860" y="1276490"/>
                    <a:pt x="1940860" y="1276490"/>
                  </a:cubicBezTo>
                  <a:cubicBezTo>
                    <a:pt x="1940860" y="1276490"/>
                    <a:pt x="1941802" y="1275110"/>
                    <a:pt x="1942004" y="1274808"/>
                  </a:cubicBezTo>
                  <a:cubicBezTo>
                    <a:pt x="1942206" y="1274539"/>
                    <a:pt x="1942946" y="1273731"/>
                    <a:pt x="1943451" y="1273496"/>
                  </a:cubicBezTo>
                  <a:cubicBezTo>
                    <a:pt x="1943956" y="1273294"/>
                    <a:pt x="1945403" y="1271982"/>
                    <a:pt x="1945538" y="1271679"/>
                  </a:cubicBezTo>
                  <a:cubicBezTo>
                    <a:pt x="1945672" y="1271376"/>
                    <a:pt x="1945672" y="1270233"/>
                    <a:pt x="1945538" y="1269493"/>
                  </a:cubicBezTo>
                  <a:cubicBezTo>
                    <a:pt x="1945403" y="1268753"/>
                    <a:pt x="1944898" y="1267037"/>
                    <a:pt x="1944966" y="1266095"/>
                  </a:cubicBezTo>
                  <a:cubicBezTo>
                    <a:pt x="1945033" y="1265153"/>
                    <a:pt x="1945033" y="1263471"/>
                    <a:pt x="1945201" y="1262967"/>
                  </a:cubicBezTo>
                  <a:cubicBezTo>
                    <a:pt x="1945336" y="1262462"/>
                    <a:pt x="1945470" y="1261285"/>
                    <a:pt x="1945672" y="1261015"/>
                  </a:cubicBezTo>
                  <a:cubicBezTo>
                    <a:pt x="1945841" y="1260713"/>
                    <a:pt x="1946648" y="1259502"/>
                    <a:pt x="1947288" y="1258997"/>
                  </a:cubicBezTo>
                  <a:cubicBezTo>
                    <a:pt x="1947927" y="1258492"/>
                    <a:pt x="1949744" y="1256979"/>
                    <a:pt x="1949980" y="1256743"/>
                  </a:cubicBezTo>
                  <a:cubicBezTo>
                    <a:pt x="1950182" y="1256541"/>
                    <a:pt x="1951124" y="1254994"/>
                    <a:pt x="1951360" y="1254927"/>
                  </a:cubicBezTo>
                  <a:cubicBezTo>
                    <a:pt x="1951562" y="1254859"/>
                    <a:pt x="1953312" y="1253346"/>
                    <a:pt x="1953312" y="1253346"/>
                  </a:cubicBezTo>
                  <a:lnTo>
                    <a:pt x="1954625" y="1249511"/>
                  </a:lnTo>
                  <a:cubicBezTo>
                    <a:pt x="1954625" y="1249511"/>
                    <a:pt x="1957519" y="1247829"/>
                    <a:pt x="1957822" y="1247829"/>
                  </a:cubicBezTo>
                  <a:cubicBezTo>
                    <a:pt x="1958124" y="1247829"/>
                    <a:pt x="1961153" y="1249208"/>
                    <a:pt x="1961153" y="1249208"/>
                  </a:cubicBezTo>
                  <a:cubicBezTo>
                    <a:pt x="1961153" y="1249208"/>
                    <a:pt x="1962231" y="1249948"/>
                    <a:pt x="1963341" y="1249847"/>
                  </a:cubicBezTo>
                  <a:cubicBezTo>
                    <a:pt x="1964418" y="1249780"/>
                    <a:pt x="1965293" y="1249914"/>
                    <a:pt x="1965596" y="1249544"/>
                  </a:cubicBezTo>
                  <a:cubicBezTo>
                    <a:pt x="1965899" y="1249174"/>
                    <a:pt x="1967716" y="1247459"/>
                    <a:pt x="1967783" y="1247156"/>
                  </a:cubicBezTo>
                  <a:cubicBezTo>
                    <a:pt x="1967851" y="1246853"/>
                    <a:pt x="1968356" y="1244027"/>
                    <a:pt x="1968423" y="1242951"/>
                  </a:cubicBezTo>
                  <a:cubicBezTo>
                    <a:pt x="1968490" y="1241874"/>
                    <a:pt x="1968423" y="1238241"/>
                    <a:pt x="1968423" y="1238241"/>
                  </a:cubicBezTo>
                  <a:lnTo>
                    <a:pt x="1967783" y="1235113"/>
                  </a:lnTo>
                  <a:cubicBezTo>
                    <a:pt x="1967783" y="1235113"/>
                    <a:pt x="1968490" y="1233969"/>
                    <a:pt x="1968490" y="1233364"/>
                  </a:cubicBezTo>
                  <a:cubicBezTo>
                    <a:pt x="1968457" y="1232792"/>
                    <a:pt x="1969264" y="1231278"/>
                    <a:pt x="1969466" y="1231042"/>
                  </a:cubicBezTo>
                  <a:cubicBezTo>
                    <a:pt x="1969668" y="1230841"/>
                    <a:pt x="1970274" y="1230235"/>
                    <a:pt x="1970274" y="1230235"/>
                  </a:cubicBezTo>
                  <a:lnTo>
                    <a:pt x="1973168" y="1228789"/>
                  </a:lnTo>
                  <a:lnTo>
                    <a:pt x="1974851" y="1228856"/>
                  </a:lnTo>
                  <a:cubicBezTo>
                    <a:pt x="1974851" y="1228856"/>
                    <a:pt x="1976365" y="1229159"/>
                    <a:pt x="1976735" y="1228990"/>
                  </a:cubicBezTo>
                  <a:cubicBezTo>
                    <a:pt x="1977106" y="1228856"/>
                    <a:pt x="1978990" y="1228049"/>
                    <a:pt x="1979260" y="1228049"/>
                  </a:cubicBezTo>
                  <a:cubicBezTo>
                    <a:pt x="1979562" y="1228049"/>
                    <a:pt x="1980942" y="1227409"/>
                    <a:pt x="1981077" y="1226972"/>
                  </a:cubicBezTo>
                  <a:cubicBezTo>
                    <a:pt x="1981212" y="1226535"/>
                    <a:pt x="1981952" y="1226165"/>
                    <a:pt x="1982019" y="1225727"/>
                  </a:cubicBezTo>
                  <a:cubicBezTo>
                    <a:pt x="1982086" y="1225290"/>
                    <a:pt x="1982895" y="1223709"/>
                    <a:pt x="1982895" y="1223709"/>
                  </a:cubicBezTo>
                  <a:lnTo>
                    <a:pt x="1984207" y="1221960"/>
                  </a:lnTo>
                  <a:lnTo>
                    <a:pt x="1985789" y="1219269"/>
                  </a:lnTo>
                  <a:lnTo>
                    <a:pt x="1988245" y="1218899"/>
                  </a:lnTo>
                  <a:lnTo>
                    <a:pt x="1992587" y="1218158"/>
                  </a:lnTo>
                  <a:lnTo>
                    <a:pt x="1995717" y="1215905"/>
                  </a:lnTo>
                  <a:lnTo>
                    <a:pt x="1997366" y="1214357"/>
                  </a:lnTo>
                  <a:lnTo>
                    <a:pt x="1998678" y="1212944"/>
                  </a:lnTo>
                  <a:lnTo>
                    <a:pt x="2000496" y="1212944"/>
                  </a:lnTo>
                  <a:lnTo>
                    <a:pt x="2001875" y="1213684"/>
                  </a:lnTo>
                  <a:lnTo>
                    <a:pt x="2004198" y="1213247"/>
                  </a:lnTo>
                  <a:lnTo>
                    <a:pt x="2005712" y="1211296"/>
                  </a:lnTo>
                  <a:lnTo>
                    <a:pt x="2006486" y="1211229"/>
                  </a:lnTo>
                  <a:lnTo>
                    <a:pt x="2008741" y="1211969"/>
                  </a:lnTo>
                  <a:lnTo>
                    <a:pt x="2010929" y="1213853"/>
                  </a:lnTo>
                  <a:cubicBezTo>
                    <a:pt x="2010929" y="1213853"/>
                    <a:pt x="2012309" y="1213987"/>
                    <a:pt x="2012578" y="1213987"/>
                  </a:cubicBezTo>
                  <a:cubicBezTo>
                    <a:pt x="2012880" y="1213987"/>
                    <a:pt x="2016145" y="1213617"/>
                    <a:pt x="2016145" y="1213617"/>
                  </a:cubicBezTo>
                  <a:lnTo>
                    <a:pt x="2018097" y="1210926"/>
                  </a:lnTo>
                  <a:lnTo>
                    <a:pt x="2021496" y="1206956"/>
                  </a:lnTo>
                  <a:lnTo>
                    <a:pt x="2026342" y="1202180"/>
                  </a:lnTo>
                  <a:lnTo>
                    <a:pt x="2028967" y="1199421"/>
                  </a:lnTo>
                  <a:lnTo>
                    <a:pt x="2030549" y="1197033"/>
                  </a:lnTo>
                  <a:lnTo>
                    <a:pt x="2033309" y="1192323"/>
                  </a:lnTo>
                  <a:lnTo>
                    <a:pt x="2036338" y="1188993"/>
                  </a:lnTo>
                  <a:lnTo>
                    <a:pt x="2038155" y="1186167"/>
                  </a:lnTo>
                  <a:lnTo>
                    <a:pt x="2042127" y="1183712"/>
                  </a:lnTo>
                  <a:cubicBezTo>
                    <a:pt x="2042127" y="1183712"/>
                    <a:pt x="2047646" y="1183274"/>
                    <a:pt x="2047848" y="1183207"/>
                  </a:cubicBezTo>
                  <a:cubicBezTo>
                    <a:pt x="2048083" y="1183140"/>
                    <a:pt x="2050910" y="1183644"/>
                    <a:pt x="2050910" y="1183644"/>
                  </a:cubicBezTo>
                  <a:lnTo>
                    <a:pt x="2054175" y="1181256"/>
                  </a:lnTo>
                  <a:lnTo>
                    <a:pt x="2056430" y="1178363"/>
                  </a:lnTo>
                  <a:cubicBezTo>
                    <a:pt x="2056430" y="1178363"/>
                    <a:pt x="2057709" y="1177858"/>
                    <a:pt x="2057978" y="1177858"/>
                  </a:cubicBezTo>
                  <a:cubicBezTo>
                    <a:pt x="2058280" y="1177858"/>
                    <a:pt x="2060468" y="1180045"/>
                    <a:pt x="2060468" y="1180045"/>
                  </a:cubicBezTo>
                  <a:lnTo>
                    <a:pt x="2060468" y="1182601"/>
                  </a:lnTo>
                  <a:lnTo>
                    <a:pt x="2061040" y="1185124"/>
                  </a:lnTo>
                  <a:cubicBezTo>
                    <a:pt x="2061040" y="1185124"/>
                    <a:pt x="2062286" y="1186066"/>
                    <a:pt x="2063060" y="1186201"/>
                  </a:cubicBezTo>
                  <a:cubicBezTo>
                    <a:pt x="2063867" y="1186335"/>
                    <a:pt x="2066324" y="1186268"/>
                    <a:pt x="2066627" y="1186134"/>
                  </a:cubicBezTo>
                  <a:cubicBezTo>
                    <a:pt x="2066930" y="1185999"/>
                    <a:pt x="2069387" y="1182063"/>
                    <a:pt x="2069387" y="1182063"/>
                  </a:cubicBezTo>
                  <a:lnTo>
                    <a:pt x="2068949" y="1179540"/>
                  </a:lnTo>
                  <a:lnTo>
                    <a:pt x="2069824" y="1177118"/>
                  </a:lnTo>
                  <a:lnTo>
                    <a:pt x="2071776" y="1176513"/>
                  </a:lnTo>
                  <a:lnTo>
                    <a:pt x="2075243" y="1176513"/>
                  </a:lnTo>
                  <a:cubicBezTo>
                    <a:pt x="2075243" y="1176513"/>
                    <a:pt x="2076488" y="1176883"/>
                    <a:pt x="2076824" y="1176513"/>
                  </a:cubicBezTo>
                  <a:cubicBezTo>
                    <a:pt x="2077194" y="1176143"/>
                    <a:pt x="2079147" y="1174763"/>
                    <a:pt x="2079348" y="1174124"/>
                  </a:cubicBezTo>
                  <a:cubicBezTo>
                    <a:pt x="2079550" y="1173485"/>
                    <a:pt x="2081300" y="1171029"/>
                    <a:pt x="2081300" y="1170727"/>
                  </a:cubicBezTo>
                  <a:cubicBezTo>
                    <a:pt x="2081300" y="1170424"/>
                    <a:pt x="2081300" y="1168708"/>
                    <a:pt x="2081300" y="1168708"/>
                  </a:cubicBezTo>
                  <a:lnTo>
                    <a:pt x="2081805" y="1162485"/>
                  </a:lnTo>
                  <a:cubicBezTo>
                    <a:pt x="2081805" y="1162485"/>
                    <a:pt x="2083252" y="1159962"/>
                    <a:pt x="2083421" y="1159659"/>
                  </a:cubicBezTo>
                  <a:cubicBezTo>
                    <a:pt x="2083555" y="1159356"/>
                    <a:pt x="2084935" y="1157136"/>
                    <a:pt x="2084935" y="1157136"/>
                  </a:cubicBezTo>
                  <a:lnTo>
                    <a:pt x="2086618" y="1154512"/>
                  </a:lnTo>
                  <a:lnTo>
                    <a:pt x="2088368" y="1153638"/>
                  </a:lnTo>
                  <a:lnTo>
                    <a:pt x="2093382" y="1153335"/>
                  </a:lnTo>
                  <a:cubicBezTo>
                    <a:pt x="2093382" y="1153335"/>
                    <a:pt x="2095772" y="1153638"/>
                    <a:pt x="2096074" y="1153335"/>
                  </a:cubicBezTo>
                  <a:cubicBezTo>
                    <a:pt x="2096378" y="1153032"/>
                    <a:pt x="2100281" y="1153638"/>
                    <a:pt x="2100281" y="1153638"/>
                  </a:cubicBezTo>
                  <a:lnTo>
                    <a:pt x="2104859" y="1153705"/>
                  </a:lnTo>
                  <a:lnTo>
                    <a:pt x="2109503" y="1154142"/>
                  </a:lnTo>
                  <a:lnTo>
                    <a:pt x="2113643" y="1155084"/>
                  </a:lnTo>
                  <a:cubicBezTo>
                    <a:pt x="2113643" y="1155084"/>
                    <a:pt x="2116469" y="1156093"/>
                    <a:pt x="2117782" y="1155959"/>
                  </a:cubicBezTo>
                  <a:cubicBezTo>
                    <a:pt x="2119095" y="1155824"/>
                    <a:pt x="2121417" y="1154512"/>
                    <a:pt x="2121417" y="1154210"/>
                  </a:cubicBezTo>
                  <a:cubicBezTo>
                    <a:pt x="2121417" y="1153907"/>
                    <a:pt x="2123369" y="1149870"/>
                    <a:pt x="2123369" y="1149870"/>
                  </a:cubicBezTo>
                  <a:lnTo>
                    <a:pt x="2126633" y="1147616"/>
                  </a:lnTo>
                  <a:lnTo>
                    <a:pt x="2126633" y="1144353"/>
                  </a:lnTo>
                  <a:lnTo>
                    <a:pt x="2126633" y="1140888"/>
                  </a:lnTo>
                  <a:lnTo>
                    <a:pt x="2124681" y="1141965"/>
                  </a:lnTo>
                  <a:cubicBezTo>
                    <a:pt x="2124681" y="1141965"/>
                    <a:pt x="2122931" y="1142032"/>
                    <a:pt x="2122359" y="1142032"/>
                  </a:cubicBezTo>
                  <a:cubicBezTo>
                    <a:pt x="2121787" y="1142032"/>
                    <a:pt x="2120037" y="1141897"/>
                    <a:pt x="2119801" y="1141796"/>
                  </a:cubicBezTo>
                  <a:cubicBezTo>
                    <a:pt x="2119599" y="1141729"/>
                    <a:pt x="2117446" y="1141359"/>
                    <a:pt x="2117446" y="1140855"/>
                  </a:cubicBezTo>
                  <a:cubicBezTo>
                    <a:pt x="2117446" y="1140350"/>
                    <a:pt x="2116167" y="1139341"/>
                    <a:pt x="2116167" y="1139038"/>
                  </a:cubicBezTo>
                  <a:cubicBezTo>
                    <a:pt x="2116167" y="1138735"/>
                    <a:pt x="2116167" y="1137390"/>
                    <a:pt x="2116167" y="1137390"/>
                  </a:cubicBezTo>
                  <a:cubicBezTo>
                    <a:pt x="2116167" y="1137390"/>
                    <a:pt x="2117614" y="1136313"/>
                    <a:pt x="2117816" y="1136246"/>
                  </a:cubicBezTo>
                  <a:cubicBezTo>
                    <a:pt x="2118051" y="1136179"/>
                    <a:pt x="2119330" y="1135035"/>
                    <a:pt x="2119330" y="1135035"/>
                  </a:cubicBezTo>
                  <a:cubicBezTo>
                    <a:pt x="2119330" y="1135035"/>
                    <a:pt x="2120508" y="1134766"/>
                    <a:pt x="2120710" y="1134766"/>
                  </a:cubicBezTo>
                  <a:cubicBezTo>
                    <a:pt x="2120912" y="1134766"/>
                    <a:pt x="2123974" y="1134766"/>
                    <a:pt x="2123974" y="1134766"/>
                  </a:cubicBezTo>
                  <a:cubicBezTo>
                    <a:pt x="2123974" y="1134766"/>
                    <a:pt x="2124344" y="1134699"/>
                    <a:pt x="2124479" y="1134766"/>
                  </a:cubicBezTo>
                  <a:cubicBezTo>
                    <a:pt x="2124614" y="1134833"/>
                    <a:pt x="2125792" y="1135338"/>
                    <a:pt x="2125792" y="1135338"/>
                  </a:cubicBezTo>
                  <a:lnTo>
                    <a:pt x="2129696" y="1137020"/>
                  </a:lnTo>
                  <a:cubicBezTo>
                    <a:pt x="2129696" y="1137020"/>
                    <a:pt x="2131008" y="1137222"/>
                    <a:pt x="2131580" y="1136952"/>
                  </a:cubicBezTo>
                  <a:cubicBezTo>
                    <a:pt x="2132153" y="1136650"/>
                    <a:pt x="2134037" y="1136212"/>
                    <a:pt x="2134340" y="1136078"/>
                  </a:cubicBezTo>
                  <a:cubicBezTo>
                    <a:pt x="2134643" y="1135943"/>
                    <a:pt x="2135282" y="1135775"/>
                    <a:pt x="2135518" y="1135775"/>
                  </a:cubicBezTo>
                  <a:cubicBezTo>
                    <a:pt x="2135720" y="1135775"/>
                    <a:pt x="2138110" y="1137154"/>
                    <a:pt x="2138110" y="1137154"/>
                  </a:cubicBezTo>
                  <a:lnTo>
                    <a:pt x="2139859" y="1138029"/>
                  </a:lnTo>
                  <a:lnTo>
                    <a:pt x="2143057" y="1139206"/>
                  </a:lnTo>
                  <a:lnTo>
                    <a:pt x="2143696" y="1139711"/>
                  </a:lnTo>
                  <a:lnTo>
                    <a:pt x="2147667" y="1138634"/>
                  </a:lnTo>
                  <a:lnTo>
                    <a:pt x="2150427" y="1138197"/>
                  </a:lnTo>
                  <a:lnTo>
                    <a:pt x="2153254" y="1138264"/>
                  </a:lnTo>
                  <a:lnTo>
                    <a:pt x="2154634" y="1139442"/>
                  </a:lnTo>
                  <a:lnTo>
                    <a:pt x="2157326" y="1142402"/>
                  </a:lnTo>
                  <a:cubicBezTo>
                    <a:pt x="2157326" y="1142402"/>
                    <a:pt x="2156956" y="1143108"/>
                    <a:pt x="2156821" y="1143546"/>
                  </a:cubicBezTo>
                  <a:cubicBezTo>
                    <a:pt x="2156686" y="1143983"/>
                    <a:pt x="2155711" y="1145060"/>
                    <a:pt x="2156316" y="1145362"/>
                  </a:cubicBezTo>
                  <a:cubicBezTo>
                    <a:pt x="2156889" y="1145665"/>
                    <a:pt x="2158941" y="1146506"/>
                    <a:pt x="2159211" y="1146506"/>
                  </a:cubicBezTo>
                  <a:cubicBezTo>
                    <a:pt x="2159514" y="1146506"/>
                    <a:pt x="2159850" y="1146439"/>
                    <a:pt x="2161095" y="1146372"/>
                  </a:cubicBezTo>
                  <a:cubicBezTo>
                    <a:pt x="2162341" y="1146304"/>
                    <a:pt x="2163115" y="1145867"/>
                    <a:pt x="2163115" y="1145564"/>
                  </a:cubicBezTo>
                  <a:cubicBezTo>
                    <a:pt x="2163115" y="1145261"/>
                    <a:pt x="2163317" y="1142806"/>
                    <a:pt x="2163115" y="1142604"/>
                  </a:cubicBezTo>
                  <a:cubicBezTo>
                    <a:pt x="2162913" y="1142402"/>
                    <a:pt x="2162408" y="1140922"/>
                    <a:pt x="2162408" y="1140922"/>
                  </a:cubicBezTo>
                  <a:cubicBezTo>
                    <a:pt x="2162408" y="1140922"/>
                    <a:pt x="2162744" y="1139610"/>
                    <a:pt x="2163216" y="1139475"/>
                  </a:cubicBezTo>
                  <a:cubicBezTo>
                    <a:pt x="2163721" y="1139341"/>
                    <a:pt x="2164629" y="1138466"/>
                    <a:pt x="2164865" y="1138466"/>
                  </a:cubicBezTo>
                  <a:cubicBezTo>
                    <a:pt x="2165066" y="1138466"/>
                    <a:pt x="2166312" y="1137760"/>
                    <a:pt x="2166514" y="1137659"/>
                  </a:cubicBezTo>
                  <a:cubicBezTo>
                    <a:pt x="2166716" y="1137592"/>
                    <a:pt x="2169543" y="1137659"/>
                    <a:pt x="2170283" y="1137592"/>
                  </a:cubicBezTo>
                  <a:cubicBezTo>
                    <a:pt x="2170990" y="1137524"/>
                    <a:pt x="2172101" y="1137995"/>
                    <a:pt x="2173110" y="1137995"/>
                  </a:cubicBezTo>
                  <a:cubicBezTo>
                    <a:pt x="2174120" y="1137995"/>
                    <a:pt x="2174860" y="1138264"/>
                    <a:pt x="2175432" y="1138264"/>
                  </a:cubicBezTo>
                  <a:cubicBezTo>
                    <a:pt x="2176004" y="1138264"/>
                    <a:pt x="2177889" y="1138264"/>
                    <a:pt x="2177889" y="1138264"/>
                  </a:cubicBezTo>
                  <a:lnTo>
                    <a:pt x="2179707" y="1137894"/>
                  </a:lnTo>
                  <a:lnTo>
                    <a:pt x="2181658" y="1137087"/>
                  </a:lnTo>
                  <a:cubicBezTo>
                    <a:pt x="2181658" y="1137087"/>
                    <a:pt x="2182399" y="1134564"/>
                    <a:pt x="2182601" y="1134328"/>
                  </a:cubicBezTo>
                  <a:cubicBezTo>
                    <a:pt x="2182802" y="1134127"/>
                    <a:pt x="2183913" y="1132747"/>
                    <a:pt x="2183913" y="1132747"/>
                  </a:cubicBezTo>
                  <a:lnTo>
                    <a:pt x="2186303" y="1132445"/>
                  </a:lnTo>
                  <a:cubicBezTo>
                    <a:pt x="2186303" y="1132445"/>
                    <a:pt x="2189197" y="1132815"/>
                    <a:pt x="2189567" y="1132445"/>
                  </a:cubicBezTo>
                  <a:cubicBezTo>
                    <a:pt x="2189937" y="1132075"/>
                    <a:pt x="2190442" y="1128913"/>
                    <a:pt x="2190442" y="1128913"/>
                  </a:cubicBezTo>
                  <a:lnTo>
                    <a:pt x="2189433" y="1127769"/>
                  </a:lnTo>
                  <a:lnTo>
                    <a:pt x="2186976" y="1125246"/>
                  </a:lnTo>
                  <a:lnTo>
                    <a:pt x="2186404" y="1123867"/>
                  </a:lnTo>
                  <a:cubicBezTo>
                    <a:pt x="2186404" y="1123867"/>
                    <a:pt x="2185159" y="1122353"/>
                    <a:pt x="2184956" y="1121983"/>
                  </a:cubicBezTo>
                  <a:cubicBezTo>
                    <a:pt x="2184721" y="1121613"/>
                    <a:pt x="2184149" y="1120906"/>
                    <a:pt x="2184081" y="1120469"/>
                  </a:cubicBezTo>
                  <a:cubicBezTo>
                    <a:pt x="2184014" y="1120032"/>
                    <a:pt x="2183644" y="1118888"/>
                    <a:pt x="2184586" y="1118148"/>
                  </a:cubicBezTo>
                  <a:cubicBezTo>
                    <a:pt x="2185529" y="1117441"/>
                    <a:pt x="2186437" y="1114750"/>
                    <a:pt x="2186875" y="1114178"/>
                  </a:cubicBezTo>
                  <a:cubicBezTo>
                    <a:pt x="2187312" y="1113606"/>
                    <a:pt x="2189231" y="1111487"/>
                    <a:pt x="2189231" y="1111218"/>
                  </a:cubicBezTo>
                  <a:cubicBezTo>
                    <a:pt x="2189231" y="1110915"/>
                    <a:pt x="2189231" y="1109637"/>
                    <a:pt x="2189231" y="1109637"/>
                  </a:cubicBezTo>
                  <a:lnTo>
                    <a:pt x="2194952" y="1107013"/>
                  </a:lnTo>
                  <a:lnTo>
                    <a:pt x="2199361" y="1105197"/>
                  </a:lnTo>
                  <a:lnTo>
                    <a:pt x="2205452" y="1103817"/>
                  </a:lnTo>
                  <a:cubicBezTo>
                    <a:pt x="2205452" y="1103817"/>
                    <a:pt x="2206967" y="1103952"/>
                    <a:pt x="2207202" y="1103817"/>
                  </a:cubicBezTo>
                  <a:cubicBezTo>
                    <a:pt x="2207438" y="1103683"/>
                    <a:pt x="2211544" y="1104255"/>
                    <a:pt x="2211779" y="1104322"/>
                  </a:cubicBezTo>
                  <a:cubicBezTo>
                    <a:pt x="2211981" y="1104389"/>
                    <a:pt x="2213092" y="1106340"/>
                    <a:pt x="2213092" y="1106340"/>
                  </a:cubicBezTo>
                  <a:cubicBezTo>
                    <a:pt x="2213092" y="1106340"/>
                    <a:pt x="2215717" y="1105533"/>
                    <a:pt x="2216222" y="1105398"/>
                  </a:cubicBezTo>
                  <a:cubicBezTo>
                    <a:pt x="2216727" y="1105264"/>
                    <a:pt x="2217972" y="1103817"/>
                    <a:pt x="2218173" y="1103784"/>
                  </a:cubicBezTo>
                  <a:cubicBezTo>
                    <a:pt x="2218376" y="1103750"/>
                    <a:pt x="2219486" y="1102001"/>
                    <a:pt x="2219486" y="1102001"/>
                  </a:cubicBezTo>
                  <a:cubicBezTo>
                    <a:pt x="2219486" y="1102001"/>
                    <a:pt x="2220967" y="1099310"/>
                    <a:pt x="2220900" y="1098671"/>
                  </a:cubicBezTo>
                  <a:cubicBezTo>
                    <a:pt x="2220832" y="1098031"/>
                    <a:pt x="2220563" y="1094533"/>
                    <a:pt x="2220563" y="1094264"/>
                  </a:cubicBezTo>
                  <a:cubicBezTo>
                    <a:pt x="2220563" y="1093961"/>
                    <a:pt x="2220563" y="1090496"/>
                    <a:pt x="2220563" y="1090496"/>
                  </a:cubicBezTo>
                  <a:lnTo>
                    <a:pt x="2220563" y="1087906"/>
                  </a:lnTo>
                  <a:lnTo>
                    <a:pt x="2220563" y="1085282"/>
                  </a:lnTo>
                  <a:lnTo>
                    <a:pt x="2220361" y="1080135"/>
                  </a:lnTo>
                  <a:lnTo>
                    <a:pt x="2220496" y="1077242"/>
                  </a:lnTo>
                  <a:lnTo>
                    <a:pt x="2225140" y="1075493"/>
                  </a:lnTo>
                  <a:lnTo>
                    <a:pt x="2226789" y="1071725"/>
                  </a:lnTo>
                  <a:lnTo>
                    <a:pt x="2223693" y="1069774"/>
                  </a:lnTo>
                  <a:lnTo>
                    <a:pt x="2222549" y="106728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45" name="Freeform 911">
              <a:extLst>
                <a:ext uri="{FF2B5EF4-FFF2-40B4-BE49-F238E27FC236}">
                  <a16:creationId xmlns:a16="http://schemas.microsoft.com/office/drawing/2014/main" id="{8BBCE310-5EB9-B945-A1A7-4B188FA6D596}"/>
                </a:ext>
              </a:extLst>
            </p:cNvPr>
            <p:cNvSpPr/>
            <p:nvPr/>
          </p:nvSpPr>
          <p:spPr>
            <a:xfrm>
              <a:off x="6199900" y="2603441"/>
              <a:ext cx="992582" cy="636055"/>
            </a:xfrm>
            <a:custGeom>
              <a:avLst/>
              <a:gdLst>
                <a:gd name="connsiteX0" fmla="*/ 1899094 w 1905657"/>
                <a:gd name="connsiteY0" fmla="*/ 1031662 h 1221162"/>
                <a:gd name="connsiteX1" fmla="*/ 1900710 w 1905657"/>
                <a:gd name="connsiteY1" fmla="*/ 1031898 h 1221162"/>
                <a:gd name="connsiteX2" fmla="*/ 1901686 w 1905657"/>
                <a:gd name="connsiteY2" fmla="*/ 1028635 h 1221162"/>
                <a:gd name="connsiteX3" fmla="*/ 1900171 w 1905657"/>
                <a:gd name="connsiteY3" fmla="*/ 1023858 h 1221162"/>
                <a:gd name="connsiteX4" fmla="*/ 1901046 w 1905657"/>
                <a:gd name="connsiteY4" fmla="*/ 1019518 h 1221162"/>
                <a:gd name="connsiteX5" fmla="*/ 1900171 w 1905657"/>
                <a:gd name="connsiteY5" fmla="*/ 1013665 h 1221162"/>
                <a:gd name="connsiteX6" fmla="*/ 1899970 w 1905657"/>
                <a:gd name="connsiteY6" fmla="*/ 1006062 h 1221162"/>
                <a:gd name="connsiteX7" fmla="*/ 1899330 w 1905657"/>
                <a:gd name="connsiteY7" fmla="*/ 1003237 h 1221162"/>
                <a:gd name="connsiteX8" fmla="*/ 1899566 w 1905657"/>
                <a:gd name="connsiteY8" fmla="*/ 998023 h 1221162"/>
                <a:gd name="connsiteX9" fmla="*/ 1899330 w 1905657"/>
                <a:gd name="connsiteY9" fmla="*/ 993246 h 1221162"/>
                <a:gd name="connsiteX10" fmla="*/ 1898253 w 1905657"/>
                <a:gd name="connsiteY10" fmla="*/ 990218 h 1221162"/>
                <a:gd name="connsiteX11" fmla="*/ 1895864 w 1905657"/>
                <a:gd name="connsiteY11" fmla="*/ 990218 h 1221162"/>
                <a:gd name="connsiteX12" fmla="*/ 1893474 w 1905657"/>
                <a:gd name="connsiteY12" fmla="*/ 987292 h 1221162"/>
                <a:gd name="connsiteX13" fmla="*/ 1893037 w 1905657"/>
                <a:gd name="connsiteY13" fmla="*/ 985004 h 1221162"/>
                <a:gd name="connsiteX14" fmla="*/ 1892162 w 1905657"/>
                <a:gd name="connsiteY14" fmla="*/ 978915 h 1221162"/>
                <a:gd name="connsiteX15" fmla="*/ 1892162 w 1905657"/>
                <a:gd name="connsiteY15" fmla="*/ 975450 h 1221162"/>
                <a:gd name="connsiteX16" fmla="*/ 1894215 w 1905657"/>
                <a:gd name="connsiteY16" fmla="*/ 973062 h 1221162"/>
                <a:gd name="connsiteX17" fmla="*/ 1895190 w 1905657"/>
                <a:gd name="connsiteY17" fmla="*/ 972423 h 1221162"/>
                <a:gd name="connsiteX18" fmla="*/ 1897378 w 1905657"/>
                <a:gd name="connsiteY18" fmla="*/ 969799 h 1221162"/>
                <a:gd name="connsiteX19" fmla="*/ 1899128 w 1905657"/>
                <a:gd name="connsiteY19" fmla="*/ 965257 h 1221162"/>
                <a:gd name="connsiteX20" fmla="*/ 1901955 w 1905657"/>
                <a:gd name="connsiteY20" fmla="*/ 960683 h 1221162"/>
                <a:gd name="connsiteX21" fmla="*/ 1905657 w 1905657"/>
                <a:gd name="connsiteY21" fmla="*/ 954796 h 1221162"/>
                <a:gd name="connsiteX22" fmla="*/ 1905455 w 1905657"/>
                <a:gd name="connsiteY22" fmla="*/ 942416 h 1221162"/>
                <a:gd name="connsiteX23" fmla="*/ 1904580 w 1905657"/>
                <a:gd name="connsiteY23" fmla="*/ 934141 h 1221162"/>
                <a:gd name="connsiteX24" fmla="*/ 1903705 w 1905657"/>
                <a:gd name="connsiteY24" fmla="*/ 929129 h 1221162"/>
                <a:gd name="connsiteX25" fmla="*/ 1901080 w 1905657"/>
                <a:gd name="connsiteY25" fmla="*/ 921190 h 1221162"/>
                <a:gd name="connsiteX26" fmla="*/ 1900003 w 1905657"/>
                <a:gd name="connsiteY26" fmla="*/ 916850 h 1221162"/>
                <a:gd name="connsiteX27" fmla="*/ 1899128 w 1905657"/>
                <a:gd name="connsiteY27" fmla="*/ 911098 h 1221162"/>
                <a:gd name="connsiteX28" fmla="*/ 1899128 w 1905657"/>
                <a:gd name="connsiteY28" fmla="*/ 908171 h 1221162"/>
                <a:gd name="connsiteX29" fmla="*/ 1900205 w 1905657"/>
                <a:gd name="connsiteY29" fmla="*/ 905009 h 1221162"/>
                <a:gd name="connsiteX30" fmla="*/ 1901719 w 1905657"/>
                <a:gd name="connsiteY30" fmla="*/ 903159 h 1221162"/>
                <a:gd name="connsiteX31" fmla="*/ 1902696 w 1905657"/>
                <a:gd name="connsiteY31" fmla="*/ 900434 h 1221162"/>
                <a:gd name="connsiteX32" fmla="*/ 1902696 w 1905657"/>
                <a:gd name="connsiteY32" fmla="*/ 896532 h 1221162"/>
                <a:gd name="connsiteX33" fmla="*/ 1903133 w 1905657"/>
                <a:gd name="connsiteY33" fmla="*/ 891856 h 1221162"/>
                <a:gd name="connsiteX34" fmla="*/ 1903470 w 1905657"/>
                <a:gd name="connsiteY34" fmla="*/ 889568 h 1221162"/>
                <a:gd name="connsiteX35" fmla="*/ 1900104 w 1905657"/>
                <a:gd name="connsiteY35" fmla="*/ 885330 h 1221162"/>
                <a:gd name="connsiteX36" fmla="*/ 1900542 w 1905657"/>
                <a:gd name="connsiteY36" fmla="*/ 880889 h 1221162"/>
                <a:gd name="connsiteX37" fmla="*/ 1901417 w 1905657"/>
                <a:gd name="connsiteY37" fmla="*/ 877727 h 1221162"/>
                <a:gd name="connsiteX38" fmla="*/ 1901517 w 1905657"/>
                <a:gd name="connsiteY38" fmla="*/ 874262 h 1221162"/>
                <a:gd name="connsiteX39" fmla="*/ 1901316 w 1905657"/>
                <a:gd name="connsiteY39" fmla="*/ 870898 h 1221162"/>
                <a:gd name="connsiteX40" fmla="*/ 1898825 w 1905657"/>
                <a:gd name="connsiteY40" fmla="*/ 868611 h 1221162"/>
                <a:gd name="connsiteX41" fmla="*/ 1897210 w 1905657"/>
                <a:gd name="connsiteY41" fmla="*/ 866021 h 1221162"/>
                <a:gd name="connsiteX42" fmla="*/ 1897849 w 1905657"/>
                <a:gd name="connsiteY42" fmla="*/ 863969 h 1221162"/>
                <a:gd name="connsiteX43" fmla="*/ 1899364 w 1905657"/>
                <a:gd name="connsiteY43" fmla="*/ 862993 h 1221162"/>
                <a:gd name="connsiteX44" fmla="*/ 1900340 w 1905657"/>
                <a:gd name="connsiteY44" fmla="*/ 862455 h 1221162"/>
                <a:gd name="connsiteX45" fmla="*/ 1902527 w 1905657"/>
                <a:gd name="connsiteY45" fmla="*/ 861479 h 1221162"/>
                <a:gd name="connsiteX46" fmla="*/ 1903503 w 1905657"/>
                <a:gd name="connsiteY46" fmla="*/ 859730 h 1221162"/>
                <a:gd name="connsiteX47" fmla="*/ 1904816 w 1905657"/>
                <a:gd name="connsiteY47" fmla="*/ 857241 h 1221162"/>
                <a:gd name="connsiteX48" fmla="*/ 1905253 w 1905657"/>
                <a:gd name="connsiteY48" fmla="*/ 855290 h 1221162"/>
                <a:gd name="connsiteX49" fmla="*/ 1904917 w 1905657"/>
                <a:gd name="connsiteY49" fmla="*/ 851387 h 1221162"/>
                <a:gd name="connsiteX50" fmla="*/ 1901753 w 1905657"/>
                <a:gd name="connsiteY50" fmla="*/ 848461 h 1221162"/>
                <a:gd name="connsiteX51" fmla="*/ 1899902 w 1905657"/>
                <a:gd name="connsiteY51" fmla="*/ 846711 h 1221162"/>
                <a:gd name="connsiteX52" fmla="*/ 1898926 w 1905657"/>
                <a:gd name="connsiteY52" fmla="*/ 844525 h 1221162"/>
                <a:gd name="connsiteX53" fmla="*/ 1897412 w 1905657"/>
                <a:gd name="connsiteY53" fmla="*/ 842137 h 1221162"/>
                <a:gd name="connsiteX54" fmla="*/ 1895022 w 1905657"/>
                <a:gd name="connsiteY54" fmla="*/ 840623 h 1221162"/>
                <a:gd name="connsiteX55" fmla="*/ 1891421 w 1905657"/>
                <a:gd name="connsiteY55" fmla="*/ 838033 h 1221162"/>
                <a:gd name="connsiteX56" fmla="*/ 1890243 w 1905657"/>
                <a:gd name="connsiteY56" fmla="*/ 836956 h 1221162"/>
                <a:gd name="connsiteX57" fmla="*/ 1889604 w 1905657"/>
                <a:gd name="connsiteY57" fmla="*/ 835980 h 1221162"/>
                <a:gd name="connsiteX58" fmla="*/ 1889806 w 1905657"/>
                <a:gd name="connsiteY58" fmla="*/ 833928 h 1221162"/>
                <a:gd name="connsiteX59" fmla="*/ 1890883 w 1905657"/>
                <a:gd name="connsiteY59" fmla="*/ 832852 h 1221162"/>
                <a:gd name="connsiteX60" fmla="*/ 1892195 w 1905657"/>
                <a:gd name="connsiteY60" fmla="*/ 830901 h 1221162"/>
                <a:gd name="connsiteX61" fmla="*/ 1892195 w 1905657"/>
                <a:gd name="connsiteY61" fmla="*/ 829488 h 1221162"/>
                <a:gd name="connsiteX62" fmla="*/ 1892195 w 1905657"/>
                <a:gd name="connsiteY62" fmla="*/ 826461 h 1221162"/>
                <a:gd name="connsiteX63" fmla="*/ 1891859 w 1905657"/>
                <a:gd name="connsiteY63" fmla="*/ 822996 h 1221162"/>
                <a:gd name="connsiteX64" fmla="*/ 1889133 w 1905657"/>
                <a:gd name="connsiteY64" fmla="*/ 821919 h 1221162"/>
                <a:gd name="connsiteX65" fmla="*/ 1887181 w 1905657"/>
                <a:gd name="connsiteY65" fmla="*/ 819194 h 1221162"/>
                <a:gd name="connsiteX66" fmla="*/ 1886979 w 1905657"/>
                <a:gd name="connsiteY66" fmla="*/ 817378 h 1221162"/>
                <a:gd name="connsiteX67" fmla="*/ 1886979 w 1905657"/>
                <a:gd name="connsiteY67" fmla="*/ 815628 h 1221162"/>
                <a:gd name="connsiteX68" fmla="*/ 1886810 w 1905657"/>
                <a:gd name="connsiteY68" fmla="*/ 813677 h 1221162"/>
                <a:gd name="connsiteX69" fmla="*/ 1885330 w 1905657"/>
                <a:gd name="connsiteY69" fmla="*/ 809439 h 1221162"/>
                <a:gd name="connsiteX70" fmla="*/ 1885330 w 1905657"/>
                <a:gd name="connsiteY70" fmla="*/ 809002 h 1221162"/>
                <a:gd name="connsiteX71" fmla="*/ 1882065 w 1905657"/>
                <a:gd name="connsiteY71" fmla="*/ 806815 h 1221162"/>
                <a:gd name="connsiteX72" fmla="*/ 1880854 w 1905657"/>
                <a:gd name="connsiteY72" fmla="*/ 806041 h 1221162"/>
                <a:gd name="connsiteX73" fmla="*/ 1879979 w 1905657"/>
                <a:gd name="connsiteY73" fmla="*/ 806041 h 1221162"/>
                <a:gd name="connsiteX74" fmla="*/ 1875536 w 1905657"/>
                <a:gd name="connsiteY74" fmla="*/ 802173 h 1221162"/>
                <a:gd name="connsiteX75" fmla="*/ 1876176 w 1905657"/>
                <a:gd name="connsiteY75" fmla="*/ 798405 h 1221162"/>
                <a:gd name="connsiteX76" fmla="*/ 1877488 w 1905657"/>
                <a:gd name="connsiteY76" fmla="*/ 795478 h 1221162"/>
                <a:gd name="connsiteX77" fmla="*/ 1879541 w 1905657"/>
                <a:gd name="connsiteY77" fmla="*/ 792316 h 1221162"/>
                <a:gd name="connsiteX78" fmla="*/ 1879104 w 1905657"/>
                <a:gd name="connsiteY78" fmla="*/ 788179 h 1221162"/>
                <a:gd name="connsiteX79" fmla="*/ 1879878 w 1905657"/>
                <a:gd name="connsiteY79" fmla="*/ 786867 h 1221162"/>
                <a:gd name="connsiteX80" fmla="*/ 1880955 w 1905657"/>
                <a:gd name="connsiteY80" fmla="*/ 786093 h 1221162"/>
                <a:gd name="connsiteX81" fmla="*/ 1883883 w 1905657"/>
                <a:gd name="connsiteY81" fmla="*/ 785857 h 1221162"/>
                <a:gd name="connsiteX82" fmla="*/ 1885498 w 1905657"/>
                <a:gd name="connsiteY82" fmla="*/ 786631 h 1221162"/>
                <a:gd name="connsiteX83" fmla="*/ 1888224 w 1905657"/>
                <a:gd name="connsiteY83" fmla="*/ 788683 h 1221162"/>
                <a:gd name="connsiteX84" fmla="*/ 1890849 w 1905657"/>
                <a:gd name="connsiteY84" fmla="*/ 790533 h 1221162"/>
                <a:gd name="connsiteX85" fmla="*/ 1891724 w 1905657"/>
                <a:gd name="connsiteY85" fmla="*/ 791711 h 1221162"/>
                <a:gd name="connsiteX86" fmla="*/ 1894652 w 1905657"/>
                <a:gd name="connsiteY86" fmla="*/ 792249 h 1221162"/>
                <a:gd name="connsiteX87" fmla="*/ 1896402 w 1905657"/>
                <a:gd name="connsiteY87" fmla="*/ 791711 h 1221162"/>
                <a:gd name="connsiteX88" fmla="*/ 1897715 w 1905657"/>
                <a:gd name="connsiteY88" fmla="*/ 789861 h 1221162"/>
                <a:gd name="connsiteX89" fmla="*/ 1899128 w 1905657"/>
                <a:gd name="connsiteY89" fmla="*/ 788683 h 1221162"/>
                <a:gd name="connsiteX90" fmla="*/ 1900542 w 1905657"/>
                <a:gd name="connsiteY90" fmla="*/ 787808 h 1221162"/>
                <a:gd name="connsiteX91" fmla="*/ 1901517 w 1905657"/>
                <a:gd name="connsiteY91" fmla="*/ 787270 h 1221162"/>
                <a:gd name="connsiteX92" fmla="*/ 1903705 w 1905657"/>
                <a:gd name="connsiteY92" fmla="*/ 785218 h 1221162"/>
                <a:gd name="connsiteX93" fmla="*/ 1904042 w 1905657"/>
                <a:gd name="connsiteY93" fmla="*/ 783805 h 1221162"/>
                <a:gd name="connsiteX94" fmla="*/ 1904378 w 1905657"/>
                <a:gd name="connsiteY94" fmla="*/ 782493 h 1221162"/>
                <a:gd name="connsiteX95" fmla="*/ 1904378 w 1905657"/>
                <a:gd name="connsiteY95" fmla="*/ 780408 h 1221162"/>
                <a:gd name="connsiteX96" fmla="*/ 1903301 w 1905657"/>
                <a:gd name="connsiteY96" fmla="*/ 778558 h 1221162"/>
                <a:gd name="connsiteX97" fmla="*/ 1899599 w 1905657"/>
                <a:gd name="connsiteY97" fmla="*/ 773680 h 1221162"/>
                <a:gd name="connsiteX98" fmla="*/ 1896974 w 1905657"/>
                <a:gd name="connsiteY98" fmla="*/ 769643 h 1221162"/>
                <a:gd name="connsiteX99" fmla="*/ 1891657 w 1905657"/>
                <a:gd name="connsiteY99" fmla="*/ 765943 h 1221162"/>
                <a:gd name="connsiteX100" fmla="*/ 1887416 w 1905657"/>
                <a:gd name="connsiteY100" fmla="*/ 761603 h 1221162"/>
                <a:gd name="connsiteX101" fmla="*/ 1884051 w 1905657"/>
                <a:gd name="connsiteY101" fmla="*/ 759316 h 1221162"/>
                <a:gd name="connsiteX102" fmla="*/ 1882974 w 1905657"/>
                <a:gd name="connsiteY102" fmla="*/ 758105 h 1221162"/>
                <a:gd name="connsiteX103" fmla="*/ 1879810 w 1905657"/>
                <a:gd name="connsiteY103" fmla="*/ 754068 h 1221162"/>
                <a:gd name="connsiteX104" fmla="*/ 1876647 w 1905657"/>
                <a:gd name="connsiteY104" fmla="*/ 750469 h 1221162"/>
                <a:gd name="connsiteX105" fmla="*/ 1874796 w 1905657"/>
                <a:gd name="connsiteY105" fmla="*/ 747643 h 1221162"/>
                <a:gd name="connsiteX106" fmla="*/ 1874796 w 1905657"/>
                <a:gd name="connsiteY106" fmla="*/ 744043 h 1221162"/>
                <a:gd name="connsiteX107" fmla="*/ 1874796 w 1905657"/>
                <a:gd name="connsiteY107" fmla="*/ 740679 h 1221162"/>
                <a:gd name="connsiteX108" fmla="*/ 1874796 w 1905657"/>
                <a:gd name="connsiteY108" fmla="*/ 739805 h 1221162"/>
                <a:gd name="connsiteX109" fmla="*/ 1872238 w 1905657"/>
                <a:gd name="connsiteY109" fmla="*/ 737618 h 1221162"/>
                <a:gd name="connsiteX110" fmla="*/ 1870454 w 1905657"/>
                <a:gd name="connsiteY110" fmla="*/ 734591 h 1221162"/>
                <a:gd name="connsiteX111" fmla="*/ 1870017 w 1905657"/>
                <a:gd name="connsiteY111" fmla="*/ 734591 h 1221162"/>
                <a:gd name="connsiteX112" fmla="*/ 1866449 w 1905657"/>
                <a:gd name="connsiteY112" fmla="*/ 732572 h 1221162"/>
                <a:gd name="connsiteX113" fmla="*/ 1867325 w 1905657"/>
                <a:gd name="connsiteY113" fmla="*/ 728704 h 1221162"/>
                <a:gd name="connsiteX114" fmla="*/ 1865709 w 1905657"/>
                <a:gd name="connsiteY114" fmla="*/ 726416 h 1221162"/>
                <a:gd name="connsiteX115" fmla="*/ 1865070 w 1905657"/>
                <a:gd name="connsiteY115" fmla="*/ 724902 h 1221162"/>
                <a:gd name="connsiteX116" fmla="*/ 1863219 w 1905657"/>
                <a:gd name="connsiteY116" fmla="*/ 722178 h 1221162"/>
                <a:gd name="connsiteX117" fmla="*/ 1862445 w 1905657"/>
                <a:gd name="connsiteY117" fmla="*/ 721202 h 1221162"/>
                <a:gd name="connsiteX118" fmla="*/ 1861031 w 1905657"/>
                <a:gd name="connsiteY118" fmla="*/ 719150 h 1221162"/>
                <a:gd name="connsiteX119" fmla="*/ 1861805 w 1905657"/>
                <a:gd name="connsiteY119" fmla="*/ 718275 h 1221162"/>
                <a:gd name="connsiteX120" fmla="*/ 1863993 w 1905657"/>
                <a:gd name="connsiteY120" fmla="*/ 717199 h 1221162"/>
                <a:gd name="connsiteX121" fmla="*/ 1865305 w 1905657"/>
                <a:gd name="connsiteY121" fmla="*/ 716122 h 1221162"/>
                <a:gd name="connsiteX122" fmla="*/ 1866180 w 1905657"/>
                <a:gd name="connsiteY122" fmla="*/ 713398 h 1221162"/>
                <a:gd name="connsiteX123" fmla="*/ 1866820 w 1905657"/>
                <a:gd name="connsiteY123" fmla="*/ 710471 h 1221162"/>
                <a:gd name="connsiteX124" fmla="*/ 1866719 w 1905657"/>
                <a:gd name="connsiteY124" fmla="*/ 706670 h 1221162"/>
                <a:gd name="connsiteX125" fmla="*/ 1866180 w 1905657"/>
                <a:gd name="connsiteY125" fmla="*/ 705358 h 1221162"/>
                <a:gd name="connsiteX126" fmla="*/ 1862478 w 1905657"/>
                <a:gd name="connsiteY126" fmla="*/ 701657 h 1221162"/>
                <a:gd name="connsiteX127" fmla="*/ 1857161 w 1905657"/>
                <a:gd name="connsiteY127" fmla="*/ 695030 h 1221162"/>
                <a:gd name="connsiteX128" fmla="*/ 1855310 w 1905657"/>
                <a:gd name="connsiteY128" fmla="*/ 691229 h 1221162"/>
                <a:gd name="connsiteX129" fmla="*/ 1854435 w 1905657"/>
                <a:gd name="connsiteY129" fmla="*/ 685813 h 1221162"/>
                <a:gd name="connsiteX130" fmla="*/ 1851507 w 1905657"/>
                <a:gd name="connsiteY130" fmla="*/ 680935 h 1221162"/>
                <a:gd name="connsiteX131" fmla="*/ 1850632 w 1905657"/>
                <a:gd name="connsiteY131" fmla="*/ 675082 h 1221162"/>
                <a:gd name="connsiteX132" fmla="*/ 1850194 w 1905657"/>
                <a:gd name="connsiteY132" fmla="*/ 669868 h 1221162"/>
                <a:gd name="connsiteX133" fmla="*/ 1849757 w 1905657"/>
                <a:gd name="connsiteY133" fmla="*/ 663241 h 1221162"/>
                <a:gd name="connsiteX134" fmla="*/ 1847165 w 1905657"/>
                <a:gd name="connsiteY134" fmla="*/ 661391 h 1221162"/>
                <a:gd name="connsiteX135" fmla="*/ 1843901 w 1905657"/>
                <a:gd name="connsiteY135" fmla="*/ 657791 h 1221162"/>
                <a:gd name="connsiteX136" fmla="*/ 1839223 w 1905657"/>
                <a:gd name="connsiteY136" fmla="*/ 654091 h 1221162"/>
                <a:gd name="connsiteX137" fmla="*/ 1838011 w 1905657"/>
                <a:gd name="connsiteY137" fmla="*/ 652678 h 1221162"/>
                <a:gd name="connsiteX138" fmla="*/ 1832155 w 1905657"/>
                <a:gd name="connsiteY138" fmla="*/ 651366 h 1221162"/>
                <a:gd name="connsiteX139" fmla="*/ 1827477 w 1905657"/>
                <a:gd name="connsiteY139" fmla="*/ 651265 h 1221162"/>
                <a:gd name="connsiteX140" fmla="*/ 1825862 w 1905657"/>
                <a:gd name="connsiteY140" fmla="*/ 648675 h 1221162"/>
                <a:gd name="connsiteX141" fmla="*/ 1825223 w 1905657"/>
                <a:gd name="connsiteY141" fmla="*/ 647800 h 1221162"/>
                <a:gd name="connsiteX142" fmla="*/ 1821857 w 1905657"/>
                <a:gd name="connsiteY142" fmla="*/ 646051 h 1221162"/>
                <a:gd name="connsiteX143" fmla="*/ 1817179 w 1905657"/>
                <a:gd name="connsiteY143" fmla="*/ 643225 h 1221162"/>
                <a:gd name="connsiteX144" fmla="*/ 1811862 w 1905657"/>
                <a:gd name="connsiteY144" fmla="*/ 639962 h 1221162"/>
                <a:gd name="connsiteX145" fmla="*/ 1808160 w 1905657"/>
                <a:gd name="connsiteY145" fmla="*/ 641005 h 1221162"/>
                <a:gd name="connsiteX146" fmla="*/ 1804592 w 1905657"/>
                <a:gd name="connsiteY146" fmla="*/ 642519 h 1221162"/>
                <a:gd name="connsiteX147" fmla="*/ 1800015 w 1905657"/>
                <a:gd name="connsiteY147" fmla="*/ 643024 h 1221162"/>
                <a:gd name="connsiteX148" fmla="*/ 1796179 w 1905657"/>
                <a:gd name="connsiteY148" fmla="*/ 642956 h 1221162"/>
                <a:gd name="connsiteX149" fmla="*/ 1792477 w 1905657"/>
                <a:gd name="connsiteY149" fmla="*/ 641072 h 1221162"/>
                <a:gd name="connsiteX150" fmla="*/ 1789650 w 1905657"/>
                <a:gd name="connsiteY150" fmla="*/ 639559 h 1221162"/>
                <a:gd name="connsiteX151" fmla="*/ 1785948 w 1905657"/>
                <a:gd name="connsiteY151" fmla="*/ 636968 h 1221162"/>
                <a:gd name="connsiteX152" fmla="*/ 1784130 w 1905657"/>
                <a:gd name="connsiteY152" fmla="*/ 635791 h 1221162"/>
                <a:gd name="connsiteX153" fmla="*/ 1778712 w 1905657"/>
                <a:gd name="connsiteY153" fmla="*/ 634782 h 1221162"/>
                <a:gd name="connsiteX154" fmla="*/ 1776188 w 1905657"/>
                <a:gd name="connsiteY154" fmla="*/ 635791 h 1221162"/>
                <a:gd name="connsiteX155" fmla="*/ 1773058 w 1905657"/>
                <a:gd name="connsiteY155" fmla="*/ 638045 h 1221162"/>
                <a:gd name="connsiteX156" fmla="*/ 1771039 w 1905657"/>
                <a:gd name="connsiteY156" fmla="*/ 640871 h 1221162"/>
                <a:gd name="connsiteX157" fmla="*/ 1769726 w 1905657"/>
                <a:gd name="connsiteY157" fmla="*/ 642754 h 1221162"/>
                <a:gd name="connsiteX158" fmla="*/ 1770096 w 1905657"/>
                <a:gd name="connsiteY158" fmla="*/ 646017 h 1221162"/>
                <a:gd name="connsiteX159" fmla="*/ 1771106 w 1905657"/>
                <a:gd name="connsiteY159" fmla="*/ 647262 h 1221162"/>
                <a:gd name="connsiteX160" fmla="*/ 1773798 w 1905657"/>
                <a:gd name="connsiteY160" fmla="*/ 650391 h 1221162"/>
                <a:gd name="connsiteX161" fmla="*/ 1774101 w 1905657"/>
                <a:gd name="connsiteY161" fmla="*/ 652712 h 1221162"/>
                <a:gd name="connsiteX162" fmla="*/ 1773664 w 1905657"/>
                <a:gd name="connsiteY162" fmla="*/ 653351 h 1221162"/>
                <a:gd name="connsiteX163" fmla="*/ 1772520 w 1905657"/>
                <a:gd name="connsiteY163" fmla="*/ 654495 h 1221162"/>
                <a:gd name="connsiteX164" fmla="*/ 1772587 w 1905657"/>
                <a:gd name="connsiteY164" fmla="*/ 655302 h 1221162"/>
                <a:gd name="connsiteX165" fmla="*/ 1774101 w 1905657"/>
                <a:gd name="connsiteY165" fmla="*/ 657690 h 1221162"/>
                <a:gd name="connsiteX166" fmla="*/ 1773294 w 1905657"/>
                <a:gd name="connsiteY166" fmla="*/ 660449 h 1221162"/>
                <a:gd name="connsiteX167" fmla="*/ 1771544 w 1905657"/>
                <a:gd name="connsiteY167" fmla="*/ 661458 h 1221162"/>
                <a:gd name="connsiteX168" fmla="*/ 1768077 w 1905657"/>
                <a:gd name="connsiteY168" fmla="*/ 664216 h 1221162"/>
                <a:gd name="connsiteX169" fmla="*/ 1764611 w 1905657"/>
                <a:gd name="connsiteY169" fmla="*/ 667110 h 1221162"/>
                <a:gd name="connsiteX170" fmla="*/ 1762591 w 1905657"/>
                <a:gd name="connsiteY170" fmla="*/ 669128 h 1221162"/>
                <a:gd name="connsiteX171" fmla="*/ 1761010 w 1905657"/>
                <a:gd name="connsiteY171" fmla="*/ 672593 h 1221162"/>
                <a:gd name="connsiteX172" fmla="*/ 1760135 w 1905657"/>
                <a:gd name="connsiteY172" fmla="*/ 674611 h 1221162"/>
                <a:gd name="connsiteX173" fmla="*/ 1760135 w 1905657"/>
                <a:gd name="connsiteY173" fmla="*/ 678513 h 1221162"/>
                <a:gd name="connsiteX174" fmla="*/ 1759327 w 1905657"/>
                <a:gd name="connsiteY174" fmla="*/ 681642 h 1221162"/>
                <a:gd name="connsiteX175" fmla="*/ 1756567 w 1905657"/>
                <a:gd name="connsiteY175" fmla="*/ 685039 h 1221162"/>
                <a:gd name="connsiteX176" fmla="*/ 1755322 w 1905657"/>
                <a:gd name="connsiteY176" fmla="*/ 684468 h 1221162"/>
                <a:gd name="connsiteX177" fmla="*/ 1753067 w 1905657"/>
                <a:gd name="connsiteY177" fmla="*/ 682281 h 1221162"/>
                <a:gd name="connsiteX178" fmla="*/ 1751822 w 1905657"/>
                <a:gd name="connsiteY178" fmla="*/ 682416 h 1221162"/>
                <a:gd name="connsiteX179" fmla="*/ 1750173 w 1905657"/>
                <a:gd name="connsiteY179" fmla="*/ 684165 h 1221162"/>
                <a:gd name="connsiteX180" fmla="*/ 1750678 w 1905657"/>
                <a:gd name="connsiteY180" fmla="*/ 688000 h 1221162"/>
                <a:gd name="connsiteX181" fmla="*/ 1750307 w 1905657"/>
                <a:gd name="connsiteY181" fmla="*/ 690085 h 1221162"/>
                <a:gd name="connsiteX182" fmla="*/ 1743846 w 1905657"/>
                <a:gd name="connsiteY182" fmla="*/ 690287 h 1221162"/>
                <a:gd name="connsiteX183" fmla="*/ 1740009 w 1905657"/>
                <a:gd name="connsiteY183" fmla="*/ 688706 h 1221162"/>
                <a:gd name="connsiteX184" fmla="*/ 1737754 w 1905657"/>
                <a:gd name="connsiteY184" fmla="*/ 686318 h 1221162"/>
                <a:gd name="connsiteX185" fmla="*/ 1733850 w 1905657"/>
                <a:gd name="connsiteY185" fmla="*/ 684434 h 1221162"/>
                <a:gd name="connsiteX186" fmla="*/ 1732706 w 1905657"/>
                <a:gd name="connsiteY186" fmla="*/ 683357 h 1221162"/>
                <a:gd name="connsiteX187" fmla="*/ 1729812 w 1905657"/>
                <a:gd name="connsiteY187" fmla="*/ 683156 h 1221162"/>
                <a:gd name="connsiteX188" fmla="*/ 1728567 w 1905657"/>
                <a:gd name="connsiteY188" fmla="*/ 684232 h 1221162"/>
                <a:gd name="connsiteX189" fmla="*/ 1726682 w 1905657"/>
                <a:gd name="connsiteY189" fmla="*/ 686486 h 1221162"/>
                <a:gd name="connsiteX190" fmla="*/ 1725605 w 1905657"/>
                <a:gd name="connsiteY190" fmla="*/ 688740 h 1221162"/>
                <a:gd name="connsiteX191" fmla="*/ 1721701 w 1905657"/>
                <a:gd name="connsiteY191" fmla="*/ 689480 h 1221162"/>
                <a:gd name="connsiteX192" fmla="*/ 1717797 w 1905657"/>
                <a:gd name="connsiteY192" fmla="*/ 688033 h 1221162"/>
                <a:gd name="connsiteX193" fmla="*/ 1713389 w 1905657"/>
                <a:gd name="connsiteY193" fmla="*/ 686351 h 1221162"/>
                <a:gd name="connsiteX194" fmla="*/ 1709047 w 1905657"/>
                <a:gd name="connsiteY194" fmla="*/ 684905 h 1221162"/>
                <a:gd name="connsiteX195" fmla="*/ 1707970 w 1905657"/>
                <a:gd name="connsiteY195" fmla="*/ 687495 h 1221162"/>
                <a:gd name="connsiteX196" fmla="*/ 1704504 w 1905657"/>
                <a:gd name="connsiteY196" fmla="*/ 691700 h 1221162"/>
                <a:gd name="connsiteX197" fmla="*/ 1704806 w 1905657"/>
                <a:gd name="connsiteY197" fmla="*/ 694391 h 1221162"/>
                <a:gd name="connsiteX198" fmla="*/ 1707331 w 1905657"/>
                <a:gd name="connsiteY198" fmla="*/ 697722 h 1221162"/>
                <a:gd name="connsiteX199" fmla="*/ 1708071 w 1905657"/>
                <a:gd name="connsiteY199" fmla="*/ 701186 h 1221162"/>
                <a:gd name="connsiteX200" fmla="*/ 1707432 w 1905657"/>
                <a:gd name="connsiteY200" fmla="*/ 702868 h 1221162"/>
                <a:gd name="connsiteX201" fmla="*/ 1703965 w 1905657"/>
                <a:gd name="connsiteY201" fmla="*/ 706131 h 1221162"/>
                <a:gd name="connsiteX202" fmla="*/ 1703393 w 1905657"/>
                <a:gd name="connsiteY202" fmla="*/ 708587 h 1221162"/>
                <a:gd name="connsiteX203" fmla="*/ 1703595 w 1905657"/>
                <a:gd name="connsiteY203" fmla="*/ 711480 h 1221162"/>
                <a:gd name="connsiteX204" fmla="*/ 1706725 w 1905657"/>
                <a:gd name="connsiteY204" fmla="*/ 714239 h 1221162"/>
                <a:gd name="connsiteX205" fmla="*/ 1710023 w 1905657"/>
                <a:gd name="connsiteY205" fmla="*/ 717165 h 1221162"/>
                <a:gd name="connsiteX206" fmla="*/ 1711941 w 1905657"/>
                <a:gd name="connsiteY206" fmla="*/ 721505 h 1221162"/>
                <a:gd name="connsiteX207" fmla="*/ 1710158 w 1905657"/>
                <a:gd name="connsiteY207" fmla="*/ 724095 h 1221162"/>
                <a:gd name="connsiteX208" fmla="*/ 1707263 w 1905657"/>
                <a:gd name="connsiteY208" fmla="*/ 726315 h 1221162"/>
                <a:gd name="connsiteX209" fmla="*/ 1702518 w 1905657"/>
                <a:gd name="connsiteY209" fmla="*/ 724566 h 1221162"/>
                <a:gd name="connsiteX210" fmla="*/ 1700229 w 1905657"/>
                <a:gd name="connsiteY210" fmla="*/ 723489 h 1221162"/>
                <a:gd name="connsiteX211" fmla="*/ 1697907 w 1905657"/>
                <a:gd name="connsiteY211" fmla="*/ 721538 h 1221162"/>
                <a:gd name="connsiteX212" fmla="*/ 1695451 w 1905657"/>
                <a:gd name="connsiteY212" fmla="*/ 719957 h 1221162"/>
                <a:gd name="connsiteX213" fmla="*/ 1692523 w 1905657"/>
                <a:gd name="connsiteY213" fmla="*/ 717334 h 1221162"/>
                <a:gd name="connsiteX214" fmla="*/ 1689797 w 1905657"/>
                <a:gd name="connsiteY214" fmla="*/ 716963 h 1221162"/>
                <a:gd name="connsiteX215" fmla="*/ 1688047 w 1905657"/>
                <a:gd name="connsiteY215" fmla="*/ 715719 h 1221162"/>
                <a:gd name="connsiteX216" fmla="*/ 1683032 w 1905657"/>
                <a:gd name="connsiteY216" fmla="*/ 715012 h 1221162"/>
                <a:gd name="connsiteX217" fmla="*/ 1679767 w 1905657"/>
                <a:gd name="connsiteY217" fmla="*/ 712288 h 1221162"/>
                <a:gd name="connsiteX218" fmla="*/ 1677210 w 1905657"/>
                <a:gd name="connsiteY218" fmla="*/ 707511 h 1221162"/>
                <a:gd name="connsiteX219" fmla="*/ 1675258 w 1905657"/>
                <a:gd name="connsiteY219" fmla="*/ 704348 h 1221162"/>
                <a:gd name="connsiteX220" fmla="*/ 1670378 w 1905657"/>
                <a:gd name="connsiteY220" fmla="*/ 700177 h 1221162"/>
                <a:gd name="connsiteX221" fmla="*/ 1667618 w 1905657"/>
                <a:gd name="connsiteY221" fmla="*/ 697183 h 1221162"/>
                <a:gd name="connsiteX222" fmla="*/ 1666137 w 1905657"/>
                <a:gd name="connsiteY222" fmla="*/ 695602 h 1221162"/>
                <a:gd name="connsiteX223" fmla="*/ 1662940 w 1905657"/>
                <a:gd name="connsiteY223" fmla="*/ 693685 h 1221162"/>
                <a:gd name="connsiteX224" fmla="*/ 1661157 w 1905657"/>
                <a:gd name="connsiteY224" fmla="*/ 693416 h 1221162"/>
                <a:gd name="connsiteX225" fmla="*/ 1659373 w 1905657"/>
                <a:gd name="connsiteY225" fmla="*/ 693584 h 1221162"/>
                <a:gd name="connsiteX226" fmla="*/ 1656108 w 1905657"/>
                <a:gd name="connsiteY226" fmla="*/ 694492 h 1221162"/>
                <a:gd name="connsiteX227" fmla="*/ 1653786 w 1905657"/>
                <a:gd name="connsiteY227" fmla="*/ 696174 h 1221162"/>
                <a:gd name="connsiteX228" fmla="*/ 1651228 w 1905657"/>
                <a:gd name="connsiteY228" fmla="*/ 698832 h 1221162"/>
                <a:gd name="connsiteX229" fmla="*/ 1649344 w 1905657"/>
                <a:gd name="connsiteY229" fmla="*/ 700783 h 1221162"/>
                <a:gd name="connsiteX230" fmla="*/ 1647863 w 1905657"/>
                <a:gd name="connsiteY230" fmla="*/ 703507 h 1221162"/>
                <a:gd name="connsiteX231" fmla="*/ 1647762 w 1905657"/>
                <a:gd name="connsiteY231" fmla="*/ 704651 h 1221162"/>
                <a:gd name="connsiteX232" fmla="*/ 1648906 w 1905657"/>
                <a:gd name="connsiteY232" fmla="*/ 707914 h 1221162"/>
                <a:gd name="connsiteX233" fmla="*/ 1650252 w 1905657"/>
                <a:gd name="connsiteY233" fmla="*/ 709697 h 1221162"/>
                <a:gd name="connsiteX234" fmla="*/ 1651565 w 1905657"/>
                <a:gd name="connsiteY234" fmla="*/ 711144 h 1221162"/>
                <a:gd name="connsiteX235" fmla="*/ 1652978 w 1905657"/>
                <a:gd name="connsiteY235" fmla="*/ 713229 h 1221162"/>
                <a:gd name="connsiteX236" fmla="*/ 1654931 w 1905657"/>
                <a:gd name="connsiteY236" fmla="*/ 716425 h 1221162"/>
                <a:gd name="connsiteX237" fmla="*/ 1655974 w 1905657"/>
                <a:gd name="connsiteY237" fmla="*/ 718040 h 1221162"/>
                <a:gd name="connsiteX238" fmla="*/ 1656781 w 1905657"/>
                <a:gd name="connsiteY238" fmla="*/ 720529 h 1221162"/>
                <a:gd name="connsiteX239" fmla="*/ 1657387 w 1905657"/>
                <a:gd name="connsiteY239" fmla="*/ 722716 h 1221162"/>
                <a:gd name="connsiteX240" fmla="*/ 1657993 w 1905657"/>
                <a:gd name="connsiteY240" fmla="*/ 723960 h 1221162"/>
                <a:gd name="connsiteX241" fmla="*/ 1658767 w 1905657"/>
                <a:gd name="connsiteY241" fmla="*/ 726248 h 1221162"/>
                <a:gd name="connsiteX242" fmla="*/ 1659036 w 1905657"/>
                <a:gd name="connsiteY242" fmla="*/ 729276 h 1221162"/>
                <a:gd name="connsiteX243" fmla="*/ 1659036 w 1905657"/>
                <a:gd name="connsiteY243" fmla="*/ 731664 h 1221162"/>
                <a:gd name="connsiteX244" fmla="*/ 1658229 w 1905657"/>
                <a:gd name="connsiteY244" fmla="*/ 733178 h 1221162"/>
                <a:gd name="connsiteX245" fmla="*/ 1653281 w 1905657"/>
                <a:gd name="connsiteY245" fmla="*/ 732740 h 1221162"/>
                <a:gd name="connsiteX246" fmla="*/ 1650892 w 1905657"/>
                <a:gd name="connsiteY246" fmla="*/ 732740 h 1221162"/>
                <a:gd name="connsiteX247" fmla="*/ 1649276 w 1905657"/>
                <a:gd name="connsiteY247" fmla="*/ 732370 h 1221162"/>
                <a:gd name="connsiteX248" fmla="*/ 1647223 w 1905657"/>
                <a:gd name="connsiteY248" fmla="*/ 729545 h 1221162"/>
                <a:gd name="connsiteX249" fmla="*/ 1645978 w 1905657"/>
                <a:gd name="connsiteY249" fmla="*/ 727964 h 1221162"/>
                <a:gd name="connsiteX250" fmla="*/ 1645474 w 1905657"/>
                <a:gd name="connsiteY250" fmla="*/ 726652 h 1221162"/>
                <a:gd name="connsiteX251" fmla="*/ 1645474 w 1905657"/>
                <a:gd name="connsiteY251" fmla="*/ 725407 h 1221162"/>
                <a:gd name="connsiteX252" fmla="*/ 1645978 w 1905657"/>
                <a:gd name="connsiteY252" fmla="*/ 721505 h 1221162"/>
                <a:gd name="connsiteX253" fmla="*/ 1645036 w 1905657"/>
                <a:gd name="connsiteY253" fmla="*/ 719991 h 1221162"/>
                <a:gd name="connsiteX254" fmla="*/ 1641771 w 1905657"/>
                <a:gd name="connsiteY254" fmla="*/ 718376 h 1221162"/>
                <a:gd name="connsiteX255" fmla="*/ 1635747 w 1905657"/>
                <a:gd name="connsiteY255" fmla="*/ 715349 h 1221162"/>
                <a:gd name="connsiteX256" fmla="*/ 1633492 w 1905657"/>
                <a:gd name="connsiteY256" fmla="*/ 712893 h 1221162"/>
                <a:gd name="connsiteX257" fmla="*/ 1631103 w 1905657"/>
                <a:gd name="connsiteY257" fmla="*/ 711076 h 1221162"/>
                <a:gd name="connsiteX258" fmla="*/ 1627334 w 1905657"/>
                <a:gd name="connsiteY258" fmla="*/ 709193 h 1221162"/>
                <a:gd name="connsiteX259" fmla="*/ 1626189 w 1905657"/>
                <a:gd name="connsiteY259" fmla="*/ 709125 h 1221162"/>
                <a:gd name="connsiteX260" fmla="*/ 1624507 w 1905657"/>
                <a:gd name="connsiteY260" fmla="*/ 711076 h 1221162"/>
                <a:gd name="connsiteX261" fmla="*/ 1622689 w 1905657"/>
                <a:gd name="connsiteY261" fmla="*/ 710942 h 1221162"/>
                <a:gd name="connsiteX262" fmla="*/ 1621545 w 1905657"/>
                <a:gd name="connsiteY262" fmla="*/ 709933 h 1221162"/>
                <a:gd name="connsiteX263" fmla="*/ 1620300 w 1905657"/>
                <a:gd name="connsiteY263" fmla="*/ 709865 h 1221162"/>
                <a:gd name="connsiteX264" fmla="*/ 1618516 w 1905657"/>
                <a:gd name="connsiteY264" fmla="*/ 710168 h 1221162"/>
                <a:gd name="connsiteX265" fmla="*/ 1616699 w 1905657"/>
                <a:gd name="connsiteY265" fmla="*/ 710168 h 1221162"/>
                <a:gd name="connsiteX266" fmla="*/ 1615824 w 1905657"/>
                <a:gd name="connsiteY266" fmla="*/ 711110 h 1221162"/>
                <a:gd name="connsiteX267" fmla="*/ 1615016 w 1905657"/>
                <a:gd name="connsiteY267" fmla="*/ 712624 h 1221162"/>
                <a:gd name="connsiteX268" fmla="*/ 1613569 w 1905657"/>
                <a:gd name="connsiteY268" fmla="*/ 713768 h 1221162"/>
                <a:gd name="connsiteX269" fmla="*/ 1611684 w 1905657"/>
                <a:gd name="connsiteY269" fmla="*/ 713768 h 1221162"/>
                <a:gd name="connsiteX270" fmla="*/ 1610742 w 1905657"/>
                <a:gd name="connsiteY270" fmla="*/ 713061 h 1221162"/>
                <a:gd name="connsiteX271" fmla="*/ 1610103 w 1905657"/>
                <a:gd name="connsiteY271" fmla="*/ 711917 h 1221162"/>
                <a:gd name="connsiteX272" fmla="*/ 1610103 w 1905657"/>
                <a:gd name="connsiteY272" fmla="*/ 710471 h 1221162"/>
                <a:gd name="connsiteX273" fmla="*/ 1609295 w 1905657"/>
                <a:gd name="connsiteY273" fmla="*/ 707881 h 1221162"/>
                <a:gd name="connsiteX274" fmla="*/ 1608285 w 1905657"/>
                <a:gd name="connsiteY274" fmla="*/ 706300 h 1221162"/>
                <a:gd name="connsiteX275" fmla="*/ 1606098 w 1905657"/>
                <a:gd name="connsiteY275" fmla="*/ 704853 h 1221162"/>
                <a:gd name="connsiteX276" fmla="*/ 1604583 w 1905657"/>
                <a:gd name="connsiteY276" fmla="*/ 704281 h 1221162"/>
                <a:gd name="connsiteX277" fmla="*/ 1603708 w 1905657"/>
                <a:gd name="connsiteY277" fmla="*/ 702398 h 1221162"/>
                <a:gd name="connsiteX278" fmla="*/ 1603708 w 1905657"/>
                <a:gd name="connsiteY278" fmla="*/ 702465 h 1221162"/>
                <a:gd name="connsiteX279" fmla="*/ 1601958 w 1905657"/>
                <a:gd name="connsiteY279" fmla="*/ 700648 h 1221162"/>
                <a:gd name="connsiteX280" fmla="*/ 1601958 w 1905657"/>
                <a:gd name="connsiteY280" fmla="*/ 699908 h 1221162"/>
                <a:gd name="connsiteX281" fmla="*/ 1601622 w 1905657"/>
                <a:gd name="connsiteY281" fmla="*/ 698663 h 1221162"/>
                <a:gd name="connsiteX282" fmla="*/ 1599703 w 1905657"/>
                <a:gd name="connsiteY282" fmla="*/ 698428 h 1221162"/>
                <a:gd name="connsiteX283" fmla="*/ 1598761 w 1905657"/>
                <a:gd name="connsiteY283" fmla="*/ 698361 h 1221162"/>
                <a:gd name="connsiteX284" fmla="*/ 1597953 w 1905657"/>
                <a:gd name="connsiteY284" fmla="*/ 698798 h 1221162"/>
                <a:gd name="connsiteX285" fmla="*/ 1597011 w 1905657"/>
                <a:gd name="connsiteY285" fmla="*/ 699605 h 1221162"/>
                <a:gd name="connsiteX286" fmla="*/ 1596371 w 1905657"/>
                <a:gd name="connsiteY286" fmla="*/ 700177 h 1221162"/>
                <a:gd name="connsiteX287" fmla="*/ 1593915 w 1905657"/>
                <a:gd name="connsiteY287" fmla="*/ 701489 h 1221162"/>
                <a:gd name="connsiteX288" fmla="*/ 1592400 w 1905657"/>
                <a:gd name="connsiteY288" fmla="*/ 701489 h 1221162"/>
                <a:gd name="connsiteX289" fmla="*/ 1590448 w 1905657"/>
                <a:gd name="connsiteY289" fmla="*/ 701489 h 1221162"/>
                <a:gd name="connsiteX290" fmla="*/ 1588126 w 1905657"/>
                <a:gd name="connsiteY290" fmla="*/ 700985 h 1221162"/>
                <a:gd name="connsiteX291" fmla="*/ 1585366 w 1905657"/>
                <a:gd name="connsiteY291" fmla="*/ 699034 h 1221162"/>
                <a:gd name="connsiteX292" fmla="*/ 1584222 w 1905657"/>
                <a:gd name="connsiteY292" fmla="*/ 698226 h 1221162"/>
                <a:gd name="connsiteX293" fmla="*/ 1582472 w 1905657"/>
                <a:gd name="connsiteY293" fmla="*/ 695838 h 1221162"/>
                <a:gd name="connsiteX294" fmla="*/ 1581900 w 1905657"/>
                <a:gd name="connsiteY294" fmla="*/ 692810 h 1221162"/>
                <a:gd name="connsiteX295" fmla="*/ 1581597 w 1905657"/>
                <a:gd name="connsiteY295" fmla="*/ 691296 h 1221162"/>
                <a:gd name="connsiteX296" fmla="*/ 1580217 w 1905657"/>
                <a:gd name="connsiteY296" fmla="*/ 687966 h 1221162"/>
                <a:gd name="connsiteX297" fmla="*/ 1579342 w 1905657"/>
                <a:gd name="connsiteY297" fmla="*/ 685948 h 1221162"/>
                <a:gd name="connsiteX298" fmla="*/ 1578972 w 1905657"/>
                <a:gd name="connsiteY298" fmla="*/ 683492 h 1221162"/>
                <a:gd name="connsiteX299" fmla="*/ 1578333 w 1905657"/>
                <a:gd name="connsiteY299" fmla="*/ 682483 h 1221162"/>
                <a:gd name="connsiteX300" fmla="*/ 1576583 w 1905657"/>
                <a:gd name="connsiteY300" fmla="*/ 679354 h 1221162"/>
                <a:gd name="connsiteX301" fmla="*/ 1575842 w 1905657"/>
                <a:gd name="connsiteY301" fmla="*/ 678042 h 1221162"/>
                <a:gd name="connsiteX302" fmla="*/ 1575842 w 1905657"/>
                <a:gd name="connsiteY302" fmla="*/ 675957 h 1221162"/>
                <a:gd name="connsiteX303" fmla="*/ 1576684 w 1905657"/>
                <a:gd name="connsiteY303" fmla="*/ 674006 h 1221162"/>
                <a:gd name="connsiteX304" fmla="*/ 1577357 w 1905657"/>
                <a:gd name="connsiteY304" fmla="*/ 672189 h 1221162"/>
                <a:gd name="connsiteX305" fmla="*/ 1579241 w 1905657"/>
                <a:gd name="connsiteY305" fmla="*/ 671617 h 1221162"/>
                <a:gd name="connsiteX306" fmla="*/ 1581563 w 1905657"/>
                <a:gd name="connsiteY306" fmla="*/ 670608 h 1221162"/>
                <a:gd name="connsiteX307" fmla="*/ 1581866 w 1905657"/>
                <a:gd name="connsiteY307" fmla="*/ 667480 h 1221162"/>
                <a:gd name="connsiteX308" fmla="*/ 1582438 w 1905657"/>
                <a:gd name="connsiteY308" fmla="*/ 666168 h 1221162"/>
                <a:gd name="connsiteX309" fmla="*/ 1582001 w 1905657"/>
                <a:gd name="connsiteY309" fmla="*/ 661828 h 1221162"/>
                <a:gd name="connsiteX310" fmla="*/ 1582001 w 1905657"/>
                <a:gd name="connsiteY310" fmla="*/ 657421 h 1221162"/>
                <a:gd name="connsiteX311" fmla="*/ 1580756 w 1905657"/>
                <a:gd name="connsiteY311" fmla="*/ 655470 h 1221162"/>
                <a:gd name="connsiteX312" fmla="*/ 1578299 w 1905657"/>
                <a:gd name="connsiteY312" fmla="*/ 652510 h 1221162"/>
                <a:gd name="connsiteX313" fmla="*/ 1577222 w 1905657"/>
                <a:gd name="connsiteY313" fmla="*/ 650693 h 1221162"/>
                <a:gd name="connsiteX314" fmla="*/ 1575977 w 1905657"/>
                <a:gd name="connsiteY314" fmla="*/ 647868 h 1221162"/>
                <a:gd name="connsiteX315" fmla="*/ 1575337 w 1905657"/>
                <a:gd name="connsiteY315" fmla="*/ 645681 h 1221162"/>
                <a:gd name="connsiteX316" fmla="*/ 1573587 w 1905657"/>
                <a:gd name="connsiteY316" fmla="*/ 643663 h 1221162"/>
                <a:gd name="connsiteX317" fmla="*/ 1572208 w 1905657"/>
                <a:gd name="connsiteY317" fmla="*/ 642586 h 1221162"/>
                <a:gd name="connsiteX318" fmla="*/ 1570693 w 1905657"/>
                <a:gd name="connsiteY318" fmla="*/ 642586 h 1221162"/>
                <a:gd name="connsiteX319" fmla="*/ 1568371 w 1905657"/>
                <a:gd name="connsiteY319" fmla="*/ 641846 h 1221162"/>
                <a:gd name="connsiteX320" fmla="*/ 1566621 w 1905657"/>
                <a:gd name="connsiteY320" fmla="*/ 641039 h 1221162"/>
                <a:gd name="connsiteX321" fmla="*/ 1565174 w 1905657"/>
                <a:gd name="connsiteY321" fmla="*/ 640467 h 1221162"/>
                <a:gd name="connsiteX322" fmla="*/ 1562784 w 1905657"/>
                <a:gd name="connsiteY322" fmla="*/ 639828 h 1221162"/>
                <a:gd name="connsiteX323" fmla="*/ 1560260 w 1905657"/>
                <a:gd name="connsiteY323" fmla="*/ 639323 h 1221162"/>
                <a:gd name="connsiteX324" fmla="*/ 1558746 w 1905657"/>
                <a:gd name="connsiteY324" fmla="*/ 639390 h 1221162"/>
                <a:gd name="connsiteX325" fmla="*/ 1556659 w 1905657"/>
                <a:gd name="connsiteY325" fmla="*/ 639828 h 1221162"/>
                <a:gd name="connsiteX326" fmla="*/ 1555650 w 1905657"/>
                <a:gd name="connsiteY326" fmla="*/ 639828 h 1221162"/>
                <a:gd name="connsiteX327" fmla="*/ 1554943 w 1905657"/>
                <a:gd name="connsiteY327" fmla="*/ 638516 h 1221162"/>
                <a:gd name="connsiteX328" fmla="*/ 1553697 w 1905657"/>
                <a:gd name="connsiteY328" fmla="*/ 636565 h 1221162"/>
                <a:gd name="connsiteX329" fmla="*/ 1552890 w 1905657"/>
                <a:gd name="connsiteY329" fmla="*/ 634614 h 1221162"/>
                <a:gd name="connsiteX330" fmla="*/ 1549861 w 1905657"/>
                <a:gd name="connsiteY330" fmla="*/ 629130 h 1221162"/>
                <a:gd name="connsiteX331" fmla="*/ 1548986 w 1905657"/>
                <a:gd name="connsiteY331" fmla="*/ 628323 h 1221162"/>
                <a:gd name="connsiteX332" fmla="*/ 1546731 w 1905657"/>
                <a:gd name="connsiteY332" fmla="*/ 629030 h 1221162"/>
                <a:gd name="connsiteX333" fmla="*/ 1543971 w 1905657"/>
                <a:gd name="connsiteY333" fmla="*/ 629030 h 1221162"/>
                <a:gd name="connsiteX334" fmla="*/ 1542019 w 1905657"/>
                <a:gd name="connsiteY334" fmla="*/ 628592 h 1221162"/>
                <a:gd name="connsiteX335" fmla="*/ 1541077 w 1905657"/>
                <a:gd name="connsiteY335" fmla="*/ 624017 h 1221162"/>
                <a:gd name="connsiteX336" fmla="*/ 1540572 w 1905657"/>
                <a:gd name="connsiteY336" fmla="*/ 620687 h 1221162"/>
                <a:gd name="connsiteX337" fmla="*/ 1538687 w 1905657"/>
                <a:gd name="connsiteY337" fmla="*/ 617054 h 1221162"/>
                <a:gd name="connsiteX338" fmla="*/ 1537610 w 1905657"/>
                <a:gd name="connsiteY338" fmla="*/ 614094 h 1221162"/>
                <a:gd name="connsiteX339" fmla="*/ 1534481 w 1905657"/>
                <a:gd name="connsiteY339" fmla="*/ 608812 h 1221162"/>
                <a:gd name="connsiteX340" fmla="*/ 1533471 w 1905657"/>
                <a:gd name="connsiteY340" fmla="*/ 605784 h 1221162"/>
                <a:gd name="connsiteX341" fmla="*/ 1531149 w 1905657"/>
                <a:gd name="connsiteY341" fmla="*/ 603396 h 1221162"/>
                <a:gd name="connsiteX342" fmla="*/ 1528322 w 1905657"/>
                <a:gd name="connsiteY342" fmla="*/ 601445 h 1221162"/>
                <a:gd name="connsiteX343" fmla="*/ 1526875 w 1905657"/>
                <a:gd name="connsiteY343" fmla="*/ 600436 h 1221162"/>
                <a:gd name="connsiteX344" fmla="*/ 1523543 w 1905657"/>
                <a:gd name="connsiteY344" fmla="*/ 597610 h 1221162"/>
                <a:gd name="connsiteX345" fmla="*/ 1521726 w 1905657"/>
                <a:gd name="connsiteY345" fmla="*/ 596096 h 1221162"/>
                <a:gd name="connsiteX346" fmla="*/ 1520716 w 1905657"/>
                <a:gd name="connsiteY346" fmla="*/ 594650 h 1221162"/>
                <a:gd name="connsiteX347" fmla="*/ 1519134 w 1905657"/>
                <a:gd name="connsiteY347" fmla="*/ 592329 h 1221162"/>
                <a:gd name="connsiteX348" fmla="*/ 1517182 w 1905657"/>
                <a:gd name="connsiteY348" fmla="*/ 591319 h 1221162"/>
                <a:gd name="connsiteX349" fmla="*/ 1514793 w 1905657"/>
                <a:gd name="connsiteY349" fmla="*/ 589570 h 1221162"/>
                <a:gd name="connsiteX350" fmla="*/ 1513413 w 1905657"/>
                <a:gd name="connsiteY350" fmla="*/ 589066 h 1221162"/>
                <a:gd name="connsiteX351" fmla="*/ 1511831 w 1905657"/>
                <a:gd name="connsiteY351" fmla="*/ 588998 h 1221162"/>
                <a:gd name="connsiteX352" fmla="*/ 1510249 w 1905657"/>
                <a:gd name="connsiteY352" fmla="*/ 589637 h 1221162"/>
                <a:gd name="connsiteX353" fmla="*/ 1508062 w 1905657"/>
                <a:gd name="connsiteY353" fmla="*/ 590075 h 1221162"/>
                <a:gd name="connsiteX354" fmla="*/ 1505302 w 1905657"/>
                <a:gd name="connsiteY354" fmla="*/ 591454 h 1221162"/>
                <a:gd name="connsiteX355" fmla="*/ 1503922 w 1905657"/>
                <a:gd name="connsiteY355" fmla="*/ 591824 h 1221162"/>
                <a:gd name="connsiteX356" fmla="*/ 1502542 w 1905657"/>
                <a:gd name="connsiteY356" fmla="*/ 593069 h 1221162"/>
                <a:gd name="connsiteX357" fmla="*/ 1501230 w 1905657"/>
                <a:gd name="connsiteY357" fmla="*/ 595154 h 1221162"/>
                <a:gd name="connsiteX358" fmla="*/ 1498706 w 1905657"/>
                <a:gd name="connsiteY358" fmla="*/ 595592 h 1221162"/>
                <a:gd name="connsiteX359" fmla="*/ 1496956 w 1905657"/>
                <a:gd name="connsiteY359" fmla="*/ 595289 h 1221162"/>
                <a:gd name="connsiteX360" fmla="*/ 1494129 w 1905657"/>
                <a:gd name="connsiteY360" fmla="*/ 594717 h 1221162"/>
                <a:gd name="connsiteX361" fmla="*/ 1491537 w 1905657"/>
                <a:gd name="connsiteY361" fmla="*/ 595524 h 1221162"/>
                <a:gd name="connsiteX362" fmla="*/ 1490090 w 1905657"/>
                <a:gd name="connsiteY362" fmla="*/ 595524 h 1221162"/>
                <a:gd name="connsiteX363" fmla="*/ 1489350 w 1905657"/>
                <a:gd name="connsiteY363" fmla="*/ 596365 h 1221162"/>
                <a:gd name="connsiteX364" fmla="*/ 1486523 w 1905657"/>
                <a:gd name="connsiteY364" fmla="*/ 597476 h 1221162"/>
                <a:gd name="connsiteX365" fmla="*/ 1483057 w 1905657"/>
                <a:gd name="connsiteY365" fmla="*/ 597476 h 1221162"/>
                <a:gd name="connsiteX366" fmla="*/ 1478984 w 1905657"/>
                <a:gd name="connsiteY366" fmla="*/ 597476 h 1221162"/>
                <a:gd name="connsiteX367" fmla="*/ 1473398 w 1905657"/>
                <a:gd name="connsiteY367" fmla="*/ 598720 h 1221162"/>
                <a:gd name="connsiteX368" fmla="*/ 1471311 w 1905657"/>
                <a:gd name="connsiteY368" fmla="*/ 600167 h 1221162"/>
                <a:gd name="connsiteX369" fmla="*/ 1469426 w 1905657"/>
                <a:gd name="connsiteY369" fmla="*/ 602488 h 1221162"/>
                <a:gd name="connsiteX370" fmla="*/ 1466532 w 1905657"/>
                <a:gd name="connsiteY370" fmla="*/ 603867 h 1221162"/>
                <a:gd name="connsiteX371" fmla="*/ 1463907 w 1905657"/>
                <a:gd name="connsiteY371" fmla="*/ 604372 h 1221162"/>
                <a:gd name="connsiteX372" fmla="*/ 1461652 w 1905657"/>
                <a:gd name="connsiteY372" fmla="*/ 604372 h 1221162"/>
                <a:gd name="connsiteX373" fmla="*/ 1458960 w 1905657"/>
                <a:gd name="connsiteY373" fmla="*/ 601983 h 1221162"/>
                <a:gd name="connsiteX374" fmla="*/ 1456436 w 1905657"/>
                <a:gd name="connsiteY374" fmla="*/ 599527 h 1221162"/>
                <a:gd name="connsiteX375" fmla="*/ 1452296 w 1905657"/>
                <a:gd name="connsiteY375" fmla="*/ 597139 h 1221162"/>
                <a:gd name="connsiteX376" fmla="*/ 1450714 w 1905657"/>
                <a:gd name="connsiteY376" fmla="*/ 595390 h 1221162"/>
                <a:gd name="connsiteX377" fmla="*/ 1448628 w 1905657"/>
                <a:gd name="connsiteY377" fmla="*/ 595524 h 1221162"/>
                <a:gd name="connsiteX378" fmla="*/ 1447383 w 1905657"/>
                <a:gd name="connsiteY378" fmla="*/ 596164 h 1221162"/>
                <a:gd name="connsiteX379" fmla="*/ 1446743 w 1905657"/>
                <a:gd name="connsiteY379" fmla="*/ 597408 h 1221162"/>
                <a:gd name="connsiteX380" fmla="*/ 1445734 w 1905657"/>
                <a:gd name="connsiteY380" fmla="*/ 600301 h 1221162"/>
                <a:gd name="connsiteX381" fmla="*/ 1443782 w 1905657"/>
                <a:gd name="connsiteY381" fmla="*/ 601243 h 1221162"/>
                <a:gd name="connsiteX382" fmla="*/ 1442536 w 1905657"/>
                <a:gd name="connsiteY382" fmla="*/ 600503 h 1221162"/>
                <a:gd name="connsiteX383" fmla="*/ 1442402 w 1905657"/>
                <a:gd name="connsiteY383" fmla="*/ 598317 h 1221162"/>
                <a:gd name="connsiteX384" fmla="*/ 1442469 w 1905657"/>
                <a:gd name="connsiteY384" fmla="*/ 594683 h 1221162"/>
                <a:gd name="connsiteX385" fmla="*/ 1442402 w 1905657"/>
                <a:gd name="connsiteY385" fmla="*/ 591723 h 1221162"/>
                <a:gd name="connsiteX386" fmla="*/ 1441964 w 1905657"/>
                <a:gd name="connsiteY386" fmla="*/ 588595 h 1221162"/>
                <a:gd name="connsiteX387" fmla="*/ 1440719 w 1905657"/>
                <a:gd name="connsiteY387" fmla="*/ 587518 h 1221162"/>
                <a:gd name="connsiteX388" fmla="*/ 1438195 w 1905657"/>
                <a:gd name="connsiteY388" fmla="*/ 586139 h 1221162"/>
                <a:gd name="connsiteX389" fmla="*/ 1435738 w 1905657"/>
                <a:gd name="connsiteY389" fmla="*/ 585130 h 1221162"/>
                <a:gd name="connsiteX390" fmla="*/ 1433281 w 1905657"/>
                <a:gd name="connsiteY390" fmla="*/ 584692 h 1221162"/>
                <a:gd name="connsiteX391" fmla="*/ 1431397 w 1905657"/>
                <a:gd name="connsiteY391" fmla="*/ 584020 h 1221162"/>
                <a:gd name="connsiteX392" fmla="*/ 1429512 w 1905657"/>
                <a:gd name="connsiteY392" fmla="*/ 584322 h 1221162"/>
                <a:gd name="connsiteX393" fmla="*/ 1426820 w 1905657"/>
                <a:gd name="connsiteY393" fmla="*/ 584524 h 1221162"/>
                <a:gd name="connsiteX394" fmla="*/ 1424632 w 1905657"/>
                <a:gd name="connsiteY394" fmla="*/ 584726 h 1221162"/>
                <a:gd name="connsiteX395" fmla="*/ 1422815 w 1905657"/>
                <a:gd name="connsiteY395" fmla="*/ 585903 h 1221162"/>
                <a:gd name="connsiteX396" fmla="*/ 1421065 w 1905657"/>
                <a:gd name="connsiteY396" fmla="*/ 586610 h 1221162"/>
                <a:gd name="connsiteX397" fmla="*/ 1419483 w 1905657"/>
                <a:gd name="connsiteY397" fmla="*/ 587922 h 1221162"/>
                <a:gd name="connsiteX398" fmla="*/ 1418608 w 1905657"/>
                <a:gd name="connsiteY398" fmla="*/ 589671 h 1221162"/>
                <a:gd name="connsiteX399" fmla="*/ 1417666 w 1905657"/>
                <a:gd name="connsiteY399" fmla="*/ 591252 h 1221162"/>
                <a:gd name="connsiteX400" fmla="*/ 1416353 w 1905657"/>
                <a:gd name="connsiteY400" fmla="*/ 593203 h 1221162"/>
                <a:gd name="connsiteX401" fmla="*/ 1414334 w 1905657"/>
                <a:gd name="connsiteY401" fmla="*/ 595222 h 1221162"/>
                <a:gd name="connsiteX402" fmla="*/ 1412449 w 1905657"/>
                <a:gd name="connsiteY402" fmla="*/ 594078 h 1221162"/>
                <a:gd name="connsiteX403" fmla="*/ 1410565 w 1905657"/>
                <a:gd name="connsiteY403" fmla="*/ 593271 h 1221162"/>
                <a:gd name="connsiteX404" fmla="*/ 1407872 w 1905657"/>
                <a:gd name="connsiteY404" fmla="*/ 592833 h 1221162"/>
                <a:gd name="connsiteX405" fmla="*/ 1406560 w 1905657"/>
                <a:gd name="connsiteY405" fmla="*/ 592261 h 1221162"/>
                <a:gd name="connsiteX406" fmla="*/ 1405483 w 1905657"/>
                <a:gd name="connsiteY406" fmla="*/ 590310 h 1221162"/>
                <a:gd name="connsiteX407" fmla="*/ 1405348 w 1905657"/>
                <a:gd name="connsiteY407" fmla="*/ 588124 h 1221162"/>
                <a:gd name="connsiteX408" fmla="*/ 1405281 w 1905657"/>
                <a:gd name="connsiteY408" fmla="*/ 586879 h 1221162"/>
                <a:gd name="connsiteX409" fmla="*/ 1405146 w 1905657"/>
                <a:gd name="connsiteY409" fmla="*/ 584928 h 1221162"/>
                <a:gd name="connsiteX410" fmla="*/ 1403463 w 1905657"/>
                <a:gd name="connsiteY410" fmla="*/ 583683 h 1221162"/>
                <a:gd name="connsiteX411" fmla="*/ 1400064 w 1905657"/>
                <a:gd name="connsiteY411" fmla="*/ 585062 h 1221162"/>
                <a:gd name="connsiteX412" fmla="*/ 1398920 w 1905657"/>
                <a:gd name="connsiteY412" fmla="*/ 585937 h 1221162"/>
                <a:gd name="connsiteX413" fmla="*/ 1396732 w 1905657"/>
                <a:gd name="connsiteY413" fmla="*/ 585937 h 1221162"/>
                <a:gd name="connsiteX414" fmla="*/ 1396430 w 1905657"/>
                <a:gd name="connsiteY414" fmla="*/ 584793 h 1221162"/>
                <a:gd name="connsiteX415" fmla="*/ 1395050 w 1905657"/>
                <a:gd name="connsiteY415" fmla="*/ 581160 h 1221162"/>
                <a:gd name="connsiteX416" fmla="*/ 1393670 w 1905657"/>
                <a:gd name="connsiteY416" fmla="*/ 580656 h 1221162"/>
                <a:gd name="connsiteX417" fmla="*/ 1390203 w 1905657"/>
                <a:gd name="connsiteY417" fmla="*/ 580656 h 1221162"/>
                <a:gd name="connsiteX418" fmla="*/ 1388756 w 1905657"/>
                <a:gd name="connsiteY418" fmla="*/ 579142 h 1221162"/>
                <a:gd name="connsiteX419" fmla="*/ 1388622 w 1905657"/>
                <a:gd name="connsiteY419" fmla="*/ 577191 h 1221162"/>
                <a:gd name="connsiteX420" fmla="*/ 1387881 w 1905657"/>
                <a:gd name="connsiteY420" fmla="*/ 574500 h 1221162"/>
                <a:gd name="connsiteX421" fmla="*/ 1386636 w 1905657"/>
                <a:gd name="connsiteY421" fmla="*/ 569790 h 1221162"/>
                <a:gd name="connsiteX422" fmla="*/ 1385054 w 1905657"/>
                <a:gd name="connsiteY422" fmla="*/ 567906 h 1221162"/>
                <a:gd name="connsiteX423" fmla="*/ 1380410 w 1905657"/>
                <a:gd name="connsiteY423" fmla="*/ 566964 h 1221162"/>
                <a:gd name="connsiteX424" fmla="*/ 1377078 w 1905657"/>
                <a:gd name="connsiteY424" fmla="*/ 567973 h 1221162"/>
                <a:gd name="connsiteX425" fmla="*/ 1374386 w 1905657"/>
                <a:gd name="connsiteY425" fmla="*/ 568545 h 1221162"/>
                <a:gd name="connsiteX426" fmla="*/ 1369674 w 1905657"/>
                <a:gd name="connsiteY426" fmla="*/ 568915 h 1221162"/>
                <a:gd name="connsiteX427" fmla="*/ 1367419 w 1905657"/>
                <a:gd name="connsiteY427" fmla="*/ 568646 h 1221162"/>
                <a:gd name="connsiteX428" fmla="*/ 1366544 w 1905657"/>
                <a:gd name="connsiteY428" fmla="*/ 568209 h 1221162"/>
                <a:gd name="connsiteX429" fmla="*/ 1365164 w 1905657"/>
                <a:gd name="connsiteY429" fmla="*/ 565888 h 1221162"/>
                <a:gd name="connsiteX430" fmla="*/ 1364357 w 1905657"/>
                <a:gd name="connsiteY430" fmla="*/ 562558 h 1221162"/>
                <a:gd name="connsiteX431" fmla="*/ 1363482 w 1905657"/>
                <a:gd name="connsiteY431" fmla="*/ 557983 h 1221162"/>
                <a:gd name="connsiteX432" fmla="*/ 1362607 w 1905657"/>
                <a:gd name="connsiteY432" fmla="*/ 556233 h 1221162"/>
                <a:gd name="connsiteX433" fmla="*/ 1358131 w 1905657"/>
                <a:gd name="connsiteY433" fmla="*/ 551524 h 1221162"/>
                <a:gd name="connsiteX434" fmla="*/ 1355607 w 1905657"/>
                <a:gd name="connsiteY434" fmla="*/ 551827 h 1221162"/>
                <a:gd name="connsiteX435" fmla="*/ 1353857 w 1905657"/>
                <a:gd name="connsiteY435" fmla="*/ 553778 h 1221162"/>
                <a:gd name="connsiteX436" fmla="*/ 1352106 w 1905657"/>
                <a:gd name="connsiteY436" fmla="*/ 554719 h 1221162"/>
                <a:gd name="connsiteX437" fmla="*/ 1348977 w 1905657"/>
                <a:gd name="connsiteY437" fmla="*/ 555291 h 1221162"/>
                <a:gd name="connsiteX438" fmla="*/ 1346789 w 1905657"/>
                <a:gd name="connsiteY438" fmla="*/ 555594 h 1221162"/>
                <a:gd name="connsiteX439" fmla="*/ 1345106 w 1905657"/>
                <a:gd name="connsiteY439" fmla="*/ 556233 h 1221162"/>
                <a:gd name="connsiteX440" fmla="*/ 1343356 w 1905657"/>
                <a:gd name="connsiteY440" fmla="*/ 555359 h 1221162"/>
                <a:gd name="connsiteX441" fmla="*/ 1341775 w 1905657"/>
                <a:gd name="connsiteY441" fmla="*/ 553677 h 1221162"/>
                <a:gd name="connsiteX442" fmla="*/ 1340024 w 1905657"/>
                <a:gd name="connsiteY442" fmla="*/ 551221 h 1221162"/>
                <a:gd name="connsiteX443" fmla="*/ 1339082 w 1905657"/>
                <a:gd name="connsiteY443" fmla="*/ 550582 h 1221162"/>
                <a:gd name="connsiteX444" fmla="*/ 1335515 w 1905657"/>
                <a:gd name="connsiteY444" fmla="*/ 549270 h 1221162"/>
                <a:gd name="connsiteX445" fmla="*/ 1334202 w 1905657"/>
                <a:gd name="connsiteY445" fmla="*/ 549775 h 1221162"/>
                <a:gd name="connsiteX446" fmla="*/ 1333698 w 1905657"/>
                <a:gd name="connsiteY446" fmla="*/ 550582 h 1221162"/>
                <a:gd name="connsiteX447" fmla="*/ 1331173 w 1905657"/>
                <a:gd name="connsiteY447" fmla="*/ 552533 h 1221162"/>
                <a:gd name="connsiteX448" fmla="*/ 1329726 w 1905657"/>
                <a:gd name="connsiteY448" fmla="*/ 552735 h 1221162"/>
                <a:gd name="connsiteX449" fmla="*/ 1327976 w 1905657"/>
                <a:gd name="connsiteY449" fmla="*/ 551221 h 1221162"/>
                <a:gd name="connsiteX450" fmla="*/ 1324510 w 1905657"/>
                <a:gd name="connsiteY450" fmla="*/ 549135 h 1221162"/>
                <a:gd name="connsiteX451" fmla="*/ 1322053 w 1905657"/>
                <a:gd name="connsiteY451" fmla="*/ 550380 h 1221162"/>
                <a:gd name="connsiteX452" fmla="*/ 1320303 w 1905657"/>
                <a:gd name="connsiteY452" fmla="*/ 551827 h 1221162"/>
                <a:gd name="connsiteX453" fmla="*/ 1317274 w 1905657"/>
                <a:gd name="connsiteY453" fmla="*/ 553206 h 1221162"/>
                <a:gd name="connsiteX454" fmla="*/ 1316197 w 1905657"/>
                <a:gd name="connsiteY454" fmla="*/ 552264 h 1221162"/>
                <a:gd name="connsiteX455" fmla="*/ 1315558 w 1905657"/>
                <a:gd name="connsiteY455" fmla="*/ 550245 h 1221162"/>
                <a:gd name="connsiteX456" fmla="*/ 1314178 w 1905657"/>
                <a:gd name="connsiteY456" fmla="*/ 547992 h 1221162"/>
                <a:gd name="connsiteX457" fmla="*/ 1310913 w 1905657"/>
                <a:gd name="connsiteY457" fmla="*/ 544089 h 1221162"/>
                <a:gd name="connsiteX458" fmla="*/ 1309163 w 1905657"/>
                <a:gd name="connsiteY458" fmla="*/ 542845 h 1221162"/>
                <a:gd name="connsiteX459" fmla="*/ 1306841 w 1905657"/>
                <a:gd name="connsiteY459" fmla="*/ 542037 h 1221162"/>
                <a:gd name="connsiteX460" fmla="*/ 1301120 w 1905657"/>
                <a:gd name="connsiteY460" fmla="*/ 542609 h 1221162"/>
                <a:gd name="connsiteX461" fmla="*/ 1299100 w 1905657"/>
                <a:gd name="connsiteY461" fmla="*/ 543753 h 1221162"/>
                <a:gd name="connsiteX462" fmla="*/ 1298226 w 1905657"/>
                <a:gd name="connsiteY462" fmla="*/ 545570 h 1221162"/>
                <a:gd name="connsiteX463" fmla="*/ 1297923 w 1905657"/>
                <a:gd name="connsiteY463" fmla="*/ 547016 h 1221162"/>
                <a:gd name="connsiteX464" fmla="*/ 1295668 w 1905657"/>
                <a:gd name="connsiteY464" fmla="*/ 548900 h 1221162"/>
                <a:gd name="connsiteX465" fmla="*/ 1294860 w 1905657"/>
                <a:gd name="connsiteY465" fmla="*/ 548900 h 1221162"/>
                <a:gd name="connsiteX466" fmla="*/ 1294052 w 1905657"/>
                <a:gd name="connsiteY466" fmla="*/ 544560 h 1221162"/>
                <a:gd name="connsiteX467" fmla="*/ 1294692 w 1905657"/>
                <a:gd name="connsiteY467" fmla="*/ 540927 h 1221162"/>
                <a:gd name="connsiteX468" fmla="*/ 1294826 w 1905657"/>
                <a:gd name="connsiteY468" fmla="*/ 538976 h 1221162"/>
                <a:gd name="connsiteX469" fmla="*/ 1294894 w 1905657"/>
                <a:gd name="connsiteY469" fmla="*/ 536521 h 1221162"/>
                <a:gd name="connsiteX470" fmla="*/ 1294692 w 1905657"/>
                <a:gd name="connsiteY470" fmla="*/ 534569 h 1221162"/>
                <a:gd name="connsiteX471" fmla="*/ 1292504 w 1905657"/>
                <a:gd name="connsiteY471" fmla="*/ 531878 h 1221162"/>
                <a:gd name="connsiteX472" fmla="*/ 1289374 w 1905657"/>
                <a:gd name="connsiteY472" fmla="*/ 529557 h 1221162"/>
                <a:gd name="connsiteX473" fmla="*/ 1285975 w 1905657"/>
                <a:gd name="connsiteY473" fmla="*/ 527808 h 1221162"/>
                <a:gd name="connsiteX474" fmla="*/ 1280893 w 1905657"/>
                <a:gd name="connsiteY474" fmla="*/ 527740 h 1221162"/>
                <a:gd name="connsiteX475" fmla="*/ 1277629 w 1905657"/>
                <a:gd name="connsiteY475" fmla="*/ 528245 h 1221162"/>
                <a:gd name="connsiteX476" fmla="*/ 1275744 w 1905657"/>
                <a:gd name="connsiteY476" fmla="*/ 529322 h 1221162"/>
                <a:gd name="connsiteX477" fmla="*/ 1269451 w 1905657"/>
                <a:gd name="connsiteY477" fmla="*/ 530263 h 1221162"/>
                <a:gd name="connsiteX478" fmla="*/ 1267129 w 1905657"/>
                <a:gd name="connsiteY478" fmla="*/ 529456 h 1221162"/>
                <a:gd name="connsiteX479" fmla="*/ 1265749 w 1905657"/>
                <a:gd name="connsiteY479" fmla="*/ 527135 h 1221162"/>
                <a:gd name="connsiteX480" fmla="*/ 1266119 w 1905657"/>
                <a:gd name="connsiteY480" fmla="*/ 524948 h 1221162"/>
                <a:gd name="connsiteX481" fmla="*/ 1266119 w 1905657"/>
                <a:gd name="connsiteY481" fmla="*/ 523367 h 1221162"/>
                <a:gd name="connsiteX482" fmla="*/ 1264066 w 1905657"/>
                <a:gd name="connsiteY482" fmla="*/ 518456 h 1221162"/>
                <a:gd name="connsiteX483" fmla="*/ 1262720 w 1905657"/>
                <a:gd name="connsiteY483" fmla="*/ 516068 h 1221162"/>
                <a:gd name="connsiteX484" fmla="*/ 1258648 w 1905657"/>
                <a:gd name="connsiteY484" fmla="*/ 512165 h 1221162"/>
                <a:gd name="connsiteX485" fmla="*/ 1256898 w 1905657"/>
                <a:gd name="connsiteY485" fmla="*/ 511762 h 1221162"/>
                <a:gd name="connsiteX486" fmla="*/ 1254878 w 1905657"/>
                <a:gd name="connsiteY486" fmla="*/ 511762 h 1221162"/>
                <a:gd name="connsiteX487" fmla="*/ 1253196 w 1905657"/>
                <a:gd name="connsiteY487" fmla="*/ 511728 h 1221162"/>
                <a:gd name="connsiteX488" fmla="*/ 1249224 w 1905657"/>
                <a:gd name="connsiteY488" fmla="*/ 511728 h 1221162"/>
                <a:gd name="connsiteX489" fmla="*/ 1248720 w 1905657"/>
                <a:gd name="connsiteY489" fmla="*/ 511089 h 1221162"/>
                <a:gd name="connsiteX490" fmla="*/ 1246700 w 1905657"/>
                <a:gd name="connsiteY490" fmla="*/ 509070 h 1221162"/>
                <a:gd name="connsiteX491" fmla="*/ 1243570 w 1905657"/>
                <a:gd name="connsiteY491" fmla="*/ 507119 h 1221162"/>
                <a:gd name="connsiteX492" fmla="*/ 1241820 w 1905657"/>
                <a:gd name="connsiteY492" fmla="*/ 506312 h 1221162"/>
                <a:gd name="connsiteX493" fmla="*/ 1240945 w 1905657"/>
                <a:gd name="connsiteY493" fmla="*/ 503991 h 1221162"/>
                <a:gd name="connsiteX494" fmla="*/ 1240508 w 1905657"/>
                <a:gd name="connsiteY494" fmla="*/ 501468 h 1221162"/>
                <a:gd name="connsiteX495" fmla="*/ 1237614 w 1905657"/>
                <a:gd name="connsiteY495" fmla="*/ 499584 h 1221162"/>
                <a:gd name="connsiteX496" fmla="*/ 1236301 w 1905657"/>
                <a:gd name="connsiteY496" fmla="*/ 498777 h 1221162"/>
                <a:gd name="connsiteX497" fmla="*/ 1233912 w 1905657"/>
                <a:gd name="connsiteY497" fmla="*/ 495379 h 1221162"/>
                <a:gd name="connsiteX498" fmla="*/ 1232162 w 1905657"/>
                <a:gd name="connsiteY498" fmla="*/ 491847 h 1221162"/>
                <a:gd name="connsiteX499" fmla="*/ 1230210 w 1905657"/>
                <a:gd name="connsiteY499" fmla="*/ 488079 h 1221162"/>
                <a:gd name="connsiteX500" fmla="*/ 1229065 w 1905657"/>
                <a:gd name="connsiteY500" fmla="*/ 486397 h 1221162"/>
                <a:gd name="connsiteX501" fmla="*/ 1228190 w 1905657"/>
                <a:gd name="connsiteY501" fmla="*/ 484884 h 1221162"/>
                <a:gd name="connsiteX502" fmla="*/ 1227686 w 1905657"/>
                <a:gd name="connsiteY502" fmla="*/ 483303 h 1221162"/>
                <a:gd name="connsiteX503" fmla="*/ 1227315 w 1905657"/>
                <a:gd name="connsiteY503" fmla="*/ 481284 h 1221162"/>
                <a:gd name="connsiteX504" fmla="*/ 1225935 w 1905657"/>
                <a:gd name="connsiteY504" fmla="*/ 479535 h 1221162"/>
                <a:gd name="connsiteX505" fmla="*/ 1225363 w 1905657"/>
                <a:gd name="connsiteY505" fmla="*/ 479098 h 1221162"/>
                <a:gd name="connsiteX506" fmla="*/ 1223041 w 1905657"/>
                <a:gd name="connsiteY506" fmla="*/ 477584 h 1221162"/>
                <a:gd name="connsiteX507" fmla="*/ 1221358 w 1905657"/>
                <a:gd name="connsiteY507" fmla="*/ 477012 h 1221162"/>
                <a:gd name="connsiteX508" fmla="*/ 1220854 w 1905657"/>
                <a:gd name="connsiteY508" fmla="*/ 474623 h 1221162"/>
                <a:gd name="connsiteX509" fmla="*/ 1220854 w 1905657"/>
                <a:gd name="connsiteY509" fmla="*/ 473816 h 1221162"/>
                <a:gd name="connsiteX510" fmla="*/ 1221459 w 1905657"/>
                <a:gd name="connsiteY510" fmla="*/ 472874 h 1221162"/>
                <a:gd name="connsiteX511" fmla="*/ 1222503 w 1905657"/>
                <a:gd name="connsiteY511" fmla="*/ 471932 h 1221162"/>
                <a:gd name="connsiteX512" fmla="*/ 1222940 w 1905657"/>
                <a:gd name="connsiteY512" fmla="*/ 470049 h 1221162"/>
                <a:gd name="connsiteX513" fmla="*/ 1222806 w 1905657"/>
                <a:gd name="connsiteY513" fmla="*/ 468737 h 1221162"/>
                <a:gd name="connsiteX514" fmla="*/ 1218094 w 1905657"/>
                <a:gd name="connsiteY514" fmla="*/ 465844 h 1221162"/>
                <a:gd name="connsiteX515" fmla="*/ 1215906 w 1905657"/>
                <a:gd name="connsiteY515" fmla="*/ 465272 h 1221162"/>
                <a:gd name="connsiteX516" fmla="*/ 1212709 w 1905657"/>
                <a:gd name="connsiteY516" fmla="*/ 464532 h 1221162"/>
                <a:gd name="connsiteX517" fmla="*/ 1209882 w 1905657"/>
                <a:gd name="connsiteY517" fmla="*/ 464397 h 1221162"/>
                <a:gd name="connsiteX518" fmla="*/ 1207358 w 1905657"/>
                <a:gd name="connsiteY518" fmla="*/ 465036 h 1221162"/>
                <a:gd name="connsiteX519" fmla="*/ 1206348 w 1905657"/>
                <a:gd name="connsiteY519" fmla="*/ 466045 h 1221162"/>
                <a:gd name="connsiteX520" fmla="*/ 1204834 w 1905657"/>
                <a:gd name="connsiteY520" fmla="*/ 466853 h 1221162"/>
                <a:gd name="connsiteX521" fmla="*/ 1202579 w 1905657"/>
                <a:gd name="connsiteY521" fmla="*/ 467223 h 1221162"/>
                <a:gd name="connsiteX522" fmla="*/ 1201435 w 1905657"/>
                <a:gd name="connsiteY522" fmla="*/ 469107 h 1221162"/>
                <a:gd name="connsiteX523" fmla="*/ 1200627 w 1905657"/>
                <a:gd name="connsiteY523" fmla="*/ 470183 h 1221162"/>
                <a:gd name="connsiteX524" fmla="*/ 1199382 w 1905657"/>
                <a:gd name="connsiteY524" fmla="*/ 471260 h 1221162"/>
                <a:gd name="connsiteX525" fmla="*/ 1197565 w 1905657"/>
                <a:gd name="connsiteY525" fmla="*/ 472706 h 1221162"/>
                <a:gd name="connsiteX526" fmla="*/ 1196118 w 1905657"/>
                <a:gd name="connsiteY526" fmla="*/ 472504 h 1221162"/>
                <a:gd name="connsiteX527" fmla="*/ 1194603 w 1905657"/>
                <a:gd name="connsiteY527" fmla="*/ 471260 h 1221162"/>
                <a:gd name="connsiteX528" fmla="*/ 1192651 w 1905657"/>
                <a:gd name="connsiteY528" fmla="*/ 469174 h 1221162"/>
                <a:gd name="connsiteX529" fmla="*/ 1190699 w 1905657"/>
                <a:gd name="connsiteY529" fmla="*/ 468097 h 1221162"/>
                <a:gd name="connsiteX530" fmla="*/ 1185348 w 1905657"/>
                <a:gd name="connsiteY530" fmla="*/ 467660 h 1221162"/>
                <a:gd name="connsiteX531" fmla="*/ 1182656 w 1905657"/>
                <a:gd name="connsiteY531" fmla="*/ 468400 h 1221162"/>
                <a:gd name="connsiteX532" fmla="*/ 1180704 w 1905657"/>
                <a:gd name="connsiteY532" fmla="*/ 469477 h 1221162"/>
                <a:gd name="connsiteX533" fmla="*/ 1178886 w 1905657"/>
                <a:gd name="connsiteY533" fmla="*/ 471159 h 1221162"/>
                <a:gd name="connsiteX534" fmla="*/ 1177372 w 1905657"/>
                <a:gd name="connsiteY534" fmla="*/ 473547 h 1221162"/>
                <a:gd name="connsiteX535" fmla="*/ 1175353 w 1905657"/>
                <a:gd name="connsiteY535" fmla="*/ 475868 h 1221162"/>
                <a:gd name="connsiteX536" fmla="*/ 1173771 w 1905657"/>
                <a:gd name="connsiteY536" fmla="*/ 477449 h 1221162"/>
                <a:gd name="connsiteX537" fmla="*/ 1170002 w 1905657"/>
                <a:gd name="connsiteY537" fmla="*/ 478694 h 1221162"/>
                <a:gd name="connsiteX538" fmla="*/ 1167107 w 1905657"/>
                <a:gd name="connsiteY538" fmla="*/ 479501 h 1221162"/>
                <a:gd name="connsiteX539" fmla="*/ 1162631 w 1905657"/>
                <a:gd name="connsiteY539" fmla="*/ 480746 h 1221162"/>
                <a:gd name="connsiteX540" fmla="*/ 1159737 w 1905657"/>
                <a:gd name="connsiteY540" fmla="*/ 480746 h 1221162"/>
                <a:gd name="connsiteX541" fmla="*/ 1158290 w 1905657"/>
                <a:gd name="connsiteY541" fmla="*/ 478122 h 1221162"/>
                <a:gd name="connsiteX542" fmla="*/ 1158290 w 1905657"/>
                <a:gd name="connsiteY542" fmla="*/ 476541 h 1221162"/>
                <a:gd name="connsiteX543" fmla="*/ 1157549 w 1905657"/>
                <a:gd name="connsiteY543" fmla="*/ 474152 h 1221162"/>
                <a:gd name="connsiteX544" fmla="*/ 1150650 w 1905657"/>
                <a:gd name="connsiteY544" fmla="*/ 467425 h 1221162"/>
                <a:gd name="connsiteX545" fmla="*/ 1145501 w 1905657"/>
                <a:gd name="connsiteY545" fmla="*/ 462412 h 1221162"/>
                <a:gd name="connsiteX546" fmla="*/ 1143246 w 1905657"/>
                <a:gd name="connsiteY546" fmla="*/ 459587 h 1221162"/>
                <a:gd name="connsiteX547" fmla="*/ 1139275 w 1905657"/>
                <a:gd name="connsiteY547" fmla="*/ 457131 h 1221162"/>
                <a:gd name="connsiteX548" fmla="*/ 1133756 w 1905657"/>
                <a:gd name="connsiteY548" fmla="*/ 455987 h 1221162"/>
                <a:gd name="connsiteX549" fmla="*/ 1130121 w 1905657"/>
                <a:gd name="connsiteY549" fmla="*/ 453733 h 1221162"/>
                <a:gd name="connsiteX550" fmla="*/ 1129549 w 1905657"/>
                <a:gd name="connsiteY550" fmla="*/ 452421 h 1221162"/>
                <a:gd name="connsiteX551" fmla="*/ 1128606 w 1905657"/>
                <a:gd name="connsiteY551" fmla="*/ 449898 h 1221162"/>
                <a:gd name="connsiteX552" fmla="*/ 1126722 w 1905657"/>
                <a:gd name="connsiteY552" fmla="*/ 446703 h 1221162"/>
                <a:gd name="connsiteX553" fmla="*/ 1125914 w 1905657"/>
                <a:gd name="connsiteY553" fmla="*/ 444684 h 1221162"/>
                <a:gd name="connsiteX554" fmla="*/ 1124534 w 1905657"/>
                <a:gd name="connsiteY554" fmla="*/ 440479 h 1221162"/>
                <a:gd name="connsiteX555" fmla="*/ 1122515 w 1905657"/>
                <a:gd name="connsiteY555" fmla="*/ 439235 h 1221162"/>
                <a:gd name="connsiteX556" fmla="*/ 1120698 w 1905657"/>
                <a:gd name="connsiteY556" fmla="*/ 437990 h 1221162"/>
                <a:gd name="connsiteX557" fmla="*/ 1120327 w 1905657"/>
                <a:gd name="connsiteY557" fmla="*/ 436409 h 1221162"/>
                <a:gd name="connsiteX558" fmla="*/ 1120193 w 1905657"/>
                <a:gd name="connsiteY558" fmla="*/ 434155 h 1221162"/>
                <a:gd name="connsiteX559" fmla="*/ 1120058 w 1905657"/>
                <a:gd name="connsiteY559" fmla="*/ 430623 h 1221162"/>
                <a:gd name="connsiteX560" fmla="*/ 1119755 w 1905657"/>
                <a:gd name="connsiteY560" fmla="*/ 427730 h 1221162"/>
                <a:gd name="connsiteX561" fmla="*/ 1118073 w 1905657"/>
                <a:gd name="connsiteY561" fmla="*/ 423895 h 1221162"/>
                <a:gd name="connsiteX562" fmla="*/ 1117332 w 1905657"/>
                <a:gd name="connsiteY562" fmla="*/ 422953 h 1221162"/>
                <a:gd name="connsiteX563" fmla="*/ 1113361 w 1905657"/>
                <a:gd name="connsiteY563" fmla="*/ 419320 h 1221162"/>
                <a:gd name="connsiteX564" fmla="*/ 1111173 w 1905657"/>
                <a:gd name="connsiteY564" fmla="*/ 417806 h 1221162"/>
                <a:gd name="connsiteX565" fmla="*/ 1110164 w 1905657"/>
                <a:gd name="connsiteY565" fmla="*/ 415418 h 1221162"/>
                <a:gd name="connsiteX566" fmla="*/ 1109356 w 1905657"/>
                <a:gd name="connsiteY566" fmla="*/ 413904 h 1221162"/>
                <a:gd name="connsiteX567" fmla="*/ 1108346 w 1905657"/>
                <a:gd name="connsiteY567" fmla="*/ 412323 h 1221162"/>
                <a:gd name="connsiteX568" fmla="*/ 1106260 w 1905657"/>
                <a:gd name="connsiteY568" fmla="*/ 411818 h 1221162"/>
                <a:gd name="connsiteX569" fmla="*/ 1103736 w 1905657"/>
                <a:gd name="connsiteY569" fmla="*/ 411011 h 1221162"/>
                <a:gd name="connsiteX570" fmla="*/ 1101346 w 1905657"/>
                <a:gd name="connsiteY570" fmla="*/ 410506 h 1221162"/>
                <a:gd name="connsiteX571" fmla="*/ 1099966 w 1905657"/>
                <a:gd name="connsiteY571" fmla="*/ 410136 h 1221162"/>
                <a:gd name="connsiteX572" fmla="*/ 1098654 w 1905657"/>
                <a:gd name="connsiteY572" fmla="*/ 408993 h 1221162"/>
                <a:gd name="connsiteX573" fmla="*/ 1098587 w 1905657"/>
                <a:gd name="connsiteY573" fmla="*/ 406301 h 1221162"/>
                <a:gd name="connsiteX574" fmla="*/ 1098587 w 1905657"/>
                <a:gd name="connsiteY574" fmla="*/ 405427 h 1221162"/>
                <a:gd name="connsiteX575" fmla="*/ 1098957 w 1905657"/>
                <a:gd name="connsiteY575" fmla="*/ 404350 h 1221162"/>
                <a:gd name="connsiteX576" fmla="*/ 1100101 w 1905657"/>
                <a:gd name="connsiteY576" fmla="*/ 402096 h 1221162"/>
                <a:gd name="connsiteX577" fmla="*/ 1100808 w 1905657"/>
                <a:gd name="connsiteY577" fmla="*/ 401659 h 1221162"/>
                <a:gd name="connsiteX578" fmla="*/ 1100808 w 1905657"/>
                <a:gd name="connsiteY578" fmla="*/ 398631 h 1221162"/>
                <a:gd name="connsiteX579" fmla="*/ 1099933 w 1905657"/>
                <a:gd name="connsiteY579" fmla="*/ 397320 h 1221162"/>
                <a:gd name="connsiteX580" fmla="*/ 1098486 w 1905657"/>
                <a:gd name="connsiteY580" fmla="*/ 396243 h 1221162"/>
                <a:gd name="connsiteX581" fmla="*/ 1095457 w 1905657"/>
                <a:gd name="connsiteY581" fmla="*/ 394561 h 1221162"/>
                <a:gd name="connsiteX582" fmla="*/ 1094649 w 1905657"/>
                <a:gd name="connsiteY582" fmla="*/ 391601 h 1221162"/>
                <a:gd name="connsiteX583" fmla="*/ 1097173 w 1905657"/>
                <a:gd name="connsiteY583" fmla="*/ 389280 h 1221162"/>
                <a:gd name="connsiteX584" fmla="*/ 1097678 w 1905657"/>
                <a:gd name="connsiteY584" fmla="*/ 387463 h 1221162"/>
                <a:gd name="connsiteX585" fmla="*/ 1097913 w 1905657"/>
                <a:gd name="connsiteY585" fmla="*/ 384267 h 1221162"/>
                <a:gd name="connsiteX586" fmla="*/ 1096029 w 1905657"/>
                <a:gd name="connsiteY586" fmla="*/ 381946 h 1221162"/>
                <a:gd name="connsiteX587" fmla="*/ 1091452 w 1905657"/>
                <a:gd name="connsiteY587" fmla="*/ 380803 h 1221162"/>
                <a:gd name="connsiteX588" fmla="*/ 1087817 w 1905657"/>
                <a:gd name="connsiteY588" fmla="*/ 377842 h 1221162"/>
                <a:gd name="connsiteX589" fmla="*/ 1083913 w 1905657"/>
                <a:gd name="connsiteY589" fmla="*/ 371619 h 1221162"/>
                <a:gd name="connsiteX590" fmla="*/ 1081591 w 1905657"/>
                <a:gd name="connsiteY590" fmla="*/ 367145 h 1221162"/>
                <a:gd name="connsiteX591" fmla="*/ 1080649 w 1905657"/>
                <a:gd name="connsiteY591" fmla="*/ 360989 h 1221162"/>
                <a:gd name="connsiteX592" fmla="*/ 1080581 w 1905657"/>
                <a:gd name="connsiteY592" fmla="*/ 355909 h 1221162"/>
                <a:gd name="connsiteX593" fmla="*/ 1079706 w 1905657"/>
                <a:gd name="connsiteY593" fmla="*/ 349450 h 1221162"/>
                <a:gd name="connsiteX594" fmla="*/ 1080783 w 1905657"/>
                <a:gd name="connsiteY594" fmla="*/ 345885 h 1221162"/>
                <a:gd name="connsiteX595" fmla="*/ 1081860 w 1905657"/>
                <a:gd name="connsiteY595" fmla="*/ 343059 h 1221162"/>
                <a:gd name="connsiteX596" fmla="*/ 1084182 w 1905657"/>
                <a:gd name="connsiteY596" fmla="*/ 342487 h 1221162"/>
                <a:gd name="connsiteX597" fmla="*/ 1088154 w 1905657"/>
                <a:gd name="connsiteY597" fmla="*/ 344573 h 1221162"/>
                <a:gd name="connsiteX598" fmla="*/ 1090981 w 1905657"/>
                <a:gd name="connsiteY598" fmla="*/ 344203 h 1221162"/>
                <a:gd name="connsiteX599" fmla="*/ 1094111 w 1905657"/>
                <a:gd name="connsiteY599" fmla="*/ 342756 h 1221162"/>
                <a:gd name="connsiteX600" fmla="*/ 1095558 w 1905657"/>
                <a:gd name="connsiteY600" fmla="*/ 341377 h 1221162"/>
                <a:gd name="connsiteX601" fmla="*/ 1099260 w 1905657"/>
                <a:gd name="connsiteY601" fmla="*/ 339560 h 1221162"/>
                <a:gd name="connsiteX602" fmla="*/ 1102019 w 1905657"/>
                <a:gd name="connsiteY602" fmla="*/ 336230 h 1221162"/>
                <a:gd name="connsiteX603" fmla="*/ 1103265 w 1905657"/>
                <a:gd name="connsiteY603" fmla="*/ 332900 h 1221162"/>
                <a:gd name="connsiteX604" fmla="*/ 1102524 w 1905657"/>
                <a:gd name="connsiteY604" fmla="*/ 330377 h 1221162"/>
                <a:gd name="connsiteX605" fmla="*/ 1102524 w 1905657"/>
                <a:gd name="connsiteY605" fmla="*/ 327114 h 1221162"/>
                <a:gd name="connsiteX606" fmla="*/ 1102894 w 1905657"/>
                <a:gd name="connsiteY606" fmla="*/ 322909 h 1221162"/>
                <a:gd name="connsiteX607" fmla="*/ 1102962 w 1905657"/>
                <a:gd name="connsiteY607" fmla="*/ 320150 h 1221162"/>
                <a:gd name="connsiteX608" fmla="*/ 1102390 w 1905657"/>
                <a:gd name="connsiteY608" fmla="*/ 318132 h 1221162"/>
                <a:gd name="connsiteX609" fmla="*/ 1102591 w 1905657"/>
                <a:gd name="connsiteY609" fmla="*/ 314162 h 1221162"/>
                <a:gd name="connsiteX610" fmla="*/ 1102457 w 1905657"/>
                <a:gd name="connsiteY610" fmla="*/ 311774 h 1221162"/>
                <a:gd name="connsiteX611" fmla="*/ 1102322 w 1905657"/>
                <a:gd name="connsiteY611" fmla="*/ 308948 h 1221162"/>
                <a:gd name="connsiteX612" fmla="*/ 1102524 w 1905657"/>
                <a:gd name="connsiteY612" fmla="*/ 306055 h 1221162"/>
                <a:gd name="connsiteX613" fmla="*/ 1102524 w 1905657"/>
                <a:gd name="connsiteY613" fmla="*/ 303532 h 1221162"/>
                <a:gd name="connsiteX614" fmla="*/ 1102053 w 1905657"/>
                <a:gd name="connsiteY614" fmla="*/ 299899 h 1221162"/>
                <a:gd name="connsiteX615" fmla="*/ 1102524 w 1905657"/>
                <a:gd name="connsiteY615" fmla="*/ 297376 h 1221162"/>
                <a:gd name="connsiteX616" fmla="*/ 1102524 w 1905657"/>
                <a:gd name="connsiteY616" fmla="*/ 295358 h 1221162"/>
                <a:gd name="connsiteX617" fmla="*/ 1101447 w 1905657"/>
                <a:gd name="connsiteY617" fmla="*/ 293541 h 1221162"/>
                <a:gd name="connsiteX618" fmla="*/ 1100640 w 1905657"/>
                <a:gd name="connsiteY618" fmla="*/ 292095 h 1221162"/>
                <a:gd name="connsiteX619" fmla="*/ 1099899 w 1905657"/>
                <a:gd name="connsiteY619" fmla="*/ 290077 h 1221162"/>
                <a:gd name="connsiteX620" fmla="*/ 1098216 w 1905657"/>
                <a:gd name="connsiteY620" fmla="*/ 288125 h 1221162"/>
                <a:gd name="connsiteX621" fmla="*/ 1096837 w 1905657"/>
                <a:gd name="connsiteY621" fmla="*/ 287554 h 1221162"/>
                <a:gd name="connsiteX622" fmla="*/ 1095961 w 1905657"/>
                <a:gd name="connsiteY622" fmla="*/ 286679 h 1221162"/>
                <a:gd name="connsiteX623" fmla="*/ 1094649 w 1905657"/>
                <a:gd name="connsiteY623" fmla="*/ 285434 h 1221162"/>
                <a:gd name="connsiteX624" fmla="*/ 1094582 w 1905657"/>
                <a:gd name="connsiteY624" fmla="*/ 283618 h 1221162"/>
                <a:gd name="connsiteX625" fmla="*/ 1096029 w 1905657"/>
                <a:gd name="connsiteY625" fmla="*/ 281936 h 1221162"/>
                <a:gd name="connsiteX626" fmla="*/ 1097846 w 1905657"/>
                <a:gd name="connsiteY626" fmla="*/ 280119 h 1221162"/>
                <a:gd name="connsiteX627" fmla="*/ 1102053 w 1905657"/>
                <a:gd name="connsiteY627" fmla="*/ 277731 h 1221162"/>
                <a:gd name="connsiteX628" fmla="*/ 1108010 w 1905657"/>
                <a:gd name="connsiteY628" fmla="*/ 276217 h 1221162"/>
                <a:gd name="connsiteX629" fmla="*/ 1110534 w 1905657"/>
                <a:gd name="connsiteY629" fmla="*/ 271743 h 1221162"/>
                <a:gd name="connsiteX630" fmla="*/ 1111274 w 1905657"/>
                <a:gd name="connsiteY630" fmla="*/ 270801 h 1221162"/>
                <a:gd name="connsiteX631" fmla="*/ 1112856 w 1905657"/>
                <a:gd name="connsiteY631" fmla="*/ 268850 h 1221162"/>
                <a:gd name="connsiteX632" fmla="*/ 1113428 w 1905657"/>
                <a:gd name="connsiteY632" fmla="*/ 266091 h 1221162"/>
                <a:gd name="connsiteX633" fmla="*/ 1109861 w 1905657"/>
                <a:gd name="connsiteY633" fmla="*/ 263266 h 1221162"/>
                <a:gd name="connsiteX634" fmla="*/ 1107269 w 1905657"/>
                <a:gd name="connsiteY634" fmla="*/ 260003 h 1221162"/>
                <a:gd name="connsiteX635" fmla="*/ 1103366 w 1905657"/>
                <a:gd name="connsiteY635" fmla="*/ 257614 h 1221162"/>
                <a:gd name="connsiteX636" fmla="*/ 1101784 w 1905657"/>
                <a:gd name="connsiteY636" fmla="*/ 257480 h 1221162"/>
                <a:gd name="connsiteX637" fmla="*/ 1095928 w 1905657"/>
                <a:gd name="connsiteY637" fmla="*/ 258421 h 1221162"/>
                <a:gd name="connsiteX638" fmla="*/ 1093034 w 1905657"/>
                <a:gd name="connsiteY638" fmla="*/ 258421 h 1221162"/>
                <a:gd name="connsiteX639" fmla="*/ 1089769 w 1905657"/>
                <a:gd name="connsiteY639" fmla="*/ 256403 h 1221162"/>
                <a:gd name="connsiteX640" fmla="*/ 1086942 w 1905657"/>
                <a:gd name="connsiteY640" fmla="*/ 255259 h 1221162"/>
                <a:gd name="connsiteX641" fmla="*/ 1085360 w 1905657"/>
                <a:gd name="connsiteY641" fmla="*/ 252366 h 1221162"/>
                <a:gd name="connsiteX642" fmla="*/ 1086875 w 1905657"/>
                <a:gd name="connsiteY642" fmla="*/ 250987 h 1221162"/>
                <a:gd name="connsiteX643" fmla="*/ 1088322 w 1905657"/>
                <a:gd name="connsiteY643" fmla="*/ 248733 h 1221162"/>
                <a:gd name="connsiteX644" fmla="*/ 1089634 w 1905657"/>
                <a:gd name="connsiteY644" fmla="*/ 246345 h 1221162"/>
                <a:gd name="connsiteX645" fmla="*/ 1090644 w 1905657"/>
                <a:gd name="connsiteY645" fmla="*/ 242140 h 1221162"/>
                <a:gd name="connsiteX646" fmla="*/ 1094043 w 1905657"/>
                <a:gd name="connsiteY646" fmla="*/ 236354 h 1221162"/>
                <a:gd name="connsiteX647" fmla="*/ 1093303 w 1905657"/>
                <a:gd name="connsiteY647" fmla="*/ 233158 h 1221162"/>
                <a:gd name="connsiteX648" fmla="*/ 1087884 w 1905657"/>
                <a:gd name="connsiteY648" fmla="*/ 228886 h 1221162"/>
                <a:gd name="connsiteX649" fmla="*/ 1085360 w 1905657"/>
                <a:gd name="connsiteY649" fmla="*/ 222427 h 1221162"/>
                <a:gd name="connsiteX650" fmla="*/ 1088692 w 1905657"/>
                <a:gd name="connsiteY650" fmla="*/ 216910 h 1221162"/>
                <a:gd name="connsiteX651" fmla="*/ 1091519 w 1905657"/>
                <a:gd name="connsiteY651" fmla="*/ 210452 h 1221162"/>
                <a:gd name="connsiteX652" fmla="*/ 1094346 w 1905657"/>
                <a:gd name="connsiteY652" fmla="*/ 204228 h 1221162"/>
                <a:gd name="connsiteX653" fmla="*/ 1096668 w 1905657"/>
                <a:gd name="connsiteY653" fmla="*/ 201604 h 1221162"/>
                <a:gd name="connsiteX654" fmla="*/ 1102019 w 1905657"/>
                <a:gd name="connsiteY654" fmla="*/ 199586 h 1221162"/>
                <a:gd name="connsiteX655" fmla="*/ 1105149 w 1905657"/>
                <a:gd name="connsiteY655" fmla="*/ 199148 h 1221162"/>
                <a:gd name="connsiteX656" fmla="*/ 1107606 w 1905657"/>
                <a:gd name="connsiteY656" fmla="*/ 199148 h 1221162"/>
                <a:gd name="connsiteX657" fmla="*/ 1110568 w 1905657"/>
                <a:gd name="connsiteY657" fmla="*/ 200090 h 1221162"/>
                <a:gd name="connsiteX658" fmla="*/ 1112890 w 1905657"/>
                <a:gd name="connsiteY658" fmla="*/ 199788 h 1221162"/>
                <a:gd name="connsiteX659" fmla="*/ 1114202 w 1905657"/>
                <a:gd name="connsiteY659" fmla="*/ 197769 h 1221162"/>
                <a:gd name="connsiteX660" fmla="*/ 1114202 w 1905657"/>
                <a:gd name="connsiteY660" fmla="*/ 196087 h 1221162"/>
                <a:gd name="connsiteX661" fmla="*/ 1113462 w 1905657"/>
                <a:gd name="connsiteY661" fmla="*/ 192454 h 1221162"/>
                <a:gd name="connsiteX662" fmla="*/ 1113159 w 1905657"/>
                <a:gd name="connsiteY662" fmla="*/ 188989 h 1221162"/>
                <a:gd name="connsiteX663" fmla="*/ 1114404 w 1905657"/>
                <a:gd name="connsiteY663" fmla="*/ 187173 h 1221162"/>
                <a:gd name="connsiteX664" fmla="*/ 1119924 w 1905657"/>
                <a:gd name="connsiteY664" fmla="*/ 184347 h 1221162"/>
                <a:gd name="connsiteX665" fmla="*/ 1119924 w 1905657"/>
                <a:gd name="connsiteY665" fmla="*/ 180344 h 1221162"/>
                <a:gd name="connsiteX666" fmla="*/ 1119385 w 1905657"/>
                <a:gd name="connsiteY666" fmla="*/ 176778 h 1221162"/>
                <a:gd name="connsiteX667" fmla="*/ 1121606 w 1905657"/>
                <a:gd name="connsiteY667" fmla="*/ 170992 h 1221162"/>
                <a:gd name="connsiteX668" fmla="*/ 1123558 w 1905657"/>
                <a:gd name="connsiteY668" fmla="*/ 167796 h 1221162"/>
                <a:gd name="connsiteX669" fmla="*/ 1126587 w 1905657"/>
                <a:gd name="connsiteY669" fmla="*/ 163894 h 1221162"/>
                <a:gd name="connsiteX670" fmla="*/ 1128472 w 1905657"/>
                <a:gd name="connsiteY670" fmla="*/ 159992 h 1221162"/>
                <a:gd name="connsiteX671" fmla="*/ 1128775 w 1905657"/>
                <a:gd name="connsiteY671" fmla="*/ 158041 h 1221162"/>
                <a:gd name="connsiteX672" fmla="*/ 1125880 w 1905657"/>
                <a:gd name="connsiteY672" fmla="*/ 154778 h 1221162"/>
                <a:gd name="connsiteX673" fmla="*/ 1123121 w 1905657"/>
                <a:gd name="connsiteY673" fmla="*/ 151515 h 1221162"/>
                <a:gd name="connsiteX674" fmla="*/ 1120799 w 1905657"/>
                <a:gd name="connsiteY674" fmla="*/ 149496 h 1221162"/>
                <a:gd name="connsiteX675" fmla="*/ 1116760 w 1905657"/>
                <a:gd name="connsiteY675" fmla="*/ 147411 h 1221162"/>
                <a:gd name="connsiteX676" fmla="*/ 1112688 w 1905657"/>
                <a:gd name="connsiteY676" fmla="*/ 146166 h 1221162"/>
                <a:gd name="connsiteX677" fmla="*/ 1107539 w 1905657"/>
                <a:gd name="connsiteY677" fmla="*/ 145662 h 1221162"/>
                <a:gd name="connsiteX678" fmla="*/ 1104274 w 1905657"/>
                <a:gd name="connsiteY678" fmla="*/ 145022 h 1221162"/>
                <a:gd name="connsiteX679" fmla="*/ 1100740 w 1905657"/>
                <a:gd name="connsiteY679" fmla="*/ 141995 h 1221162"/>
                <a:gd name="connsiteX680" fmla="*/ 1099058 w 1905657"/>
                <a:gd name="connsiteY680" fmla="*/ 139169 h 1221162"/>
                <a:gd name="connsiteX681" fmla="*/ 1099058 w 1905657"/>
                <a:gd name="connsiteY681" fmla="*/ 133888 h 1221162"/>
                <a:gd name="connsiteX682" fmla="*/ 1099361 w 1905657"/>
                <a:gd name="connsiteY682" fmla="*/ 130322 h 1221162"/>
                <a:gd name="connsiteX683" fmla="*/ 1102120 w 1905657"/>
                <a:gd name="connsiteY683" fmla="*/ 127799 h 1221162"/>
                <a:gd name="connsiteX684" fmla="*/ 1105149 w 1905657"/>
                <a:gd name="connsiteY684" fmla="*/ 127227 h 1221162"/>
                <a:gd name="connsiteX685" fmla="*/ 1108279 w 1905657"/>
                <a:gd name="connsiteY685" fmla="*/ 126588 h 1221162"/>
                <a:gd name="connsiteX686" fmla="*/ 1112048 w 1905657"/>
                <a:gd name="connsiteY686" fmla="*/ 125074 h 1221162"/>
                <a:gd name="connsiteX687" fmla="*/ 1115380 w 1905657"/>
                <a:gd name="connsiteY687" fmla="*/ 123426 h 1221162"/>
                <a:gd name="connsiteX688" fmla="*/ 1118746 w 1905657"/>
                <a:gd name="connsiteY688" fmla="*/ 122013 h 1221162"/>
                <a:gd name="connsiteX689" fmla="*/ 1118174 w 1905657"/>
                <a:gd name="connsiteY689" fmla="*/ 121340 h 1221162"/>
                <a:gd name="connsiteX690" fmla="*/ 1113260 w 1905657"/>
                <a:gd name="connsiteY690" fmla="*/ 117472 h 1221162"/>
                <a:gd name="connsiteX691" fmla="*/ 1108616 w 1905657"/>
                <a:gd name="connsiteY691" fmla="*/ 117472 h 1221162"/>
                <a:gd name="connsiteX692" fmla="*/ 1101649 w 1905657"/>
                <a:gd name="connsiteY692" fmla="*/ 103848 h 1221162"/>
                <a:gd name="connsiteX693" fmla="*/ 1096433 w 1905657"/>
                <a:gd name="connsiteY693" fmla="*/ 102536 h 1221162"/>
                <a:gd name="connsiteX694" fmla="*/ 1090341 w 1905657"/>
                <a:gd name="connsiteY694" fmla="*/ 98331 h 1221162"/>
                <a:gd name="connsiteX695" fmla="*/ 1086000 w 1905657"/>
                <a:gd name="connsiteY695" fmla="*/ 98331 h 1221162"/>
                <a:gd name="connsiteX696" fmla="*/ 1079706 w 1905657"/>
                <a:gd name="connsiteY696" fmla="*/ 100080 h 1221162"/>
                <a:gd name="connsiteX697" fmla="*/ 1076442 w 1905657"/>
                <a:gd name="connsiteY697" fmla="*/ 92242 h 1221162"/>
                <a:gd name="connsiteX698" fmla="*/ 1072672 w 1905657"/>
                <a:gd name="connsiteY698" fmla="*/ 90223 h 1221162"/>
                <a:gd name="connsiteX699" fmla="*/ 1064259 w 1905657"/>
                <a:gd name="connsiteY699" fmla="*/ 83832 h 1221162"/>
                <a:gd name="connsiteX700" fmla="*/ 1060792 w 1905657"/>
                <a:gd name="connsiteY700" fmla="*/ 80367 h 1221162"/>
                <a:gd name="connsiteX701" fmla="*/ 1055576 w 1905657"/>
                <a:gd name="connsiteY701" fmla="*/ 78618 h 1221162"/>
                <a:gd name="connsiteX702" fmla="*/ 1050932 w 1905657"/>
                <a:gd name="connsiteY702" fmla="*/ 81813 h 1221162"/>
                <a:gd name="connsiteX703" fmla="*/ 1046287 w 1905657"/>
                <a:gd name="connsiteY703" fmla="*/ 84437 h 1221162"/>
                <a:gd name="connsiteX704" fmla="*/ 1040499 w 1905657"/>
                <a:gd name="connsiteY704" fmla="*/ 76330 h 1221162"/>
                <a:gd name="connsiteX705" fmla="*/ 1033263 w 1905657"/>
                <a:gd name="connsiteY705" fmla="*/ 70544 h 1221162"/>
                <a:gd name="connsiteX706" fmla="*/ 1035282 w 1905657"/>
                <a:gd name="connsiteY706" fmla="*/ 67348 h 1221162"/>
                <a:gd name="connsiteX707" fmla="*/ 1033263 w 1905657"/>
                <a:gd name="connsiteY707" fmla="*/ 61697 h 1221162"/>
                <a:gd name="connsiteX708" fmla="*/ 1025152 w 1905657"/>
                <a:gd name="connsiteY708" fmla="*/ 60116 h 1221162"/>
                <a:gd name="connsiteX709" fmla="*/ 1019936 w 1905657"/>
                <a:gd name="connsiteY709" fmla="*/ 60116 h 1221162"/>
                <a:gd name="connsiteX710" fmla="*/ 1015864 w 1905657"/>
                <a:gd name="connsiteY710" fmla="*/ 58367 h 1221162"/>
                <a:gd name="connsiteX711" fmla="*/ 1006003 w 1905657"/>
                <a:gd name="connsiteY711" fmla="*/ 58367 h 1221162"/>
                <a:gd name="connsiteX712" fmla="*/ 997017 w 1905657"/>
                <a:gd name="connsiteY712" fmla="*/ 56617 h 1221162"/>
                <a:gd name="connsiteX713" fmla="*/ 981671 w 1905657"/>
                <a:gd name="connsiteY713" fmla="*/ 56617 h 1221162"/>
                <a:gd name="connsiteX714" fmla="*/ 967771 w 1905657"/>
                <a:gd name="connsiteY714" fmla="*/ 56617 h 1221162"/>
                <a:gd name="connsiteX715" fmla="*/ 963699 w 1905657"/>
                <a:gd name="connsiteY715" fmla="*/ 59813 h 1221162"/>
                <a:gd name="connsiteX716" fmla="*/ 958617 w 1905657"/>
                <a:gd name="connsiteY716" fmla="*/ 58299 h 1221162"/>
                <a:gd name="connsiteX717" fmla="*/ 948824 w 1905657"/>
                <a:gd name="connsiteY717" fmla="*/ 53388 h 1221162"/>
                <a:gd name="connsiteX718" fmla="*/ 938963 w 1905657"/>
                <a:gd name="connsiteY718" fmla="*/ 50495 h 1221162"/>
                <a:gd name="connsiteX719" fmla="*/ 934992 w 1905657"/>
                <a:gd name="connsiteY719" fmla="*/ 51874 h 1221162"/>
                <a:gd name="connsiteX720" fmla="*/ 929943 w 1905657"/>
                <a:gd name="connsiteY720" fmla="*/ 47366 h 1221162"/>
                <a:gd name="connsiteX721" fmla="*/ 930347 w 1905657"/>
                <a:gd name="connsiteY721" fmla="*/ 45718 h 1221162"/>
                <a:gd name="connsiteX722" fmla="*/ 930347 w 1905657"/>
                <a:gd name="connsiteY722" fmla="*/ 43599 h 1221162"/>
                <a:gd name="connsiteX723" fmla="*/ 926645 w 1905657"/>
                <a:gd name="connsiteY723" fmla="*/ 42724 h 1221162"/>
                <a:gd name="connsiteX724" fmla="*/ 922506 w 1905657"/>
                <a:gd name="connsiteY724" fmla="*/ 42724 h 1221162"/>
                <a:gd name="connsiteX725" fmla="*/ 919746 w 1905657"/>
                <a:gd name="connsiteY725" fmla="*/ 47366 h 1221162"/>
                <a:gd name="connsiteX726" fmla="*/ 917558 w 1905657"/>
                <a:gd name="connsiteY726" fmla="*/ 48073 h 1221162"/>
                <a:gd name="connsiteX727" fmla="*/ 911703 w 1905657"/>
                <a:gd name="connsiteY727" fmla="*/ 50091 h 1221162"/>
                <a:gd name="connsiteX728" fmla="*/ 906688 w 1905657"/>
                <a:gd name="connsiteY728" fmla="*/ 51403 h 1221162"/>
                <a:gd name="connsiteX729" fmla="*/ 902784 w 1905657"/>
                <a:gd name="connsiteY729" fmla="*/ 51538 h 1221162"/>
                <a:gd name="connsiteX730" fmla="*/ 896322 w 1905657"/>
                <a:gd name="connsiteY730" fmla="*/ 52547 h 1221162"/>
                <a:gd name="connsiteX731" fmla="*/ 887707 w 1905657"/>
                <a:gd name="connsiteY731" fmla="*/ 54195 h 1221162"/>
                <a:gd name="connsiteX732" fmla="*/ 882120 w 1905657"/>
                <a:gd name="connsiteY732" fmla="*/ 53119 h 1221162"/>
                <a:gd name="connsiteX733" fmla="*/ 876163 w 1905657"/>
                <a:gd name="connsiteY733" fmla="*/ 51807 h 1221162"/>
                <a:gd name="connsiteX734" fmla="*/ 872832 w 1905657"/>
                <a:gd name="connsiteY734" fmla="*/ 47905 h 1221162"/>
                <a:gd name="connsiteX735" fmla="*/ 864721 w 1905657"/>
                <a:gd name="connsiteY735" fmla="*/ 48544 h 1221162"/>
                <a:gd name="connsiteX736" fmla="*/ 859639 w 1905657"/>
                <a:gd name="connsiteY736" fmla="*/ 50562 h 1221162"/>
                <a:gd name="connsiteX737" fmla="*/ 854927 w 1905657"/>
                <a:gd name="connsiteY737" fmla="*/ 53321 h 1221162"/>
                <a:gd name="connsiteX738" fmla="*/ 851394 w 1905657"/>
                <a:gd name="connsiteY738" fmla="*/ 53960 h 1221162"/>
                <a:gd name="connsiteX739" fmla="*/ 848668 w 1905657"/>
                <a:gd name="connsiteY739" fmla="*/ 49620 h 1221162"/>
                <a:gd name="connsiteX740" fmla="*/ 845841 w 1905657"/>
                <a:gd name="connsiteY740" fmla="*/ 47871 h 1221162"/>
                <a:gd name="connsiteX741" fmla="*/ 841163 w 1905657"/>
                <a:gd name="connsiteY741" fmla="*/ 49048 h 1221162"/>
                <a:gd name="connsiteX742" fmla="*/ 836720 w 1905657"/>
                <a:gd name="connsiteY742" fmla="*/ 51336 h 1221162"/>
                <a:gd name="connsiteX743" fmla="*/ 832480 w 1905657"/>
                <a:gd name="connsiteY743" fmla="*/ 53724 h 1221162"/>
                <a:gd name="connsiteX744" fmla="*/ 828239 w 1905657"/>
                <a:gd name="connsiteY744" fmla="*/ 54801 h 1221162"/>
                <a:gd name="connsiteX745" fmla="*/ 821609 w 1905657"/>
                <a:gd name="connsiteY745" fmla="*/ 54801 h 1221162"/>
                <a:gd name="connsiteX746" fmla="*/ 816729 w 1905657"/>
                <a:gd name="connsiteY746" fmla="*/ 54263 h 1221162"/>
                <a:gd name="connsiteX747" fmla="*/ 812287 w 1905657"/>
                <a:gd name="connsiteY747" fmla="*/ 56012 h 1221162"/>
                <a:gd name="connsiteX748" fmla="*/ 809898 w 1905657"/>
                <a:gd name="connsiteY748" fmla="*/ 60149 h 1221162"/>
                <a:gd name="connsiteX749" fmla="*/ 807172 w 1905657"/>
                <a:gd name="connsiteY749" fmla="*/ 65700 h 1221162"/>
                <a:gd name="connsiteX750" fmla="*/ 803907 w 1905657"/>
                <a:gd name="connsiteY750" fmla="*/ 68526 h 1221162"/>
                <a:gd name="connsiteX751" fmla="*/ 802056 w 1905657"/>
                <a:gd name="connsiteY751" fmla="*/ 71991 h 1221162"/>
                <a:gd name="connsiteX752" fmla="*/ 800003 w 1905657"/>
                <a:gd name="connsiteY752" fmla="*/ 75691 h 1221162"/>
                <a:gd name="connsiteX753" fmla="*/ 798152 w 1905657"/>
                <a:gd name="connsiteY753" fmla="*/ 77979 h 1221162"/>
                <a:gd name="connsiteX754" fmla="*/ 794888 w 1905657"/>
                <a:gd name="connsiteY754" fmla="*/ 82116 h 1221162"/>
                <a:gd name="connsiteX755" fmla="*/ 791287 w 1905657"/>
                <a:gd name="connsiteY755" fmla="*/ 84303 h 1221162"/>
                <a:gd name="connsiteX756" fmla="*/ 788022 w 1905657"/>
                <a:gd name="connsiteY756" fmla="*/ 85817 h 1221162"/>
                <a:gd name="connsiteX757" fmla="*/ 785431 w 1905657"/>
                <a:gd name="connsiteY757" fmla="*/ 86153 h 1221162"/>
                <a:gd name="connsiteX758" fmla="*/ 780012 w 1905657"/>
                <a:gd name="connsiteY758" fmla="*/ 86153 h 1221162"/>
                <a:gd name="connsiteX759" fmla="*/ 773281 w 1905657"/>
                <a:gd name="connsiteY759" fmla="*/ 86254 h 1221162"/>
                <a:gd name="connsiteX760" fmla="*/ 766853 w 1905657"/>
                <a:gd name="connsiteY760" fmla="*/ 86691 h 1221162"/>
                <a:gd name="connsiteX761" fmla="*/ 761199 w 1905657"/>
                <a:gd name="connsiteY761" fmla="*/ 87230 h 1221162"/>
                <a:gd name="connsiteX762" fmla="*/ 751641 w 1905657"/>
                <a:gd name="connsiteY762" fmla="*/ 90257 h 1221162"/>
                <a:gd name="connsiteX763" fmla="*/ 750564 w 1905657"/>
                <a:gd name="connsiteY763" fmla="*/ 92982 h 1221162"/>
                <a:gd name="connsiteX764" fmla="*/ 748411 w 1905657"/>
                <a:gd name="connsiteY764" fmla="*/ 95707 h 1221162"/>
                <a:gd name="connsiteX765" fmla="*/ 746896 w 1905657"/>
                <a:gd name="connsiteY765" fmla="*/ 96918 h 1221162"/>
                <a:gd name="connsiteX766" fmla="*/ 743295 w 1905657"/>
                <a:gd name="connsiteY766" fmla="*/ 96817 h 1221162"/>
                <a:gd name="connsiteX767" fmla="*/ 740367 w 1905657"/>
                <a:gd name="connsiteY767" fmla="*/ 96379 h 1221162"/>
                <a:gd name="connsiteX768" fmla="*/ 737641 w 1905657"/>
                <a:gd name="connsiteY768" fmla="*/ 94731 h 1221162"/>
                <a:gd name="connsiteX769" fmla="*/ 738617 w 1905657"/>
                <a:gd name="connsiteY769" fmla="*/ 93520 h 1221162"/>
                <a:gd name="connsiteX770" fmla="*/ 742084 w 1905657"/>
                <a:gd name="connsiteY770" fmla="*/ 91569 h 1221162"/>
                <a:gd name="connsiteX771" fmla="*/ 745011 w 1905657"/>
                <a:gd name="connsiteY771" fmla="*/ 88541 h 1221162"/>
                <a:gd name="connsiteX772" fmla="*/ 743834 w 1905657"/>
                <a:gd name="connsiteY772" fmla="*/ 86624 h 1221162"/>
                <a:gd name="connsiteX773" fmla="*/ 739593 w 1905657"/>
                <a:gd name="connsiteY773" fmla="*/ 86119 h 1221162"/>
                <a:gd name="connsiteX774" fmla="*/ 734713 w 1905657"/>
                <a:gd name="connsiteY774" fmla="*/ 86119 h 1221162"/>
                <a:gd name="connsiteX775" fmla="*/ 732223 w 1905657"/>
                <a:gd name="connsiteY775" fmla="*/ 85245 h 1221162"/>
                <a:gd name="connsiteX776" fmla="*/ 728184 w 1905657"/>
                <a:gd name="connsiteY776" fmla="*/ 81443 h 1221162"/>
                <a:gd name="connsiteX777" fmla="*/ 725357 w 1905657"/>
                <a:gd name="connsiteY777" fmla="*/ 79257 h 1221162"/>
                <a:gd name="connsiteX778" fmla="*/ 723170 w 1905657"/>
                <a:gd name="connsiteY778" fmla="*/ 76431 h 1221162"/>
                <a:gd name="connsiteX779" fmla="*/ 720881 w 1905657"/>
                <a:gd name="connsiteY779" fmla="*/ 72966 h 1221162"/>
                <a:gd name="connsiteX780" fmla="*/ 719131 w 1905657"/>
                <a:gd name="connsiteY780" fmla="*/ 70241 h 1221162"/>
                <a:gd name="connsiteX781" fmla="*/ 714251 w 1905657"/>
                <a:gd name="connsiteY781" fmla="*/ 67416 h 1221162"/>
                <a:gd name="connsiteX782" fmla="*/ 712299 w 1905657"/>
                <a:gd name="connsiteY782" fmla="*/ 68728 h 1221162"/>
                <a:gd name="connsiteX783" fmla="*/ 710886 w 1905657"/>
                <a:gd name="connsiteY783" fmla="*/ 71318 h 1221162"/>
                <a:gd name="connsiteX784" fmla="*/ 710112 w 1905657"/>
                <a:gd name="connsiteY784" fmla="*/ 74783 h 1221162"/>
                <a:gd name="connsiteX785" fmla="*/ 708698 w 1905657"/>
                <a:gd name="connsiteY785" fmla="*/ 77407 h 1221162"/>
                <a:gd name="connsiteX786" fmla="*/ 705333 w 1905657"/>
                <a:gd name="connsiteY786" fmla="*/ 77844 h 1221162"/>
                <a:gd name="connsiteX787" fmla="*/ 700756 w 1905657"/>
                <a:gd name="connsiteY787" fmla="*/ 76767 h 1221162"/>
                <a:gd name="connsiteX788" fmla="*/ 699914 w 1905657"/>
                <a:gd name="connsiteY788" fmla="*/ 76532 h 1221162"/>
                <a:gd name="connsiteX789" fmla="*/ 693284 w 1905657"/>
                <a:gd name="connsiteY789" fmla="*/ 76196 h 1221162"/>
                <a:gd name="connsiteX790" fmla="*/ 689683 w 1905657"/>
                <a:gd name="connsiteY790" fmla="*/ 76397 h 1221162"/>
                <a:gd name="connsiteX791" fmla="*/ 681640 w 1905657"/>
                <a:gd name="connsiteY791" fmla="*/ 80535 h 1221162"/>
                <a:gd name="connsiteX792" fmla="*/ 673697 w 1905657"/>
                <a:gd name="connsiteY792" fmla="*/ 81073 h 1221162"/>
                <a:gd name="connsiteX793" fmla="*/ 663803 w 1905657"/>
                <a:gd name="connsiteY793" fmla="*/ 83798 h 1221162"/>
                <a:gd name="connsiteX794" fmla="*/ 654885 w 1905657"/>
                <a:gd name="connsiteY794" fmla="*/ 82688 h 1221162"/>
                <a:gd name="connsiteX795" fmla="*/ 647918 w 1905657"/>
                <a:gd name="connsiteY795" fmla="*/ 81713 h 1221162"/>
                <a:gd name="connsiteX796" fmla="*/ 642601 w 1905657"/>
                <a:gd name="connsiteY796" fmla="*/ 82049 h 1221162"/>
                <a:gd name="connsiteX797" fmla="*/ 640413 w 1905657"/>
                <a:gd name="connsiteY797" fmla="*/ 84976 h 1221162"/>
                <a:gd name="connsiteX798" fmla="*/ 642601 w 1905657"/>
                <a:gd name="connsiteY798" fmla="*/ 87162 h 1221162"/>
                <a:gd name="connsiteX799" fmla="*/ 644654 w 1905657"/>
                <a:gd name="connsiteY799" fmla="*/ 90190 h 1221162"/>
                <a:gd name="connsiteX800" fmla="*/ 644654 w 1905657"/>
                <a:gd name="connsiteY800" fmla="*/ 91939 h 1221162"/>
                <a:gd name="connsiteX801" fmla="*/ 640951 w 1905657"/>
                <a:gd name="connsiteY801" fmla="*/ 92275 h 1221162"/>
                <a:gd name="connsiteX802" fmla="*/ 635197 w 1905657"/>
                <a:gd name="connsiteY802" fmla="*/ 91300 h 1221162"/>
                <a:gd name="connsiteX803" fmla="*/ 629980 w 1905657"/>
                <a:gd name="connsiteY803" fmla="*/ 91300 h 1221162"/>
                <a:gd name="connsiteX804" fmla="*/ 624562 w 1905657"/>
                <a:gd name="connsiteY804" fmla="*/ 92275 h 1221162"/>
                <a:gd name="connsiteX805" fmla="*/ 620759 w 1905657"/>
                <a:gd name="connsiteY805" fmla="*/ 92713 h 1221162"/>
                <a:gd name="connsiteX806" fmla="*/ 616182 w 1905657"/>
                <a:gd name="connsiteY806" fmla="*/ 93486 h 1221162"/>
                <a:gd name="connsiteX807" fmla="*/ 612816 w 1905657"/>
                <a:gd name="connsiteY807" fmla="*/ 93924 h 1221162"/>
                <a:gd name="connsiteX808" fmla="*/ 608811 w 1905657"/>
                <a:gd name="connsiteY808" fmla="*/ 94025 h 1221162"/>
                <a:gd name="connsiteX809" fmla="*/ 605345 w 1905657"/>
                <a:gd name="connsiteY809" fmla="*/ 93251 h 1221162"/>
                <a:gd name="connsiteX810" fmla="*/ 601004 w 1905657"/>
                <a:gd name="connsiteY810" fmla="*/ 91064 h 1221162"/>
                <a:gd name="connsiteX811" fmla="*/ 598816 w 1905657"/>
                <a:gd name="connsiteY811" fmla="*/ 89315 h 1221162"/>
                <a:gd name="connsiteX812" fmla="*/ 595888 w 1905657"/>
                <a:gd name="connsiteY812" fmla="*/ 87566 h 1221162"/>
                <a:gd name="connsiteX813" fmla="*/ 591109 w 1905657"/>
                <a:gd name="connsiteY813" fmla="*/ 86153 h 1221162"/>
                <a:gd name="connsiteX814" fmla="*/ 586431 w 1905657"/>
                <a:gd name="connsiteY814" fmla="*/ 86052 h 1221162"/>
                <a:gd name="connsiteX815" fmla="*/ 582090 w 1905657"/>
                <a:gd name="connsiteY815" fmla="*/ 86254 h 1221162"/>
                <a:gd name="connsiteX816" fmla="*/ 571657 w 1905657"/>
                <a:gd name="connsiteY816" fmla="*/ 85817 h 1221162"/>
                <a:gd name="connsiteX817" fmla="*/ 561998 w 1905657"/>
                <a:gd name="connsiteY817" fmla="*/ 85278 h 1221162"/>
                <a:gd name="connsiteX818" fmla="*/ 556512 w 1905657"/>
                <a:gd name="connsiteY818" fmla="*/ 84639 h 1221162"/>
                <a:gd name="connsiteX819" fmla="*/ 549512 w 1905657"/>
                <a:gd name="connsiteY819" fmla="*/ 82688 h 1221162"/>
                <a:gd name="connsiteX820" fmla="*/ 549512 w 1905657"/>
                <a:gd name="connsiteY820" fmla="*/ 79997 h 1221162"/>
                <a:gd name="connsiteX821" fmla="*/ 547897 w 1905657"/>
                <a:gd name="connsiteY821" fmla="*/ 75658 h 1221162"/>
                <a:gd name="connsiteX822" fmla="*/ 544195 w 1905657"/>
                <a:gd name="connsiteY822" fmla="*/ 73168 h 1221162"/>
                <a:gd name="connsiteX823" fmla="*/ 539954 w 1905657"/>
                <a:gd name="connsiteY823" fmla="*/ 72394 h 1221162"/>
                <a:gd name="connsiteX824" fmla="*/ 537026 w 1905657"/>
                <a:gd name="connsiteY824" fmla="*/ 71957 h 1221162"/>
                <a:gd name="connsiteX825" fmla="*/ 533324 w 1905657"/>
                <a:gd name="connsiteY825" fmla="*/ 71856 h 1221162"/>
                <a:gd name="connsiteX826" fmla="*/ 525180 w 1905657"/>
                <a:gd name="connsiteY826" fmla="*/ 71318 h 1221162"/>
                <a:gd name="connsiteX827" fmla="*/ 521377 w 1905657"/>
                <a:gd name="connsiteY827" fmla="*/ 69905 h 1221162"/>
                <a:gd name="connsiteX828" fmla="*/ 516160 w 1905657"/>
                <a:gd name="connsiteY828" fmla="*/ 68055 h 1221162"/>
                <a:gd name="connsiteX829" fmla="*/ 514107 w 1905657"/>
                <a:gd name="connsiteY829" fmla="*/ 66205 h 1221162"/>
                <a:gd name="connsiteX830" fmla="*/ 511920 w 1905657"/>
                <a:gd name="connsiteY830" fmla="*/ 64792 h 1221162"/>
                <a:gd name="connsiteX831" fmla="*/ 510405 w 1905657"/>
                <a:gd name="connsiteY831" fmla="*/ 62942 h 1221162"/>
                <a:gd name="connsiteX832" fmla="*/ 509766 w 1905657"/>
                <a:gd name="connsiteY832" fmla="*/ 60217 h 1221162"/>
                <a:gd name="connsiteX833" fmla="*/ 508352 w 1905657"/>
                <a:gd name="connsiteY833" fmla="*/ 56416 h 1221162"/>
                <a:gd name="connsiteX834" fmla="*/ 506064 w 1905657"/>
                <a:gd name="connsiteY834" fmla="*/ 52715 h 1221162"/>
                <a:gd name="connsiteX835" fmla="*/ 506064 w 1905657"/>
                <a:gd name="connsiteY835" fmla="*/ 48712 h 1221162"/>
                <a:gd name="connsiteX836" fmla="*/ 507376 w 1905657"/>
                <a:gd name="connsiteY836" fmla="*/ 45684 h 1221162"/>
                <a:gd name="connsiteX837" fmla="*/ 507814 w 1905657"/>
                <a:gd name="connsiteY837" fmla="*/ 40369 h 1221162"/>
                <a:gd name="connsiteX838" fmla="*/ 508352 w 1905657"/>
                <a:gd name="connsiteY838" fmla="*/ 36030 h 1221162"/>
                <a:gd name="connsiteX839" fmla="*/ 507713 w 1905657"/>
                <a:gd name="connsiteY839" fmla="*/ 33843 h 1221162"/>
                <a:gd name="connsiteX840" fmla="*/ 505324 w 1905657"/>
                <a:gd name="connsiteY840" fmla="*/ 32094 h 1221162"/>
                <a:gd name="connsiteX841" fmla="*/ 500646 w 1905657"/>
                <a:gd name="connsiteY841" fmla="*/ 28495 h 1221162"/>
                <a:gd name="connsiteX842" fmla="*/ 498021 w 1905657"/>
                <a:gd name="connsiteY842" fmla="*/ 27082 h 1221162"/>
                <a:gd name="connsiteX843" fmla="*/ 495093 w 1905657"/>
                <a:gd name="connsiteY843" fmla="*/ 27082 h 1221162"/>
                <a:gd name="connsiteX844" fmla="*/ 492602 w 1905657"/>
                <a:gd name="connsiteY844" fmla="*/ 28394 h 1221162"/>
                <a:gd name="connsiteX845" fmla="*/ 491290 w 1905657"/>
                <a:gd name="connsiteY845" fmla="*/ 30580 h 1221162"/>
                <a:gd name="connsiteX846" fmla="*/ 490314 w 1905657"/>
                <a:gd name="connsiteY846" fmla="*/ 32430 h 1221162"/>
                <a:gd name="connsiteX847" fmla="*/ 487386 w 1905657"/>
                <a:gd name="connsiteY847" fmla="*/ 32767 h 1221162"/>
                <a:gd name="connsiteX848" fmla="*/ 482708 w 1905657"/>
                <a:gd name="connsiteY848" fmla="*/ 31690 h 1221162"/>
                <a:gd name="connsiteX849" fmla="*/ 478804 w 1905657"/>
                <a:gd name="connsiteY849" fmla="*/ 29066 h 1221162"/>
                <a:gd name="connsiteX850" fmla="*/ 476212 w 1905657"/>
                <a:gd name="connsiteY850" fmla="*/ 25703 h 1221162"/>
                <a:gd name="connsiteX851" fmla="*/ 475438 w 1905657"/>
                <a:gd name="connsiteY851" fmla="*/ 24626 h 1221162"/>
                <a:gd name="connsiteX852" fmla="*/ 472611 w 1905657"/>
                <a:gd name="connsiteY852" fmla="*/ 22776 h 1221162"/>
                <a:gd name="connsiteX853" fmla="*/ 470323 w 1905657"/>
                <a:gd name="connsiteY853" fmla="*/ 21027 h 1221162"/>
                <a:gd name="connsiteX854" fmla="*/ 466621 w 1905657"/>
                <a:gd name="connsiteY854" fmla="*/ 19614 h 1221162"/>
                <a:gd name="connsiteX855" fmla="*/ 461505 w 1905657"/>
                <a:gd name="connsiteY855" fmla="*/ 19076 h 1221162"/>
                <a:gd name="connsiteX856" fmla="*/ 456726 w 1905657"/>
                <a:gd name="connsiteY856" fmla="*/ 19076 h 1221162"/>
                <a:gd name="connsiteX857" fmla="*/ 452284 w 1905657"/>
                <a:gd name="connsiteY857" fmla="*/ 19076 h 1221162"/>
                <a:gd name="connsiteX858" fmla="*/ 448818 w 1905657"/>
                <a:gd name="connsiteY858" fmla="*/ 18975 h 1221162"/>
                <a:gd name="connsiteX859" fmla="*/ 446967 w 1905657"/>
                <a:gd name="connsiteY859" fmla="*/ 21262 h 1221162"/>
                <a:gd name="connsiteX860" fmla="*/ 446967 w 1905657"/>
                <a:gd name="connsiteY860" fmla="*/ 22675 h 1221162"/>
                <a:gd name="connsiteX861" fmla="*/ 449995 w 1905657"/>
                <a:gd name="connsiteY861" fmla="*/ 25265 h 1221162"/>
                <a:gd name="connsiteX862" fmla="*/ 450197 w 1905657"/>
                <a:gd name="connsiteY862" fmla="*/ 26342 h 1221162"/>
                <a:gd name="connsiteX863" fmla="*/ 449423 w 1905657"/>
                <a:gd name="connsiteY863" fmla="*/ 27216 h 1221162"/>
                <a:gd name="connsiteX864" fmla="*/ 446933 w 1905657"/>
                <a:gd name="connsiteY864" fmla="*/ 29403 h 1221162"/>
                <a:gd name="connsiteX865" fmla="*/ 445957 w 1905657"/>
                <a:gd name="connsiteY865" fmla="*/ 30614 h 1221162"/>
                <a:gd name="connsiteX866" fmla="*/ 444442 w 1905657"/>
                <a:gd name="connsiteY866" fmla="*/ 31489 h 1221162"/>
                <a:gd name="connsiteX867" fmla="*/ 441514 w 1905657"/>
                <a:gd name="connsiteY867" fmla="*/ 32700 h 1221162"/>
                <a:gd name="connsiteX868" fmla="*/ 439865 w 1905657"/>
                <a:gd name="connsiteY868" fmla="*/ 33137 h 1221162"/>
                <a:gd name="connsiteX869" fmla="*/ 438014 w 1905657"/>
                <a:gd name="connsiteY869" fmla="*/ 34112 h 1221162"/>
                <a:gd name="connsiteX870" fmla="*/ 435288 w 1905657"/>
                <a:gd name="connsiteY870" fmla="*/ 34886 h 1221162"/>
                <a:gd name="connsiteX871" fmla="*/ 430812 w 1905657"/>
                <a:gd name="connsiteY871" fmla="*/ 35660 h 1221162"/>
                <a:gd name="connsiteX872" fmla="*/ 427985 w 1905657"/>
                <a:gd name="connsiteY872" fmla="*/ 36097 h 1221162"/>
                <a:gd name="connsiteX873" fmla="*/ 426235 w 1905657"/>
                <a:gd name="connsiteY873" fmla="*/ 37947 h 1221162"/>
                <a:gd name="connsiteX874" fmla="*/ 421658 w 1905657"/>
                <a:gd name="connsiteY874" fmla="*/ 39798 h 1221162"/>
                <a:gd name="connsiteX875" fmla="*/ 419605 w 1905657"/>
                <a:gd name="connsiteY875" fmla="*/ 42085 h 1221162"/>
                <a:gd name="connsiteX876" fmla="*/ 417115 w 1905657"/>
                <a:gd name="connsiteY876" fmla="*/ 45449 h 1221162"/>
                <a:gd name="connsiteX877" fmla="*/ 415802 w 1905657"/>
                <a:gd name="connsiteY877" fmla="*/ 47736 h 1221162"/>
                <a:gd name="connsiteX878" fmla="*/ 413312 w 1905657"/>
                <a:gd name="connsiteY878" fmla="*/ 49048 h 1221162"/>
                <a:gd name="connsiteX879" fmla="*/ 408735 w 1905657"/>
                <a:gd name="connsiteY879" fmla="*/ 50360 h 1221162"/>
                <a:gd name="connsiteX880" fmla="*/ 402643 w 1905657"/>
                <a:gd name="connsiteY880" fmla="*/ 50562 h 1221162"/>
                <a:gd name="connsiteX881" fmla="*/ 398605 w 1905657"/>
                <a:gd name="connsiteY881" fmla="*/ 51000 h 1221162"/>
                <a:gd name="connsiteX882" fmla="*/ 394364 w 1905657"/>
                <a:gd name="connsiteY882" fmla="*/ 51201 h 1221162"/>
                <a:gd name="connsiteX883" fmla="*/ 390326 w 1905657"/>
                <a:gd name="connsiteY883" fmla="*/ 51302 h 1221162"/>
                <a:gd name="connsiteX884" fmla="*/ 385883 w 1905657"/>
                <a:gd name="connsiteY884" fmla="*/ 51403 h 1221162"/>
                <a:gd name="connsiteX885" fmla="*/ 381744 w 1905657"/>
                <a:gd name="connsiteY885" fmla="*/ 49217 h 1221162"/>
                <a:gd name="connsiteX886" fmla="*/ 374037 w 1905657"/>
                <a:gd name="connsiteY886" fmla="*/ 48678 h 1221162"/>
                <a:gd name="connsiteX887" fmla="*/ 368619 w 1905657"/>
                <a:gd name="connsiteY887" fmla="*/ 45853 h 1221162"/>
                <a:gd name="connsiteX888" fmla="*/ 368619 w 1905657"/>
                <a:gd name="connsiteY888" fmla="*/ 41816 h 1221162"/>
                <a:gd name="connsiteX889" fmla="*/ 367104 w 1905657"/>
                <a:gd name="connsiteY889" fmla="*/ 38889 h 1221162"/>
                <a:gd name="connsiteX890" fmla="*/ 364378 w 1905657"/>
                <a:gd name="connsiteY890" fmla="*/ 35189 h 1221162"/>
                <a:gd name="connsiteX891" fmla="*/ 360474 w 1905657"/>
                <a:gd name="connsiteY891" fmla="*/ 32901 h 1221162"/>
                <a:gd name="connsiteX892" fmla="*/ 353844 w 1905657"/>
                <a:gd name="connsiteY892" fmla="*/ 30849 h 1221162"/>
                <a:gd name="connsiteX893" fmla="*/ 350681 w 1905657"/>
                <a:gd name="connsiteY893" fmla="*/ 30513 h 1221162"/>
                <a:gd name="connsiteX894" fmla="*/ 345666 w 1905657"/>
                <a:gd name="connsiteY894" fmla="*/ 28999 h 1221162"/>
                <a:gd name="connsiteX895" fmla="*/ 339036 w 1905657"/>
                <a:gd name="connsiteY895" fmla="*/ 25837 h 1221162"/>
                <a:gd name="connsiteX896" fmla="*/ 338397 w 1905657"/>
                <a:gd name="connsiteY896" fmla="*/ 24525 h 1221162"/>
                <a:gd name="connsiteX897" fmla="*/ 335233 w 1905657"/>
                <a:gd name="connsiteY897" fmla="*/ 21800 h 1221162"/>
                <a:gd name="connsiteX898" fmla="*/ 332070 w 1905657"/>
                <a:gd name="connsiteY898" fmla="*/ 19311 h 1221162"/>
                <a:gd name="connsiteX899" fmla="*/ 329478 w 1905657"/>
                <a:gd name="connsiteY899" fmla="*/ 19513 h 1221162"/>
                <a:gd name="connsiteX900" fmla="*/ 328603 w 1905657"/>
                <a:gd name="connsiteY900" fmla="*/ 21363 h 1221162"/>
                <a:gd name="connsiteX901" fmla="*/ 328603 w 1905657"/>
                <a:gd name="connsiteY901" fmla="*/ 22675 h 1221162"/>
                <a:gd name="connsiteX902" fmla="*/ 329243 w 1905657"/>
                <a:gd name="connsiteY902" fmla="*/ 25837 h 1221162"/>
                <a:gd name="connsiteX903" fmla="*/ 328603 w 1905657"/>
                <a:gd name="connsiteY903" fmla="*/ 26611 h 1221162"/>
                <a:gd name="connsiteX904" fmla="*/ 325675 w 1905657"/>
                <a:gd name="connsiteY904" fmla="*/ 27586 h 1221162"/>
                <a:gd name="connsiteX905" fmla="*/ 324464 w 1905657"/>
                <a:gd name="connsiteY905" fmla="*/ 28225 h 1221162"/>
                <a:gd name="connsiteX906" fmla="*/ 321199 w 1905657"/>
                <a:gd name="connsiteY906" fmla="*/ 28764 h 1221162"/>
                <a:gd name="connsiteX907" fmla="*/ 319012 w 1905657"/>
                <a:gd name="connsiteY907" fmla="*/ 28764 h 1221162"/>
                <a:gd name="connsiteX908" fmla="*/ 312045 w 1905657"/>
                <a:gd name="connsiteY908" fmla="*/ 23550 h 1221162"/>
                <a:gd name="connsiteX909" fmla="*/ 309016 w 1905657"/>
                <a:gd name="connsiteY909" fmla="*/ 20623 h 1221162"/>
                <a:gd name="connsiteX910" fmla="*/ 303901 w 1905657"/>
                <a:gd name="connsiteY910" fmla="*/ 17259 h 1221162"/>
                <a:gd name="connsiteX911" fmla="*/ 299559 w 1905657"/>
                <a:gd name="connsiteY911" fmla="*/ 13693 h 1221162"/>
                <a:gd name="connsiteX912" fmla="*/ 295319 w 1905657"/>
                <a:gd name="connsiteY912" fmla="*/ 10430 h 1221162"/>
                <a:gd name="connsiteX913" fmla="*/ 291718 w 1905657"/>
                <a:gd name="connsiteY913" fmla="*/ 8143 h 1221162"/>
                <a:gd name="connsiteX914" fmla="*/ 289026 w 1905657"/>
                <a:gd name="connsiteY914" fmla="*/ 5317 h 1221162"/>
                <a:gd name="connsiteX915" fmla="*/ 288487 w 1905657"/>
                <a:gd name="connsiteY915" fmla="*/ 3265 h 1221162"/>
                <a:gd name="connsiteX916" fmla="*/ 287713 w 1905657"/>
                <a:gd name="connsiteY916" fmla="*/ 1583 h 1221162"/>
                <a:gd name="connsiteX917" fmla="*/ 284886 w 1905657"/>
                <a:gd name="connsiteY917" fmla="*/ 977 h 1221162"/>
                <a:gd name="connsiteX918" fmla="*/ 282497 w 1905657"/>
                <a:gd name="connsiteY918" fmla="*/ 977 h 1221162"/>
                <a:gd name="connsiteX919" fmla="*/ 279468 w 1905657"/>
                <a:gd name="connsiteY919" fmla="*/ 204 h 1221162"/>
                <a:gd name="connsiteX920" fmla="*/ 276304 w 1905657"/>
                <a:gd name="connsiteY920" fmla="*/ 1078 h 1221162"/>
                <a:gd name="connsiteX921" fmla="*/ 273275 w 1905657"/>
                <a:gd name="connsiteY921" fmla="*/ 1617 h 1221162"/>
                <a:gd name="connsiteX922" fmla="*/ 269270 w 1905657"/>
                <a:gd name="connsiteY922" fmla="*/ 3130 h 1221162"/>
                <a:gd name="connsiteX923" fmla="*/ 265905 w 1905657"/>
                <a:gd name="connsiteY923" fmla="*/ 4207 h 1221162"/>
                <a:gd name="connsiteX924" fmla="*/ 262304 w 1905657"/>
                <a:gd name="connsiteY924" fmla="*/ 4981 h 1221162"/>
                <a:gd name="connsiteX925" fmla="*/ 259813 w 1905657"/>
                <a:gd name="connsiteY925" fmla="*/ 6494 h 1221162"/>
                <a:gd name="connsiteX926" fmla="*/ 257760 w 1905657"/>
                <a:gd name="connsiteY926" fmla="*/ 9522 h 1221162"/>
                <a:gd name="connsiteX927" fmla="*/ 257323 w 1905657"/>
                <a:gd name="connsiteY927" fmla="*/ 11910 h 1221162"/>
                <a:gd name="connsiteX928" fmla="*/ 257323 w 1905657"/>
                <a:gd name="connsiteY928" fmla="*/ 15712 h 1221162"/>
                <a:gd name="connsiteX929" fmla="*/ 258400 w 1905657"/>
                <a:gd name="connsiteY929" fmla="*/ 18739 h 1221162"/>
                <a:gd name="connsiteX930" fmla="*/ 258063 w 1905657"/>
                <a:gd name="connsiteY930" fmla="*/ 20926 h 1221162"/>
                <a:gd name="connsiteX931" fmla="*/ 257289 w 1905657"/>
                <a:gd name="connsiteY931" fmla="*/ 22137 h 1221162"/>
                <a:gd name="connsiteX932" fmla="*/ 253688 w 1905657"/>
                <a:gd name="connsiteY932" fmla="*/ 24963 h 1221162"/>
                <a:gd name="connsiteX933" fmla="*/ 251635 w 1905657"/>
                <a:gd name="connsiteY933" fmla="*/ 26174 h 1221162"/>
                <a:gd name="connsiteX934" fmla="*/ 247731 w 1905657"/>
                <a:gd name="connsiteY934" fmla="*/ 28125 h 1221162"/>
                <a:gd name="connsiteX935" fmla="*/ 245140 w 1905657"/>
                <a:gd name="connsiteY935" fmla="*/ 29201 h 1221162"/>
                <a:gd name="connsiteX936" fmla="*/ 243289 w 1905657"/>
                <a:gd name="connsiteY936" fmla="*/ 30614 h 1221162"/>
                <a:gd name="connsiteX937" fmla="*/ 241976 w 1905657"/>
                <a:gd name="connsiteY937" fmla="*/ 34314 h 1221162"/>
                <a:gd name="connsiteX938" fmla="*/ 237097 w 1905657"/>
                <a:gd name="connsiteY938" fmla="*/ 36938 h 1221162"/>
                <a:gd name="connsiteX939" fmla="*/ 234270 w 1905657"/>
                <a:gd name="connsiteY939" fmla="*/ 38250 h 1221162"/>
                <a:gd name="connsiteX940" fmla="*/ 230029 w 1905657"/>
                <a:gd name="connsiteY940" fmla="*/ 42590 h 1221162"/>
                <a:gd name="connsiteX941" fmla="*/ 228178 w 1905657"/>
                <a:gd name="connsiteY941" fmla="*/ 45180 h 1221162"/>
                <a:gd name="connsiteX942" fmla="*/ 223837 w 1905657"/>
                <a:gd name="connsiteY942" fmla="*/ 48544 h 1221162"/>
                <a:gd name="connsiteX943" fmla="*/ 215894 w 1905657"/>
                <a:gd name="connsiteY943" fmla="*/ 48914 h 1221162"/>
                <a:gd name="connsiteX944" fmla="*/ 212529 w 1905657"/>
                <a:gd name="connsiteY944" fmla="*/ 49620 h 1221162"/>
                <a:gd name="connsiteX945" fmla="*/ 207750 w 1905657"/>
                <a:gd name="connsiteY945" fmla="*/ 49620 h 1221162"/>
                <a:gd name="connsiteX946" fmla="*/ 203711 w 1905657"/>
                <a:gd name="connsiteY946" fmla="*/ 53220 h 1221162"/>
                <a:gd name="connsiteX947" fmla="*/ 200548 w 1905657"/>
                <a:gd name="connsiteY947" fmla="*/ 56382 h 1221162"/>
                <a:gd name="connsiteX948" fmla="*/ 197081 w 1905657"/>
                <a:gd name="connsiteY948" fmla="*/ 61226 h 1221162"/>
                <a:gd name="connsiteX949" fmla="*/ 190990 w 1905657"/>
                <a:gd name="connsiteY949" fmla="*/ 61226 h 1221162"/>
                <a:gd name="connsiteX950" fmla="*/ 178268 w 1905657"/>
                <a:gd name="connsiteY950" fmla="*/ 61932 h 1221162"/>
                <a:gd name="connsiteX951" fmla="*/ 174028 w 1905657"/>
                <a:gd name="connsiteY951" fmla="*/ 61831 h 1221162"/>
                <a:gd name="connsiteX952" fmla="*/ 170427 w 1905657"/>
                <a:gd name="connsiteY952" fmla="*/ 60957 h 1221162"/>
                <a:gd name="connsiteX953" fmla="*/ 165749 w 1905657"/>
                <a:gd name="connsiteY953" fmla="*/ 61831 h 1221162"/>
                <a:gd name="connsiteX954" fmla="*/ 162518 w 1905657"/>
                <a:gd name="connsiteY954" fmla="*/ 61831 h 1221162"/>
                <a:gd name="connsiteX955" fmla="*/ 158076 w 1905657"/>
                <a:gd name="connsiteY955" fmla="*/ 65969 h 1221162"/>
                <a:gd name="connsiteX956" fmla="*/ 153196 w 1905657"/>
                <a:gd name="connsiteY956" fmla="*/ 68694 h 1221162"/>
                <a:gd name="connsiteX957" fmla="*/ 150369 w 1905657"/>
                <a:gd name="connsiteY957" fmla="*/ 70746 h 1221162"/>
                <a:gd name="connsiteX958" fmla="*/ 147003 w 1905657"/>
                <a:gd name="connsiteY958" fmla="*/ 72260 h 1221162"/>
                <a:gd name="connsiteX959" fmla="*/ 141787 w 1905657"/>
                <a:gd name="connsiteY959" fmla="*/ 71923 h 1221162"/>
                <a:gd name="connsiteX960" fmla="*/ 137782 w 1905657"/>
                <a:gd name="connsiteY960" fmla="*/ 72024 h 1221162"/>
                <a:gd name="connsiteX961" fmla="*/ 130815 w 1905657"/>
                <a:gd name="connsiteY961" fmla="*/ 72226 h 1221162"/>
                <a:gd name="connsiteX962" fmla="*/ 125700 w 1905657"/>
                <a:gd name="connsiteY962" fmla="*/ 73303 h 1221162"/>
                <a:gd name="connsiteX963" fmla="*/ 120685 w 1905657"/>
                <a:gd name="connsiteY963" fmla="*/ 73202 h 1221162"/>
                <a:gd name="connsiteX964" fmla="*/ 120147 w 1905657"/>
                <a:gd name="connsiteY964" fmla="*/ 77676 h 1221162"/>
                <a:gd name="connsiteX965" fmla="*/ 117926 w 1905657"/>
                <a:gd name="connsiteY965" fmla="*/ 79190 h 1221162"/>
                <a:gd name="connsiteX966" fmla="*/ 112978 w 1905657"/>
                <a:gd name="connsiteY966" fmla="*/ 82789 h 1221162"/>
                <a:gd name="connsiteX967" fmla="*/ 112978 w 1905657"/>
                <a:gd name="connsiteY967" fmla="*/ 85278 h 1221162"/>
                <a:gd name="connsiteX968" fmla="*/ 109950 w 1905657"/>
                <a:gd name="connsiteY968" fmla="*/ 87330 h 1221162"/>
                <a:gd name="connsiteX969" fmla="*/ 108435 w 1905657"/>
                <a:gd name="connsiteY969" fmla="*/ 88642 h 1221162"/>
                <a:gd name="connsiteX970" fmla="*/ 106685 w 1905657"/>
                <a:gd name="connsiteY970" fmla="*/ 90156 h 1221162"/>
                <a:gd name="connsiteX971" fmla="*/ 103959 w 1905657"/>
                <a:gd name="connsiteY971" fmla="*/ 91132 h 1221162"/>
                <a:gd name="connsiteX972" fmla="*/ 100358 w 1905657"/>
                <a:gd name="connsiteY972" fmla="*/ 92511 h 1221162"/>
                <a:gd name="connsiteX973" fmla="*/ 95882 w 1905657"/>
                <a:gd name="connsiteY973" fmla="*/ 93217 h 1221162"/>
                <a:gd name="connsiteX974" fmla="*/ 91978 w 1905657"/>
                <a:gd name="connsiteY974" fmla="*/ 94092 h 1221162"/>
                <a:gd name="connsiteX975" fmla="*/ 88209 w 1905657"/>
                <a:gd name="connsiteY975" fmla="*/ 94529 h 1221162"/>
                <a:gd name="connsiteX976" fmla="*/ 85314 w 1905657"/>
                <a:gd name="connsiteY976" fmla="*/ 95101 h 1221162"/>
                <a:gd name="connsiteX977" fmla="*/ 82723 w 1905657"/>
                <a:gd name="connsiteY977" fmla="*/ 95404 h 1221162"/>
                <a:gd name="connsiteX978" fmla="*/ 81713 w 1905657"/>
                <a:gd name="connsiteY978" fmla="*/ 96413 h 1221162"/>
                <a:gd name="connsiteX979" fmla="*/ 82285 w 1905657"/>
                <a:gd name="connsiteY979" fmla="*/ 99609 h 1221162"/>
                <a:gd name="connsiteX980" fmla="*/ 82588 w 1905657"/>
                <a:gd name="connsiteY980" fmla="*/ 103814 h 1221162"/>
                <a:gd name="connsiteX981" fmla="*/ 84776 w 1905657"/>
                <a:gd name="connsiteY981" fmla="*/ 108019 h 1221162"/>
                <a:gd name="connsiteX982" fmla="*/ 85348 w 1905657"/>
                <a:gd name="connsiteY982" fmla="*/ 110777 h 1221162"/>
                <a:gd name="connsiteX983" fmla="*/ 85651 w 1905657"/>
                <a:gd name="connsiteY983" fmla="*/ 116731 h 1221162"/>
                <a:gd name="connsiteX984" fmla="*/ 85213 w 1905657"/>
                <a:gd name="connsiteY984" fmla="*/ 124973 h 1221162"/>
                <a:gd name="connsiteX985" fmla="*/ 81747 w 1905657"/>
                <a:gd name="connsiteY985" fmla="*/ 129010 h 1221162"/>
                <a:gd name="connsiteX986" fmla="*/ 81747 w 1905657"/>
                <a:gd name="connsiteY986" fmla="*/ 133921 h 1221162"/>
                <a:gd name="connsiteX987" fmla="*/ 79559 w 1905657"/>
                <a:gd name="connsiteY987" fmla="*/ 135670 h 1221162"/>
                <a:gd name="connsiteX988" fmla="*/ 76531 w 1905657"/>
                <a:gd name="connsiteY988" fmla="*/ 138429 h 1221162"/>
                <a:gd name="connsiteX989" fmla="*/ 74848 w 1905657"/>
                <a:gd name="connsiteY989" fmla="*/ 141894 h 1221162"/>
                <a:gd name="connsiteX990" fmla="*/ 73030 w 1905657"/>
                <a:gd name="connsiteY990" fmla="*/ 145224 h 1221162"/>
                <a:gd name="connsiteX991" fmla="*/ 73030 w 1905657"/>
                <a:gd name="connsiteY991" fmla="*/ 147848 h 1221162"/>
                <a:gd name="connsiteX992" fmla="*/ 73030 w 1905657"/>
                <a:gd name="connsiteY992" fmla="*/ 153062 h 1221162"/>
                <a:gd name="connsiteX993" fmla="*/ 76800 w 1905657"/>
                <a:gd name="connsiteY993" fmla="*/ 161169 h 1221162"/>
                <a:gd name="connsiteX994" fmla="*/ 83329 w 1905657"/>
                <a:gd name="connsiteY994" fmla="*/ 175365 h 1221162"/>
                <a:gd name="connsiteX995" fmla="*/ 85516 w 1905657"/>
                <a:gd name="connsiteY995" fmla="*/ 179268 h 1221162"/>
                <a:gd name="connsiteX996" fmla="*/ 86526 w 1905657"/>
                <a:gd name="connsiteY996" fmla="*/ 183472 h 1221162"/>
                <a:gd name="connsiteX997" fmla="*/ 87536 w 1905657"/>
                <a:gd name="connsiteY997" fmla="*/ 188687 h 1221162"/>
                <a:gd name="connsiteX998" fmla="*/ 88983 w 1905657"/>
                <a:gd name="connsiteY998" fmla="*/ 192892 h 1221162"/>
                <a:gd name="connsiteX999" fmla="*/ 89689 w 1905657"/>
                <a:gd name="connsiteY999" fmla="*/ 194641 h 1221162"/>
                <a:gd name="connsiteX1000" fmla="*/ 91877 w 1905657"/>
                <a:gd name="connsiteY1000" fmla="*/ 198106 h 1221162"/>
                <a:gd name="connsiteX1001" fmla="*/ 97968 w 1905657"/>
                <a:gd name="connsiteY1001" fmla="*/ 204632 h 1221162"/>
                <a:gd name="connsiteX1002" fmla="*/ 99483 w 1905657"/>
                <a:gd name="connsiteY1002" fmla="*/ 206818 h 1221162"/>
                <a:gd name="connsiteX1003" fmla="*/ 100863 w 1905657"/>
                <a:gd name="connsiteY1003" fmla="*/ 209577 h 1221162"/>
                <a:gd name="connsiteX1004" fmla="*/ 100863 w 1905657"/>
                <a:gd name="connsiteY1004" fmla="*/ 212201 h 1221162"/>
                <a:gd name="connsiteX1005" fmla="*/ 98978 w 1905657"/>
                <a:gd name="connsiteY1005" fmla="*/ 216540 h 1221162"/>
                <a:gd name="connsiteX1006" fmla="*/ 97228 w 1905657"/>
                <a:gd name="connsiteY1006" fmla="*/ 221317 h 1221162"/>
                <a:gd name="connsiteX1007" fmla="*/ 95916 w 1905657"/>
                <a:gd name="connsiteY1007" fmla="*/ 223638 h 1221162"/>
                <a:gd name="connsiteX1008" fmla="*/ 95343 w 1905657"/>
                <a:gd name="connsiteY1008" fmla="*/ 226666 h 1221162"/>
                <a:gd name="connsiteX1009" fmla="*/ 96925 w 1905657"/>
                <a:gd name="connsiteY1009" fmla="*/ 233192 h 1221162"/>
                <a:gd name="connsiteX1010" fmla="*/ 98372 w 1905657"/>
                <a:gd name="connsiteY1010" fmla="*/ 240424 h 1221162"/>
                <a:gd name="connsiteX1011" fmla="*/ 97632 w 1905657"/>
                <a:gd name="connsiteY1011" fmla="*/ 244629 h 1221162"/>
                <a:gd name="connsiteX1012" fmla="*/ 95613 w 1905657"/>
                <a:gd name="connsiteY1012" fmla="*/ 246076 h 1221162"/>
                <a:gd name="connsiteX1013" fmla="*/ 95613 w 1905657"/>
                <a:gd name="connsiteY1013" fmla="*/ 246950 h 1221162"/>
                <a:gd name="connsiteX1014" fmla="*/ 95613 w 1905657"/>
                <a:gd name="connsiteY1014" fmla="*/ 250415 h 1221162"/>
                <a:gd name="connsiteX1015" fmla="*/ 94872 w 1905657"/>
                <a:gd name="connsiteY1015" fmla="*/ 253308 h 1221162"/>
                <a:gd name="connsiteX1016" fmla="*/ 93863 w 1905657"/>
                <a:gd name="connsiteY1016" fmla="*/ 257648 h 1221162"/>
                <a:gd name="connsiteX1017" fmla="*/ 94166 w 1905657"/>
                <a:gd name="connsiteY1017" fmla="*/ 260541 h 1221162"/>
                <a:gd name="connsiteX1018" fmla="*/ 94166 w 1905657"/>
                <a:gd name="connsiteY1018" fmla="*/ 262727 h 1221162"/>
                <a:gd name="connsiteX1019" fmla="*/ 93425 w 1905657"/>
                <a:gd name="connsiteY1019" fmla="*/ 265351 h 1221162"/>
                <a:gd name="connsiteX1020" fmla="*/ 93291 w 1905657"/>
                <a:gd name="connsiteY1020" fmla="*/ 267370 h 1221162"/>
                <a:gd name="connsiteX1021" fmla="*/ 91978 w 1905657"/>
                <a:gd name="connsiteY1021" fmla="*/ 270566 h 1221162"/>
                <a:gd name="connsiteX1022" fmla="*/ 89521 w 1905657"/>
                <a:gd name="connsiteY1022" fmla="*/ 274198 h 1221162"/>
                <a:gd name="connsiteX1023" fmla="*/ 87334 w 1905657"/>
                <a:gd name="connsiteY1023" fmla="*/ 276217 h 1221162"/>
                <a:gd name="connsiteX1024" fmla="*/ 84305 w 1905657"/>
                <a:gd name="connsiteY1024" fmla="*/ 278841 h 1221162"/>
                <a:gd name="connsiteX1025" fmla="*/ 80670 w 1905657"/>
                <a:gd name="connsiteY1025" fmla="*/ 281734 h 1221162"/>
                <a:gd name="connsiteX1026" fmla="*/ 78079 w 1905657"/>
                <a:gd name="connsiteY1026" fmla="*/ 283483 h 1221162"/>
                <a:gd name="connsiteX1027" fmla="*/ 75117 w 1905657"/>
                <a:gd name="connsiteY1027" fmla="*/ 284190 h 1221162"/>
                <a:gd name="connsiteX1028" fmla="*/ 73030 w 1905657"/>
                <a:gd name="connsiteY1028" fmla="*/ 287654 h 1221162"/>
                <a:gd name="connsiteX1029" fmla="*/ 73030 w 1905657"/>
                <a:gd name="connsiteY1029" fmla="*/ 288664 h 1221162"/>
                <a:gd name="connsiteX1030" fmla="*/ 72155 w 1905657"/>
                <a:gd name="connsiteY1030" fmla="*/ 289975 h 1221162"/>
                <a:gd name="connsiteX1031" fmla="*/ 70641 w 1905657"/>
                <a:gd name="connsiteY1031" fmla="*/ 290682 h 1221162"/>
                <a:gd name="connsiteX1032" fmla="*/ 69127 w 1905657"/>
                <a:gd name="connsiteY1032" fmla="*/ 293003 h 1221162"/>
                <a:gd name="connsiteX1033" fmla="*/ 66535 w 1905657"/>
                <a:gd name="connsiteY1033" fmla="*/ 293945 h 1221162"/>
                <a:gd name="connsiteX1034" fmla="*/ 64482 w 1905657"/>
                <a:gd name="connsiteY1034" fmla="*/ 294382 h 1221162"/>
                <a:gd name="connsiteX1035" fmla="*/ 60343 w 1905657"/>
                <a:gd name="connsiteY1035" fmla="*/ 294382 h 1221162"/>
                <a:gd name="connsiteX1036" fmla="*/ 58727 w 1905657"/>
                <a:gd name="connsiteY1036" fmla="*/ 294113 h 1221162"/>
                <a:gd name="connsiteX1037" fmla="*/ 55732 w 1905657"/>
                <a:gd name="connsiteY1037" fmla="*/ 293676 h 1221162"/>
                <a:gd name="connsiteX1038" fmla="*/ 51592 w 1905657"/>
                <a:gd name="connsiteY1038" fmla="*/ 291826 h 1221162"/>
                <a:gd name="connsiteX1039" fmla="*/ 46713 w 1905657"/>
                <a:gd name="connsiteY1039" fmla="*/ 288731 h 1221162"/>
                <a:gd name="connsiteX1040" fmla="*/ 46006 w 1905657"/>
                <a:gd name="connsiteY1040" fmla="*/ 286813 h 1221162"/>
                <a:gd name="connsiteX1041" fmla="*/ 43246 w 1905657"/>
                <a:gd name="connsiteY1041" fmla="*/ 281667 h 1221162"/>
                <a:gd name="connsiteX1042" fmla="*/ 42203 w 1905657"/>
                <a:gd name="connsiteY1042" fmla="*/ 277226 h 1221162"/>
                <a:gd name="connsiteX1043" fmla="*/ 42203 w 1905657"/>
                <a:gd name="connsiteY1043" fmla="*/ 274468 h 1221162"/>
                <a:gd name="connsiteX1044" fmla="*/ 42809 w 1905657"/>
                <a:gd name="connsiteY1044" fmla="*/ 272416 h 1221162"/>
                <a:gd name="connsiteX1045" fmla="*/ 44761 w 1905657"/>
                <a:gd name="connsiteY1045" fmla="*/ 270397 h 1221162"/>
                <a:gd name="connsiteX1046" fmla="*/ 45804 w 1905657"/>
                <a:gd name="connsiteY1046" fmla="*/ 268715 h 1221162"/>
                <a:gd name="connsiteX1047" fmla="*/ 44054 w 1905657"/>
                <a:gd name="connsiteY1047" fmla="*/ 264544 h 1221162"/>
                <a:gd name="connsiteX1048" fmla="*/ 44390 w 1905657"/>
                <a:gd name="connsiteY1048" fmla="*/ 259061 h 1221162"/>
                <a:gd name="connsiteX1049" fmla="*/ 43448 w 1905657"/>
                <a:gd name="connsiteY1049" fmla="*/ 256134 h 1221162"/>
                <a:gd name="connsiteX1050" fmla="*/ 43515 w 1905657"/>
                <a:gd name="connsiteY1050" fmla="*/ 253510 h 1221162"/>
                <a:gd name="connsiteX1051" fmla="*/ 41698 w 1905657"/>
                <a:gd name="connsiteY1051" fmla="*/ 250819 h 1221162"/>
                <a:gd name="connsiteX1052" fmla="*/ 39376 w 1905657"/>
                <a:gd name="connsiteY1052" fmla="*/ 248296 h 1221162"/>
                <a:gd name="connsiteX1053" fmla="*/ 37054 w 1905657"/>
                <a:gd name="connsiteY1053" fmla="*/ 249440 h 1221162"/>
                <a:gd name="connsiteX1054" fmla="*/ 34361 w 1905657"/>
                <a:gd name="connsiteY1054" fmla="*/ 251626 h 1221162"/>
                <a:gd name="connsiteX1055" fmla="*/ 32914 w 1905657"/>
                <a:gd name="connsiteY1055" fmla="*/ 252636 h 1221162"/>
                <a:gd name="connsiteX1056" fmla="*/ 30727 w 1905657"/>
                <a:gd name="connsiteY1056" fmla="*/ 253880 h 1221162"/>
                <a:gd name="connsiteX1057" fmla="*/ 26890 w 1905657"/>
                <a:gd name="connsiteY1057" fmla="*/ 252736 h 1221162"/>
                <a:gd name="connsiteX1058" fmla="*/ 24366 w 1905657"/>
                <a:gd name="connsiteY1058" fmla="*/ 253308 h 1221162"/>
                <a:gd name="connsiteX1059" fmla="*/ 19351 w 1905657"/>
                <a:gd name="connsiteY1059" fmla="*/ 253813 h 1221162"/>
                <a:gd name="connsiteX1060" fmla="*/ 16020 w 1905657"/>
                <a:gd name="connsiteY1060" fmla="*/ 254957 h 1221162"/>
                <a:gd name="connsiteX1061" fmla="*/ 13697 w 1905657"/>
                <a:gd name="connsiteY1061" fmla="*/ 259431 h 1221162"/>
                <a:gd name="connsiteX1062" fmla="*/ 10870 w 1905657"/>
                <a:gd name="connsiteY1062" fmla="*/ 262391 h 1221162"/>
                <a:gd name="connsiteX1063" fmla="*/ 9524 w 1905657"/>
                <a:gd name="connsiteY1063" fmla="*/ 266596 h 1221162"/>
                <a:gd name="connsiteX1064" fmla="*/ 8683 w 1905657"/>
                <a:gd name="connsiteY1064" fmla="*/ 272685 h 1221162"/>
                <a:gd name="connsiteX1065" fmla="*/ 8683 w 1905657"/>
                <a:gd name="connsiteY1065" fmla="*/ 276520 h 1221162"/>
                <a:gd name="connsiteX1066" fmla="*/ 6933 w 1905657"/>
                <a:gd name="connsiteY1066" fmla="*/ 283315 h 1221162"/>
                <a:gd name="connsiteX1067" fmla="*/ 6933 w 1905657"/>
                <a:gd name="connsiteY1067" fmla="*/ 288664 h 1221162"/>
                <a:gd name="connsiteX1068" fmla="*/ 3904 w 1905657"/>
                <a:gd name="connsiteY1068" fmla="*/ 292869 h 1221162"/>
                <a:gd name="connsiteX1069" fmla="*/ 1716 w 1905657"/>
                <a:gd name="connsiteY1069" fmla="*/ 298957 h 1221162"/>
                <a:gd name="connsiteX1070" fmla="*/ 2457 w 1905657"/>
                <a:gd name="connsiteY1070" fmla="*/ 303028 h 1221162"/>
                <a:gd name="connsiteX1071" fmla="*/ 4779 w 1905657"/>
                <a:gd name="connsiteY1071" fmla="*/ 309116 h 1221162"/>
                <a:gd name="connsiteX1072" fmla="*/ 6361 w 1905657"/>
                <a:gd name="connsiteY1072" fmla="*/ 314331 h 1221162"/>
                <a:gd name="connsiteX1073" fmla="*/ 8380 w 1905657"/>
                <a:gd name="connsiteY1073" fmla="*/ 320554 h 1221162"/>
                <a:gd name="connsiteX1074" fmla="*/ 12284 w 1905657"/>
                <a:gd name="connsiteY1074" fmla="*/ 325196 h 1221162"/>
                <a:gd name="connsiteX1075" fmla="*/ 15481 w 1905657"/>
                <a:gd name="connsiteY1075" fmla="*/ 327955 h 1221162"/>
                <a:gd name="connsiteX1076" fmla="*/ 17366 w 1905657"/>
                <a:gd name="connsiteY1076" fmla="*/ 328998 h 1221162"/>
                <a:gd name="connsiteX1077" fmla="*/ 19553 w 1905657"/>
                <a:gd name="connsiteY1077" fmla="*/ 330747 h 1221162"/>
                <a:gd name="connsiteX1078" fmla="*/ 21169 w 1905657"/>
                <a:gd name="connsiteY1078" fmla="*/ 333371 h 1221162"/>
                <a:gd name="connsiteX1079" fmla="*/ 21068 w 1905657"/>
                <a:gd name="connsiteY1079" fmla="*/ 335860 h 1221162"/>
                <a:gd name="connsiteX1080" fmla="*/ 20092 w 1905657"/>
                <a:gd name="connsiteY1080" fmla="*/ 336835 h 1221162"/>
                <a:gd name="connsiteX1081" fmla="*/ 15952 w 1905657"/>
                <a:gd name="connsiteY1081" fmla="*/ 342252 h 1221162"/>
                <a:gd name="connsiteX1082" fmla="*/ 14101 w 1905657"/>
                <a:gd name="connsiteY1082" fmla="*/ 343227 h 1221162"/>
                <a:gd name="connsiteX1083" fmla="*/ 12688 w 1905657"/>
                <a:gd name="connsiteY1083" fmla="*/ 345178 h 1221162"/>
                <a:gd name="connsiteX1084" fmla="*/ 12048 w 1905657"/>
                <a:gd name="connsiteY1084" fmla="*/ 347903 h 1221162"/>
                <a:gd name="connsiteX1085" fmla="*/ 10971 w 1905657"/>
                <a:gd name="connsiteY1085" fmla="*/ 350191 h 1221162"/>
                <a:gd name="connsiteX1086" fmla="*/ 9659 w 1905657"/>
                <a:gd name="connsiteY1086" fmla="*/ 352142 h 1221162"/>
                <a:gd name="connsiteX1087" fmla="*/ 9322 w 1905657"/>
                <a:gd name="connsiteY1087" fmla="*/ 354194 h 1221162"/>
                <a:gd name="connsiteX1088" fmla="*/ 9120 w 1905657"/>
                <a:gd name="connsiteY1088" fmla="*/ 356918 h 1221162"/>
                <a:gd name="connsiteX1089" fmla="*/ 10197 w 1905657"/>
                <a:gd name="connsiteY1089" fmla="*/ 360081 h 1221162"/>
                <a:gd name="connsiteX1090" fmla="*/ 11611 w 1905657"/>
                <a:gd name="connsiteY1090" fmla="*/ 363007 h 1221162"/>
                <a:gd name="connsiteX1091" fmla="*/ 12923 w 1905657"/>
                <a:gd name="connsiteY1091" fmla="*/ 365631 h 1221162"/>
                <a:gd name="connsiteX1092" fmla="*/ 12048 w 1905657"/>
                <a:gd name="connsiteY1092" fmla="*/ 372157 h 1221162"/>
                <a:gd name="connsiteX1093" fmla="*/ 11409 w 1905657"/>
                <a:gd name="connsiteY1093" fmla="*/ 374983 h 1221162"/>
                <a:gd name="connsiteX1094" fmla="*/ 10769 w 1905657"/>
                <a:gd name="connsiteY1094" fmla="*/ 376497 h 1221162"/>
                <a:gd name="connsiteX1095" fmla="*/ 7168 w 1905657"/>
                <a:gd name="connsiteY1095" fmla="*/ 380836 h 1221162"/>
                <a:gd name="connsiteX1096" fmla="*/ 6529 w 1905657"/>
                <a:gd name="connsiteY1096" fmla="*/ 384436 h 1221162"/>
                <a:gd name="connsiteX1097" fmla="*/ 4880 w 1905657"/>
                <a:gd name="connsiteY1097" fmla="*/ 388338 h 1221162"/>
                <a:gd name="connsiteX1098" fmla="*/ 3130 w 1905657"/>
                <a:gd name="connsiteY1098" fmla="*/ 391063 h 1221162"/>
                <a:gd name="connsiteX1099" fmla="*/ 1615 w 1905657"/>
                <a:gd name="connsiteY1099" fmla="*/ 393451 h 1221162"/>
                <a:gd name="connsiteX1100" fmla="*/ 0 w 1905657"/>
                <a:gd name="connsiteY1100" fmla="*/ 399002 h 1221162"/>
                <a:gd name="connsiteX1101" fmla="*/ 0 w 1905657"/>
                <a:gd name="connsiteY1101" fmla="*/ 403442 h 1221162"/>
                <a:gd name="connsiteX1102" fmla="*/ 3904 w 1905657"/>
                <a:gd name="connsiteY1102" fmla="*/ 408017 h 1221162"/>
                <a:gd name="connsiteX1103" fmla="*/ 9558 w 1905657"/>
                <a:gd name="connsiteY1103" fmla="*/ 413567 h 1221162"/>
                <a:gd name="connsiteX1104" fmla="*/ 11846 w 1905657"/>
                <a:gd name="connsiteY1104" fmla="*/ 415956 h 1221162"/>
                <a:gd name="connsiteX1105" fmla="*/ 13058 w 1905657"/>
                <a:gd name="connsiteY1105" fmla="*/ 418681 h 1221162"/>
                <a:gd name="connsiteX1106" fmla="*/ 13058 w 1905657"/>
                <a:gd name="connsiteY1106" fmla="*/ 424433 h 1221162"/>
                <a:gd name="connsiteX1107" fmla="*/ 12082 w 1905657"/>
                <a:gd name="connsiteY1107" fmla="*/ 429311 h 1221162"/>
                <a:gd name="connsiteX1108" fmla="*/ 12520 w 1905657"/>
                <a:gd name="connsiteY1108" fmla="*/ 433886 h 1221162"/>
                <a:gd name="connsiteX1109" fmla="*/ 12856 w 1905657"/>
                <a:gd name="connsiteY1109" fmla="*/ 436913 h 1221162"/>
                <a:gd name="connsiteX1110" fmla="*/ 13731 w 1905657"/>
                <a:gd name="connsiteY1110" fmla="*/ 440715 h 1221162"/>
                <a:gd name="connsiteX1111" fmla="*/ 16121 w 1905657"/>
                <a:gd name="connsiteY1111" fmla="*/ 443978 h 1221162"/>
                <a:gd name="connsiteX1112" fmla="*/ 20024 w 1905657"/>
                <a:gd name="connsiteY1112" fmla="*/ 448015 h 1221162"/>
                <a:gd name="connsiteX1113" fmla="*/ 24164 w 1905657"/>
                <a:gd name="connsiteY1113" fmla="*/ 450739 h 1221162"/>
                <a:gd name="connsiteX1114" fmla="*/ 26015 w 1905657"/>
                <a:gd name="connsiteY1114" fmla="*/ 452354 h 1221162"/>
                <a:gd name="connsiteX1115" fmla="*/ 28404 w 1905657"/>
                <a:gd name="connsiteY1115" fmla="*/ 453431 h 1221162"/>
                <a:gd name="connsiteX1116" fmla="*/ 31669 w 1905657"/>
                <a:gd name="connsiteY1116" fmla="*/ 455920 h 1221162"/>
                <a:gd name="connsiteX1117" fmla="*/ 33857 w 1905657"/>
                <a:gd name="connsiteY1117" fmla="*/ 457232 h 1221162"/>
                <a:gd name="connsiteX1118" fmla="*/ 37020 w 1905657"/>
                <a:gd name="connsiteY1118" fmla="*/ 457232 h 1221162"/>
                <a:gd name="connsiteX1119" fmla="*/ 38669 w 1905657"/>
                <a:gd name="connsiteY1119" fmla="*/ 454608 h 1221162"/>
                <a:gd name="connsiteX1120" fmla="*/ 39746 w 1905657"/>
                <a:gd name="connsiteY1120" fmla="*/ 452859 h 1221162"/>
                <a:gd name="connsiteX1121" fmla="*/ 40722 w 1905657"/>
                <a:gd name="connsiteY1121" fmla="*/ 452320 h 1221162"/>
                <a:gd name="connsiteX1122" fmla="*/ 45164 w 1905657"/>
                <a:gd name="connsiteY1122" fmla="*/ 453397 h 1221162"/>
                <a:gd name="connsiteX1123" fmla="*/ 48092 w 1905657"/>
                <a:gd name="connsiteY1123" fmla="*/ 455684 h 1221162"/>
                <a:gd name="connsiteX1124" fmla="*/ 51357 w 1905657"/>
                <a:gd name="connsiteY1124" fmla="*/ 458948 h 1221162"/>
                <a:gd name="connsiteX1125" fmla="*/ 55496 w 1905657"/>
                <a:gd name="connsiteY1125" fmla="*/ 461773 h 1221162"/>
                <a:gd name="connsiteX1126" fmla="*/ 56809 w 1905657"/>
                <a:gd name="connsiteY1126" fmla="*/ 462547 h 1221162"/>
                <a:gd name="connsiteX1127" fmla="*/ 61689 w 1905657"/>
                <a:gd name="connsiteY1127" fmla="*/ 466012 h 1221162"/>
                <a:gd name="connsiteX1128" fmla="*/ 63876 w 1905657"/>
                <a:gd name="connsiteY1128" fmla="*/ 466651 h 1221162"/>
                <a:gd name="connsiteX1129" fmla="*/ 69867 w 1905657"/>
                <a:gd name="connsiteY1129" fmla="*/ 468602 h 1221162"/>
                <a:gd name="connsiteX1130" fmla="*/ 73905 w 1905657"/>
                <a:gd name="connsiteY1130" fmla="*/ 470553 h 1221162"/>
                <a:gd name="connsiteX1131" fmla="*/ 77506 w 1905657"/>
                <a:gd name="connsiteY1131" fmla="*/ 473581 h 1221162"/>
                <a:gd name="connsiteX1132" fmla="*/ 79257 w 1905657"/>
                <a:gd name="connsiteY1132" fmla="*/ 476171 h 1221162"/>
                <a:gd name="connsiteX1133" fmla="*/ 80031 w 1905657"/>
                <a:gd name="connsiteY1133" fmla="*/ 479198 h 1221162"/>
                <a:gd name="connsiteX1134" fmla="*/ 81781 w 1905657"/>
                <a:gd name="connsiteY1134" fmla="*/ 482462 h 1221162"/>
                <a:gd name="connsiteX1135" fmla="*/ 82757 w 1905657"/>
                <a:gd name="connsiteY1135" fmla="*/ 485085 h 1221162"/>
                <a:gd name="connsiteX1136" fmla="*/ 84372 w 1905657"/>
                <a:gd name="connsiteY1136" fmla="*/ 489761 h 1221162"/>
                <a:gd name="connsiteX1137" fmla="*/ 85987 w 1905657"/>
                <a:gd name="connsiteY1137" fmla="*/ 493798 h 1221162"/>
                <a:gd name="connsiteX1138" fmla="*/ 87939 w 1905657"/>
                <a:gd name="connsiteY1138" fmla="*/ 495985 h 1221162"/>
                <a:gd name="connsiteX1139" fmla="*/ 89891 w 1905657"/>
                <a:gd name="connsiteY1139" fmla="*/ 499012 h 1221162"/>
                <a:gd name="connsiteX1140" fmla="*/ 92180 w 1905657"/>
                <a:gd name="connsiteY1140" fmla="*/ 503352 h 1221162"/>
                <a:gd name="connsiteX1141" fmla="*/ 93055 w 1905657"/>
                <a:gd name="connsiteY1141" fmla="*/ 505303 h 1221162"/>
                <a:gd name="connsiteX1142" fmla="*/ 97194 w 1905657"/>
                <a:gd name="connsiteY1142" fmla="*/ 513242 h 1221162"/>
                <a:gd name="connsiteX1143" fmla="*/ 98507 w 1905657"/>
                <a:gd name="connsiteY1143" fmla="*/ 516606 h 1221162"/>
                <a:gd name="connsiteX1144" fmla="*/ 101570 w 1905657"/>
                <a:gd name="connsiteY1144" fmla="*/ 519230 h 1221162"/>
                <a:gd name="connsiteX1145" fmla="*/ 102747 w 1905657"/>
                <a:gd name="connsiteY1145" fmla="*/ 521719 h 1221162"/>
                <a:gd name="connsiteX1146" fmla="*/ 108839 w 1905657"/>
                <a:gd name="connsiteY1146" fmla="*/ 526933 h 1221162"/>
                <a:gd name="connsiteX1147" fmla="*/ 113079 w 1905657"/>
                <a:gd name="connsiteY1147" fmla="*/ 531710 h 1221162"/>
                <a:gd name="connsiteX1148" fmla="*/ 117858 w 1905657"/>
                <a:gd name="connsiteY1148" fmla="*/ 535309 h 1221162"/>
                <a:gd name="connsiteX1149" fmla="*/ 121998 w 1905657"/>
                <a:gd name="connsiteY1149" fmla="*/ 539010 h 1221162"/>
                <a:gd name="connsiteX1150" fmla="*/ 129402 w 1905657"/>
                <a:gd name="connsiteY1150" fmla="*/ 544123 h 1221162"/>
                <a:gd name="connsiteX1151" fmla="*/ 134181 w 1905657"/>
                <a:gd name="connsiteY1151" fmla="*/ 547487 h 1221162"/>
                <a:gd name="connsiteX1152" fmla="*/ 137445 w 1905657"/>
                <a:gd name="connsiteY1152" fmla="*/ 551187 h 1221162"/>
                <a:gd name="connsiteX1153" fmla="*/ 144412 w 1905657"/>
                <a:gd name="connsiteY1153" fmla="*/ 557377 h 1221162"/>
                <a:gd name="connsiteX1154" fmla="*/ 147878 w 1905657"/>
                <a:gd name="connsiteY1154" fmla="*/ 560741 h 1221162"/>
                <a:gd name="connsiteX1155" fmla="*/ 151244 w 1905657"/>
                <a:gd name="connsiteY1155" fmla="*/ 565753 h 1221162"/>
                <a:gd name="connsiteX1156" fmla="*/ 153431 w 1905657"/>
                <a:gd name="connsiteY1156" fmla="*/ 570766 h 1221162"/>
                <a:gd name="connsiteX1157" fmla="*/ 158008 w 1905657"/>
                <a:gd name="connsiteY1157" fmla="*/ 574802 h 1221162"/>
                <a:gd name="connsiteX1158" fmla="*/ 159085 w 1905657"/>
                <a:gd name="connsiteY1158" fmla="*/ 575442 h 1221162"/>
                <a:gd name="connsiteX1159" fmla="*/ 161138 w 1905657"/>
                <a:gd name="connsiteY1159" fmla="*/ 578772 h 1221162"/>
                <a:gd name="connsiteX1160" fmla="*/ 163090 w 1905657"/>
                <a:gd name="connsiteY1160" fmla="*/ 579916 h 1221162"/>
                <a:gd name="connsiteX1161" fmla="*/ 166220 w 1905657"/>
                <a:gd name="connsiteY1161" fmla="*/ 579916 h 1221162"/>
                <a:gd name="connsiteX1162" fmla="*/ 167095 w 1905657"/>
                <a:gd name="connsiteY1162" fmla="*/ 580992 h 1221162"/>
                <a:gd name="connsiteX1163" fmla="*/ 170124 w 1905657"/>
                <a:gd name="connsiteY1163" fmla="*/ 584591 h 1221162"/>
                <a:gd name="connsiteX1164" fmla="*/ 170360 w 1905657"/>
                <a:gd name="connsiteY1164" fmla="*/ 586879 h 1221162"/>
                <a:gd name="connsiteX1165" fmla="*/ 170561 w 1905657"/>
                <a:gd name="connsiteY1165" fmla="*/ 589166 h 1221162"/>
                <a:gd name="connsiteX1166" fmla="*/ 170662 w 1905657"/>
                <a:gd name="connsiteY1166" fmla="*/ 590916 h 1221162"/>
                <a:gd name="connsiteX1167" fmla="*/ 170561 w 1905657"/>
                <a:gd name="connsiteY1167" fmla="*/ 593842 h 1221162"/>
                <a:gd name="connsiteX1168" fmla="*/ 170561 w 1905657"/>
                <a:gd name="connsiteY1168" fmla="*/ 596466 h 1221162"/>
                <a:gd name="connsiteX1169" fmla="*/ 170797 w 1905657"/>
                <a:gd name="connsiteY1169" fmla="*/ 600267 h 1221162"/>
                <a:gd name="connsiteX1170" fmla="*/ 171874 w 1905657"/>
                <a:gd name="connsiteY1170" fmla="*/ 602757 h 1221162"/>
                <a:gd name="connsiteX1171" fmla="*/ 172951 w 1905657"/>
                <a:gd name="connsiteY1171" fmla="*/ 604809 h 1221162"/>
                <a:gd name="connsiteX1172" fmla="*/ 174129 w 1905657"/>
                <a:gd name="connsiteY1172" fmla="*/ 607635 h 1221162"/>
                <a:gd name="connsiteX1173" fmla="*/ 175206 w 1905657"/>
                <a:gd name="connsiteY1173" fmla="*/ 610225 h 1221162"/>
                <a:gd name="connsiteX1174" fmla="*/ 176182 w 1905657"/>
                <a:gd name="connsiteY1174" fmla="*/ 612512 h 1221162"/>
                <a:gd name="connsiteX1175" fmla="*/ 177393 w 1905657"/>
                <a:gd name="connsiteY1175" fmla="*/ 614026 h 1221162"/>
                <a:gd name="connsiteX1176" fmla="*/ 178470 w 1905657"/>
                <a:gd name="connsiteY1176" fmla="*/ 614564 h 1221162"/>
                <a:gd name="connsiteX1177" fmla="*/ 180961 w 1905657"/>
                <a:gd name="connsiteY1177" fmla="*/ 614564 h 1221162"/>
                <a:gd name="connsiteX1178" fmla="*/ 183014 w 1905657"/>
                <a:gd name="connsiteY1178" fmla="*/ 615203 h 1221162"/>
                <a:gd name="connsiteX1179" fmla="*/ 185504 w 1905657"/>
                <a:gd name="connsiteY1179" fmla="*/ 615203 h 1221162"/>
                <a:gd name="connsiteX1180" fmla="*/ 187557 w 1905657"/>
                <a:gd name="connsiteY1180" fmla="*/ 614665 h 1221162"/>
                <a:gd name="connsiteX1181" fmla="*/ 188331 w 1905657"/>
                <a:gd name="connsiteY1181" fmla="*/ 614463 h 1221162"/>
                <a:gd name="connsiteX1182" fmla="*/ 189206 w 1905657"/>
                <a:gd name="connsiteY1182" fmla="*/ 613387 h 1221162"/>
                <a:gd name="connsiteX1183" fmla="*/ 189644 w 1905657"/>
                <a:gd name="connsiteY1183" fmla="*/ 610898 h 1221162"/>
                <a:gd name="connsiteX1184" fmla="*/ 189980 w 1905657"/>
                <a:gd name="connsiteY1184" fmla="*/ 609821 h 1221162"/>
                <a:gd name="connsiteX1185" fmla="*/ 190182 w 1905657"/>
                <a:gd name="connsiteY1185" fmla="*/ 607870 h 1221162"/>
                <a:gd name="connsiteX1186" fmla="*/ 190283 w 1905657"/>
                <a:gd name="connsiteY1186" fmla="*/ 605818 h 1221162"/>
                <a:gd name="connsiteX1187" fmla="*/ 191360 w 1905657"/>
                <a:gd name="connsiteY1187" fmla="*/ 604742 h 1221162"/>
                <a:gd name="connsiteX1188" fmla="*/ 191898 w 1905657"/>
                <a:gd name="connsiteY1188" fmla="*/ 602891 h 1221162"/>
                <a:gd name="connsiteX1189" fmla="*/ 193850 w 1905657"/>
                <a:gd name="connsiteY1189" fmla="*/ 601277 h 1221162"/>
                <a:gd name="connsiteX1190" fmla="*/ 196576 w 1905657"/>
                <a:gd name="connsiteY1190" fmla="*/ 599864 h 1221162"/>
                <a:gd name="connsiteX1191" fmla="*/ 199168 w 1905657"/>
                <a:gd name="connsiteY1191" fmla="*/ 598989 h 1221162"/>
                <a:gd name="connsiteX1192" fmla="*/ 201793 w 1905657"/>
                <a:gd name="connsiteY1192" fmla="*/ 597476 h 1221162"/>
                <a:gd name="connsiteX1193" fmla="*/ 203644 w 1905657"/>
                <a:gd name="connsiteY1193" fmla="*/ 596164 h 1221162"/>
                <a:gd name="connsiteX1194" fmla="*/ 205057 w 1905657"/>
                <a:gd name="connsiteY1194" fmla="*/ 595625 h 1221162"/>
                <a:gd name="connsiteX1195" fmla="*/ 206908 w 1905657"/>
                <a:gd name="connsiteY1195" fmla="*/ 593573 h 1221162"/>
                <a:gd name="connsiteX1196" fmla="*/ 208961 w 1905657"/>
                <a:gd name="connsiteY1196" fmla="*/ 593035 h 1221162"/>
                <a:gd name="connsiteX1197" fmla="*/ 210577 w 1905657"/>
                <a:gd name="connsiteY1197" fmla="*/ 592396 h 1221162"/>
                <a:gd name="connsiteX1198" fmla="*/ 212091 w 1905657"/>
                <a:gd name="connsiteY1198" fmla="*/ 591757 h 1221162"/>
                <a:gd name="connsiteX1199" fmla="*/ 212293 w 1905657"/>
                <a:gd name="connsiteY1199" fmla="*/ 589469 h 1221162"/>
                <a:gd name="connsiteX1200" fmla="*/ 212192 w 1905657"/>
                <a:gd name="connsiteY1200" fmla="*/ 587283 h 1221162"/>
                <a:gd name="connsiteX1201" fmla="*/ 212293 w 1905657"/>
                <a:gd name="connsiteY1201" fmla="*/ 584255 h 1221162"/>
                <a:gd name="connsiteX1202" fmla="*/ 212495 w 1905657"/>
                <a:gd name="connsiteY1202" fmla="*/ 582943 h 1221162"/>
                <a:gd name="connsiteX1203" fmla="*/ 213033 w 1905657"/>
                <a:gd name="connsiteY1203" fmla="*/ 581732 h 1221162"/>
                <a:gd name="connsiteX1204" fmla="*/ 213808 w 1905657"/>
                <a:gd name="connsiteY1204" fmla="*/ 580117 h 1221162"/>
                <a:gd name="connsiteX1205" fmla="*/ 215659 w 1905657"/>
                <a:gd name="connsiteY1205" fmla="*/ 579142 h 1221162"/>
                <a:gd name="connsiteX1206" fmla="*/ 218250 w 1905657"/>
                <a:gd name="connsiteY1206" fmla="*/ 578267 h 1221162"/>
                <a:gd name="connsiteX1207" fmla="*/ 219462 w 1905657"/>
                <a:gd name="connsiteY1207" fmla="*/ 578065 h 1221162"/>
                <a:gd name="connsiteX1208" fmla="*/ 220774 w 1905657"/>
                <a:gd name="connsiteY1208" fmla="*/ 578839 h 1221162"/>
                <a:gd name="connsiteX1209" fmla="*/ 222288 w 1905657"/>
                <a:gd name="connsiteY1209" fmla="*/ 579075 h 1221162"/>
                <a:gd name="connsiteX1210" fmla="*/ 223365 w 1905657"/>
                <a:gd name="connsiteY1210" fmla="*/ 580925 h 1221162"/>
                <a:gd name="connsiteX1211" fmla="*/ 224577 w 1905657"/>
                <a:gd name="connsiteY1211" fmla="*/ 581900 h 1221162"/>
                <a:gd name="connsiteX1212" fmla="*/ 226966 w 1905657"/>
                <a:gd name="connsiteY1212" fmla="*/ 583952 h 1221162"/>
                <a:gd name="connsiteX1213" fmla="*/ 228043 w 1905657"/>
                <a:gd name="connsiteY1213" fmla="*/ 583078 h 1221162"/>
                <a:gd name="connsiteX1214" fmla="*/ 229659 w 1905657"/>
                <a:gd name="connsiteY1214" fmla="*/ 582001 h 1221162"/>
                <a:gd name="connsiteX1215" fmla="*/ 230433 w 1905657"/>
                <a:gd name="connsiteY1215" fmla="*/ 581026 h 1221162"/>
                <a:gd name="connsiteX1216" fmla="*/ 231914 w 1905657"/>
                <a:gd name="connsiteY1216" fmla="*/ 580218 h 1221162"/>
                <a:gd name="connsiteX1217" fmla="*/ 233596 w 1905657"/>
                <a:gd name="connsiteY1217" fmla="*/ 579781 h 1221162"/>
                <a:gd name="connsiteX1218" fmla="*/ 236323 w 1905657"/>
                <a:gd name="connsiteY1218" fmla="*/ 579714 h 1221162"/>
                <a:gd name="connsiteX1219" fmla="*/ 237837 w 1905657"/>
                <a:gd name="connsiteY1219" fmla="*/ 580353 h 1221162"/>
                <a:gd name="connsiteX1220" fmla="*/ 239183 w 1905657"/>
                <a:gd name="connsiteY1220" fmla="*/ 582270 h 1221162"/>
                <a:gd name="connsiteX1221" fmla="*/ 241573 w 1905657"/>
                <a:gd name="connsiteY1221" fmla="*/ 584827 h 1221162"/>
                <a:gd name="connsiteX1222" fmla="*/ 243693 w 1905657"/>
                <a:gd name="connsiteY1222" fmla="*/ 587754 h 1221162"/>
                <a:gd name="connsiteX1223" fmla="*/ 245645 w 1905657"/>
                <a:gd name="connsiteY1223" fmla="*/ 590075 h 1221162"/>
                <a:gd name="connsiteX1224" fmla="*/ 250592 w 1905657"/>
                <a:gd name="connsiteY1224" fmla="*/ 595053 h 1221162"/>
                <a:gd name="connsiteX1225" fmla="*/ 255337 w 1905657"/>
                <a:gd name="connsiteY1225" fmla="*/ 597711 h 1221162"/>
                <a:gd name="connsiteX1226" fmla="*/ 259409 w 1905657"/>
                <a:gd name="connsiteY1226" fmla="*/ 600200 h 1221162"/>
                <a:gd name="connsiteX1227" fmla="*/ 262405 w 1905657"/>
                <a:gd name="connsiteY1227" fmla="*/ 600570 h 1221162"/>
                <a:gd name="connsiteX1228" fmla="*/ 266915 w 1905657"/>
                <a:gd name="connsiteY1228" fmla="*/ 600839 h 1221162"/>
                <a:gd name="connsiteX1229" fmla="*/ 270448 w 1905657"/>
                <a:gd name="connsiteY1229" fmla="*/ 600839 h 1221162"/>
                <a:gd name="connsiteX1230" fmla="*/ 271761 w 1905657"/>
                <a:gd name="connsiteY1230" fmla="*/ 600974 h 1221162"/>
                <a:gd name="connsiteX1231" fmla="*/ 274083 w 1905657"/>
                <a:gd name="connsiteY1231" fmla="*/ 602151 h 1221162"/>
                <a:gd name="connsiteX1232" fmla="*/ 275160 w 1905657"/>
                <a:gd name="connsiteY1232" fmla="*/ 603228 h 1221162"/>
                <a:gd name="connsiteX1233" fmla="*/ 276102 w 1905657"/>
                <a:gd name="connsiteY1233" fmla="*/ 606054 h 1221162"/>
                <a:gd name="connsiteX1234" fmla="*/ 276237 w 1905657"/>
                <a:gd name="connsiteY1234" fmla="*/ 608005 h 1221162"/>
                <a:gd name="connsiteX1235" fmla="*/ 275867 w 1905657"/>
                <a:gd name="connsiteY1235" fmla="*/ 609754 h 1221162"/>
                <a:gd name="connsiteX1236" fmla="*/ 275294 w 1905657"/>
                <a:gd name="connsiteY1236" fmla="*/ 612075 h 1221162"/>
                <a:gd name="connsiteX1237" fmla="*/ 274924 w 1905657"/>
                <a:gd name="connsiteY1237" fmla="*/ 614026 h 1221162"/>
                <a:gd name="connsiteX1238" fmla="*/ 274722 w 1905657"/>
                <a:gd name="connsiteY1238" fmla="*/ 616616 h 1221162"/>
                <a:gd name="connsiteX1239" fmla="*/ 274588 w 1905657"/>
                <a:gd name="connsiteY1239" fmla="*/ 619139 h 1221162"/>
                <a:gd name="connsiteX1240" fmla="*/ 274520 w 1905657"/>
                <a:gd name="connsiteY1240" fmla="*/ 620956 h 1221162"/>
                <a:gd name="connsiteX1241" fmla="*/ 275463 w 1905657"/>
                <a:gd name="connsiteY1241" fmla="*/ 623479 h 1221162"/>
                <a:gd name="connsiteX1242" fmla="*/ 276102 w 1905657"/>
                <a:gd name="connsiteY1242" fmla="*/ 625430 h 1221162"/>
                <a:gd name="connsiteX1243" fmla="*/ 277482 w 1905657"/>
                <a:gd name="connsiteY1243" fmla="*/ 630274 h 1221162"/>
                <a:gd name="connsiteX1244" fmla="*/ 277785 w 1905657"/>
                <a:gd name="connsiteY1244" fmla="*/ 633167 h 1221162"/>
                <a:gd name="connsiteX1245" fmla="*/ 278357 w 1905657"/>
                <a:gd name="connsiteY1245" fmla="*/ 635556 h 1221162"/>
                <a:gd name="connsiteX1246" fmla="*/ 280174 w 1905657"/>
                <a:gd name="connsiteY1246" fmla="*/ 637372 h 1221162"/>
                <a:gd name="connsiteX1247" fmla="*/ 281622 w 1905657"/>
                <a:gd name="connsiteY1247" fmla="*/ 639390 h 1221162"/>
                <a:gd name="connsiteX1248" fmla="*/ 282429 w 1905657"/>
                <a:gd name="connsiteY1248" fmla="*/ 639895 h 1221162"/>
                <a:gd name="connsiteX1249" fmla="*/ 284886 w 1905657"/>
                <a:gd name="connsiteY1249" fmla="*/ 641207 h 1221162"/>
                <a:gd name="connsiteX1250" fmla="*/ 286973 w 1905657"/>
                <a:gd name="connsiteY1250" fmla="*/ 642519 h 1221162"/>
                <a:gd name="connsiteX1251" fmla="*/ 290002 w 1905657"/>
                <a:gd name="connsiteY1251" fmla="*/ 643966 h 1221162"/>
                <a:gd name="connsiteX1252" fmla="*/ 293905 w 1905657"/>
                <a:gd name="connsiteY1252" fmla="*/ 646421 h 1221162"/>
                <a:gd name="connsiteX1253" fmla="*/ 297877 w 1905657"/>
                <a:gd name="connsiteY1253" fmla="*/ 649045 h 1221162"/>
                <a:gd name="connsiteX1254" fmla="*/ 302285 w 1905657"/>
                <a:gd name="connsiteY1254" fmla="*/ 652745 h 1221162"/>
                <a:gd name="connsiteX1255" fmla="*/ 303531 w 1905657"/>
                <a:gd name="connsiteY1255" fmla="*/ 655134 h 1221162"/>
                <a:gd name="connsiteX1256" fmla="*/ 306290 w 1905657"/>
                <a:gd name="connsiteY1256" fmla="*/ 660045 h 1221162"/>
                <a:gd name="connsiteX1257" fmla="*/ 310497 w 1905657"/>
                <a:gd name="connsiteY1257" fmla="*/ 665999 h 1221162"/>
                <a:gd name="connsiteX1258" fmla="*/ 312685 w 1905657"/>
                <a:gd name="connsiteY1258" fmla="*/ 669767 h 1221162"/>
                <a:gd name="connsiteX1259" fmla="*/ 314435 w 1905657"/>
                <a:gd name="connsiteY1259" fmla="*/ 673333 h 1221162"/>
                <a:gd name="connsiteX1260" fmla="*/ 314805 w 1905657"/>
                <a:gd name="connsiteY1260" fmla="*/ 677807 h 1221162"/>
                <a:gd name="connsiteX1261" fmla="*/ 314805 w 1905657"/>
                <a:gd name="connsiteY1261" fmla="*/ 681642 h 1221162"/>
                <a:gd name="connsiteX1262" fmla="*/ 317262 w 1905657"/>
                <a:gd name="connsiteY1262" fmla="*/ 684669 h 1221162"/>
                <a:gd name="connsiteX1263" fmla="*/ 320223 w 1905657"/>
                <a:gd name="connsiteY1263" fmla="*/ 687630 h 1221162"/>
                <a:gd name="connsiteX1264" fmla="*/ 325137 w 1905657"/>
                <a:gd name="connsiteY1264" fmla="*/ 690893 h 1221162"/>
                <a:gd name="connsiteX1265" fmla="*/ 329041 w 1905657"/>
                <a:gd name="connsiteY1265" fmla="*/ 693079 h 1221162"/>
                <a:gd name="connsiteX1266" fmla="*/ 336075 w 1905657"/>
                <a:gd name="connsiteY1266" fmla="*/ 696981 h 1221162"/>
                <a:gd name="connsiteX1267" fmla="*/ 340349 w 1905657"/>
                <a:gd name="connsiteY1267" fmla="*/ 701254 h 1221162"/>
                <a:gd name="connsiteX1268" fmla="*/ 344993 w 1905657"/>
                <a:gd name="connsiteY1268" fmla="*/ 705257 h 1221162"/>
                <a:gd name="connsiteX1269" fmla="*/ 348460 w 1905657"/>
                <a:gd name="connsiteY1269" fmla="*/ 708015 h 1221162"/>
                <a:gd name="connsiteX1270" fmla="*/ 353373 w 1905657"/>
                <a:gd name="connsiteY1270" fmla="*/ 709765 h 1221162"/>
                <a:gd name="connsiteX1271" fmla="*/ 357210 w 1905657"/>
                <a:gd name="connsiteY1271" fmla="*/ 709765 h 1221162"/>
                <a:gd name="connsiteX1272" fmla="*/ 359296 w 1905657"/>
                <a:gd name="connsiteY1272" fmla="*/ 711211 h 1221162"/>
                <a:gd name="connsiteX1273" fmla="*/ 361181 w 1905657"/>
                <a:gd name="connsiteY1273" fmla="*/ 713667 h 1221162"/>
                <a:gd name="connsiteX1274" fmla="*/ 363066 w 1905657"/>
                <a:gd name="connsiteY1274" fmla="*/ 716560 h 1221162"/>
                <a:gd name="connsiteX1275" fmla="*/ 364075 w 1905657"/>
                <a:gd name="connsiteY1275" fmla="*/ 720462 h 1221162"/>
                <a:gd name="connsiteX1276" fmla="*/ 364950 w 1905657"/>
                <a:gd name="connsiteY1276" fmla="*/ 724230 h 1221162"/>
                <a:gd name="connsiteX1277" fmla="*/ 365455 w 1905657"/>
                <a:gd name="connsiteY1277" fmla="*/ 726483 h 1221162"/>
                <a:gd name="connsiteX1278" fmla="*/ 366768 w 1905657"/>
                <a:gd name="connsiteY1278" fmla="*/ 728636 h 1221162"/>
                <a:gd name="connsiteX1279" fmla="*/ 367845 w 1905657"/>
                <a:gd name="connsiteY1279" fmla="*/ 734860 h 1221162"/>
                <a:gd name="connsiteX1280" fmla="*/ 368282 w 1905657"/>
                <a:gd name="connsiteY1280" fmla="*/ 737114 h 1221162"/>
                <a:gd name="connsiteX1281" fmla="*/ 371816 w 1905657"/>
                <a:gd name="connsiteY1281" fmla="*/ 739435 h 1221162"/>
                <a:gd name="connsiteX1282" fmla="*/ 373128 w 1905657"/>
                <a:gd name="connsiteY1282" fmla="*/ 742900 h 1221162"/>
                <a:gd name="connsiteX1283" fmla="*/ 374710 w 1905657"/>
                <a:gd name="connsiteY1283" fmla="*/ 747475 h 1221162"/>
                <a:gd name="connsiteX1284" fmla="*/ 375148 w 1905657"/>
                <a:gd name="connsiteY1284" fmla="*/ 751679 h 1221162"/>
                <a:gd name="connsiteX1285" fmla="*/ 375518 w 1905657"/>
                <a:gd name="connsiteY1285" fmla="*/ 754135 h 1221162"/>
                <a:gd name="connsiteX1286" fmla="*/ 376460 w 1905657"/>
                <a:gd name="connsiteY1286" fmla="*/ 756725 h 1221162"/>
                <a:gd name="connsiteX1287" fmla="*/ 377403 w 1905657"/>
                <a:gd name="connsiteY1287" fmla="*/ 759114 h 1221162"/>
                <a:gd name="connsiteX1288" fmla="*/ 379422 w 1905657"/>
                <a:gd name="connsiteY1288" fmla="*/ 762377 h 1221162"/>
                <a:gd name="connsiteX1289" fmla="*/ 380566 w 1905657"/>
                <a:gd name="connsiteY1289" fmla="*/ 764194 h 1221162"/>
                <a:gd name="connsiteX1290" fmla="*/ 383965 w 1905657"/>
                <a:gd name="connsiteY1290" fmla="*/ 766077 h 1221162"/>
                <a:gd name="connsiteX1291" fmla="*/ 385850 w 1905657"/>
                <a:gd name="connsiteY1291" fmla="*/ 766077 h 1221162"/>
                <a:gd name="connsiteX1292" fmla="*/ 388475 w 1905657"/>
                <a:gd name="connsiteY1292" fmla="*/ 766077 h 1221162"/>
                <a:gd name="connsiteX1293" fmla="*/ 389989 w 1905657"/>
                <a:gd name="connsiteY1293" fmla="*/ 765640 h 1221162"/>
                <a:gd name="connsiteX1294" fmla="*/ 391504 w 1905657"/>
                <a:gd name="connsiteY1294" fmla="*/ 765135 h 1221162"/>
                <a:gd name="connsiteX1295" fmla="*/ 393186 w 1905657"/>
                <a:gd name="connsiteY1295" fmla="*/ 764833 h 1221162"/>
                <a:gd name="connsiteX1296" fmla="*/ 395273 w 1905657"/>
                <a:gd name="connsiteY1296" fmla="*/ 764631 h 1221162"/>
                <a:gd name="connsiteX1297" fmla="*/ 396855 w 1905657"/>
                <a:gd name="connsiteY1297" fmla="*/ 765001 h 1221162"/>
                <a:gd name="connsiteX1298" fmla="*/ 398100 w 1905657"/>
                <a:gd name="connsiteY1298" fmla="*/ 764934 h 1221162"/>
                <a:gd name="connsiteX1299" fmla="*/ 400490 w 1905657"/>
                <a:gd name="connsiteY1299" fmla="*/ 764362 h 1221162"/>
                <a:gd name="connsiteX1300" fmla="*/ 402576 w 1905657"/>
                <a:gd name="connsiteY1300" fmla="*/ 763218 h 1221162"/>
                <a:gd name="connsiteX1301" fmla="*/ 403889 w 1905657"/>
                <a:gd name="connsiteY1301" fmla="*/ 762343 h 1221162"/>
                <a:gd name="connsiteX1302" fmla="*/ 405773 w 1905657"/>
                <a:gd name="connsiteY1302" fmla="*/ 761536 h 1221162"/>
                <a:gd name="connsiteX1303" fmla="*/ 409475 w 1905657"/>
                <a:gd name="connsiteY1303" fmla="*/ 760729 h 1221162"/>
                <a:gd name="connsiteX1304" fmla="*/ 414692 w 1905657"/>
                <a:gd name="connsiteY1304" fmla="*/ 760594 h 1221162"/>
                <a:gd name="connsiteX1305" fmla="*/ 417014 w 1905657"/>
                <a:gd name="connsiteY1305" fmla="*/ 760527 h 1221162"/>
                <a:gd name="connsiteX1306" fmla="*/ 421288 w 1905657"/>
                <a:gd name="connsiteY1306" fmla="*/ 760661 h 1221162"/>
                <a:gd name="connsiteX1307" fmla="*/ 427077 w 1905657"/>
                <a:gd name="connsiteY1307" fmla="*/ 764194 h 1221162"/>
                <a:gd name="connsiteX1308" fmla="*/ 429163 w 1905657"/>
                <a:gd name="connsiteY1308" fmla="*/ 764126 h 1221162"/>
                <a:gd name="connsiteX1309" fmla="*/ 433067 w 1905657"/>
                <a:gd name="connsiteY1309" fmla="*/ 766245 h 1221162"/>
                <a:gd name="connsiteX1310" fmla="*/ 434885 w 1905657"/>
                <a:gd name="connsiteY1310" fmla="*/ 768331 h 1221162"/>
                <a:gd name="connsiteX1311" fmla="*/ 435961 w 1905657"/>
                <a:gd name="connsiteY1311" fmla="*/ 770013 h 1221162"/>
                <a:gd name="connsiteX1312" fmla="*/ 436601 w 1905657"/>
                <a:gd name="connsiteY1312" fmla="*/ 771527 h 1221162"/>
                <a:gd name="connsiteX1313" fmla="*/ 437173 w 1905657"/>
                <a:gd name="connsiteY1313" fmla="*/ 773041 h 1221162"/>
                <a:gd name="connsiteX1314" fmla="*/ 437308 w 1905657"/>
                <a:gd name="connsiteY1314" fmla="*/ 774353 h 1221162"/>
                <a:gd name="connsiteX1315" fmla="*/ 437812 w 1905657"/>
                <a:gd name="connsiteY1315" fmla="*/ 776808 h 1221162"/>
                <a:gd name="connsiteX1316" fmla="*/ 439394 w 1905657"/>
                <a:gd name="connsiteY1316" fmla="*/ 780206 h 1221162"/>
                <a:gd name="connsiteX1317" fmla="*/ 440034 w 1905657"/>
                <a:gd name="connsiteY1317" fmla="*/ 783974 h 1221162"/>
                <a:gd name="connsiteX1318" fmla="*/ 440303 w 1905657"/>
                <a:gd name="connsiteY1318" fmla="*/ 789188 h 1221162"/>
                <a:gd name="connsiteX1319" fmla="*/ 439832 w 1905657"/>
                <a:gd name="connsiteY1319" fmla="*/ 792653 h 1221162"/>
                <a:gd name="connsiteX1320" fmla="*/ 439832 w 1905657"/>
                <a:gd name="connsiteY1320" fmla="*/ 798069 h 1221162"/>
                <a:gd name="connsiteX1321" fmla="*/ 440269 w 1905657"/>
                <a:gd name="connsiteY1321" fmla="*/ 805671 h 1221162"/>
                <a:gd name="connsiteX1322" fmla="*/ 441043 w 1905657"/>
                <a:gd name="connsiteY1322" fmla="*/ 812096 h 1221162"/>
                <a:gd name="connsiteX1323" fmla="*/ 441279 w 1905657"/>
                <a:gd name="connsiteY1323" fmla="*/ 815359 h 1221162"/>
                <a:gd name="connsiteX1324" fmla="*/ 444207 w 1905657"/>
                <a:gd name="connsiteY1324" fmla="*/ 821011 h 1221162"/>
                <a:gd name="connsiteX1325" fmla="*/ 445957 w 1905657"/>
                <a:gd name="connsiteY1325" fmla="*/ 821885 h 1221162"/>
                <a:gd name="connsiteX1326" fmla="*/ 447471 w 1905657"/>
                <a:gd name="connsiteY1326" fmla="*/ 824375 h 1221162"/>
                <a:gd name="connsiteX1327" fmla="*/ 450096 w 1905657"/>
                <a:gd name="connsiteY1327" fmla="*/ 828714 h 1221162"/>
                <a:gd name="connsiteX1328" fmla="*/ 454539 w 1905657"/>
                <a:gd name="connsiteY1328" fmla="*/ 830901 h 1221162"/>
                <a:gd name="connsiteX1329" fmla="*/ 456592 w 1905657"/>
                <a:gd name="connsiteY1329" fmla="*/ 833390 h 1221162"/>
                <a:gd name="connsiteX1330" fmla="*/ 456794 w 1905657"/>
                <a:gd name="connsiteY1330" fmla="*/ 836216 h 1221162"/>
                <a:gd name="connsiteX1331" fmla="*/ 457231 w 1905657"/>
                <a:gd name="connsiteY1331" fmla="*/ 838604 h 1221162"/>
                <a:gd name="connsiteX1332" fmla="*/ 463222 w 1905657"/>
                <a:gd name="connsiteY1332" fmla="*/ 841094 h 1221162"/>
                <a:gd name="connsiteX1333" fmla="*/ 467227 w 1905657"/>
                <a:gd name="connsiteY1333" fmla="*/ 843482 h 1221162"/>
                <a:gd name="connsiteX1334" fmla="*/ 468539 w 1905657"/>
                <a:gd name="connsiteY1334" fmla="*/ 843482 h 1221162"/>
                <a:gd name="connsiteX1335" fmla="*/ 469852 w 1905657"/>
                <a:gd name="connsiteY1335" fmla="*/ 845870 h 1221162"/>
                <a:gd name="connsiteX1336" fmla="*/ 471265 w 1905657"/>
                <a:gd name="connsiteY1336" fmla="*/ 849470 h 1221162"/>
                <a:gd name="connsiteX1337" fmla="*/ 476482 w 1905657"/>
                <a:gd name="connsiteY1337" fmla="*/ 855323 h 1221162"/>
                <a:gd name="connsiteX1338" fmla="*/ 480285 w 1905657"/>
                <a:gd name="connsiteY1338" fmla="*/ 860436 h 1221162"/>
                <a:gd name="connsiteX1339" fmla="*/ 483448 w 1905657"/>
                <a:gd name="connsiteY1339" fmla="*/ 864036 h 1221162"/>
                <a:gd name="connsiteX1340" fmla="*/ 487891 w 1905657"/>
                <a:gd name="connsiteY1340" fmla="*/ 865247 h 1221162"/>
                <a:gd name="connsiteX1341" fmla="*/ 491256 w 1905657"/>
                <a:gd name="connsiteY1341" fmla="*/ 865247 h 1221162"/>
                <a:gd name="connsiteX1342" fmla="*/ 496371 w 1905657"/>
                <a:gd name="connsiteY1342" fmla="*/ 867534 h 1221162"/>
                <a:gd name="connsiteX1343" fmla="*/ 498996 w 1905657"/>
                <a:gd name="connsiteY1343" fmla="*/ 866996 h 1221162"/>
                <a:gd name="connsiteX1344" fmla="*/ 500073 w 1905657"/>
                <a:gd name="connsiteY1344" fmla="*/ 866021 h 1221162"/>
                <a:gd name="connsiteX1345" fmla="*/ 501824 w 1905657"/>
                <a:gd name="connsiteY1345" fmla="*/ 865381 h 1221162"/>
                <a:gd name="connsiteX1346" fmla="*/ 503237 w 1905657"/>
                <a:gd name="connsiteY1346" fmla="*/ 864170 h 1221162"/>
                <a:gd name="connsiteX1347" fmla="*/ 504011 w 1905657"/>
                <a:gd name="connsiteY1347" fmla="*/ 863397 h 1221162"/>
                <a:gd name="connsiteX1348" fmla="*/ 505761 w 1905657"/>
                <a:gd name="connsiteY1348" fmla="*/ 862085 h 1221162"/>
                <a:gd name="connsiteX1349" fmla="*/ 506838 w 1905657"/>
                <a:gd name="connsiteY1349" fmla="*/ 861042 h 1221162"/>
                <a:gd name="connsiteX1350" fmla="*/ 508083 w 1905657"/>
                <a:gd name="connsiteY1350" fmla="*/ 860235 h 1221162"/>
                <a:gd name="connsiteX1351" fmla="*/ 510843 w 1905657"/>
                <a:gd name="connsiteY1351" fmla="*/ 859999 h 1221162"/>
                <a:gd name="connsiteX1352" fmla="*/ 513434 w 1905657"/>
                <a:gd name="connsiteY1352" fmla="*/ 859932 h 1221162"/>
                <a:gd name="connsiteX1353" fmla="*/ 515386 w 1905657"/>
                <a:gd name="connsiteY1353" fmla="*/ 860033 h 1221162"/>
                <a:gd name="connsiteX1354" fmla="*/ 516362 w 1905657"/>
                <a:gd name="connsiteY1354" fmla="*/ 860504 h 1221162"/>
                <a:gd name="connsiteX1355" fmla="*/ 517506 w 1905657"/>
                <a:gd name="connsiteY1355" fmla="*/ 861479 h 1221162"/>
                <a:gd name="connsiteX1356" fmla="*/ 518718 w 1905657"/>
                <a:gd name="connsiteY1356" fmla="*/ 862623 h 1221162"/>
                <a:gd name="connsiteX1357" fmla="*/ 519930 w 1905657"/>
                <a:gd name="connsiteY1357" fmla="*/ 864036 h 1221162"/>
                <a:gd name="connsiteX1358" fmla="*/ 520704 w 1905657"/>
                <a:gd name="connsiteY1358" fmla="*/ 865516 h 1221162"/>
                <a:gd name="connsiteX1359" fmla="*/ 520872 w 1905657"/>
                <a:gd name="connsiteY1359" fmla="*/ 867467 h 1221162"/>
                <a:gd name="connsiteX1360" fmla="*/ 520805 w 1905657"/>
                <a:gd name="connsiteY1360" fmla="*/ 868880 h 1221162"/>
                <a:gd name="connsiteX1361" fmla="*/ 520434 w 1905657"/>
                <a:gd name="connsiteY1361" fmla="*/ 870192 h 1221162"/>
                <a:gd name="connsiteX1362" fmla="*/ 519660 w 1905657"/>
                <a:gd name="connsiteY1362" fmla="*/ 871538 h 1221162"/>
                <a:gd name="connsiteX1363" fmla="*/ 518718 w 1905657"/>
                <a:gd name="connsiteY1363" fmla="*/ 873152 h 1221162"/>
                <a:gd name="connsiteX1364" fmla="*/ 517675 w 1905657"/>
                <a:gd name="connsiteY1364" fmla="*/ 874195 h 1221162"/>
                <a:gd name="connsiteX1365" fmla="*/ 517136 w 1905657"/>
                <a:gd name="connsiteY1365" fmla="*/ 875103 h 1221162"/>
                <a:gd name="connsiteX1366" fmla="*/ 512997 w 1905657"/>
                <a:gd name="connsiteY1366" fmla="*/ 877660 h 1221162"/>
                <a:gd name="connsiteX1367" fmla="*/ 511516 w 1905657"/>
                <a:gd name="connsiteY1367" fmla="*/ 879510 h 1221162"/>
                <a:gd name="connsiteX1368" fmla="*/ 510977 w 1905657"/>
                <a:gd name="connsiteY1368" fmla="*/ 879947 h 1221162"/>
                <a:gd name="connsiteX1369" fmla="*/ 510271 w 1905657"/>
                <a:gd name="connsiteY1369" fmla="*/ 881360 h 1221162"/>
                <a:gd name="connsiteX1370" fmla="*/ 509934 w 1905657"/>
                <a:gd name="connsiteY1370" fmla="*/ 882605 h 1221162"/>
                <a:gd name="connsiteX1371" fmla="*/ 509564 w 1905657"/>
                <a:gd name="connsiteY1371" fmla="*/ 884287 h 1221162"/>
                <a:gd name="connsiteX1372" fmla="*/ 509396 w 1905657"/>
                <a:gd name="connsiteY1372" fmla="*/ 886238 h 1221162"/>
                <a:gd name="connsiteX1373" fmla="*/ 509396 w 1905657"/>
                <a:gd name="connsiteY1373" fmla="*/ 888425 h 1221162"/>
                <a:gd name="connsiteX1374" fmla="*/ 509396 w 1905657"/>
                <a:gd name="connsiteY1374" fmla="*/ 890174 h 1221162"/>
                <a:gd name="connsiteX1375" fmla="*/ 509497 w 1905657"/>
                <a:gd name="connsiteY1375" fmla="*/ 892899 h 1221162"/>
                <a:gd name="connsiteX1376" fmla="*/ 510708 w 1905657"/>
                <a:gd name="connsiteY1376" fmla="*/ 895018 h 1221162"/>
                <a:gd name="connsiteX1377" fmla="*/ 511785 w 1905657"/>
                <a:gd name="connsiteY1377" fmla="*/ 896599 h 1221162"/>
                <a:gd name="connsiteX1378" fmla="*/ 512997 w 1905657"/>
                <a:gd name="connsiteY1378" fmla="*/ 898079 h 1221162"/>
                <a:gd name="connsiteX1379" fmla="*/ 515555 w 1905657"/>
                <a:gd name="connsiteY1379" fmla="*/ 899324 h 1221162"/>
                <a:gd name="connsiteX1380" fmla="*/ 517742 w 1905657"/>
                <a:gd name="connsiteY1380" fmla="*/ 900804 h 1221162"/>
                <a:gd name="connsiteX1381" fmla="*/ 519425 w 1905657"/>
                <a:gd name="connsiteY1381" fmla="*/ 901410 h 1221162"/>
                <a:gd name="connsiteX1382" fmla="*/ 521040 w 1905657"/>
                <a:gd name="connsiteY1382" fmla="*/ 902183 h 1221162"/>
                <a:gd name="connsiteX1383" fmla="*/ 523598 w 1905657"/>
                <a:gd name="connsiteY1383" fmla="*/ 903260 h 1221162"/>
                <a:gd name="connsiteX1384" fmla="*/ 525920 w 1905657"/>
                <a:gd name="connsiteY1384" fmla="*/ 903260 h 1221162"/>
                <a:gd name="connsiteX1385" fmla="*/ 528209 w 1905657"/>
                <a:gd name="connsiteY1385" fmla="*/ 903260 h 1221162"/>
                <a:gd name="connsiteX1386" fmla="*/ 529387 w 1905657"/>
                <a:gd name="connsiteY1386" fmla="*/ 903260 h 1221162"/>
                <a:gd name="connsiteX1387" fmla="*/ 532920 w 1905657"/>
                <a:gd name="connsiteY1387" fmla="*/ 903596 h 1221162"/>
                <a:gd name="connsiteX1388" fmla="*/ 534771 w 1905657"/>
                <a:gd name="connsiteY1388" fmla="*/ 903865 h 1221162"/>
                <a:gd name="connsiteX1389" fmla="*/ 536353 w 1905657"/>
                <a:gd name="connsiteY1389" fmla="*/ 904773 h 1221162"/>
                <a:gd name="connsiteX1390" fmla="*/ 539618 w 1905657"/>
                <a:gd name="connsiteY1390" fmla="*/ 904134 h 1221162"/>
                <a:gd name="connsiteX1391" fmla="*/ 541368 w 1905657"/>
                <a:gd name="connsiteY1391" fmla="*/ 904269 h 1221162"/>
                <a:gd name="connsiteX1392" fmla="*/ 543252 w 1905657"/>
                <a:gd name="connsiteY1392" fmla="*/ 904773 h 1221162"/>
                <a:gd name="connsiteX1393" fmla="*/ 545642 w 1905657"/>
                <a:gd name="connsiteY1393" fmla="*/ 906590 h 1221162"/>
                <a:gd name="connsiteX1394" fmla="*/ 546651 w 1905657"/>
                <a:gd name="connsiteY1394" fmla="*/ 909113 h 1221162"/>
                <a:gd name="connsiteX1395" fmla="*/ 547224 w 1905657"/>
                <a:gd name="connsiteY1395" fmla="*/ 910997 h 1221162"/>
                <a:gd name="connsiteX1396" fmla="*/ 547022 w 1905657"/>
                <a:gd name="connsiteY1396" fmla="*/ 914899 h 1221162"/>
                <a:gd name="connsiteX1397" fmla="*/ 549411 w 1905657"/>
                <a:gd name="connsiteY1397" fmla="*/ 916985 h 1221162"/>
                <a:gd name="connsiteX1398" fmla="*/ 553820 w 1905657"/>
                <a:gd name="connsiteY1398" fmla="*/ 916346 h 1221162"/>
                <a:gd name="connsiteX1399" fmla="*/ 557017 w 1905657"/>
                <a:gd name="connsiteY1399" fmla="*/ 915034 h 1221162"/>
                <a:gd name="connsiteX1400" fmla="*/ 558094 w 1905657"/>
                <a:gd name="connsiteY1400" fmla="*/ 913890 h 1221162"/>
                <a:gd name="connsiteX1401" fmla="*/ 560180 w 1905657"/>
                <a:gd name="connsiteY1401" fmla="*/ 912645 h 1221162"/>
                <a:gd name="connsiteX1402" fmla="*/ 561190 w 1905657"/>
                <a:gd name="connsiteY1402" fmla="*/ 910627 h 1221162"/>
                <a:gd name="connsiteX1403" fmla="*/ 561628 w 1905657"/>
                <a:gd name="connsiteY1403" fmla="*/ 909618 h 1221162"/>
                <a:gd name="connsiteX1404" fmla="*/ 564017 w 1905657"/>
                <a:gd name="connsiteY1404" fmla="*/ 910122 h 1221162"/>
                <a:gd name="connsiteX1405" fmla="*/ 564724 w 1905657"/>
                <a:gd name="connsiteY1405" fmla="*/ 911199 h 1221162"/>
                <a:gd name="connsiteX1406" fmla="*/ 565060 w 1905657"/>
                <a:gd name="connsiteY1406" fmla="*/ 914092 h 1221162"/>
                <a:gd name="connsiteX1407" fmla="*/ 565060 w 1905657"/>
                <a:gd name="connsiteY1407" fmla="*/ 916278 h 1221162"/>
                <a:gd name="connsiteX1408" fmla="*/ 566003 w 1905657"/>
                <a:gd name="connsiteY1408" fmla="*/ 919037 h 1221162"/>
                <a:gd name="connsiteX1409" fmla="*/ 566137 w 1905657"/>
                <a:gd name="connsiteY1409" fmla="*/ 923073 h 1221162"/>
                <a:gd name="connsiteX1410" fmla="*/ 566272 w 1905657"/>
                <a:gd name="connsiteY1410" fmla="*/ 924587 h 1221162"/>
                <a:gd name="connsiteX1411" fmla="*/ 567080 w 1905657"/>
                <a:gd name="connsiteY1411" fmla="*/ 928153 h 1221162"/>
                <a:gd name="connsiteX1412" fmla="*/ 567887 w 1905657"/>
                <a:gd name="connsiteY1412" fmla="*/ 931853 h 1221162"/>
                <a:gd name="connsiteX1413" fmla="*/ 570344 w 1905657"/>
                <a:gd name="connsiteY1413" fmla="*/ 934814 h 1221162"/>
                <a:gd name="connsiteX1414" fmla="*/ 572229 w 1905657"/>
                <a:gd name="connsiteY1414" fmla="*/ 935957 h 1221162"/>
                <a:gd name="connsiteX1415" fmla="*/ 575493 w 1905657"/>
                <a:gd name="connsiteY1415" fmla="*/ 939422 h 1221162"/>
                <a:gd name="connsiteX1416" fmla="*/ 577816 w 1905657"/>
                <a:gd name="connsiteY1416" fmla="*/ 942618 h 1221162"/>
                <a:gd name="connsiteX1417" fmla="*/ 578522 w 1905657"/>
                <a:gd name="connsiteY1417" fmla="*/ 947092 h 1221162"/>
                <a:gd name="connsiteX1418" fmla="*/ 579027 w 1905657"/>
                <a:gd name="connsiteY1418" fmla="*/ 950860 h 1221162"/>
                <a:gd name="connsiteX1419" fmla="*/ 578960 w 1905657"/>
                <a:gd name="connsiteY1419" fmla="*/ 953618 h 1221162"/>
                <a:gd name="connsiteX1420" fmla="*/ 578960 w 1905657"/>
                <a:gd name="connsiteY1420" fmla="*/ 959707 h 1221162"/>
                <a:gd name="connsiteX1421" fmla="*/ 579700 w 1905657"/>
                <a:gd name="connsiteY1421" fmla="*/ 962466 h 1221162"/>
                <a:gd name="connsiteX1422" fmla="*/ 580441 w 1905657"/>
                <a:gd name="connsiteY1422" fmla="*/ 964484 h 1221162"/>
                <a:gd name="connsiteX1423" fmla="*/ 582325 w 1905657"/>
                <a:gd name="connsiteY1423" fmla="*/ 969395 h 1221162"/>
                <a:gd name="connsiteX1424" fmla="*/ 586801 w 1905657"/>
                <a:gd name="connsiteY1424" fmla="*/ 969160 h 1221162"/>
                <a:gd name="connsiteX1425" fmla="*/ 589292 w 1905657"/>
                <a:gd name="connsiteY1425" fmla="*/ 967108 h 1221162"/>
                <a:gd name="connsiteX1426" fmla="*/ 589999 w 1905657"/>
                <a:gd name="connsiteY1426" fmla="*/ 964181 h 1221162"/>
                <a:gd name="connsiteX1427" fmla="*/ 591244 w 1905657"/>
                <a:gd name="connsiteY1427" fmla="*/ 960380 h 1221162"/>
                <a:gd name="connsiteX1428" fmla="*/ 591614 w 1905657"/>
                <a:gd name="connsiteY1428" fmla="*/ 957991 h 1221162"/>
                <a:gd name="connsiteX1429" fmla="*/ 591984 w 1905657"/>
                <a:gd name="connsiteY1429" fmla="*/ 956579 h 1221162"/>
                <a:gd name="connsiteX1430" fmla="*/ 592523 w 1905657"/>
                <a:gd name="connsiteY1430" fmla="*/ 954728 h 1221162"/>
                <a:gd name="connsiteX1431" fmla="*/ 593431 w 1905657"/>
                <a:gd name="connsiteY1431" fmla="*/ 952979 h 1221162"/>
                <a:gd name="connsiteX1432" fmla="*/ 593801 w 1905657"/>
                <a:gd name="connsiteY1432" fmla="*/ 951667 h 1221162"/>
                <a:gd name="connsiteX1433" fmla="*/ 594239 w 1905657"/>
                <a:gd name="connsiteY1433" fmla="*/ 950792 h 1221162"/>
                <a:gd name="connsiteX1434" fmla="*/ 595753 w 1905657"/>
                <a:gd name="connsiteY1434" fmla="*/ 948068 h 1221162"/>
                <a:gd name="connsiteX1435" fmla="*/ 596830 w 1905657"/>
                <a:gd name="connsiteY1435" fmla="*/ 946554 h 1221162"/>
                <a:gd name="connsiteX1436" fmla="*/ 598715 w 1905657"/>
                <a:gd name="connsiteY1436" fmla="*/ 944603 h 1221162"/>
                <a:gd name="connsiteX1437" fmla="*/ 599624 w 1905657"/>
                <a:gd name="connsiteY1437" fmla="*/ 943459 h 1221162"/>
                <a:gd name="connsiteX1438" fmla="*/ 600330 w 1905657"/>
                <a:gd name="connsiteY1438" fmla="*/ 942517 h 1221162"/>
                <a:gd name="connsiteX1439" fmla="*/ 601306 w 1905657"/>
                <a:gd name="connsiteY1439" fmla="*/ 941205 h 1221162"/>
                <a:gd name="connsiteX1440" fmla="*/ 602720 w 1905657"/>
                <a:gd name="connsiteY1440" fmla="*/ 940129 h 1221162"/>
                <a:gd name="connsiteX1441" fmla="*/ 604032 w 1905657"/>
                <a:gd name="connsiteY1441" fmla="*/ 939591 h 1221162"/>
                <a:gd name="connsiteX1442" fmla="*/ 605278 w 1905657"/>
                <a:gd name="connsiteY1442" fmla="*/ 939658 h 1221162"/>
                <a:gd name="connsiteX1443" fmla="*/ 606186 w 1905657"/>
                <a:gd name="connsiteY1443" fmla="*/ 940095 h 1221162"/>
                <a:gd name="connsiteX1444" fmla="*/ 607095 w 1905657"/>
                <a:gd name="connsiteY1444" fmla="*/ 942046 h 1221162"/>
                <a:gd name="connsiteX1445" fmla="*/ 607533 w 1905657"/>
                <a:gd name="connsiteY1445" fmla="*/ 945915 h 1221162"/>
                <a:gd name="connsiteX1446" fmla="*/ 607600 w 1905657"/>
                <a:gd name="connsiteY1446" fmla="*/ 947496 h 1221162"/>
                <a:gd name="connsiteX1447" fmla="*/ 607499 w 1905657"/>
                <a:gd name="connsiteY1447" fmla="*/ 950422 h 1221162"/>
                <a:gd name="connsiteX1448" fmla="*/ 607297 w 1905657"/>
                <a:gd name="connsiteY1448" fmla="*/ 952172 h 1221162"/>
                <a:gd name="connsiteX1449" fmla="*/ 606657 w 1905657"/>
                <a:gd name="connsiteY1449" fmla="*/ 954661 h 1221162"/>
                <a:gd name="connsiteX1450" fmla="*/ 606557 w 1905657"/>
                <a:gd name="connsiteY1450" fmla="*/ 955973 h 1221162"/>
                <a:gd name="connsiteX1451" fmla="*/ 606052 w 1905657"/>
                <a:gd name="connsiteY1451" fmla="*/ 957285 h 1221162"/>
                <a:gd name="connsiteX1452" fmla="*/ 605850 w 1905657"/>
                <a:gd name="connsiteY1452" fmla="*/ 958631 h 1221162"/>
                <a:gd name="connsiteX1453" fmla="*/ 605379 w 1905657"/>
                <a:gd name="connsiteY1453" fmla="*/ 959976 h 1221162"/>
                <a:gd name="connsiteX1454" fmla="*/ 604975 w 1905657"/>
                <a:gd name="connsiteY1454" fmla="*/ 961860 h 1221162"/>
                <a:gd name="connsiteX1455" fmla="*/ 604975 w 1905657"/>
                <a:gd name="connsiteY1455" fmla="*/ 963172 h 1221162"/>
                <a:gd name="connsiteX1456" fmla="*/ 605244 w 1905657"/>
                <a:gd name="connsiteY1456" fmla="*/ 963777 h 1221162"/>
                <a:gd name="connsiteX1457" fmla="*/ 605581 w 1905657"/>
                <a:gd name="connsiteY1457" fmla="*/ 965358 h 1221162"/>
                <a:gd name="connsiteX1458" fmla="*/ 606456 w 1905657"/>
                <a:gd name="connsiteY1458" fmla="*/ 966939 h 1221162"/>
                <a:gd name="connsiteX1459" fmla="*/ 609451 w 1905657"/>
                <a:gd name="connsiteY1459" fmla="*/ 968891 h 1221162"/>
                <a:gd name="connsiteX1460" fmla="*/ 613254 w 1905657"/>
                <a:gd name="connsiteY1460" fmla="*/ 969294 h 1221162"/>
                <a:gd name="connsiteX1461" fmla="*/ 614566 w 1905657"/>
                <a:gd name="connsiteY1461" fmla="*/ 969294 h 1221162"/>
                <a:gd name="connsiteX1462" fmla="*/ 618369 w 1905657"/>
                <a:gd name="connsiteY1462" fmla="*/ 970169 h 1221162"/>
                <a:gd name="connsiteX1463" fmla="*/ 619446 w 1905657"/>
                <a:gd name="connsiteY1463" fmla="*/ 972894 h 1221162"/>
                <a:gd name="connsiteX1464" fmla="*/ 619345 w 1905657"/>
                <a:gd name="connsiteY1464" fmla="*/ 975282 h 1221162"/>
                <a:gd name="connsiteX1465" fmla="*/ 620658 w 1905657"/>
                <a:gd name="connsiteY1465" fmla="*/ 976594 h 1221162"/>
                <a:gd name="connsiteX1466" fmla="*/ 622946 w 1905657"/>
                <a:gd name="connsiteY1466" fmla="*/ 976594 h 1221162"/>
                <a:gd name="connsiteX1467" fmla="*/ 625235 w 1905657"/>
                <a:gd name="connsiteY1467" fmla="*/ 976056 h 1221162"/>
                <a:gd name="connsiteX1468" fmla="*/ 630451 w 1905657"/>
                <a:gd name="connsiteY1468" fmla="*/ 973768 h 1221162"/>
                <a:gd name="connsiteX1469" fmla="*/ 632942 w 1905657"/>
                <a:gd name="connsiteY1469" fmla="*/ 970842 h 1221162"/>
                <a:gd name="connsiteX1470" fmla="*/ 634894 w 1905657"/>
                <a:gd name="connsiteY1470" fmla="*/ 968453 h 1221162"/>
                <a:gd name="connsiteX1471" fmla="*/ 638697 w 1905657"/>
                <a:gd name="connsiteY1471" fmla="*/ 965728 h 1221162"/>
                <a:gd name="connsiteX1472" fmla="*/ 639572 w 1905657"/>
                <a:gd name="connsiteY1472" fmla="*/ 963239 h 1221162"/>
                <a:gd name="connsiteX1473" fmla="*/ 640649 w 1905657"/>
                <a:gd name="connsiteY1473" fmla="*/ 961725 h 1221162"/>
                <a:gd name="connsiteX1474" fmla="*/ 641288 w 1905657"/>
                <a:gd name="connsiteY1474" fmla="*/ 960413 h 1221162"/>
                <a:gd name="connsiteX1475" fmla="*/ 643139 w 1905657"/>
                <a:gd name="connsiteY1475" fmla="*/ 959001 h 1221162"/>
                <a:gd name="connsiteX1476" fmla="*/ 643913 w 1905657"/>
                <a:gd name="connsiteY1476" fmla="*/ 959001 h 1221162"/>
                <a:gd name="connsiteX1477" fmla="*/ 646841 w 1905657"/>
                <a:gd name="connsiteY1477" fmla="*/ 958361 h 1221162"/>
                <a:gd name="connsiteX1478" fmla="*/ 649668 w 1905657"/>
                <a:gd name="connsiteY1478" fmla="*/ 958025 h 1221162"/>
                <a:gd name="connsiteX1479" fmla="*/ 651957 w 1905657"/>
                <a:gd name="connsiteY1479" fmla="*/ 958462 h 1221162"/>
                <a:gd name="connsiteX1480" fmla="*/ 652832 w 1905657"/>
                <a:gd name="connsiteY1480" fmla="*/ 959976 h 1221162"/>
                <a:gd name="connsiteX1481" fmla="*/ 652832 w 1905657"/>
                <a:gd name="connsiteY1481" fmla="*/ 962466 h 1221162"/>
                <a:gd name="connsiteX1482" fmla="*/ 653606 w 1905657"/>
                <a:gd name="connsiteY1482" fmla="*/ 963441 h 1221162"/>
                <a:gd name="connsiteX1483" fmla="*/ 656971 w 1905657"/>
                <a:gd name="connsiteY1483" fmla="*/ 963677 h 1221162"/>
                <a:gd name="connsiteX1484" fmla="*/ 658620 w 1905657"/>
                <a:gd name="connsiteY1484" fmla="*/ 962903 h 1221162"/>
                <a:gd name="connsiteX1485" fmla="*/ 659159 w 1905657"/>
                <a:gd name="connsiteY1485" fmla="*/ 962264 h 1221162"/>
                <a:gd name="connsiteX1486" fmla="*/ 661447 w 1905657"/>
                <a:gd name="connsiteY1486" fmla="*/ 963340 h 1221162"/>
                <a:gd name="connsiteX1487" fmla="*/ 662221 w 1905657"/>
                <a:gd name="connsiteY1487" fmla="*/ 964955 h 1221162"/>
                <a:gd name="connsiteX1488" fmla="*/ 662760 w 1905657"/>
                <a:gd name="connsiteY1488" fmla="*/ 966569 h 1221162"/>
                <a:gd name="connsiteX1489" fmla="*/ 666226 w 1905657"/>
                <a:gd name="connsiteY1489" fmla="*/ 968958 h 1221162"/>
                <a:gd name="connsiteX1490" fmla="*/ 667976 w 1905657"/>
                <a:gd name="connsiteY1490" fmla="*/ 970034 h 1221162"/>
                <a:gd name="connsiteX1491" fmla="*/ 671005 w 1905657"/>
                <a:gd name="connsiteY1491" fmla="*/ 972187 h 1221162"/>
                <a:gd name="connsiteX1492" fmla="*/ 674606 w 1905657"/>
                <a:gd name="connsiteY1492" fmla="*/ 973499 h 1221162"/>
                <a:gd name="connsiteX1493" fmla="*/ 678746 w 1905657"/>
                <a:gd name="connsiteY1493" fmla="*/ 977200 h 1221162"/>
                <a:gd name="connsiteX1494" fmla="*/ 680597 w 1905657"/>
                <a:gd name="connsiteY1494" fmla="*/ 979487 h 1221162"/>
                <a:gd name="connsiteX1495" fmla="*/ 682986 w 1905657"/>
                <a:gd name="connsiteY1495" fmla="*/ 983389 h 1221162"/>
                <a:gd name="connsiteX1496" fmla="*/ 686688 w 1905657"/>
                <a:gd name="connsiteY1496" fmla="*/ 987628 h 1221162"/>
                <a:gd name="connsiteX1497" fmla="*/ 688640 w 1905657"/>
                <a:gd name="connsiteY1497" fmla="*/ 991530 h 1221162"/>
                <a:gd name="connsiteX1498" fmla="*/ 690929 w 1905657"/>
                <a:gd name="connsiteY1498" fmla="*/ 994120 h 1221162"/>
                <a:gd name="connsiteX1499" fmla="*/ 691568 w 1905657"/>
                <a:gd name="connsiteY1499" fmla="*/ 996072 h 1221162"/>
                <a:gd name="connsiteX1500" fmla="*/ 693217 w 1905657"/>
                <a:gd name="connsiteY1500" fmla="*/ 997316 h 1221162"/>
                <a:gd name="connsiteX1501" fmla="*/ 695506 w 1905657"/>
                <a:gd name="connsiteY1501" fmla="*/ 998796 h 1221162"/>
                <a:gd name="connsiteX1502" fmla="*/ 696381 w 1905657"/>
                <a:gd name="connsiteY1502" fmla="*/ 998796 h 1221162"/>
                <a:gd name="connsiteX1503" fmla="*/ 699107 w 1905657"/>
                <a:gd name="connsiteY1503" fmla="*/ 999671 h 1221162"/>
                <a:gd name="connsiteX1504" fmla="*/ 703011 w 1905657"/>
                <a:gd name="connsiteY1504" fmla="*/ 999402 h 1221162"/>
                <a:gd name="connsiteX1505" fmla="*/ 705501 w 1905657"/>
                <a:gd name="connsiteY1505" fmla="*/ 1000546 h 1221162"/>
                <a:gd name="connsiteX1506" fmla="*/ 708530 w 1905657"/>
                <a:gd name="connsiteY1506" fmla="*/ 1000546 h 1221162"/>
                <a:gd name="connsiteX1507" fmla="*/ 710919 w 1905657"/>
                <a:gd name="connsiteY1507" fmla="*/ 1000209 h 1221162"/>
                <a:gd name="connsiteX1508" fmla="*/ 715160 w 1905657"/>
                <a:gd name="connsiteY1508" fmla="*/ 1000546 h 1221162"/>
                <a:gd name="connsiteX1509" fmla="*/ 718963 w 1905657"/>
                <a:gd name="connsiteY1509" fmla="*/ 1000546 h 1221162"/>
                <a:gd name="connsiteX1510" fmla="*/ 720578 w 1905657"/>
                <a:gd name="connsiteY1510" fmla="*/ 1001757 h 1221162"/>
                <a:gd name="connsiteX1511" fmla="*/ 723069 w 1905657"/>
                <a:gd name="connsiteY1511" fmla="*/ 1002396 h 1221162"/>
                <a:gd name="connsiteX1512" fmla="*/ 726434 w 1905657"/>
                <a:gd name="connsiteY1512" fmla="*/ 1003607 h 1221162"/>
                <a:gd name="connsiteX1513" fmla="*/ 728487 w 1905657"/>
                <a:gd name="connsiteY1513" fmla="*/ 1003607 h 1221162"/>
                <a:gd name="connsiteX1514" fmla="*/ 730002 w 1905657"/>
                <a:gd name="connsiteY1514" fmla="*/ 1004818 h 1221162"/>
                <a:gd name="connsiteX1515" fmla="*/ 731415 w 1905657"/>
                <a:gd name="connsiteY1515" fmla="*/ 1006332 h 1221162"/>
                <a:gd name="connsiteX1516" fmla="*/ 733266 w 1905657"/>
                <a:gd name="connsiteY1516" fmla="*/ 1008518 h 1221162"/>
                <a:gd name="connsiteX1517" fmla="*/ 735756 w 1905657"/>
                <a:gd name="connsiteY1517" fmla="*/ 1010906 h 1221162"/>
                <a:gd name="connsiteX1518" fmla="*/ 737809 w 1905657"/>
                <a:gd name="connsiteY1518" fmla="*/ 1012521 h 1221162"/>
                <a:gd name="connsiteX1519" fmla="*/ 741612 w 1905657"/>
                <a:gd name="connsiteY1519" fmla="*/ 1014472 h 1221162"/>
                <a:gd name="connsiteX1520" fmla="*/ 748444 w 1905657"/>
                <a:gd name="connsiteY1520" fmla="*/ 1014472 h 1221162"/>
                <a:gd name="connsiteX1521" fmla="*/ 751709 w 1905657"/>
                <a:gd name="connsiteY1521" fmla="*/ 1013160 h 1221162"/>
                <a:gd name="connsiteX1522" fmla="*/ 755512 w 1905657"/>
                <a:gd name="connsiteY1522" fmla="*/ 1009797 h 1221162"/>
                <a:gd name="connsiteX1523" fmla="*/ 758339 w 1905657"/>
                <a:gd name="connsiteY1523" fmla="*/ 1006332 h 1221162"/>
                <a:gd name="connsiteX1524" fmla="*/ 760964 w 1905657"/>
                <a:gd name="connsiteY1524" fmla="*/ 1004414 h 1221162"/>
                <a:gd name="connsiteX1525" fmla="*/ 763555 w 1905657"/>
                <a:gd name="connsiteY1525" fmla="*/ 1002295 h 1221162"/>
                <a:gd name="connsiteX1526" fmla="*/ 765844 w 1905657"/>
                <a:gd name="connsiteY1526" fmla="*/ 1002295 h 1221162"/>
                <a:gd name="connsiteX1527" fmla="*/ 769209 w 1905657"/>
                <a:gd name="connsiteY1527" fmla="*/ 1003506 h 1221162"/>
                <a:gd name="connsiteX1528" fmla="*/ 773786 w 1905657"/>
                <a:gd name="connsiteY1528" fmla="*/ 1005692 h 1221162"/>
                <a:gd name="connsiteX1529" fmla="*/ 776277 w 1905657"/>
                <a:gd name="connsiteY1529" fmla="*/ 1007543 h 1221162"/>
                <a:gd name="connsiteX1530" fmla="*/ 777690 w 1905657"/>
                <a:gd name="connsiteY1530" fmla="*/ 1009830 h 1221162"/>
                <a:gd name="connsiteX1531" fmla="*/ 781156 w 1905657"/>
                <a:gd name="connsiteY1531" fmla="*/ 1012320 h 1221162"/>
                <a:gd name="connsiteX1532" fmla="*/ 784320 w 1905657"/>
                <a:gd name="connsiteY1532" fmla="*/ 1013968 h 1221162"/>
                <a:gd name="connsiteX1533" fmla="*/ 788224 w 1905657"/>
                <a:gd name="connsiteY1533" fmla="*/ 1015313 h 1221162"/>
                <a:gd name="connsiteX1534" fmla="*/ 791152 w 1905657"/>
                <a:gd name="connsiteY1534" fmla="*/ 1016255 h 1221162"/>
                <a:gd name="connsiteX1535" fmla="*/ 795392 w 1905657"/>
                <a:gd name="connsiteY1535" fmla="*/ 1016255 h 1221162"/>
                <a:gd name="connsiteX1536" fmla="*/ 797883 w 1905657"/>
                <a:gd name="connsiteY1536" fmla="*/ 1016255 h 1221162"/>
                <a:gd name="connsiteX1537" fmla="*/ 801484 w 1905657"/>
                <a:gd name="connsiteY1537" fmla="*/ 1015482 h 1221162"/>
                <a:gd name="connsiteX1538" fmla="*/ 804748 w 1905657"/>
                <a:gd name="connsiteY1538" fmla="*/ 1015044 h 1221162"/>
                <a:gd name="connsiteX1539" fmla="*/ 806599 w 1905657"/>
                <a:gd name="connsiteY1539" fmla="*/ 1014708 h 1221162"/>
                <a:gd name="connsiteX1540" fmla="*/ 810200 w 1905657"/>
                <a:gd name="connsiteY1540" fmla="*/ 1013530 h 1221162"/>
                <a:gd name="connsiteX1541" fmla="*/ 812152 w 1905657"/>
                <a:gd name="connsiteY1541" fmla="*/ 1011344 h 1221162"/>
                <a:gd name="connsiteX1542" fmla="*/ 814340 w 1905657"/>
                <a:gd name="connsiteY1542" fmla="*/ 1008316 h 1221162"/>
                <a:gd name="connsiteX1543" fmla="*/ 816628 w 1905657"/>
                <a:gd name="connsiteY1543" fmla="*/ 1005053 h 1221162"/>
                <a:gd name="connsiteX1544" fmla="*/ 819994 w 1905657"/>
                <a:gd name="connsiteY1544" fmla="*/ 1003842 h 1221162"/>
                <a:gd name="connsiteX1545" fmla="*/ 822619 w 1905657"/>
                <a:gd name="connsiteY1545" fmla="*/ 1002867 h 1221162"/>
                <a:gd name="connsiteX1546" fmla="*/ 828273 w 1905657"/>
                <a:gd name="connsiteY1546" fmla="*/ 1001992 h 1221162"/>
                <a:gd name="connsiteX1547" fmla="*/ 833052 w 1905657"/>
                <a:gd name="connsiteY1547" fmla="*/ 1001117 h 1221162"/>
                <a:gd name="connsiteX1548" fmla="*/ 839480 w 1905657"/>
                <a:gd name="connsiteY1548" fmla="*/ 1002194 h 1221162"/>
                <a:gd name="connsiteX1549" fmla="*/ 842744 w 1905657"/>
                <a:gd name="connsiteY1549" fmla="*/ 1001319 h 1221162"/>
                <a:gd name="connsiteX1550" fmla="*/ 849273 w 1905657"/>
                <a:gd name="connsiteY1550" fmla="*/ 1000007 h 1221162"/>
                <a:gd name="connsiteX1551" fmla="*/ 853076 w 1905657"/>
                <a:gd name="connsiteY1551" fmla="*/ 1001757 h 1221162"/>
                <a:gd name="connsiteX1552" fmla="*/ 856778 w 1905657"/>
                <a:gd name="connsiteY1552" fmla="*/ 1004683 h 1221162"/>
                <a:gd name="connsiteX1553" fmla="*/ 858966 w 1905657"/>
                <a:gd name="connsiteY1553" fmla="*/ 1007307 h 1221162"/>
                <a:gd name="connsiteX1554" fmla="*/ 861995 w 1905657"/>
                <a:gd name="connsiteY1554" fmla="*/ 1014136 h 1221162"/>
                <a:gd name="connsiteX1555" fmla="*/ 862870 w 1905657"/>
                <a:gd name="connsiteY1555" fmla="*/ 1016356 h 1221162"/>
                <a:gd name="connsiteX1556" fmla="*/ 862971 w 1905657"/>
                <a:gd name="connsiteY1556" fmla="*/ 1023387 h 1221162"/>
                <a:gd name="connsiteX1557" fmla="*/ 862634 w 1905657"/>
                <a:gd name="connsiteY1557" fmla="*/ 1027390 h 1221162"/>
                <a:gd name="connsiteX1558" fmla="*/ 860783 w 1905657"/>
                <a:gd name="connsiteY1558" fmla="*/ 1036069 h 1221162"/>
                <a:gd name="connsiteX1559" fmla="*/ 858394 w 1905657"/>
                <a:gd name="connsiteY1559" fmla="*/ 1038020 h 1221162"/>
                <a:gd name="connsiteX1560" fmla="*/ 856475 w 1905657"/>
                <a:gd name="connsiteY1560" fmla="*/ 1043268 h 1221162"/>
                <a:gd name="connsiteX1561" fmla="*/ 853581 w 1905657"/>
                <a:gd name="connsiteY1561" fmla="*/ 1048785 h 1221162"/>
                <a:gd name="connsiteX1562" fmla="*/ 851259 w 1905657"/>
                <a:gd name="connsiteY1562" fmla="*/ 1050971 h 1221162"/>
                <a:gd name="connsiteX1563" fmla="*/ 848129 w 1905657"/>
                <a:gd name="connsiteY1563" fmla="*/ 1059650 h 1221162"/>
                <a:gd name="connsiteX1564" fmla="*/ 846749 w 1905657"/>
                <a:gd name="connsiteY1564" fmla="*/ 1064730 h 1221162"/>
                <a:gd name="connsiteX1565" fmla="*/ 846749 w 1905657"/>
                <a:gd name="connsiteY1565" fmla="*/ 1074418 h 1221162"/>
                <a:gd name="connsiteX1566" fmla="*/ 848062 w 1905657"/>
                <a:gd name="connsiteY1566" fmla="*/ 1079935 h 1221162"/>
                <a:gd name="connsiteX1567" fmla="*/ 850956 w 1905657"/>
                <a:gd name="connsiteY1567" fmla="*/ 1085721 h 1221162"/>
                <a:gd name="connsiteX1568" fmla="*/ 853985 w 1905657"/>
                <a:gd name="connsiteY1568" fmla="*/ 1091373 h 1221162"/>
                <a:gd name="connsiteX1569" fmla="*/ 858327 w 1905657"/>
                <a:gd name="connsiteY1569" fmla="*/ 1096889 h 1221162"/>
                <a:gd name="connsiteX1570" fmla="*/ 863846 w 1905657"/>
                <a:gd name="connsiteY1570" fmla="*/ 1099076 h 1221162"/>
                <a:gd name="connsiteX1571" fmla="*/ 867750 w 1905657"/>
                <a:gd name="connsiteY1571" fmla="*/ 1098201 h 1221162"/>
                <a:gd name="connsiteX1572" fmla="*/ 872529 w 1905657"/>
                <a:gd name="connsiteY1572" fmla="*/ 1096183 h 1221162"/>
                <a:gd name="connsiteX1573" fmla="*/ 875558 w 1905657"/>
                <a:gd name="connsiteY1573" fmla="*/ 1093155 h 1221162"/>
                <a:gd name="connsiteX1574" fmla="*/ 878452 w 1905657"/>
                <a:gd name="connsiteY1574" fmla="*/ 1089691 h 1221162"/>
                <a:gd name="connsiteX1575" fmla="*/ 881212 w 1905657"/>
                <a:gd name="connsiteY1575" fmla="*/ 1085048 h 1221162"/>
                <a:gd name="connsiteX1576" fmla="*/ 881514 w 1905657"/>
                <a:gd name="connsiteY1576" fmla="*/ 1081415 h 1221162"/>
                <a:gd name="connsiteX1577" fmla="*/ 881514 w 1905657"/>
                <a:gd name="connsiteY1577" fmla="*/ 1074452 h 1221162"/>
                <a:gd name="connsiteX1578" fmla="*/ 881514 w 1905657"/>
                <a:gd name="connsiteY1578" fmla="*/ 1069238 h 1221162"/>
                <a:gd name="connsiteX1579" fmla="*/ 882524 w 1905657"/>
                <a:gd name="connsiteY1579" fmla="*/ 1063586 h 1221162"/>
                <a:gd name="connsiteX1580" fmla="*/ 884106 w 1905657"/>
                <a:gd name="connsiteY1580" fmla="*/ 1057195 h 1221162"/>
                <a:gd name="connsiteX1581" fmla="*/ 887000 w 1905657"/>
                <a:gd name="connsiteY1581" fmla="*/ 1053562 h 1221162"/>
                <a:gd name="connsiteX1582" fmla="*/ 891645 w 1905657"/>
                <a:gd name="connsiteY1582" fmla="*/ 1049929 h 1221162"/>
                <a:gd name="connsiteX1583" fmla="*/ 894101 w 1905657"/>
                <a:gd name="connsiteY1583" fmla="*/ 1047170 h 1221162"/>
                <a:gd name="connsiteX1584" fmla="*/ 896558 w 1905657"/>
                <a:gd name="connsiteY1584" fmla="*/ 1044109 h 1221162"/>
                <a:gd name="connsiteX1585" fmla="*/ 898880 w 1905657"/>
                <a:gd name="connsiteY1585" fmla="*/ 1042090 h 1221162"/>
                <a:gd name="connsiteX1586" fmla="*/ 901909 w 1905657"/>
                <a:gd name="connsiteY1586" fmla="*/ 1038760 h 1221162"/>
                <a:gd name="connsiteX1587" fmla="*/ 906553 w 1905657"/>
                <a:gd name="connsiteY1587" fmla="*/ 1036305 h 1221162"/>
                <a:gd name="connsiteX1588" fmla="*/ 913958 w 1905657"/>
                <a:gd name="connsiteY1588" fmla="*/ 1031090 h 1221162"/>
                <a:gd name="connsiteX1589" fmla="*/ 917424 w 1905657"/>
                <a:gd name="connsiteY1589" fmla="*/ 1028500 h 1221162"/>
                <a:gd name="connsiteX1590" fmla="*/ 921496 w 1905657"/>
                <a:gd name="connsiteY1590" fmla="*/ 1025742 h 1221162"/>
                <a:gd name="connsiteX1591" fmla="*/ 925838 w 1905657"/>
                <a:gd name="connsiteY1591" fmla="*/ 1022411 h 1221162"/>
                <a:gd name="connsiteX1592" fmla="*/ 930616 w 1905657"/>
                <a:gd name="connsiteY1592" fmla="*/ 1020090 h 1221162"/>
                <a:gd name="connsiteX1593" fmla="*/ 934083 w 1905657"/>
                <a:gd name="connsiteY1593" fmla="*/ 1016188 h 1221162"/>
                <a:gd name="connsiteX1594" fmla="*/ 937112 w 1905657"/>
                <a:gd name="connsiteY1594" fmla="*/ 1014170 h 1221162"/>
                <a:gd name="connsiteX1595" fmla="*/ 940881 w 1905657"/>
                <a:gd name="connsiteY1595" fmla="*/ 1012286 h 1221162"/>
                <a:gd name="connsiteX1596" fmla="*/ 942900 w 1905657"/>
                <a:gd name="connsiteY1596" fmla="*/ 1011848 h 1221162"/>
                <a:gd name="connsiteX1597" fmla="*/ 946367 w 1905657"/>
                <a:gd name="connsiteY1597" fmla="*/ 1010537 h 1221162"/>
                <a:gd name="connsiteX1598" fmla="*/ 950708 w 1905657"/>
                <a:gd name="connsiteY1598" fmla="*/ 1010099 h 1221162"/>
                <a:gd name="connsiteX1599" fmla="*/ 955622 w 1905657"/>
                <a:gd name="connsiteY1599" fmla="*/ 1009797 h 1221162"/>
                <a:gd name="connsiteX1600" fmla="*/ 960973 w 1905657"/>
                <a:gd name="connsiteY1600" fmla="*/ 1008922 h 1221162"/>
                <a:gd name="connsiteX1601" fmla="*/ 966761 w 1905657"/>
                <a:gd name="connsiteY1601" fmla="*/ 1009225 h 1221162"/>
                <a:gd name="connsiteX1602" fmla="*/ 975007 w 1905657"/>
                <a:gd name="connsiteY1602" fmla="*/ 1011680 h 1221162"/>
                <a:gd name="connsiteX1603" fmla="*/ 980089 w 1905657"/>
                <a:gd name="connsiteY1603" fmla="*/ 1013867 h 1221162"/>
                <a:gd name="connsiteX1604" fmla="*/ 985002 w 1905657"/>
                <a:gd name="connsiteY1604" fmla="*/ 1014741 h 1221162"/>
                <a:gd name="connsiteX1605" fmla="*/ 989074 w 1905657"/>
                <a:gd name="connsiteY1605" fmla="*/ 1015044 h 1221162"/>
                <a:gd name="connsiteX1606" fmla="*/ 994729 w 1905657"/>
                <a:gd name="connsiteY1606" fmla="*/ 1015347 h 1221162"/>
                <a:gd name="connsiteX1607" fmla="*/ 998363 w 1905657"/>
                <a:gd name="connsiteY1607" fmla="*/ 1016222 h 1221162"/>
                <a:gd name="connsiteX1608" fmla="*/ 1000820 w 1905657"/>
                <a:gd name="connsiteY1608" fmla="*/ 1017668 h 1221162"/>
                <a:gd name="connsiteX1609" fmla="*/ 1003849 w 1905657"/>
                <a:gd name="connsiteY1609" fmla="*/ 1020696 h 1221162"/>
                <a:gd name="connsiteX1610" fmla="*/ 1007181 w 1905657"/>
                <a:gd name="connsiteY1610" fmla="*/ 1024161 h 1221162"/>
                <a:gd name="connsiteX1611" fmla="*/ 1008190 w 1905657"/>
                <a:gd name="connsiteY1611" fmla="*/ 1026179 h 1221162"/>
                <a:gd name="connsiteX1612" fmla="*/ 1013104 w 1905657"/>
                <a:gd name="connsiteY1612" fmla="*/ 1029206 h 1221162"/>
                <a:gd name="connsiteX1613" fmla="*/ 1016436 w 1905657"/>
                <a:gd name="connsiteY1613" fmla="*/ 1033411 h 1221162"/>
                <a:gd name="connsiteX1614" fmla="*/ 1017883 w 1905657"/>
                <a:gd name="connsiteY1614" fmla="*/ 1036305 h 1221162"/>
                <a:gd name="connsiteX1615" fmla="*/ 1022224 w 1905657"/>
                <a:gd name="connsiteY1615" fmla="*/ 1037616 h 1221162"/>
                <a:gd name="connsiteX1616" fmla="*/ 1028450 w 1905657"/>
                <a:gd name="connsiteY1616" fmla="*/ 1038794 h 1221162"/>
                <a:gd name="connsiteX1617" fmla="*/ 1033532 w 1905657"/>
                <a:gd name="connsiteY1617" fmla="*/ 1038794 h 1221162"/>
                <a:gd name="connsiteX1618" fmla="*/ 1036292 w 1905657"/>
                <a:gd name="connsiteY1618" fmla="*/ 1038491 h 1221162"/>
                <a:gd name="connsiteX1619" fmla="*/ 1040499 w 1905657"/>
                <a:gd name="connsiteY1619" fmla="*/ 1038626 h 1221162"/>
                <a:gd name="connsiteX1620" fmla="*/ 1044133 w 1905657"/>
                <a:gd name="connsiteY1620" fmla="*/ 1039769 h 1221162"/>
                <a:gd name="connsiteX1621" fmla="*/ 1045143 w 1905657"/>
                <a:gd name="connsiteY1621" fmla="*/ 1040510 h 1221162"/>
                <a:gd name="connsiteX1622" fmla="*/ 1049047 w 1905657"/>
                <a:gd name="connsiteY1622" fmla="*/ 1043100 h 1221162"/>
                <a:gd name="connsiteX1623" fmla="*/ 1051941 w 1905657"/>
                <a:gd name="connsiteY1623" fmla="*/ 1045118 h 1221162"/>
                <a:gd name="connsiteX1624" fmla="*/ 1054129 w 1905657"/>
                <a:gd name="connsiteY1624" fmla="*/ 1048886 h 1221162"/>
                <a:gd name="connsiteX1625" fmla="*/ 1055576 w 1905657"/>
                <a:gd name="connsiteY1625" fmla="*/ 1053225 h 1221162"/>
                <a:gd name="connsiteX1626" fmla="*/ 1060792 w 1905657"/>
                <a:gd name="connsiteY1626" fmla="*/ 1058742 h 1221162"/>
                <a:gd name="connsiteX1627" fmla="*/ 1063384 w 1905657"/>
                <a:gd name="connsiteY1627" fmla="*/ 1060626 h 1221162"/>
                <a:gd name="connsiteX1628" fmla="*/ 1065841 w 1905657"/>
                <a:gd name="connsiteY1628" fmla="*/ 1063519 h 1221162"/>
                <a:gd name="connsiteX1629" fmla="*/ 1067725 w 1905657"/>
                <a:gd name="connsiteY1629" fmla="*/ 1065403 h 1221162"/>
                <a:gd name="connsiteX1630" fmla="*/ 1071495 w 1905657"/>
                <a:gd name="connsiteY1630" fmla="*/ 1068430 h 1221162"/>
                <a:gd name="connsiteX1631" fmla="*/ 1074120 w 1905657"/>
                <a:gd name="connsiteY1631" fmla="*/ 1070180 h 1221162"/>
                <a:gd name="connsiteX1632" fmla="*/ 1077014 w 1905657"/>
                <a:gd name="connsiteY1632" fmla="*/ 1072198 h 1221162"/>
                <a:gd name="connsiteX1633" fmla="*/ 1081086 w 1905657"/>
                <a:gd name="connsiteY1633" fmla="*/ 1073342 h 1221162"/>
                <a:gd name="connsiteX1634" fmla="*/ 1084721 w 1905657"/>
                <a:gd name="connsiteY1634" fmla="*/ 1073914 h 1221162"/>
                <a:gd name="connsiteX1635" fmla="*/ 1086740 w 1905657"/>
                <a:gd name="connsiteY1635" fmla="*/ 1072030 h 1221162"/>
                <a:gd name="connsiteX1636" fmla="*/ 1087178 w 1905657"/>
                <a:gd name="connsiteY1636" fmla="*/ 1068834 h 1221162"/>
                <a:gd name="connsiteX1637" fmla="*/ 1088759 w 1905657"/>
                <a:gd name="connsiteY1637" fmla="*/ 1067253 h 1221162"/>
                <a:gd name="connsiteX1638" fmla="*/ 1090947 w 1905657"/>
                <a:gd name="connsiteY1638" fmla="*/ 1065941 h 1221162"/>
                <a:gd name="connsiteX1639" fmla="*/ 1094851 w 1905657"/>
                <a:gd name="connsiteY1639" fmla="*/ 1065504 h 1221162"/>
                <a:gd name="connsiteX1640" fmla="*/ 1097038 w 1905657"/>
                <a:gd name="connsiteY1640" fmla="*/ 1064932 h 1221162"/>
                <a:gd name="connsiteX1641" fmla="*/ 1101514 w 1905657"/>
                <a:gd name="connsiteY1641" fmla="*/ 1065369 h 1221162"/>
                <a:gd name="connsiteX1642" fmla="*/ 1103837 w 1905657"/>
                <a:gd name="connsiteY1642" fmla="*/ 1065235 h 1221162"/>
                <a:gd name="connsiteX1643" fmla="*/ 1106428 w 1905657"/>
                <a:gd name="connsiteY1643" fmla="*/ 1064797 h 1221162"/>
                <a:gd name="connsiteX1644" fmla="*/ 1108313 w 1905657"/>
                <a:gd name="connsiteY1644" fmla="*/ 1063788 h 1221162"/>
                <a:gd name="connsiteX1645" fmla="*/ 1112789 w 1905657"/>
                <a:gd name="connsiteY1645" fmla="*/ 1063216 h 1221162"/>
                <a:gd name="connsiteX1646" fmla="*/ 1116087 w 1905657"/>
                <a:gd name="connsiteY1646" fmla="*/ 1064225 h 1221162"/>
                <a:gd name="connsiteX1647" fmla="*/ 1118443 w 1905657"/>
                <a:gd name="connsiteY1647" fmla="*/ 1065672 h 1221162"/>
                <a:gd name="connsiteX1648" fmla="*/ 1120765 w 1905657"/>
                <a:gd name="connsiteY1648" fmla="*/ 1068699 h 1221162"/>
                <a:gd name="connsiteX1649" fmla="*/ 1123356 w 1905657"/>
                <a:gd name="connsiteY1649" fmla="*/ 1072467 h 1221162"/>
                <a:gd name="connsiteX1650" fmla="*/ 1125948 w 1905657"/>
                <a:gd name="connsiteY1650" fmla="*/ 1073914 h 1221162"/>
                <a:gd name="connsiteX1651" fmla="*/ 1127967 w 1905657"/>
                <a:gd name="connsiteY1651" fmla="*/ 1075663 h 1221162"/>
                <a:gd name="connsiteX1652" fmla="*/ 1129414 w 1905657"/>
                <a:gd name="connsiteY1652" fmla="*/ 1078253 h 1221162"/>
                <a:gd name="connsiteX1653" fmla="*/ 1130996 w 1905657"/>
                <a:gd name="connsiteY1653" fmla="*/ 1080002 h 1221162"/>
                <a:gd name="connsiteX1654" fmla="*/ 1131736 w 1905657"/>
                <a:gd name="connsiteY1654" fmla="*/ 1081752 h 1221162"/>
                <a:gd name="connsiteX1655" fmla="*/ 1131736 w 1905657"/>
                <a:gd name="connsiteY1655" fmla="*/ 1084813 h 1221162"/>
                <a:gd name="connsiteX1656" fmla="*/ 1133486 w 1905657"/>
                <a:gd name="connsiteY1656" fmla="*/ 1089455 h 1221162"/>
                <a:gd name="connsiteX1657" fmla="*/ 1133486 w 1905657"/>
                <a:gd name="connsiteY1657" fmla="*/ 1091776 h 1221162"/>
                <a:gd name="connsiteX1658" fmla="*/ 1133486 w 1905657"/>
                <a:gd name="connsiteY1658" fmla="*/ 1096990 h 1221162"/>
                <a:gd name="connsiteX1659" fmla="*/ 1132780 w 1905657"/>
                <a:gd name="connsiteY1659" fmla="*/ 1099883 h 1221162"/>
                <a:gd name="connsiteX1660" fmla="*/ 1131030 w 1905657"/>
                <a:gd name="connsiteY1660" fmla="*/ 1103079 h 1221162"/>
                <a:gd name="connsiteX1661" fmla="*/ 1130155 w 1905657"/>
                <a:gd name="connsiteY1661" fmla="*/ 1105703 h 1221162"/>
                <a:gd name="connsiteX1662" fmla="*/ 1130289 w 1905657"/>
                <a:gd name="connsiteY1662" fmla="*/ 1110614 h 1221162"/>
                <a:gd name="connsiteX1663" fmla="*/ 1131030 w 1905657"/>
                <a:gd name="connsiteY1663" fmla="*/ 1112633 h 1221162"/>
                <a:gd name="connsiteX1664" fmla="*/ 1130895 w 1905657"/>
                <a:gd name="connsiteY1664" fmla="*/ 1115660 h 1221162"/>
                <a:gd name="connsiteX1665" fmla="*/ 1130592 w 1905657"/>
                <a:gd name="connsiteY1665" fmla="*/ 1120000 h 1221162"/>
                <a:gd name="connsiteX1666" fmla="*/ 1133486 w 1905657"/>
                <a:gd name="connsiteY1666" fmla="*/ 1123330 h 1221162"/>
                <a:gd name="connsiteX1667" fmla="*/ 1135674 w 1905657"/>
                <a:gd name="connsiteY1667" fmla="*/ 1125214 h 1221162"/>
                <a:gd name="connsiteX1668" fmla="*/ 1137693 w 1905657"/>
                <a:gd name="connsiteY1668" fmla="*/ 1125214 h 1221162"/>
                <a:gd name="connsiteX1669" fmla="*/ 1142169 w 1905657"/>
                <a:gd name="connsiteY1669" fmla="*/ 1126661 h 1221162"/>
                <a:gd name="connsiteX1670" fmla="*/ 1147083 w 1905657"/>
                <a:gd name="connsiteY1670" fmla="*/ 1126661 h 1221162"/>
                <a:gd name="connsiteX1671" fmla="*/ 1149540 w 1905657"/>
                <a:gd name="connsiteY1671" fmla="*/ 1126661 h 1221162"/>
                <a:gd name="connsiteX1672" fmla="*/ 1154184 w 1905657"/>
                <a:gd name="connsiteY1672" fmla="*/ 1126694 h 1221162"/>
                <a:gd name="connsiteX1673" fmla="*/ 1157381 w 1905657"/>
                <a:gd name="connsiteY1673" fmla="*/ 1126694 h 1221162"/>
                <a:gd name="connsiteX1674" fmla="*/ 1162463 w 1905657"/>
                <a:gd name="connsiteY1674" fmla="*/ 1130832 h 1221162"/>
                <a:gd name="connsiteX1675" fmla="*/ 1165795 w 1905657"/>
                <a:gd name="connsiteY1675" fmla="*/ 1132413 h 1221162"/>
                <a:gd name="connsiteX1676" fmla="*/ 1170271 w 1905657"/>
                <a:gd name="connsiteY1676" fmla="*/ 1137762 h 1221162"/>
                <a:gd name="connsiteX1677" fmla="*/ 1172290 w 1905657"/>
                <a:gd name="connsiteY1677" fmla="*/ 1141092 h 1221162"/>
                <a:gd name="connsiteX1678" fmla="*/ 1172290 w 1905657"/>
                <a:gd name="connsiteY1678" fmla="*/ 1143548 h 1221162"/>
                <a:gd name="connsiteX1679" fmla="*/ 1173165 w 1905657"/>
                <a:gd name="connsiteY1679" fmla="*/ 1147618 h 1221162"/>
                <a:gd name="connsiteX1680" fmla="*/ 1172290 w 1905657"/>
                <a:gd name="connsiteY1680" fmla="*/ 1151520 h 1221162"/>
                <a:gd name="connsiteX1681" fmla="*/ 1170978 w 1905657"/>
                <a:gd name="connsiteY1681" fmla="*/ 1153404 h 1221162"/>
                <a:gd name="connsiteX1682" fmla="*/ 1167949 w 1905657"/>
                <a:gd name="connsiteY1682" fmla="*/ 1159325 h 1221162"/>
                <a:gd name="connsiteX1683" fmla="*/ 1165929 w 1905657"/>
                <a:gd name="connsiteY1683" fmla="*/ 1162218 h 1221162"/>
                <a:gd name="connsiteX1684" fmla="*/ 1164920 w 1905657"/>
                <a:gd name="connsiteY1684" fmla="*/ 1165111 h 1221162"/>
                <a:gd name="connsiteX1685" fmla="*/ 1164348 w 1905657"/>
                <a:gd name="connsiteY1685" fmla="*/ 1166860 h 1221162"/>
                <a:gd name="connsiteX1686" fmla="*/ 1163607 w 1905657"/>
                <a:gd name="connsiteY1686" fmla="*/ 1168575 h 1221162"/>
                <a:gd name="connsiteX1687" fmla="*/ 1164348 w 1905657"/>
                <a:gd name="connsiteY1687" fmla="*/ 1172646 h 1221162"/>
                <a:gd name="connsiteX1688" fmla="*/ 1164785 w 1905657"/>
                <a:gd name="connsiteY1688" fmla="*/ 1175674 h 1221162"/>
                <a:gd name="connsiteX1689" fmla="*/ 1164785 w 1905657"/>
                <a:gd name="connsiteY1689" fmla="*/ 1176817 h 1221162"/>
                <a:gd name="connsiteX1690" fmla="*/ 1164348 w 1905657"/>
                <a:gd name="connsiteY1690" fmla="*/ 1180720 h 1221162"/>
                <a:gd name="connsiteX1691" fmla="*/ 1164785 w 1905657"/>
                <a:gd name="connsiteY1691" fmla="*/ 1184790 h 1221162"/>
                <a:gd name="connsiteX1692" fmla="*/ 1164785 w 1905657"/>
                <a:gd name="connsiteY1692" fmla="*/ 1187246 h 1221162"/>
                <a:gd name="connsiteX1693" fmla="*/ 1164213 w 1905657"/>
                <a:gd name="connsiteY1693" fmla="*/ 1189129 h 1221162"/>
                <a:gd name="connsiteX1694" fmla="*/ 1164078 w 1905657"/>
                <a:gd name="connsiteY1694" fmla="*/ 1192325 h 1221162"/>
                <a:gd name="connsiteX1695" fmla="*/ 1163944 w 1905657"/>
                <a:gd name="connsiteY1695" fmla="*/ 1194781 h 1221162"/>
                <a:gd name="connsiteX1696" fmla="*/ 1164516 w 1905657"/>
                <a:gd name="connsiteY1696" fmla="*/ 1198246 h 1221162"/>
                <a:gd name="connsiteX1697" fmla="*/ 1164651 w 1905657"/>
                <a:gd name="connsiteY1697" fmla="*/ 1201711 h 1221162"/>
                <a:gd name="connsiteX1698" fmla="*/ 1164718 w 1905657"/>
                <a:gd name="connsiteY1698" fmla="*/ 1203292 h 1221162"/>
                <a:gd name="connsiteX1699" fmla="*/ 1165862 w 1905657"/>
                <a:gd name="connsiteY1699" fmla="*/ 1204570 h 1221162"/>
                <a:gd name="connsiteX1700" fmla="*/ 1167175 w 1905657"/>
                <a:gd name="connsiteY1700" fmla="*/ 1205478 h 1221162"/>
                <a:gd name="connsiteX1701" fmla="*/ 1169127 w 1905657"/>
                <a:gd name="connsiteY1701" fmla="*/ 1205478 h 1221162"/>
                <a:gd name="connsiteX1702" fmla="*/ 1174276 w 1905657"/>
                <a:gd name="connsiteY1702" fmla="*/ 1206454 h 1221162"/>
                <a:gd name="connsiteX1703" fmla="*/ 1178348 w 1905657"/>
                <a:gd name="connsiteY1703" fmla="*/ 1207228 h 1221162"/>
                <a:gd name="connsiteX1704" fmla="*/ 1181309 w 1905657"/>
                <a:gd name="connsiteY1704" fmla="*/ 1207228 h 1221162"/>
                <a:gd name="connsiteX1705" fmla="*/ 1184776 w 1905657"/>
                <a:gd name="connsiteY1705" fmla="*/ 1207228 h 1221162"/>
                <a:gd name="connsiteX1706" fmla="*/ 1188175 w 1905657"/>
                <a:gd name="connsiteY1706" fmla="*/ 1207228 h 1221162"/>
                <a:gd name="connsiteX1707" fmla="*/ 1190632 w 1905657"/>
                <a:gd name="connsiteY1707" fmla="*/ 1207059 h 1221162"/>
                <a:gd name="connsiteX1708" fmla="*/ 1195781 w 1905657"/>
                <a:gd name="connsiteY1708" fmla="*/ 1207228 h 1221162"/>
                <a:gd name="connsiteX1709" fmla="*/ 1198675 w 1905657"/>
                <a:gd name="connsiteY1709" fmla="*/ 1207228 h 1221162"/>
                <a:gd name="connsiteX1710" fmla="*/ 1201637 w 1905657"/>
                <a:gd name="connsiteY1710" fmla="*/ 1207228 h 1221162"/>
                <a:gd name="connsiteX1711" fmla="*/ 1205608 w 1905657"/>
                <a:gd name="connsiteY1711" fmla="*/ 1207228 h 1221162"/>
                <a:gd name="connsiteX1712" fmla="*/ 1209815 w 1905657"/>
                <a:gd name="connsiteY1712" fmla="*/ 1207295 h 1221162"/>
                <a:gd name="connsiteX1713" fmla="*/ 1215469 w 1905657"/>
                <a:gd name="connsiteY1713" fmla="*/ 1208741 h 1221162"/>
                <a:gd name="connsiteX1714" fmla="*/ 1217152 w 1905657"/>
                <a:gd name="connsiteY1714" fmla="*/ 1209683 h 1221162"/>
                <a:gd name="connsiteX1715" fmla="*/ 1221358 w 1905657"/>
                <a:gd name="connsiteY1715" fmla="*/ 1210255 h 1221162"/>
                <a:gd name="connsiteX1716" fmla="*/ 1228762 w 1905657"/>
                <a:gd name="connsiteY1716" fmla="*/ 1211903 h 1221162"/>
                <a:gd name="connsiteX1717" fmla="*/ 1232599 w 1905657"/>
                <a:gd name="connsiteY1717" fmla="*/ 1212711 h 1221162"/>
                <a:gd name="connsiteX1718" fmla="*/ 1237243 w 1905657"/>
                <a:gd name="connsiteY1718" fmla="*/ 1214292 h 1221162"/>
                <a:gd name="connsiteX1719" fmla="*/ 1244917 w 1905657"/>
                <a:gd name="connsiteY1719" fmla="*/ 1216310 h 1221162"/>
                <a:gd name="connsiteX1720" fmla="*/ 1252960 w 1905657"/>
                <a:gd name="connsiteY1720" fmla="*/ 1219439 h 1221162"/>
                <a:gd name="connsiteX1721" fmla="*/ 1258984 w 1905657"/>
                <a:gd name="connsiteY1721" fmla="*/ 1220751 h 1221162"/>
                <a:gd name="connsiteX1722" fmla="*/ 1269047 w 1905657"/>
                <a:gd name="connsiteY1722" fmla="*/ 1221121 h 1221162"/>
                <a:gd name="connsiteX1723" fmla="*/ 1277528 w 1905657"/>
                <a:gd name="connsiteY1723" fmla="*/ 1221020 h 1221162"/>
                <a:gd name="connsiteX1724" fmla="*/ 1286211 w 1905657"/>
                <a:gd name="connsiteY1724" fmla="*/ 1221121 h 1221162"/>
                <a:gd name="connsiteX1725" fmla="*/ 1297788 w 1905657"/>
                <a:gd name="connsiteY1725" fmla="*/ 1221121 h 1221162"/>
                <a:gd name="connsiteX1726" fmla="*/ 1307077 w 1905657"/>
                <a:gd name="connsiteY1726" fmla="*/ 1219674 h 1221162"/>
                <a:gd name="connsiteX1727" fmla="*/ 1315558 w 1905657"/>
                <a:gd name="connsiteY1727" fmla="*/ 1219741 h 1221162"/>
                <a:gd name="connsiteX1728" fmla="*/ 1324106 w 1905657"/>
                <a:gd name="connsiteY1728" fmla="*/ 1219674 h 1221162"/>
                <a:gd name="connsiteX1729" fmla="*/ 1330635 w 1905657"/>
                <a:gd name="connsiteY1729" fmla="*/ 1218867 h 1221162"/>
                <a:gd name="connsiteX1730" fmla="*/ 1336928 w 1905657"/>
                <a:gd name="connsiteY1730" fmla="*/ 1216781 h 1221162"/>
                <a:gd name="connsiteX1731" fmla="*/ 1338880 w 1905657"/>
                <a:gd name="connsiteY1731" fmla="*/ 1213754 h 1221162"/>
                <a:gd name="connsiteX1732" fmla="*/ 1342212 w 1905657"/>
                <a:gd name="connsiteY1732" fmla="*/ 1210289 h 1221162"/>
                <a:gd name="connsiteX1733" fmla="*/ 1344736 w 1905657"/>
                <a:gd name="connsiteY1733" fmla="*/ 1206387 h 1221162"/>
                <a:gd name="connsiteX1734" fmla="*/ 1346991 w 1905657"/>
                <a:gd name="connsiteY1734" fmla="*/ 1203191 h 1221162"/>
                <a:gd name="connsiteX1735" fmla="*/ 1347933 w 1905657"/>
                <a:gd name="connsiteY1735" fmla="*/ 1201004 h 1221162"/>
                <a:gd name="connsiteX1736" fmla="*/ 1351467 w 1905657"/>
                <a:gd name="connsiteY1736" fmla="*/ 1197237 h 1221162"/>
                <a:gd name="connsiteX1737" fmla="*/ 1353284 w 1905657"/>
                <a:gd name="connsiteY1737" fmla="*/ 1194714 h 1221162"/>
                <a:gd name="connsiteX1738" fmla="*/ 1357861 w 1905657"/>
                <a:gd name="connsiteY1738" fmla="*/ 1191013 h 1221162"/>
                <a:gd name="connsiteX1739" fmla="*/ 1361059 w 1905657"/>
                <a:gd name="connsiteY1739" fmla="*/ 1187885 h 1221162"/>
                <a:gd name="connsiteX1740" fmla="*/ 1365636 w 1905657"/>
                <a:gd name="connsiteY1740" fmla="*/ 1184857 h 1221162"/>
                <a:gd name="connsiteX1741" fmla="*/ 1368967 w 1905657"/>
                <a:gd name="connsiteY1741" fmla="*/ 1182233 h 1221162"/>
                <a:gd name="connsiteX1742" fmla="*/ 1372299 w 1905657"/>
                <a:gd name="connsiteY1742" fmla="*/ 1179138 h 1221162"/>
                <a:gd name="connsiteX1743" fmla="*/ 1374823 w 1905657"/>
                <a:gd name="connsiteY1743" fmla="*/ 1176245 h 1221162"/>
                <a:gd name="connsiteX1744" fmla="*/ 1377852 w 1905657"/>
                <a:gd name="connsiteY1744" fmla="*/ 1173420 h 1221162"/>
                <a:gd name="connsiteX1745" fmla="*/ 1383439 w 1905657"/>
                <a:gd name="connsiteY1745" fmla="*/ 1168710 h 1221162"/>
                <a:gd name="connsiteX1746" fmla="*/ 1388655 w 1905657"/>
                <a:gd name="connsiteY1746" fmla="*/ 1164371 h 1221162"/>
                <a:gd name="connsiteX1747" fmla="*/ 1392223 w 1905657"/>
                <a:gd name="connsiteY1747" fmla="*/ 1162689 h 1221162"/>
                <a:gd name="connsiteX1748" fmla="*/ 1399324 w 1905657"/>
                <a:gd name="connsiteY1748" fmla="*/ 1161949 h 1221162"/>
                <a:gd name="connsiteX1749" fmla="*/ 1403396 w 1905657"/>
                <a:gd name="connsiteY1749" fmla="*/ 1161511 h 1221162"/>
                <a:gd name="connsiteX1750" fmla="*/ 1408747 w 1905657"/>
                <a:gd name="connsiteY1750" fmla="*/ 1161713 h 1221162"/>
                <a:gd name="connsiteX1751" fmla="*/ 1412146 w 1905657"/>
                <a:gd name="connsiteY1751" fmla="*/ 1161276 h 1221162"/>
                <a:gd name="connsiteX1752" fmla="*/ 1418440 w 1905657"/>
                <a:gd name="connsiteY1752" fmla="*/ 1160468 h 1221162"/>
                <a:gd name="connsiteX1753" fmla="*/ 1425238 w 1905657"/>
                <a:gd name="connsiteY1753" fmla="*/ 1159829 h 1221162"/>
                <a:gd name="connsiteX1754" fmla="*/ 1434594 w 1905657"/>
                <a:gd name="connsiteY1754" fmla="*/ 1157441 h 1221162"/>
                <a:gd name="connsiteX1755" fmla="*/ 1442132 w 1905657"/>
                <a:gd name="connsiteY1755" fmla="*/ 1152664 h 1221162"/>
                <a:gd name="connsiteX1756" fmla="*/ 1446205 w 1905657"/>
                <a:gd name="connsiteY1756" fmla="*/ 1151789 h 1221162"/>
                <a:gd name="connsiteX1757" fmla="*/ 1452061 w 1905657"/>
                <a:gd name="connsiteY1757" fmla="*/ 1149266 h 1221162"/>
                <a:gd name="connsiteX1758" fmla="*/ 1454820 w 1905657"/>
                <a:gd name="connsiteY1758" fmla="*/ 1147954 h 1221162"/>
                <a:gd name="connsiteX1759" fmla="*/ 1467138 w 1905657"/>
                <a:gd name="connsiteY1759" fmla="*/ 1144422 h 1221162"/>
                <a:gd name="connsiteX1760" fmla="*/ 1473869 w 1905657"/>
                <a:gd name="connsiteY1760" fmla="*/ 1141395 h 1221162"/>
                <a:gd name="connsiteX1761" fmla="*/ 1479893 w 1905657"/>
                <a:gd name="connsiteY1761" fmla="*/ 1140015 h 1221162"/>
                <a:gd name="connsiteX1762" fmla="*/ 1487802 w 1905657"/>
                <a:gd name="connsiteY1762" fmla="*/ 1139006 h 1221162"/>
                <a:gd name="connsiteX1763" fmla="*/ 1494701 w 1905657"/>
                <a:gd name="connsiteY1763" fmla="*/ 1136853 h 1221162"/>
                <a:gd name="connsiteX1764" fmla="*/ 1498167 w 1905657"/>
                <a:gd name="connsiteY1764" fmla="*/ 1133220 h 1221162"/>
                <a:gd name="connsiteX1765" fmla="*/ 1499682 w 1905657"/>
                <a:gd name="connsiteY1765" fmla="*/ 1130630 h 1221162"/>
                <a:gd name="connsiteX1766" fmla="*/ 1502509 w 1905657"/>
                <a:gd name="connsiteY1766" fmla="*/ 1126560 h 1221162"/>
                <a:gd name="connsiteX1767" fmla="*/ 1504898 w 1905657"/>
                <a:gd name="connsiteY1767" fmla="*/ 1123162 h 1221162"/>
                <a:gd name="connsiteX1768" fmla="*/ 1507591 w 1905657"/>
                <a:gd name="connsiteY1768" fmla="*/ 1120706 h 1221162"/>
                <a:gd name="connsiteX1769" fmla="*/ 1510788 w 1905657"/>
                <a:gd name="connsiteY1769" fmla="*/ 1118251 h 1221162"/>
                <a:gd name="connsiteX1770" fmla="*/ 1514423 w 1905657"/>
                <a:gd name="connsiteY1770" fmla="*/ 1115930 h 1221162"/>
                <a:gd name="connsiteX1771" fmla="*/ 1518326 w 1905657"/>
                <a:gd name="connsiteY1771" fmla="*/ 1114248 h 1221162"/>
                <a:gd name="connsiteX1772" fmla="*/ 1523980 w 1905657"/>
                <a:gd name="connsiteY1772" fmla="*/ 1110345 h 1221162"/>
                <a:gd name="connsiteX1773" fmla="*/ 1530005 w 1905657"/>
                <a:gd name="connsiteY1773" fmla="*/ 1108596 h 1221162"/>
                <a:gd name="connsiteX1774" fmla="*/ 1534716 w 1905657"/>
                <a:gd name="connsiteY1774" fmla="*/ 1104627 h 1221162"/>
                <a:gd name="connsiteX1775" fmla="*/ 1538486 w 1905657"/>
                <a:gd name="connsiteY1775" fmla="*/ 1103180 h 1221162"/>
                <a:gd name="connsiteX1776" fmla="*/ 1542053 w 1905657"/>
                <a:gd name="connsiteY1776" fmla="*/ 1100859 h 1221162"/>
                <a:gd name="connsiteX1777" fmla="*/ 1544880 w 1905657"/>
                <a:gd name="connsiteY1777" fmla="*/ 1100119 h 1221162"/>
                <a:gd name="connsiteX1778" fmla="*/ 1547269 w 1905657"/>
                <a:gd name="connsiteY1778" fmla="*/ 1099816 h 1221162"/>
                <a:gd name="connsiteX1779" fmla="*/ 1550904 w 1905657"/>
                <a:gd name="connsiteY1779" fmla="*/ 1099682 h 1221162"/>
                <a:gd name="connsiteX1780" fmla="*/ 1552991 w 1905657"/>
                <a:gd name="connsiteY1780" fmla="*/ 1100119 h 1221162"/>
                <a:gd name="connsiteX1781" fmla="*/ 1555750 w 1905657"/>
                <a:gd name="connsiteY1781" fmla="*/ 1100758 h 1221162"/>
                <a:gd name="connsiteX1782" fmla="*/ 1558510 w 1905657"/>
                <a:gd name="connsiteY1782" fmla="*/ 1103214 h 1221162"/>
                <a:gd name="connsiteX1783" fmla="*/ 1561472 w 1905657"/>
                <a:gd name="connsiteY1783" fmla="*/ 1106040 h 1221162"/>
                <a:gd name="connsiteX1784" fmla="*/ 1564803 w 1905657"/>
                <a:gd name="connsiteY1784" fmla="*/ 1109235 h 1221162"/>
                <a:gd name="connsiteX1785" fmla="*/ 1567698 w 1905657"/>
                <a:gd name="connsiteY1785" fmla="*/ 1111556 h 1221162"/>
                <a:gd name="connsiteX1786" fmla="*/ 1571534 w 1905657"/>
                <a:gd name="connsiteY1786" fmla="*/ 1113878 h 1221162"/>
                <a:gd name="connsiteX1787" fmla="*/ 1574429 w 1905657"/>
                <a:gd name="connsiteY1787" fmla="*/ 1116333 h 1221162"/>
                <a:gd name="connsiteX1788" fmla="*/ 1576818 w 1905657"/>
                <a:gd name="connsiteY1788" fmla="*/ 1117578 h 1221162"/>
                <a:gd name="connsiteX1789" fmla="*/ 1579645 w 1905657"/>
                <a:gd name="connsiteY1789" fmla="*/ 1118284 h 1221162"/>
                <a:gd name="connsiteX1790" fmla="*/ 1584491 w 1905657"/>
                <a:gd name="connsiteY1790" fmla="*/ 1117040 h 1221162"/>
                <a:gd name="connsiteX1791" fmla="*/ 1586578 w 1905657"/>
                <a:gd name="connsiteY1791" fmla="*/ 1115660 h 1221162"/>
                <a:gd name="connsiteX1792" fmla="*/ 1590482 w 1905657"/>
                <a:gd name="connsiteY1792" fmla="*/ 1113777 h 1221162"/>
                <a:gd name="connsiteX1793" fmla="*/ 1591559 w 1905657"/>
                <a:gd name="connsiteY1793" fmla="*/ 1112196 h 1221162"/>
                <a:gd name="connsiteX1794" fmla="*/ 1592804 w 1905657"/>
                <a:gd name="connsiteY1794" fmla="*/ 1111556 h 1221162"/>
                <a:gd name="connsiteX1795" fmla="*/ 1594891 w 1905657"/>
                <a:gd name="connsiteY1795" fmla="*/ 1111691 h 1221162"/>
                <a:gd name="connsiteX1796" fmla="*/ 1596775 w 1905657"/>
                <a:gd name="connsiteY1796" fmla="*/ 1111624 h 1221162"/>
                <a:gd name="connsiteX1797" fmla="*/ 1598660 w 1905657"/>
                <a:gd name="connsiteY1797" fmla="*/ 1111758 h 1221162"/>
                <a:gd name="connsiteX1798" fmla="*/ 1599266 w 1905657"/>
                <a:gd name="connsiteY1798" fmla="*/ 1112936 h 1221162"/>
                <a:gd name="connsiteX1799" fmla="*/ 1599535 w 1905657"/>
                <a:gd name="connsiteY1799" fmla="*/ 1114752 h 1221162"/>
                <a:gd name="connsiteX1800" fmla="*/ 1599535 w 1905657"/>
                <a:gd name="connsiteY1800" fmla="*/ 1115997 h 1221162"/>
                <a:gd name="connsiteX1801" fmla="*/ 1599535 w 1905657"/>
                <a:gd name="connsiteY1801" fmla="*/ 1117746 h 1221162"/>
                <a:gd name="connsiteX1802" fmla="*/ 1599535 w 1905657"/>
                <a:gd name="connsiteY1802" fmla="*/ 1119495 h 1221162"/>
                <a:gd name="connsiteX1803" fmla="*/ 1599535 w 1905657"/>
                <a:gd name="connsiteY1803" fmla="*/ 1120740 h 1221162"/>
                <a:gd name="connsiteX1804" fmla="*/ 1600275 w 1905657"/>
                <a:gd name="connsiteY1804" fmla="*/ 1121749 h 1221162"/>
                <a:gd name="connsiteX1805" fmla="*/ 1602362 w 1905657"/>
                <a:gd name="connsiteY1805" fmla="*/ 1123128 h 1221162"/>
                <a:gd name="connsiteX1806" fmla="*/ 1606131 w 1905657"/>
                <a:gd name="connsiteY1806" fmla="*/ 1123330 h 1221162"/>
                <a:gd name="connsiteX1807" fmla="*/ 1608319 w 1905657"/>
                <a:gd name="connsiteY1807" fmla="*/ 1122321 h 1221162"/>
                <a:gd name="connsiteX1808" fmla="*/ 1610473 w 1905657"/>
                <a:gd name="connsiteY1808" fmla="*/ 1122018 h 1221162"/>
                <a:gd name="connsiteX1809" fmla="*/ 1612054 w 1905657"/>
                <a:gd name="connsiteY1809" fmla="*/ 1123902 h 1221162"/>
                <a:gd name="connsiteX1810" fmla="*/ 1613199 w 1905657"/>
                <a:gd name="connsiteY1810" fmla="*/ 1126291 h 1221162"/>
                <a:gd name="connsiteX1811" fmla="*/ 1615521 w 1905657"/>
                <a:gd name="connsiteY1811" fmla="*/ 1128914 h 1221162"/>
                <a:gd name="connsiteX1812" fmla="*/ 1617910 w 1905657"/>
                <a:gd name="connsiteY1812" fmla="*/ 1131673 h 1221162"/>
                <a:gd name="connsiteX1813" fmla="*/ 1620367 w 1905657"/>
                <a:gd name="connsiteY1813" fmla="*/ 1133691 h 1221162"/>
                <a:gd name="connsiteX1814" fmla="*/ 1622252 w 1905657"/>
                <a:gd name="connsiteY1814" fmla="*/ 1135878 h 1221162"/>
                <a:gd name="connsiteX1815" fmla="*/ 1625449 w 1905657"/>
                <a:gd name="connsiteY1815" fmla="*/ 1139780 h 1221162"/>
                <a:gd name="connsiteX1816" fmla="*/ 1628074 w 1905657"/>
                <a:gd name="connsiteY1816" fmla="*/ 1141798 h 1221162"/>
                <a:gd name="connsiteX1817" fmla="*/ 1630531 w 1905657"/>
                <a:gd name="connsiteY1817" fmla="*/ 1142942 h 1221162"/>
                <a:gd name="connsiteX1818" fmla="*/ 1634738 w 1905657"/>
                <a:gd name="connsiteY1818" fmla="*/ 1145835 h 1221162"/>
                <a:gd name="connsiteX1819" fmla="*/ 1638070 w 1905657"/>
                <a:gd name="connsiteY1819" fmla="*/ 1148728 h 1221162"/>
                <a:gd name="connsiteX1820" fmla="*/ 1642714 w 1905657"/>
                <a:gd name="connsiteY1820" fmla="*/ 1151756 h 1221162"/>
                <a:gd name="connsiteX1821" fmla="*/ 1646483 w 1905657"/>
                <a:gd name="connsiteY1821" fmla="*/ 1155658 h 1221162"/>
                <a:gd name="connsiteX1822" fmla="*/ 1648805 w 1905657"/>
                <a:gd name="connsiteY1822" fmla="*/ 1156095 h 1221162"/>
                <a:gd name="connsiteX1823" fmla="*/ 1650690 w 1905657"/>
                <a:gd name="connsiteY1823" fmla="*/ 1156835 h 1221162"/>
                <a:gd name="connsiteX1824" fmla="*/ 1654325 w 1905657"/>
                <a:gd name="connsiteY1824" fmla="*/ 1157710 h 1221162"/>
                <a:gd name="connsiteX1825" fmla="*/ 1655200 w 1905657"/>
                <a:gd name="connsiteY1825" fmla="*/ 1158282 h 1221162"/>
                <a:gd name="connsiteX1826" fmla="*/ 1660854 w 1905657"/>
                <a:gd name="connsiteY1826" fmla="*/ 1159022 h 1221162"/>
                <a:gd name="connsiteX1827" fmla="*/ 1663310 w 1905657"/>
                <a:gd name="connsiteY1827" fmla="*/ 1160906 h 1221162"/>
                <a:gd name="connsiteX1828" fmla="*/ 1666508 w 1905657"/>
                <a:gd name="connsiteY1828" fmla="*/ 1164236 h 1221162"/>
                <a:gd name="connsiteX1829" fmla="*/ 1668527 w 1905657"/>
                <a:gd name="connsiteY1829" fmla="*/ 1165111 h 1221162"/>
                <a:gd name="connsiteX1830" fmla="*/ 1669536 w 1905657"/>
                <a:gd name="connsiteY1830" fmla="*/ 1167432 h 1221162"/>
                <a:gd name="connsiteX1831" fmla="*/ 1669536 w 1905657"/>
                <a:gd name="connsiteY1831" fmla="*/ 1170459 h 1221162"/>
                <a:gd name="connsiteX1832" fmla="*/ 1669570 w 1905657"/>
                <a:gd name="connsiteY1832" fmla="*/ 1173352 h 1221162"/>
                <a:gd name="connsiteX1833" fmla="*/ 1669570 w 1905657"/>
                <a:gd name="connsiteY1833" fmla="*/ 1176683 h 1221162"/>
                <a:gd name="connsiteX1834" fmla="*/ 1671690 w 1905657"/>
                <a:gd name="connsiteY1834" fmla="*/ 1178701 h 1221162"/>
                <a:gd name="connsiteX1835" fmla="*/ 1675157 w 1905657"/>
                <a:gd name="connsiteY1835" fmla="*/ 1178836 h 1221162"/>
                <a:gd name="connsiteX1836" fmla="*/ 1677142 w 1905657"/>
                <a:gd name="connsiteY1836" fmla="*/ 1177389 h 1221162"/>
                <a:gd name="connsiteX1837" fmla="*/ 1679667 w 1905657"/>
                <a:gd name="connsiteY1837" fmla="*/ 1175068 h 1221162"/>
                <a:gd name="connsiteX1838" fmla="*/ 1681551 w 1905657"/>
                <a:gd name="connsiteY1838" fmla="*/ 1172881 h 1221162"/>
                <a:gd name="connsiteX1839" fmla="*/ 1682696 w 1905657"/>
                <a:gd name="connsiteY1839" fmla="*/ 1171738 h 1221162"/>
                <a:gd name="connsiteX1840" fmla="*/ 1683570 w 1905657"/>
                <a:gd name="connsiteY1840" fmla="*/ 1170560 h 1221162"/>
                <a:gd name="connsiteX1841" fmla="*/ 1684883 w 1905657"/>
                <a:gd name="connsiteY1841" fmla="*/ 1169248 h 1221162"/>
                <a:gd name="connsiteX1842" fmla="*/ 1685623 w 1905657"/>
                <a:gd name="connsiteY1842" fmla="*/ 1168239 h 1221162"/>
                <a:gd name="connsiteX1843" fmla="*/ 1687811 w 1905657"/>
                <a:gd name="connsiteY1843" fmla="*/ 1167667 h 1221162"/>
                <a:gd name="connsiteX1844" fmla="*/ 1692152 w 1905657"/>
                <a:gd name="connsiteY1844" fmla="*/ 1166086 h 1221162"/>
                <a:gd name="connsiteX1845" fmla="*/ 1695047 w 1905657"/>
                <a:gd name="connsiteY1845" fmla="*/ 1165649 h 1221162"/>
                <a:gd name="connsiteX1846" fmla="*/ 1698513 w 1905657"/>
                <a:gd name="connsiteY1846" fmla="*/ 1165212 h 1221162"/>
                <a:gd name="connsiteX1847" fmla="*/ 1701980 w 1905657"/>
                <a:gd name="connsiteY1847" fmla="*/ 1164472 h 1221162"/>
                <a:gd name="connsiteX1848" fmla="*/ 1705008 w 1905657"/>
                <a:gd name="connsiteY1848" fmla="*/ 1164034 h 1221162"/>
                <a:gd name="connsiteX1849" fmla="*/ 1707331 w 1905657"/>
                <a:gd name="connsiteY1849" fmla="*/ 1160569 h 1221162"/>
                <a:gd name="connsiteX1850" fmla="*/ 1706758 w 1905657"/>
                <a:gd name="connsiteY1850" fmla="*/ 1157239 h 1221162"/>
                <a:gd name="connsiteX1851" fmla="*/ 1705614 w 1905657"/>
                <a:gd name="connsiteY1851" fmla="*/ 1154346 h 1221162"/>
                <a:gd name="connsiteX1852" fmla="*/ 1705480 w 1905657"/>
                <a:gd name="connsiteY1852" fmla="*/ 1153034 h 1221162"/>
                <a:gd name="connsiteX1853" fmla="*/ 1705278 w 1905657"/>
                <a:gd name="connsiteY1853" fmla="*/ 1150713 h 1221162"/>
                <a:gd name="connsiteX1854" fmla="*/ 1705648 w 1905657"/>
                <a:gd name="connsiteY1854" fmla="*/ 1148392 h 1221162"/>
                <a:gd name="connsiteX1855" fmla="*/ 1705648 w 1905657"/>
                <a:gd name="connsiteY1855" fmla="*/ 1145499 h 1221162"/>
                <a:gd name="connsiteX1856" fmla="*/ 1705648 w 1905657"/>
                <a:gd name="connsiteY1856" fmla="*/ 1142034 h 1221162"/>
                <a:gd name="connsiteX1857" fmla="*/ 1705648 w 1905657"/>
                <a:gd name="connsiteY1857" fmla="*/ 1140285 h 1221162"/>
                <a:gd name="connsiteX1858" fmla="*/ 1705076 w 1905657"/>
                <a:gd name="connsiteY1858" fmla="*/ 1137829 h 1221162"/>
                <a:gd name="connsiteX1859" fmla="*/ 1705513 w 1905657"/>
                <a:gd name="connsiteY1859" fmla="*/ 1135071 h 1221162"/>
                <a:gd name="connsiteX1860" fmla="*/ 1705951 w 1905657"/>
                <a:gd name="connsiteY1860" fmla="*/ 1133321 h 1221162"/>
                <a:gd name="connsiteX1861" fmla="*/ 1707398 w 1905657"/>
                <a:gd name="connsiteY1861" fmla="*/ 1132144 h 1221162"/>
                <a:gd name="connsiteX1862" fmla="*/ 1709552 w 1905657"/>
                <a:gd name="connsiteY1862" fmla="*/ 1131000 h 1221162"/>
                <a:gd name="connsiteX1863" fmla="*/ 1711739 w 1905657"/>
                <a:gd name="connsiteY1863" fmla="*/ 1129251 h 1221162"/>
                <a:gd name="connsiteX1864" fmla="*/ 1713489 w 1905657"/>
                <a:gd name="connsiteY1864" fmla="*/ 1126358 h 1221162"/>
                <a:gd name="connsiteX1865" fmla="*/ 1715812 w 1905657"/>
                <a:gd name="connsiteY1865" fmla="*/ 1123734 h 1221162"/>
                <a:gd name="connsiteX1866" fmla="*/ 1717562 w 1905657"/>
                <a:gd name="connsiteY1866" fmla="*/ 1122288 h 1221162"/>
                <a:gd name="connsiteX1867" fmla="*/ 1719446 w 1905657"/>
                <a:gd name="connsiteY1867" fmla="*/ 1119529 h 1221162"/>
                <a:gd name="connsiteX1868" fmla="*/ 1720624 w 1905657"/>
                <a:gd name="connsiteY1868" fmla="*/ 1118083 h 1221162"/>
                <a:gd name="connsiteX1869" fmla="*/ 1721937 w 1905657"/>
                <a:gd name="connsiteY1869" fmla="*/ 1116064 h 1221162"/>
                <a:gd name="connsiteX1870" fmla="*/ 1722139 w 1905657"/>
                <a:gd name="connsiteY1870" fmla="*/ 1114180 h 1221162"/>
                <a:gd name="connsiteX1871" fmla="*/ 1723081 w 1905657"/>
                <a:gd name="connsiteY1871" fmla="*/ 1112296 h 1221162"/>
                <a:gd name="connsiteX1872" fmla="*/ 1723081 w 1905657"/>
                <a:gd name="connsiteY1872" fmla="*/ 1110715 h 1221162"/>
                <a:gd name="connsiteX1873" fmla="*/ 1723081 w 1905657"/>
                <a:gd name="connsiteY1873" fmla="*/ 1108966 h 1221162"/>
                <a:gd name="connsiteX1874" fmla="*/ 1723889 w 1905657"/>
                <a:gd name="connsiteY1874" fmla="*/ 1106140 h 1221162"/>
                <a:gd name="connsiteX1875" fmla="*/ 1724461 w 1905657"/>
                <a:gd name="connsiteY1875" fmla="*/ 1103550 h 1221162"/>
                <a:gd name="connsiteX1876" fmla="*/ 1725773 w 1905657"/>
                <a:gd name="connsiteY1876" fmla="*/ 1101229 h 1221162"/>
                <a:gd name="connsiteX1877" fmla="*/ 1726413 w 1905657"/>
                <a:gd name="connsiteY1877" fmla="*/ 1099412 h 1221162"/>
                <a:gd name="connsiteX1878" fmla="*/ 1727860 w 1905657"/>
                <a:gd name="connsiteY1878" fmla="*/ 1098101 h 1221162"/>
                <a:gd name="connsiteX1879" fmla="*/ 1729745 w 1905657"/>
                <a:gd name="connsiteY1879" fmla="*/ 1097091 h 1221162"/>
                <a:gd name="connsiteX1880" fmla="*/ 1731697 w 1905657"/>
                <a:gd name="connsiteY1880" fmla="*/ 1096452 h 1221162"/>
                <a:gd name="connsiteX1881" fmla="*/ 1733447 w 1905657"/>
                <a:gd name="connsiteY1881" fmla="*/ 1095948 h 1221162"/>
                <a:gd name="connsiteX1882" fmla="*/ 1734894 w 1905657"/>
                <a:gd name="connsiteY1882" fmla="*/ 1096082 h 1221162"/>
                <a:gd name="connsiteX1883" fmla="*/ 1737149 w 1905657"/>
                <a:gd name="connsiteY1883" fmla="*/ 1096217 h 1221162"/>
                <a:gd name="connsiteX1884" fmla="*/ 1739235 w 1905657"/>
                <a:gd name="connsiteY1884" fmla="*/ 1096856 h 1221162"/>
                <a:gd name="connsiteX1885" fmla="*/ 1740985 w 1905657"/>
                <a:gd name="connsiteY1885" fmla="*/ 1098874 h 1221162"/>
                <a:gd name="connsiteX1886" fmla="*/ 1742231 w 1905657"/>
                <a:gd name="connsiteY1886" fmla="*/ 1101565 h 1221162"/>
                <a:gd name="connsiteX1887" fmla="*/ 1742231 w 1905657"/>
                <a:gd name="connsiteY1887" fmla="*/ 1103752 h 1221162"/>
                <a:gd name="connsiteX1888" fmla="*/ 1742971 w 1905657"/>
                <a:gd name="connsiteY1888" fmla="*/ 1106140 h 1221162"/>
                <a:gd name="connsiteX1889" fmla="*/ 1743476 w 1905657"/>
                <a:gd name="connsiteY1889" fmla="*/ 1107822 h 1221162"/>
                <a:gd name="connsiteX1890" fmla="*/ 1744654 w 1905657"/>
                <a:gd name="connsiteY1890" fmla="*/ 1110514 h 1221162"/>
                <a:gd name="connsiteX1891" fmla="*/ 1745798 w 1905657"/>
                <a:gd name="connsiteY1891" fmla="*/ 1112700 h 1221162"/>
                <a:gd name="connsiteX1892" fmla="*/ 1747817 w 1905657"/>
                <a:gd name="connsiteY1892" fmla="*/ 1114584 h 1221162"/>
                <a:gd name="connsiteX1893" fmla="*/ 1750139 w 1905657"/>
                <a:gd name="connsiteY1893" fmla="*/ 1115896 h 1221162"/>
                <a:gd name="connsiteX1894" fmla="*/ 1752394 w 1905657"/>
                <a:gd name="connsiteY1894" fmla="*/ 1115829 h 1221162"/>
                <a:gd name="connsiteX1895" fmla="*/ 1756668 w 1905657"/>
                <a:gd name="connsiteY1895" fmla="*/ 1114954 h 1221162"/>
                <a:gd name="connsiteX1896" fmla="*/ 1758755 w 1905657"/>
                <a:gd name="connsiteY1896" fmla="*/ 1115761 h 1221162"/>
                <a:gd name="connsiteX1897" fmla="*/ 1760404 w 1905657"/>
                <a:gd name="connsiteY1897" fmla="*/ 1116199 h 1221162"/>
                <a:gd name="connsiteX1898" fmla="*/ 1763365 w 1905657"/>
                <a:gd name="connsiteY1898" fmla="*/ 1117141 h 1221162"/>
                <a:gd name="connsiteX1899" fmla="*/ 1766193 w 1905657"/>
                <a:gd name="connsiteY1899" fmla="*/ 1119159 h 1221162"/>
                <a:gd name="connsiteX1900" fmla="*/ 1767067 w 1905657"/>
                <a:gd name="connsiteY1900" fmla="*/ 1120673 h 1221162"/>
                <a:gd name="connsiteX1901" fmla="*/ 1767067 w 1905657"/>
                <a:gd name="connsiteY1901" fmla="*/ 1122624 h 1221162"/>
                <a:gd name="connsiteX1902" fmla="*/ 1767101 w 1905657"/>
                <a:gd name="connsiteY1902" fmla="*/ 1124878 h 1221162"/>
                <a:gd name="connsiteX1903" fmla="*/ 1766865 w 1905657"/>
                <a:gd name="connsiteY1903" fmla="*/ 1128713 h 1221162"/>
                <a:gd name="connsiteX1904" fmla="*/ 1766293 w 1905657"/>
                <a:gd name="connsiteY1904" fmla="*/ 1130731 h 1221162"/>
                <a:gd name="connsiteX1905" fmla="*/ 1766563 w 1905657"/>
                <a:gd name="connsiteY1905" fmla="*/ 1133489 h 1221162"/>
                <a:gd name="connsiteX1906" fmla="*/ 1766563 w 1905657"/>
                <a:gd name="connsiteY1906" fmla="*/ 1135071 h 1221162"/>
                <a:gd name="connsiteX1907" fmla="*/ 1768144 w 1905657"/>
                <a:gd name="connsiteY1907" fmla="*/ 1137526 h 1221162"/>
                <a:gd name="connsiteX1908" fmla="*/ 1770029 w 1905657"/>
                <a:gd name="connsiteY1908" fmla="*/ 1139847 h 1221162"/>
                <a:gd name="connsiteX1909" fmla="*/ 1772991 w 1905657"/>
                <a:gd name="connsiteY1909" fmla="*/ 1140554 h 1221162"/>
                <a:gd name="connsiteX1910" fmla="*/ 1776390 w 1905657"/>
                <a:gd name="connsiteY1910" fmla="*/ 1141294 h 1221162"/>
                <a:gd name="connsiteX1911" fmla="*/ 1779419 w 1905657"/>
                <a:gd name="connsiteY1911" fmla="*/ 1141798 h 1221162"/>
                <a:gd name="connsiteX1912" fmla="*/ 1781808 w 1905657"/>
                <a:gd name="connsiteY1912" fmla="*/ 1142875 h 1221162"/>
                <a:gd name="connsiteX1913" fmla="*/ 1783626 w 1905657"/>
                <a:gd name="connsiteY1913" fmla="*/ 1143884 h 1221162"/>
                <a:gd name="connsiteX1914" fmla="*/ 1785645 w 1905657"/>
                <a:gd name="connsiteY1914" fmla="*/ 1146138 h 1221162"/>
                <a:gd name="connsiteX1915" fmla="*/ 1787159 w 1905657"/>
                <a:gd name="connsiteY1915" fmla="*/ 1144961 h 1221162"/>
                <a:gd name="connsiteX1916" fmla="*/ 1789347 w 1905657"/>
                <a:gd name="connsiteY1916" fmla="*/ 1143009 h 1221162"/>
                <a:gd name="connsiteX1917" fmla="*/ 1791534 w 1905657"/>
                <a:gd name="connsiteY1917" fmla="*/ 1141597 h 1221162"/>
                <a:gd name="connsiteX1918" fmla="*/ 1793587 w 1905657"/>
                <a:gd name="connsiteY1918" fmla="*/ 1140621 h 1221162"/>
                <a:gd name="connsiteX1919" fmla="*/ 1795438 w 1905657"/>
                <a:gd name="connsiteY1919" fmla="*/ 1139746 h 1221162"/>
                <a:gd name="connsiteX1920" fmla="*/ 1798030 w 1905657"/>
                <a:gd name="connsiteY1920" fmla="*/ 1138132 h 1221162"/>
                <a:gd name="connsiteX1921" fmla="*/ 1800318 w 1905657"/>
                <a:gd name="connsiteY1921" fmla="*/ 1136180 h 1221162"/>
                <a:gd name="connsiteX1922" fmla="*/ 1802607 w 1905657"/>
                <a:gd name="connsiteY1922" fmla="*/ 1134667 h 1221162"/>
                <a:gd name="connsiteX1923" fmla="*/ 1804357 w 1905657"/>
                <a:gd name="connsiteY1923" fmla="*/ 1132043 h 1221162"/>
                <a:gd name="connsiteX1924" fmla="*/ 1804121 w 1905657"/>
                <a:gd name="connsiteY1924" fmla="*/ 1127905 h 1221162"/>
                <a:gd name="connsiteX1925" fmla="*/ 1803751 w 1905657"/>
                <a:gd name="connsiteY1925" fmla="*/ 1124743 h 1221162"/>
                <a:gd name="connsiteX1926" fmla="*/ 1801294 w 1905657"/>
                <a:gd name="connsiteY1926" fmla="*/ 1121917 h 1221162"/>
                <a:gd name="connsiteX1927" fmla="*/ 1801294 w 1905657"/>
                <a:gd name="connsiteY1927" fmla="*/ 1119428 h 1221162"/>
                <a:gd name="connsiteX1928" fmla="*/ 1802708 w 1905657"/>
                <a:gd name="connsiteY1928" fmla="*/ 1116703 h 1221162"/>
                <a:gd name="connsiteX1929" fmla="*/ 1803684 w 1905657"/>
                <a:gd name="connsiteY1929" fmla="*/ 1115526 h 1221162"/>
                <a:gd name="connsiteX1930" fmla="*/ 1806948 w 1905657"/>
                <a:gd name="connsiteY1930" fmla="*/ 1114449 h 1221162"/>
                <a:gd name="connsiteX1931" fmla="*/ 1809775 w 1905657"/>
                <a:gd name="connsiteY1931" fmla="*/ 1114449 h 1221162"/>
                <a:gd name="connsiteX1932" fmla="*/ 1811525 w 1905657"/>
                <a:gd name="connsiteY1932" fmla="*/ 1114416 h 1221162"/>
                <a:gd name="connsiteX1933" fmla="*/ 1813915 w 1905657"/>
                <a:gd name="connsiteY1933" fmla="*/ 1115761 h 1221162"/>
                <a:gd name="connsiteX1934" fmla="*/ 1814790 w 1905657"/>
                <a:gd name="connsiteY1934" fmla="*/ 1117612 h 1221162"/>
                <a:gd name="connsiteX1935" fmla="*/ 1815564 w 1905657"/>
                <a:gd name="connsiteY1935" fmla="*/ 1119798 h 1221162"/>
                <a:gd name="connsiteX1936" fmla="*/ 1816977 w 1905657"/>
                <a:gd name="connsiteY1936" fmla="*/ 1123700 h 1221162"/>
                <a:gd name="connsiteX1937" fmla="*/ 1817179 w 1905657"/>
                <a:gd name="connsiteY1937" fmla="*/ 1125887 h 1221162"/>
                <a:gd name="connsiteX1938" fmla="*/ 1816203 w 1905657"/>
                <a:gd name="connsiteY1938" fmla="*/ 1128612 h 1221162"/>
                <a:gd name="connsiteX1939" fmla="*/ 1816001 w 1905657"/>
                <a:gd name="connsiteY1939" fmla="*/ 1130664 h 1221162"/>
                <a:gd name="connsiteX1940" fmla="*/ 1816439 w 1905657"/>
                <a:gd name="connsiteY1940" fmla="*/ 1133590 h 1221162"/>
                <a:gd name="connsiteX1941" fmla="*/ 1816271 w 1905657"/>
                <a:gd name="connsiteY1941" fmla="*/ 1136753 h 1221162"/>
                <a:gd name="connsiteX1942" fmla="*/ 1815227 w 1905657"/>
                <a:gd name="connsiteY1942" fmla="*/ 1138502 h 1221162"/>
                <a:gd name="connsiteX1943" fmla="*/ 1815227 w 1905657"/>
                <a:gd name="connsiteY1943" fmla="*/ 1142101 h 1221162"/>
                <a:gd name="connsiteX1944" fmla="*/ 1816001 w 1905657"/>
                <a:gd name="connsiteY1944" fmla="*/ 1144153 h 1221162"/>
                <a:gd name="connsiteX1945" fmla="*/ 1816540 w 1905657"/>
                <a:gd name="connsiteY1945" fmla="*/ 1145902 h 1221162"/>
                <a:gd name="connsiteX1946" fmla="*/ 1818155 w 1905657"/>
                <a:gd name="connsiteY1946" fmla="*/ 1146878 h 1221162"/>
                <a:gd name="connsiteX1947" fmla="*/ 1820208 w 1905657"/>
                <a:gd name="connsiteY1947" fmla="*/ 1148291 h 1221162"/>
                <a:gd name="connsiteX1948" fmla="*/ 1822597 w 1905657"/>
                <a:gd name="connsiteY1948" fmla="*/ 1148392 h 1221162"/>
                <a:gd name="connsiteX1949" fmla="*/ 1825862 w 1905657"/>
                <a:gd name="connsiteY1949" fmla="*/ 1146542 h 1221162"/>
                <a:gd name="connsiteX1950" fmla="*/ 1828252 w 1905657"/>
                <a:gd name="connsiteY1950" fmla="*/ 1145129 h 1221162"/>
                <a:gd name="connsiteX1951" fmla="*/ 1829126 w 1905657"/>
                <a:gd name="connsiteY1951" fmla="*/ 1143615 h 1221162"/>
                <a:gd name="connsiteX1952" fmla="*/ 1830338 w 1905657"/>
                <a:gd name="connsiteY1952" fmla="*/ 1142101 h 1221162"/>
                <a:gd name="connsiteX1953" fmla="*/ 1832290 w 1905657"/>
                <a:gd name="connsiteY1953" fmla="*/ 1141226 h 1221162"/>
                <a:gd name="connsiteX1954" fmla="*/ 1835218 w 1905657"/>
                <a:gd name="connsiteY1954" fmla="*/ 1141226 h 1221162"/>
                <a:gd name="connsiteX1955" fmla="*/ 1838819 w 1905657"/>
                <a:gd name="connsiteY1955" fmla="*/ 1142875 h 1221162"/>
                <a:gd name="connsiteX1956" fmla="*/ 1840670 w 1905657"/>
                <a:gd name="connsiteY1956" fmla="*/ 1144187 h 1221162"/>
                <a:gd name="connsiteX1957" fmla="*/ 1842184 w 1905657"/>
                <a:gd name="connsiteY1957" fmla="*/ 1144826 h 1221162"/>
                <a:gd name="connsiteX1958" fmla="*/ 1845012 w 1905657"/>
                <a:gd name="connsiteY1958" fmla="*/ 1144927 h 1221162"/>
                <a:gd name="connsiteX1959" fmla="*/ 1847838 w 1905657"/>
                <a:gd name="connsiteY1959" fmla="*/ 1142101 h 1221162"/>
                <a:gd name="connsiteX1960" fmla="*/ 1849454 w 1905657"/>
                <a:gd name="connsiteY1960" fmla="*/ 1139275 h 1221162"/>
                <a:gd name="connsiteX1961" fmla="*/ 1851305 w 1905657"/>
                <a:gd name="connsiteY1961" fmla="*/ 1133860 h 1221162"/>
                <a:gd name="connsiteX1962" fmla="*/ 1851742 w 1905657"/>
                <a:gd name="connsiteY1962" fmla="*/ 1131807 h 1221162"/>
                <a:gd name="connsiteX1963" fmla="*/ 1852079 w 1905657"/>
                <a:gd name="connsiteY1963" fmla="*/ 1125180 h 1221162"/>
                <a:gd name="connsiteX1964" fmla="*/ 1850867 w 1905657"/>
                <a:gd name="connsiteY1964" fmla="*/ 1119327 h 1221162"/>
                <a:gd name="connsiteX1965" fmla="*/ 1849117 w 1905657"/>
                <a:gd name="connsiteY1965" fmla="*/ 1115627 h 1221162"/>
                <a:gd name="connsiteX1966" fmla="*/ 1847704 w 1905657"/>
                <a:gd name="connsiteY1966" fmla="*/ 1112263 h 1221162"/>
                <a:gd name="connsiteX1967" fmla="*/ 1846290 w 1905657"/>
                <a:gd name="connsiteY1967" fmla="*/ 1109000 h 1221162"/>
                <a:gd name="connsiteX1968" fmla="*/ 1846055 w 1905657"/>
                <a:gd name="connsiteY1968" fmla="*/ 1106948 h 1221162"/>
                <a:gd name="connsiteX1969" fmla="*/ 1845853 w 1905657"/>
                <a:gd name="connsiteY1969" fmla="*/ 1102608 h 1221162"/>
                <a:gd name="connsiteX1970" fmla="*/ 1845617 w 1905657"/>
                <a:gd name="connsiteY1970" fmla="*/ 1098807 h 1221162"/>
                <a:gd name="connsiteX1971" fmla="*/ 1845180 w 1905657"/>
                <a:gd name="connsiteY1971" fmla="*/ 1095443 h 1221162"/>
                <a:gd name="connsiteX1972" fmla="*/ 1845281 w 1905657"/>
                <a:gd name="connsiteY1972" fmla="*/ 1091843 h 1221162"/>
                <a:gd name="connsiteX1973" fmla="*/ 1845382 w 1905657"/>
                <a:gd name="connsiteY1973" fmla="*/ 1089993 h 1221162"/>
                <a:gd name="connsiteX1974" fmla="*/ 1847569 w 1905657"/>
                <a:gd name="connsiteY1974" fmla="*/ 1087807 h 1221162"/>
                <a:gd name="connsiteX1975" fmla="*/ 1849420 w 1905657"/>
                <a:gd name="connsiteY1975" fmla="*/ 1085519 h 1221162"/>
                <a:gd name="connsiteX1976" fmla="*/ 1852146 w 1905657"/>
                <a:gd name="connsiteY1976" fmla="*/ 1083232 h 1221162"/>
                <a:gd name="connsiteX1977" fmla="*/ 1852146 w 1905657"/>
                <a:gd name="connsiteY1977" fmla="*/ 1080070 h 1221162"/>
                <a:gd name="connsiteX1978" fmla="*/ 1851170 w 1905657"/>
                <a:gd name="connsiteY1978" fmla="*/ 1077042 h 1221162"/>
                <a:gd name="connsiteX1979" fmla="*/ 1848579 w 1905657"/>
                <a:gd name="connsiteY1979" fmla="*/ 1073779 h 1221162"/>
                <a:gd name="connsiteX1980" fmla="*/ 1848478 w 1905657"/>
                <a:gd name="connsiteY1980" fmla="*/ 1071828 h 1221162"/>
                <a:gd name="connsiteX1981" fmla="*/ 1850531 w 1905657"/>
                <a:gd name="connsiteY1981" fmla="*/ 1070213 h 1221162"/>
                <a:gd name="connsiteX1982" fmla="*/ 1851944 w 1905657"/>
                <a:gd name="connsiteY1982" fmla="*/ 1067825 h 1221162"/>
                <a:gd name="connsiteX1983" fmla="*/ 1852920 w 1905657"/>
                <a:gd name="connsiteY1983" fmla="*/ 1065975 h 1221162"/>
                <a:gd name="connsiteX1984" fmla="*/ 1853122 w 1905657"/>
                <a:gd name="connsiteY1984" fmla="*/ 1062812 h 1221162"/>
                <a:gd name="connsiteX1985" fmla="*/ 1852584 w 1905657"/>
                <a:gd name="connsiteY1985" fmla="*/ 1059550 h 1221162"/>
                <a:gd name="connsiteX1986" fmla="*/ 1850968 w 1905657"/>
                <a:gd name="connsiteY1986" fmla="*/ 1056623 h 1221162"/>
                <a:gd name="connsiteX1987" fmla="*/ 1851170 w 1905657"/>
                <a:gd name="connsiteY1987" fmla="*/ 1055311 h 1221162"/>
                <a:gd name="connsiteX1988" fmla="*/ 1852483 w 1905657"/>
                <a:gd name="connsiteY1988" fmla="*/ 1054436 h 1221162"/>
                <a:gd name="connsiteX1989" fmla="*/ 1855074 w 1905657"/>
                <a:gd name="connsiteY1989" fmla="*/ 1052922 h 1221162"/>
                <a:gd name="connsiteX1990" fmla="*/ 1856151 w 1905657"/>
                <a:gd name="connsiteY1990" fmla="*/ 1052283 h 1221162"/>
                <a:gd name="connsiteX1991" fmla="*/ 1858440 w 1905657"/>
                <a:gd name="connsiteY1991" fmla="*/ 1052283 h 1221162"/>
                <a:gd name="connsiteX1992" fmla="*/ 1859214 w 1905657"/>
                <a:gd name="connsiteY1992" fmla="*/ 1054033 h 1221162"/>
                <a:gd name="connsiteX1993" fmla="*/ 1860291 w 1905657"/>
                <a:gd name="connsiteY1993" fmla="*/ 1054806 h 1221162"/>
                <a:gd name="connsiteX1994" fmla="*/ 1861368 w 1905657"/>
                <a:gd name="connsiteY1994" fmla="*/ 1054907 h 1221162"/>
                <a:gd name="connsiteX1995" fmla="*/ 1862546 w 1905657"/>
                <a:gd name="connsiteY1995" fmla="*/ 1051913 h 1221162"/>
                <a:gd name="connsiteX1996" fmla="*/ 1866685 w 1905657"/>
                <a:gd name="connsiteY1996" fmla="*/ 1051913 h 1221162"/>
                <a:gd name="connsiteX1997" fmla="*/ 1867459 w 1905657"/>
                <a:gd name="connsiteY1997" fmla="*/ 1053494 h 1221162"/>
                <a:gd name="connsiteX1998" fmla="*/ 1868435 w 1905657"/>
                <a:gd name="connsiteY1998" fmla="*/ 1059247 h 1221162"/>
                <a:gd name="connsiteX1999" fmla="*/ 1867897 w 1905657"/>
                <a:gd name="connsiteY1999" fmla="*/ 1062409 h 1221162"/>
                <a:gd name="connsiteX2000" fmla="*/ 1867459 w 1905657"/>
                <a:gd name="connsiteY2000" fmla="*/ 1066008 h 1221162"/>
                <a:gd name="connsiteX2001" fmla="*/ 1867358 w 1905657"/>
                <a:gd name="connsiteY2001" fmla="*/ 1068498 h 1221162"/>
                <a:gd name="connsiteX2002" fmla="*/ 1867358 w 1905657"/>
                <a:gd name="connsiteY2002" fmla="*/ 1070886 h 1221162"/>
                <a:gd name="connsiteX2003" fmla="*/ 1868233 w 1905657"/>
                <a:gd name="connsiteY2003" fmla="*/ 1072837 h 1221162"/>
                <a:gd name="connsiteX2004" fmla="*/ 1869546 w 1905657"/>
                <a:gd name="connsiteY2004" fmla="*/ 1073106 h 1221162"/>
                <a:gd name="connsiteX2005" fmla="*/ 1870858 w 1905657"/>
                <a:gd name="connsiteY2005" fmla="*/ 1073476 h 1221162"/>
                <a:gd name="connsiteX2006" fmla="*/ 1873450 w 1905657"/>
                <a:gd name="connsiteY2006" fmla="*/ 1073476 h 1221162"/>
                <a:gd name="connsiteX2007" fmla="*/ 1876176 w 1905657"/>
                <a:gd name="connsiteY2007" fmla="*/ 1073140 h 1221162"/>
                <a:gd name="connsiteX2008" fmla="*/ 1878464 w 1905657"/>
                <a:gd name="connsiteY2008" fmla="*/ 1071492 h 1221162"/>
                <a:gd name="connsiteX2009" fmla="*/ 1879104 w 1905657"/>
                <a:gd name="connsiteY2009" fmla="*/ 1070180 h 1221162"/>
                <a:gd name="connsiteX2010" fmla="*/ 1878128 w 1905657"/>
                <a:gd name="connsiteY2010" fmla="*/ 1066580 h 1221162"/>
                <a:gd name="connsiteX2011" fmla="*/ 1877926 w 1905657"/>
                <a:gd name="connsiteY2011" fmla="*/ 1064427 h 1221162"/>
                <a:gd name="connsiteX2012" fmla="*/ 1877724 w 1905657"/>
                <a:gd name="connsiteY2012" fmla="*/ 1061501 h 1221162"/>
                <a:gd name="connsiteX2013" fmla="*/ 1878599 w 1905657"/>
                <a:gd name="connsiteY2013" fmla="*/ 1059112 h 1221162"/>
                <a:gd name="connsiteX2014" fmla="*/ 1881762 w 1905657"/>
                <a:gd name="connsiteY2014" fmla="*/ 1057800 h 1221162"/>
                <a:gd name="connsiteX2015" fmla="*/ 1882402 w 1905657"/>
                <a:gd name="connsiteY2015" fmla="*/ 1056724 h 1221162"/>
                <a:gd name="connsiteX2016" fmla="*/ 1880450 w 1905657"/>
                <a:gd name="connsiteY2016" fmla="*/ 1054134 h 1221162"/>
                <a:gd name="connsiteX2017" fmla="*/ 1881661 w 1905657"/>
                <a:gd name="connsiteY2017" fmla="*/ 1052721 h 1221162"/>
                <a:gd name="connsiteX2018" fmla="*/ 1884589 w 1905657"/>
                <a:gd name="connsiteY2018" fmla="*/ 1052620 h 1221162"/>
                <a:gd name="connsiteX2019" fmla="*/ 1887080 w 1905657"/>
                <a:gd name="connsiteY2019" fmla="*/ 1052519 h 1221162"/>
                <a:gd name="connsiteX2020" fmla="*/ 1887416 w 1905657"/>
                <a:gd name="connsiteY2020" fmla="*/ 1050332 h 1221162"/>
                <a:gd name="connsiteX2021" fmla="*/ 1887315 w 1905657"/>
                <a:gd name="connsiteY2021" fmla="*/ 1047708 h 1221162"/>
                <a:gd name="connsiteX2022" fmla="*/ 1886676 w 1905657"/>
                <a:gd name="connsiteY2022" fmla="*/ 1046396 h 1221162"/>
                <a:gd name="connsiteX2023" fmla="*/ 1885060 w 1905657"/>
                <a:gd name="connsiteY2023" fmla="*/ 1044983 h 1221162"/>
                <a:gd name="connsiteX2024" fmla="*/ 1884623 w 1905657"/>
                <a:gd name="connsiteY2024" fmla="*/ 1044109 h 1221162"/>
                <a:gd name="connsiteX2025" fmla="*/ 1885935 w 1905657"/>
                <a:gd name="connsiteY2025" fmla="*/ 1042023 h 1221162"/>
                <a:gd name="connsiteX2026" fmla="*/ 1887450 w 1905657"/>
                <a:gd name="connsiteY2026" fmla="*/ 1041250 h 1221162"/>
                <a:gd name="connsiteX2027" fmla="*/ 1886810 w 1905657"/>
                <a:gd name="connsiteY2027" fmla="*/ 1039500 h 1221162"/>
                <a:gd name="connsiteX2028" fmla="*/ 1883109 w 1905657"/>
                <a:gd name="connsiteY2028" fmla="*/ 1034824 h 1221162"/>
                <a:gd name="connsiteX2029" fmla="*/ 1883109 w 1905657"/>
                <a:gd name="connsiteY2029" fmla="*/ 1034286 h 1221162"/>
                <a:gd name="connsiteX2030" fmla="*/ 1885700 w 1905657"/>
                <a:gd name="connsiteY2030" fmla="*/ 1032638 h 1221162"/>
                <a:gd name="connsiteX2031" fmla="*/ 1889065 w 1905657"/>
                <a:gd name="connsiteY2031" fmla="*/ 1030788 h 1221162"/>
                <a:gd name="connsiteX2032" fmla="*/ 1892431 w 1905657"/>
                <a:gd name="connsiteY2032" fmla="*/ 1030249 h 1221162"/>
                <a:gd name="connsiteX2033" fmla="*/ 1896671 w 1905657"/>
                <a:gd name="connsiteY2033" fmla="*/ 1030788 h 1221162"/>
                <a:gd name="connsiteX2034" fmla="*/ 1899094 w 1905657"/>
                <a:gd name="connsiteY2034" fmla="*/ 1031662 h 1221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</a:cxnLst>
              <a:rect l="l" t="t" r="r" b="b"/>
              <a:pathLst>
                <a:path w="1905657" h="1221162">
                  <a:moveTo>
                    <a:pt x="1899094" y="1031662"/>
                  </a:moveTo>
                  <a:cubicBezTo>
                    <a:pt x="1899094" y="1031662"/>
                    <a:pt x="1900306" y="1031898"/>
                    <a:pt x="1900710" y="1031898"/>
                  </a:cubicBezTo>
                  <a:lnTo>
                    <a:pt x="1901686" y="1028635"/>
                  </a:lnTo>
                  <a:lnTo>
                    <a:pt x="1900171" y="1023858"/>
                  </a:lnTo>
                  <a:lnTo>
                    <a:pt x="1901046" y="1019518"/>
                  </a:lnTo>
                  <a:cubicBezTo>
                    <a:pt x="1901046" y="1019518"/>
                    <a:pt x="1900171" y="1014506"/>
                    <a:pt x="1900171" y="1013665"/>
                  </a:cubicBezTo>
                  <a:cubicBezTo>
                    <a:pt x="1900171" y="1012790"/>
                    <a:pt x="1899970" y="1006062"/>
                    <a:pt x="1899970" y="1006062"/>
                  </a:cubicBezTo>
                  <a:lnTo>
                    <a:pt x="1899330" y="1003237"/>
                  </a:lnTo>
                  <a:cubicBezTo>
                    <a:pt x="1899330" y="1003237"/>
                    <a:pt x="1899330" y="998897"/>
                    <a:pt x="1899566" y="998023"/>
                  </a:cubicBezTo>
                  <a:cubicBezTo>
                    <a:pt x="1899768" y="997148"/>
                    <a:pt x="1899566" y="994322"/>
                    <a:pt x="1899330" y="993246"/>
                  </a:cubicBezTo>
                  <a:cubicBezTo>
                    <a:pt x="1899094" y="992169"/>
                    <a:pt x="1898253" y="990218"/>
                    <a:pt x="1898253" y="990218"/>
                  </a:cubicBezTo>
                  <a:lnTo>
                    <a:pt x="1895864" y="990218"/>
                  </a:lnTo>
                  <a:lnTo>
                    <a:pt x="1893474" y="987292"/>
                  </a:lnTo>
                  <a:lnTo>
                    <a:pt x="1893037" y="985004"/>
                  </a:lnTo>
                  <a:lnTo>
                    <a:pt x="1892162" y="978915"/>
                  </a:lnTo>
                  <a:lnTo>
                    <a:pt x="1892162" y="975450"/>
                  </a:lnTo>
                  <a:cubicBezTo>
                    <a:pt x="1892162" y="975450"/>
                    <a:pt x="1893138" y="974138"/>
                    <a:pt x="1894215" y="973062"/>
                  </a:cubicBezTo>
                  <a:cubicBezTo>
                    <a:pt x="1895291" y="971985"/>
                    <a:pt x="1894551" y="973062"/>
                    <a:pt x="1895190" y="972423"/>
                  </a:cubicBezTo>
                  <a:cubicBezTo>
                    <a:pt x="1895830" y="971784"/>
                    <a:pt x="1897378" y="969799"/>
                    <a:pt x="1897378" y="969799"/>
                  </a:cubicBezTo>
                  <a:lnTo>
                    <a:pt x="1899128" y="965257"/>
                  </a:lnTo>
                  <a:lnTo>
                    <a:pt x="1901955" y="960683"/>
                  </a:lnTo>
                  <a:lnTo>
                    <a:pt x="1905657" y="954796"/>
                  </a:lnTo>
                  <a:lnTo>
                    <a:pt x="1905455" y="942416"/>
                  </a:lnTo>
                  <a:lnTo>
                    <a:pt x="1904580" y="934141"/>
                  </a:lnTo>
                  <a:cubicBezTo>
                    <a:pt x="1904580" y="934141"/>
                    <a:pt x="1903941" y="929801"/>
                    <a:pt x="1903705" y="929129"/>
                  </a:cubicBezTo>
                  <a:cubicBezTo>
                    <a:pt x="1903503" y="928489"/>
                    <a:pt x="1901080" y="922502"/>
                    <a:pt x="1901080" y="921190"/>
                  </a:cubicBezTo>
                  <a:cubicBezTo>
                    <a:pt x="1901080" y="919878"/>
                    <a:pt x="1900003" y="917590"/>
                    <a:pt x="1900003" y="916850"/>
                  </a:cubicBezTo>
                  <a:cubicBezTo>
                    <a:pt x="1900003" y="916076"/>
                    <a:pt x="1899128" y="911098"/>
                    <a:pt x="1899128" y="911098"/>
                  </a:cubicBezTo>
                  <a:cubicBezTo>
                    <a:pt x="1899128" y="911098"/>
                    <a:pt x="1899128" y="908810"/>
                    <a:pt x="1899128" y="908171"/>
                  </a:cubicBezTo>
                  <a:cubicBezTo>
                    <a:pt x="1899128" y="907532"/>
                    <a:pt x="1899902" y="905682"/>
                    <a:pt x="1900205" y="905009"/>
                  </a:cubicBezTo>
                  <a:cubicBezTo>
                    <a:pt x="1900542" y="904370"/>
                    <a:pt x="1900744" y="903798"/>
                    <a:pt x="1901719" y="903159"/>
                  </a:cubicBezTo>
                  <a:cubicBezTo>
                    <a:pt x="1902696" y="902520"/>
                    <a:pt x="1902494" y="901107"/>
                    <a:pt x="1902696" y="900434"/>
                  </a:cubicBezTo>
                  <a:cubicBezTo>
                    <a:pt x="1902931" y="899795"/>
                    <a:pt x="1902696" y="896532"/>
                    <a:pt x="1902696" y="896532"/>
                  </a:cubicBezTo>
                  <a:cubicBezTo>
                    <a:pt x="1902696" y="896532"/>
                    <a:pt x="1903032" y="892293"/>
                    <a:pt x="1903133" y="891856"/>
                  </a:cubicBezTo>
                  <a:cubicBezTo>
                    <a:pt x="1903234" y="891419"/>
                    <a:pt x="1903470" y="889568"/>
                    <a:pt x="1903470" y="889568"/>
                  </a:cubicBezTo>
                  <a:lnTo>
                    <a:pt x="1900104" y="885330"/>
                  </a:lnTo>
                  <a:lnTo>
                    <a:pt x="1900542" y="880889"/>
                  </a:lnTo>
                  <a:cubicBezTo>
                    <a:pt x="1900542" y="880889"/>
                    <a:pt x="1901417" y="878165"/>
                    <a:pt x="1901417" y="877727"/>
                  </a:cubicBezTo>
                  <a:cubicBezTo>
                    <a:pt x="1901417" y="877290"/>
                    <a:pt x="1901517" y="874700"/>
                    <a:pt x="1901517" y="874262"/>
                  </a:cubicBezTo>
                  <a:cubicBezTo>
                    <a:pt x="1901517" y="873825"/>
                    <a:pt x="1901316" y="870898"/>
                    <a:pt x="1901316" y="870898"/>
                  </a:cubicBezTo>
                  <a:cubicBezTo>
                    <a:pt x="1901316" y="870898"/>
                    <a:pt x="1899801" y="869822"/>
                    <a:pt x="1898825" y="868611"/>
                  </a:cubicBezTo>
                  <a:cubicBezTo>
                    <a:pt x="1897849" y="867434"/>
                    <a:pt x="1897513" y="866996"/>
                    <a:pt x="1897210" y="866021"/>
                  </a:cubicBezTo>
                  <a:cubicBezTo>
                    <a:pt x="1896873" y="865045"/>
                    <a:pt x="1897311" y="864608"/>
                    <a:pt x="1897849" y="863969"/>
                  </a:cubicBezTo>
                  <a:cubicBezTo>
                    <a:pt x="1898388" y="863329"/>
                    <a:pt x="1898825" y="863195"/>
                    <a:pt x="1899364" y="862993"/>
                  </a:cubicBezTo>
                  <a:cubicBezTo>
                    <a:pt x="1899902" y="862758"/>
                    <a:pt x="1900340" y="862455"/>
                    <a:pt x="1900340" y="862455"/>
                  </a:cubicBezTo>
                  <a:cubicBezTo>
                    <a:pt x="1900340" y="862455"/>
                    <a:pt x="1901753" y="861816"/>
                    <a:pt x="1902527" y="861479"/>
                  </a:cubicBezTo>
                  <a:cubicBezTo>
                    <a:pt x="1903301" y="861143"/>
                    <a:pt x="1903167" y="860403"/>
                    <a:pt x="1903503" y="859730"/>
                  </a:cubicBezTo>
                  <a:cubicBezTo>
                    <a:pt x="1903840" y="859091"/>
                    <a:pt x="1904378" y="857880"/>
                    <a:pt x="1904816" y="857241"/>
                  </a:cubicBezTo>
                  <a:cubicBezTo>
                    <a:pt x="1905253" y="856602"/>
                    <a:pt x="1905253" y="855290"/>
                    <a:pt x="1905253" y="855290"/>
                  </a:cubicBezTo>
                  <a:lnTo>
                    <a:pt x="1904917" y="851387"/>
                  </a:lnTo>
                  <a:lnTo>
                    <a:pt x="1901753" y="848461"/>
                  </a:lnTo>
                  <a:lnTo>
                    <a:pt x="1899902" y="846711"/>
                  </a:lnTo>
                  <a:lnTo>
                    <a:pt x="1898926" y="844525"/>
                  </a:lnTo>
                  <a:lnTo>
                    <a:pt x="1897412" y="842137"/>
                  </a:lnTo>
                  <a:cubicBezTo>
                    <a:pt x="1897412" y="842137"/>
                    <a:pt x="1895123" y="840926"/>
                    <a:pt x="1895022" y="840623"/>
                  </a:cubicBezTo>
                  <a:cubicBezTo>
                    <a:pt x="1894921" y="840286"/>
                    <a:pt x="1891758" y="838234"/>
                    <a:pt x="1891421" y="838033"/>
                  </a:cubicBezTo>
                  <a:cubicBezTo>
                    <a:pt x="1891085" y="837797"/>
                    <a:pt x="1890243" y="836956"/>
                    <a:pt x="1890243" y="836956"/>
                  </a:cubicBezTo>
                  <a:lnTo>
                    <a:pt x="1889604" y="835980"/>
                  </a:lnTo>
                  <a:lnTo>
                    <a:pt x="1889806" y="833928"/>
                  </a:lnTo>
                  <a:lnTo>
                    <a:pt x="1890883" y="832852"/>
                  </a:lnTo>
                  <a:cubicBezTo>
                    <a:pt x="1890883" y="832852"/>
                    <a:pt x="1892061" y="831237"/>
                    <a:pt x="1892195" y="830901"/>
                  </a:cubicBezTo>
                  <a:cubicBezTo>
                    <a:pt x="1892296" y="830564"/>
                    <a:pt x="1892195" y="829488"/>
                    <a:pt x="1892195" y="829488"/>
                  </a:cubicBezTo>
                  <a:lnTo>
                    <a:pt x="1892195" y="826461"/>
                  </a:lnTo>
                  <a:lnTo>
                    <a:pt x="1891859" y="822996"/>
                  </a:lnTo>
                  <a:lnTo>
                    <a:pt x="1889133" y="821919"/>
                  </a:lnTo>
                  <a:lnTo>
                    <a:pt x="1887181" y="819194"/>
                  </a:lnTo>
                  <a:lnTo>
                    <a:pt x="1886979" y="817378"/>
                  </a:lnTo>
                  <a:lnTo>
                    <a:pt x="1886979" y="815628"/>
                  </a:lnTo>
                  <a:lnTo>
                    <a:pt x="1886810" y="813677"/>
                  </a:lnTo>
                  <a:cubicBezTo>
                    <a:pt x="1886810" y="813677"/>
                    <a:pt x="1886003" y="810852"/>
                    <a:pt x="1885330" y="809439"/>
                  </a:cubicBezTo>
                  <a:cubicBezTo>
                    <a:pt x="1884690" y="808026"/>
                    <a:pt x="1885330" y="809439"/>
                    <a:pt x="1885330" y="809002"/>
                  </a:cubicBezTo>
                  <a:cubicBezTo>
                    <a:pt x="1885330" y="808564"/>
                    <a:pt x="1882065" y="806815"/>
                    <a:pt x="1882065" y="806815"/>
                  </a:cubicBezTo>
                  <a:lnTo>
                    <a:pt x="1880854" y="806041"/>
                  </a:lnTo>
                  <a:lnTo>
                    <a:pt x="1879979" y="806041"/>
                  </a:lnTo>
                  <a:lnTo>
                    <a:pt x="1875536" y="802173"/>
                  </a:lnTo>
                  <a:lnTo>
                    <a:pt x="1876176" y="798405"/>
                  </a:lnTo>
                  <a:lnTo>
                    <a:pt x="1877488" y="795478"/>
                  </a:lnTo>
                  <a:lnTo>
                    <a:pt x="1879541" y="792316"/>
                  </a:lnTo>
                  <a:cubicBezTo>
                    <a:pt x="1879541" y="792316"/>
                    <a:pt x="1879003" y="788515"/>
                    <a:pt x="1879104" y="788179"/>
                  </a:cubicBezTo>
                  <a:cubicBezTo>
                    <a:pt x="1879204" y="787842"/>
                    <a:pt x="1879878" y="786867"/>
                    <a:pt x="1879878" y="786867"/>
                  </a:cubicBezTo>
                  <a:lnTo>
                    <a:pt x="1880955" y="786093"/>
                  </a:lnTo>
                  <a:cubicBezTo>
                    <a:pt x="1880955" y="786093"/>
                    <a:pt x="1883344" y="785857"/>
                    <a:pt x="1883883" y="785857"/>
                  </a:cubicBezTo>
                  <a:cubicBezTo>
                    <a:pt x="1884421" y="785857"/>
                    <a:pt x="1885498" y="786631"/>
                    <a:pt x="1885498" y="786631"/>
                  </a:cubicBezTo>
                  <a:cubicBezTo>
                    <a:pt x="1885498" y="786631"/>
                    <a:pt x="1887113" y="788380"/>
                    <a:pt x="1888224" y="788683"/>
                  </a:cubicBezTo>
                  <a:cubicBezTo>
                    <a:pt x="1889301" y="789020"/>
                    <a:pt x="1890176" y="790096"/>
                    <a:pt x="1890849" y="790533"/>
                  </a:cubicBezTo>
                  <a:cubicBezTo>
                    <a:pt x="1891488" y="790971"/>
                    <a:pt x="1891724" y="791711"/>
                    <a:pt x="1891724" y="791711"/>
                  </a:cubicBezTo>
                  <a:cubicBezTo>
                    <a:pt x="1891724" y="791711"/>
                    <a:pt x="1894349" y="792249"/>
                    <a:pt x="1894652" y="792249"/>
                  </a:cubicBezTo>
                  <a:cubicBezTo>
                    <a:pt x="1894989" y="792249"/>
                    <a:pt x="1896402" y="791711"/>
                    <a:pt x="1896402" y="791711"/>
                  </a:cubicBezTo>
                  <a:lnTo>
                    <a:pt x="1897715" y="789861"/>
                  </a:lnTo>
                  <a:cubicBezTo>
                    <a:pt x="1897715" y="789861"/>
                    <a:pt x="1898926" y="788986"/>
                    <a:pt x="1899128" y="788683"/>
                  </a:cubicBezTo>
                  <a:cubicBezTo>
                    <a:pt x="1899330" y="788347"/>
                    <a:pt x="1900003" y="788347"/>
                    <a:pt x="1900542" y="787808"/>
                  </a:cubicBezTo>
                  <a:cubicBezTo>
                    <a:pt x="1901080" y="787270"/>
                    <a:pt x="1901517" y="787270"/>
                    <a:pt x="1901517" y="787270"/>
                  </a:cubicBezTo>
                  <a:cubicBezTo>
                    <a:pt x="1901517" y="787270"/>
                    <a:pt x="1903470" y="785656"/>
                    <a:pt x="1903705" y="785218"/>
                  </a:cubicBezTo>
                  <a:cubicBezTo>
                    <a:pt x="1903941" y="784781"/>
                    <a:pt x="1904042" y="783805"/>
                    <a:pt x="1904042" y="783805"/>
                  </a:cubicBezTo>
                  <a:lnTo>
                    <a:pt x="1904378" y="782493"/>
                  </a:lnTo>
                  <a:lnTo>
                    <a:pt x="1904378" y="780408"/>
                  </a:lnTo>
                  <a:lnTo>
                    <a:pt x="1903301" y="778558"/>
                  </a:lnTo>
                  <a:lnTo>
                    <a:pt x="1899599" y="773680"/>
                  </a:lnTo>
                  <a:cubicBezTo>
                    <a:pt x="1899599" y="773680"/>
                    <a:pt x="1897210" y="769979"/>
                    <a:pt x="1896974" y="769643"/>
                  </a:cubicBezTo>
                  <a:cubicBezTo>
                    <a:pt x="1896772" y="769307"/>
                    <a:pt x="1893070" y="767591"/>
                    <a:pt x="1891657" y="765943"/>
                  </a:cubicBezTo>
                  <a:cubicBezTo>
                    <a:pt x="1890243" y="764328"/>
                    <a:pt x="1888190" y="762781"/>
                    <a:pt x="1887416" y="761603"/>
                  </a:cubicBezTo>
                  <a:cubicBezTo>
                    <a:pt x="1886642" y="760392"/>
                    <a:pt x="1885363" y="760291"/>
                    <a:pt x="1884051" y="759316"/>
                  </a:cubicBezTo>
                  <a:cubicBezTo>
                    <a:pt x="1882738" y="758340"/>
                    <a:pt x="1882974" y="758105"/>
                    <a:pt x="1882974" y="758105"/>
                  </a:cubicBezTo>
                  <a:cubicBezTo>
                    <a:pt x="1882974" y="758105"/>
                    <a:pt x="1880921" y="755380"/>
                    <a:pt x="1879810" y="754068"/>
                  </a:cubicBezTo>
                  <a:cubicBezTo>
                    <a:pt x="1878733" y="752756"/>
                    <a:pt x="1877185" y="751679"/>
                    <a:pt x="1876647" y="750469"/>
                  </a:cubicBezTo>
                  <a:cubicBezTo>
                    <a:pt x="1876108" y="749258"/>
                    <a:pt x="1874796" y="747643"/>
                    <a:pt x="1874796" y="747643"/>
                  </a:cubicBezTo>
                  <a:cubicBezTo>
                    <a:pt x="1874796" y="747643"/>
                    <a:pt x="1874796" y="745153"/>
                    <a:pt x="1874796" y="744043"/>
                  </a:cubicBezTo>
                  <a:cubicBezTo>
                    <a:pt x="1874796" y="742967"/>
                    <a:pt x="1874796" y="740679"/>
                    <a:pt x="1874796" y="740679"/>
                  </a:cubicBezTo>
                  <a:lnTo>
                    <a:pt x="1874796" y="739805"/>
                  </a:lnTo>
                  <a:lnTo>
                    <a:pt x="1872238" y="737618"/>
                  </a:lnTo>
                  <a:lnTo>
                    <a:pt x="1870454" y="734591"/>
                  </a:lnTo>
                  <a:lnTo>
                    <a:pt x="1870017" y="734591"/>
                  </a:lnTo>
                  <a:lnTo>
                    <a:pt x="1866449" y="732572"/>
                  </a:lnTo>
                  <a:cubicBezTo>
                    <a:pt x="1866449" y="732572"/>
                    <a:pt x="1867627" y="729141"/>
                    <a:pt x="1867325" y="728704"/>
                  </a:cubicBezTo>
                  <a:cubicBezTo>
                    <a:pt x="1866988" y="728266"/>
                    <a:pt x="1865810" y="727291"/>
                    <a:pt x="1865709" y="726416"/>
                  </a:cubicBezTo>
                  <a:cubicBezTo>
                    <a:pt x="1865608" y="725542"/>
                    <a:pt x="1865070" y="725340"/>
                    <a:pt x="1865070" y="724902"/>
                  </a:cubicBezTo>
                  <a:cubicBezTo>
                    <a:pt x="1865070" y="724465"/>
                    <a:pt x="1863993" y="723153"/>
                    <a:pt x="1863219" y="722178"/>
                  </a:cubicBezTo>
                  <a:cubicBezTo>
                    <a:pt x="1862445" y="721202"/>
                    <a:pt x="1863017" y="721639"/>
                    <a:pt x="1862445" y="721202"/>
                  </a:cubicBezTo>
                  <a:cubicBezTo>
                    <a:pt x="1861906" y="720765"/>
                    <a:pt x="1861031" y="719150"/>
                    <a:pt x="1861031" y="719150"/>
                  </a:cubicBezTo>
                  <a:cubicBezTo>
                    <a:pt x="1861031" y="719150"/>
                    <a:pt x="1861570" y="718948"/>
                    <a:pt x="1861805" y="718275"/>
                  </a:cubicBezTo>
                  <a:cubicBezTo>
                    <a:pt x="1862007" y="717636"/>
                    <a:pt x="1863219" y="717939"/>
                    <a:pt x="1863993" y="717199"/>
                  </a:cubicBezTo>
                  <a:cubicBezTo>
                    <a:pt x="1864767" y="716425"/>
                    <a:pt x="1864969" y="716661"/>
                    <a:pt x="1865305" y="716122"/>
                  </a:cubicBezTo>
                  <a:cubicBezTo>
                    <a:pt x="1865642" y="715584"/>
                    <a:pt x="1865844" y="714171"/>
                    <a:pt x="1866180" y="713398"/>
                  </a:cubicBezTo>
                  <a:cubicBezTo>
                    <a:pt x="1866517" y="712624"/>
                    <a:pt x="1866820" y="710908"/>
                    <a:pt x="1866820" y="710471"/>
                  </a:cubicBezTo>
                  <a:cubicBezTo>
                    <a:pt x="1866820" y="710034"/>
                    <a:pt x="1866719" y="707107"/>
                    <a:pt x="1866719" y="706670"/>
                  </a:cubicBezTo>
                  <a:cubicBezTo>
                    <a:pt x="1866719" y="706232"/>
                    <a:pt x="1866180" y="705358"/>
                    <a:pt x="1866180" y="705358"/>
                  </a:cubicBezTo>
                  <a:cubicBezTo>
                    <a:pt x="1866180" y="705358"/>
                    <a:pt x="1863151" y="702196"/>
                    <a:pt x="1862478" y="701657"/>
                  </a:cubicBezTo>
                  <a:cubicBezTo>
                    <a:pt x="1861839" y="701119"/>
                    <a:pt x="1857161" y="695468"/>
                    <a:pt x="1857161" y="695030"/>
                  </a:cubicBezTo>
                  <a:cubicBezTo>
                    <a:pt x="1857161" y="694593"/>
                    <a:pt x="1855310" y="691229"/>
                    <a:pt x="1855310" y="691229"/>
                  </a:cubicBezTo>
                  <a:lnTo>
                    <a:pt x="1854435" y="685813"/>
                  </a:lnTo>
                  <a:lnTo>
                    <a:pt x="1851507" y="680935"/>
                  </a:lnTo>
                  <a:cubicBezTo>
                    <a:pt x="1851507" y="680935"/>
                    <a:pt x="1850733" y="675385"/>
                    <a:pt x="1850632" y="675082"/>
                  </a:cubicBezTo>
                  <a:cubicBezTo>
                    <a:pt x="1850531" y="674746"/>
                    <a:pt x="1850194" y="670305"/>
                    <a:pt x="1850194" y="669868"/>
                  </a:cubicBezTo>
                  <a:cubicBezTo>
                    <a:pt x="1850194" y="669431"/>
                    <a:pt x="1849757" y="663241"/>
                    <a:pt x="1849757" y="663241"/>
                  </a:cubicBezTo>
                  <a:cubicBezTo>
                    <a:pt x="1849757" y="663241"/>
                    <a:pt x="1848545" y="662467"/>
                    <a:pt x="1847165" y="661391"/>
                  </a:cubicBezTo>
                  <a:cubicBezTo>
                    <a:pt x="1845752" y="660314"/>
                    <a:pt x="1843901" y="657791"/>
                    <a:pt x="1843901" y="657791"/>
                  </a:cubicBezTo>
                  <a:cubicBezTo>
                    <a:pt x="1843901" y="657791"/>
                    <a:pt x="1839560" y="654192"/>
                    <a:pt x="1839223" y="654091"/>
                  </a:cubicBezTo>
                  <a:cubicBezTo>
                    <a:pt x="1838886" y="653990"/>
                    <a:pt x="1838348" y="653015"/>
                    <a:pt x="1838011" y="652678"/>
                  </a:cubicBezTo>
                  <a:cubicBezTo>
                    <a:pt x="1837675" y="652342"/>
                    <a:pt x="1833569" y="651602"/>
                    <a:pt x="1832155" y="651366"/>
                  </a:cubicBezTo>
                  <a:cubicBezTo>
                    <a:pt x="1830742" y="651164"/>
                    <a:pt x="1827477" y="651265"/>
                    <a:pt x="1827477" y="651265"/>
                  </a:cubicBezTo>
                  <a:lnTo>
                    <a:pt x="1825862" y="648675"/>
                  </a:lnTo>
                  <a:lnTo>
                    <a:pt x="1825223" y="647800"/>
                  </a:lnTo>
                  <a:cubicBezTo>
                    <a:pt x="1825223" y="647800"/>
                    <a:pt x="1822732" y="646051"/>
                    <a:pt x="1821857" y="646051"/>
                  </a:cubicBezTo>
                  <a:cubicBezTo>
                    <a:pt x="1820982" y="646051"/>
                    <a:pt x="1817179" y="643225"/>
                    <a:pt x="1817179" y="643225"/>
                  </a:cubicBezTo>
                  <a:lnTo>
                    <a:pt x="1811862" y="639962"/>
                  </a:lnTo>
                  <a:cubicBezTo>
                    <a:pt x="1811862" y="639962"/>
                    <a:pt x="1808395" y="641005"/>
                    <a:pt x="1808160" y="641005"/>
                  </a:cubicBezTo>
                  <a:cubicBezTo>
                    <a:pt x="1807958" y="641005"/>
                    <a:pt x="1804592" y="642519"/>
                    <a:pt x="1804592" y="642519"/>
                  </a:cubicBezTo>
                  <a:lnTo>
                    <a:pt x="1800015" y="643024"/>
                  </a:lnTo>
                  <a:cubicBezTo>
                    <a:pt x="1800015" y="643024"/>
                    <a:pt x="1796886" y="642956"/>
                    <a:pt x="1796179" y="642956"/>
                  </a:cubicBezTo>
                  <a:cubicBezTo>
                    <a:pt x="1795472" y="642956"/>
                    <a:pt x="1793217" y="641140"/>
                    <a:pt x="1792477" y="641072"/>
                  </a:cubicBezTo>
                  <a:cubicBezTo>
                    <a:pt x="1791736" y="641005"/>
                    <a:pt x="1789650" y="639559"/>
                    <a:pt x="1789650" y="639559"/>
                  </a:cubicBezTo>
                  <a:cubicBezTo>
                    <a:pt x="1789650" y="639559"/>
                    <a:pt x="1786318" y="637036"/>
                    <a:pt x="1785948" y="636968"/>
                  </a:cubicBezTo>
                  <a:cubicBezTo>
                    <a:pt x="1785577" y="636901"/>
                    <a:pt x="1784130" y="635791"/>
                    <a:pt x="1784130" y="635791"/>
                  </a:cubicBezTo>
                  <a:cubicBezTo>
                    <a:pt x="1784130" y="635791"/>
                    <a:pt x="1779856" y="634849"/>
                    <a:pt x="1778712" y="634782"/>
                  </a:cubicBezTo>
                  <a:cubicBezTo>
                    <a:pt x="1777534" y="634715"/>
                    <a:pt x="1777332" y="634984"/>
                    <a:pt x="1776188" y="635791"/>
                  </a:cubicBezTo>
                  <a:cubicBezTo>
                    <a:pt x="1775044" y="636598"/>
                    <a:pt x="1774505" y="636800"/>
                    <a:pt x="1773058" y="638045"/>
                  </a:cubicBezTo>
                  <a:cubicBezTo>
                    <a:pt x="1771611" y="639290"/>
                    <a:pt x="1772183" y="639491"/>
                    <a:pt x="1771039" y="640871"/>
                  </a:cubicBezTo>
                  <a:cubicBezTo>
                    <a:pt x="1769894" y="642250"/>
                    <a:pt x="1770029" y="641745"/>
                    <a:pt x="1769726" y="642754"/>
                  </a:cubicBezTo>
                  <a:cubicBezTo>
                    <a:pt x="1769423" y="643764"/>
                    <a:pt x="1769726" y="644134"/>
                    <a:pt x="1770096" y="646017"/>
                  </a:cubicBezTo>
                  <a:cubicBezTo>
                    <a:pt x="1770467" y="647901"/>
                    <a:pt x="1771106" y="647262"/>
                    <a:pt x="1771106" y="647262"/>
                  </a:cubicBezTo>
                  <a:cubicBezTo>
                    <a:pt x="1771106" y="647262"/>
                    <a:pt x="1773294" y="649583"/>
                    <a:pt x="1773798" y="650391"/>
                  </a:cubicBezTo>
                  <a:cubicBezTo>
                    <a:pt x="1774303" y="651198"/>
                    <a:pt x="1774000" y="652409"/>
                    <a:pt x="1774101" y="652712"/>
                  </a:cubicBezTo>
                  <a:cubicBezTo>
                    <a:pt x="1774169" y="653015"/>
                    <a:pt x="1773798" y="652914"/>
                    <a:pt x="1773664" y="653351"/>
                  </a:cubicBezTo>
                  <a:cubicBezTo>
                    <a:pt x="1773529" y="653788"/>
                    <a:pt x="1772856" y="654360"/>
                    <a:pt x="1772520" y="654495"/>
                  </a:cubicBezTo>
                  <a:cubicBezTo>
                    <a:pt x="1772149" y="654629"/>
                    <a:pt x="1772587" y="655302"/>
                    <a:pt x="1772587" y="655302"/>
                  </a:cubicBezTo>
                  <a:lnTo>
                    <a:pt x="1774101" y="657690"/>
                  </a:lnTo>
                  <a:lnTo>
                    <a:pt x="1773294" y="660449"/>
                  </a:lnTo>
                  <a:cubicBezTo>
                    <a:pt x="1773294" y="660449"/>
                    <a:pt x="1771981" y="661155"/>
                    <a:pt x="1771544" y="661458"/>
                  </a:cubicBezTo>
                  <a:cubicBezTo>
                    <a:pt x="1771106" y="661761"/>
                    <a:pt x="1768649" y="663914"/>
                    <a:pt x="1768077" y="664216"/>
                  </a:cubicBezTo>
                  <a:cubicBezTo>
                    <a:pt x="1767505" y="664519"/>
                    <a:pt x="1766193" y="666403"/>
                    <a:pt x="1764611" y="667110"/>
                  </a:cubicBezTo>
                  <a:cubicBezTo>
                    <a:pt x="1763029" y="667850"/>
                    <a:pt x="1762591" y="669128"/>
                    <a:pt x="1762591" y="669128"/>
                  </a:cubicBezTo>
                  <a:cubicBezTo>
                    <a:pt x="1762591" y="669128"/>
                    <a:pt x="1761144" y="671718"/>
                    <a:pt x="1761010" y="672593"/>
                  </a:cubicBezTo>
                  <a:cubicBezTo>
                    <a:pt x="1760875" y="673467"/>
                    <a:pt x="1760135" y="674611"/>
                    <a:pt x="1760135" y="674611"/>
                  </a:cubicBezTo>
                  <a:lnTo>
                    <a:pt x="1760135" y="678513"/>
                  </a:lnTo>
                  <a:cubicBezTo>
                    <a:pt x="1760135" y="678513"/>
                    <a:pt x="1759764" y="679960"/>
                    <a:pt x="1759327" y="681642"/>
                  </a:cubicBezTo>
                  <a:cubicBezTo>
                    <a:pt x="1758889" y="683324"/>
                    <a:pt x="1757577" y="684468"/>
                    <a:pt x="1756567" y="685039"/>
                  </a:cubicBezTo>
                  <a:cubicBezTo>
                    <a:pt x="1755558" y="685611"/>
                    <a:pt x="1755322" y="684468"/>
                    <a:pt x="1755322" y="684468"/>
                  </a:cubicBezTo>
                  <a:cubicBezTo>
                    <a:pt x="1755322" y="684468"/>
                    <a:pt x="1753370" y="682281"/>
                    <a:pt x="1753067" y="682281"/>
                  </a:cubicBezTo>
                  <a:cubicBezTo>
                    <a:pt x="1752764" y="682281"/>
                    <a:pt x="1751822" y="682416"/>
                    <a:pt x="1751822" y="682416"/>
                  </a:cubicBezTo>
                  <a:lnTo>
                    <a:pt x="1750173" y="684165"/>
                  </a:lnTo>
                  <a:cubicBezTo>
                    <a:pt x="1750173" y="684165"/>
                    <a:pt x="1750476" y="687495"/>
                    <a:pt x="1750678" y="688000"/>
                  </a:cubicBezTo>
                  <a:cubicBezTo>
                    <a:pt x="1750880" y="688504"/>
                    <a:pt x="1750307" y="690085"/>
                    <a:pt x="1750307" y="690085"/>
                  </a:cubicBezTo>
                  <a:cubicBezTo>
                    <a:pt x="1750307" y="690085"/>
                    <a:pt x="1745158" y="690220"/>
                    <a:pt x="1743846" y="690287"/>
                  </a:cubicBezTo>
                  <a:cubicBezTo>
                    <a:pt x="1742533" y="690354"/>
                    <a:pt x="1740009" y="688706"/>
                    <a:pt x="1740009" y="688706"/>
                  </a:cubicBezTo>
                  <a:lnTo>
                    <a:pt x="1737754" y="686318"/>
                  </a:lnTo>
                  <a:lnTo>
                    <a:pt x="1733850" y="684434"/>
                  </a:lnTo>
                  <a:lnTo>
                    <a:pt x="1732706" y="683357"/>
                  </a:lnTo>
                  <a:cubicBezTo>
                    <a:pt x="1732706" y="683357"/>
                    <a:pt x="1730081" y="683055"/>
                    <a:pt x="1729812" y="683156"/>
                  </a:cubicBezTo>
                  <a:cubicBezTo>
                    <a:pt x="1729509" y="683223"/>
                    <a:pt x="1728567" y="684232"/>
                    <a:pt x="1728567" y="684232"/>
                  </a:cubicBezTo>
                  <a:lnTo>
                    <a:pt x="1726682" y="686486"/>
                  </a:lnTo>
                  <a:lnTo>
                    <a:pt x="1725605" y="688740"/>
                  </a:lnTo>
                  <a:cubicBezTo>
                    <a:pt x="1725605" y="688740"/>
                    <a:pt x="1722341" y="689547"/>
                    <a:pt x="1721701" y="689480"/>
                  </a:cubicBezTo>
                  <a:cubicBezTo>
                    <a:pt x="1721062" y="689412"/>
                    <a:pt x="1718066" y="688336"/>
                    <a:pt x="1717797" y="688033"/>
                  </a:cubicBezTo>
                  <a:cubicBezTo>
                    <a:pt x="1717494" y="687731"/>
                    <a:pt x="1713759" y="686587"/>
                    <a:pt x="1713389" y="686351"/>
                  </a:cubicBezTo>
                  <a:cubicBezTo>
                    <a:pt x="1713018" y="686150"/>
                    <a:pt x="1709316" y="684838"/>
                    <a:pt x="1709047" y="684905"/>
                  </a:cubicBezTo>
                  <a:cubicBezTo>
                    <a:pt x="1708744" y="684972"/>
                    <a:pt x="1708307" y="686654"/>
                    <a:pt x="1707970" y="687495"/>
                  </a:cubicBezTo>
                  <a:cubicBezTo>
                    <a:pt x="1707600" y="688370"/>
                    <a:pt x="1704504" y="691397"/>
                    <a:pt x="1704504" y="691700"/>
                  </a:cubicBezTo>
                  <a:cubicBezTo>
                    <a:pt x="1704504" y="692003"/>
                    <a:pt x="1704706" y="693887"/>
                    <a:pt x="1704806" y="694391"/>
                  </a:cubicBezTo>
                  <a:cubicBezTo>
                    <a:pt x="1704874" y="694896"/>
                    <a:pt x="1706254" y="695972"/>
                    <a:pt x="1707331" y="697722"/>
                  </a:cubicBezTo>
                  <a:cubicBezTo>
                    <a:pt x="1708407" y="699471"/>
                    <a:pt x="1707835" y="700413"/>
                    <a:pt x="1708071" y="701186"/>
                  </a:cubicBezTo>
                  <a:cubicBezTo>
                    <a:pt x="1708273" y="701994"/>
                    <a:pt x="1707634" y="702768"/>
                    <a:pt x="1707432" y="702868"/>
                  </a:cubicBezTo>
                  <a:cubicBezTo>
                    <a:pt x="1707196" y="702936"/>
                    <a:pt x="1704234" y="705829"/>
                    <a:pt x="1703965" y="706131"/>
                  </a:cubicBezTo>
                  <a:cubicBezTo>
                    <a:pt x="1703662" y="706434"/>
                    <a:pt x="1703393" y="707712"/>
                    <a:pt x="1703393" y="708587"/>
                  </a:cubicBezTo>
                  <a:cubicBezTo>
                    <a:pt x="1703393" y="709462"/>
                    <a:pt x="1703595" y="711110"/>
                    <a:pt x="1703595" y="711480"/>
                  </a:cubicBezTo>
                  <a:cubicBezTo>
                    <a:pt x="1703595" y="711850"/>
                    <a:pt x="1706725" y="714239"/>
                    <a:pt x="1706725" y="714239"/>
                  </a:cubicBezTo>
                  <a:cubicBezTo>
                    <a:pt x="1706725" y="714239"/>
                    <a:pt x="1707869" y="715954"/>
                    <a:pt x="1710023" y="717165"/>
                  </a:cubicBezTo>
                  <a:cubicBezTo>
                    <a:pt x="1712210" y="718376"/>
                    <a:pt x="1711605" y="720058"/>
                    <a:pt x="1711941" y="721505"/>
                  </a:cubicBezTo>
                  <a:cubicBezTo>
                    <a:pt x="1712278" y="722985"/>
                    <a:pt x="1710461" y="723691"/>
                    <a:pt x="1710158" y="724095"/>
                  </a:cubicBezTo>
                  <a:cubicBezTo>
                    <a:pt x="1709821" y="724532"/>
                    <a:pt x="1707701" y="726383"/>
                    <a:pt x="1707263" y="726315"/>
                  </a:cubicBezTo>
                  <a:cubicBezTo>
                    <a:pt x="1706826" y="726248"/>
                    <a:pt x="1704975" y="726046"/>
                    <a:pt x="1702518" y="724566"/>
                  </a:cubicBezTo>
                  <a:cubicBezTo>
                    <a:pt x="1700061" y="723086"/>
                    <a:pt x="1700229" y="723489"/>
                    <a:pt x="1700229" y="723489"/>
                  </a:cubicBezTo>
                  <a:cubicBezTo>
                    <a:pt x="1700229" y="723489"/>
                    <a:pt x="1698042" y="721976"/>
                    <a:pt x="1697907" y="721538"/>
                  </a:cubicBezTo>
                  <a:cubicBezTo>
                    <a:pt x="1697739" y="721101"/>
                    <a:pt x="1695686" y="720227"/>
                    <a:pt x="1695451" y="719957"/>
                  </a:cubicBezTo>
                  <a:cubicBezTo>
                    <a:pt x="1695249" y="719688"/>
                    <a:pt x="1692623" y="717502"/>
                    <a:pt x="1692523" y="717334"/>
                  </a:cubicBezTo>
                  <a:cubicBezTo>
                    <a:pt x="1692422" y="717165"/>
                    <a:pt x="1689797" y="716963"/>
                    <a:pt x="1689797" y="716963"/>
                  </a:cubicBezTo>
                  <a:lnTo>
                    <a:pt x="1688047" y="715719"/>
                  </a:lnTo>
                  <a:cubicBezTo>
                    <a:pt x="1688047" y="715719"/>
                    <a:pt x="1683974" y="715281"/>
                    <a:pt x="1683032" y="715012"/>
                  </a:cubicBezTo>
                  <a:cubicBezTo>
                    <a:pt x="1682123" y="714743"/>
                    <a:pt x="1680373" y="712792"/>
                    <a:pt x="1679767" y="712288"/>
                  </a:cubicBezTo>
                  <a:cubicBezTo>
                    <a:pt x="1679162" y="711817"/>
                    <a:pt x="1677378" y="707982"/>
                    <a:pt x="1677210" y="707511"/>
                  </a:cubicBezTo>
                  <a:cubicBezTo>
                    <a:pt x="1677041" y="707040"/>
                    <a:pt x="1675359" y="704584"/>
                    <a:pt x="1675258" y="704348"/>
                  </a:cubicBezTo>
                  <a:cubicBezTo>
                    <a:pt x="1675157" y="704147"/>
                    <a:pt x="1670916" y="700816"/>
                    <a:pt x="1670378" y="700177"/>
                  </a:cubicBezTo>
                  <a:cubicBezTo>
                    <a:pt x="1669839" y="699538"/>
                    <a:pt x="1667887" y="697621"/>
                    <a:pt x="1667618" y="697183"/>
                  </a:cubicBezTo>
                  <a:cubicBezTo>
                    <a:pt x="1667349" y="696746"/>
                    <a:pt x="1666137" y="695602"/>
                    <a:pt x="1666137" y="695602"/>
                  </a:cubicBezTo>
                  <a:lnTo>
                    <a:pt x="1662940" y="693685"/>
                  </a:lnTo>
                  <a:lnTo>
                    <a:pt x="1661157" y="693416"/>
                  </a:lnTo>
                  <a:lnTo>
                    <a:pt x="1659373" y="693584"/>
                  </a:lnTo>
                  <a:lnTo>
                    <a:pt x="1656108" y="694492"/>
                  </a:lnTo>
                  <a:cubicBezTo>
                    <a:pt x="1656108" y="694492"/>
                    <a:pt x="1654089" y="695737"/>
                    <a:pt x="1653786" y="696174"/>
                  </a:cubicBezTo>
                  <a:cubicBezTo>
                    <a:pt x="1653450" y="696611"/>
                    <a:pt x="1651767" y="698125"/>
                    <a:pt x="1651228" y="698832"/>
                  </a:cubicBezTo>
                  <a:cubicBezTo>
                    <a:pt x="1650690" y="699538"/>
                    <a:pt x="1649815" y="700177"/>
                    <a:pt x="1649344" y="700783"/>
                  </a:cubicBezTo>
                  <a:cubicBezTo>
                    <a:pt x="1648839" y="701388"/>
                    <a:pt x="1647863" y="703507"/>
                    <a:pt x="1647863" y="703507"/>
                  </a:cubicBezTo>
                  <a:cubicBezTo>
                    <a:pt x="1647863" y="703507"/>
                    <a:pt x="1647762" y="704483"/>
                    <a:pt x="1647762" y="704651"/>
                  </a:cubicBezTo>
                  <a:cubicBezTo>
                    <a:pt x="1647762" y="704819"/>
                    <a:pt x="1648839" y="707746"/>
                    <a:pt x="1648906" y="707914"/>
                  </a:cubicBezTo>
                  <a:cubicBezTo>
                    <a:pt x="1648974" y="708083"/>
                    <a:pt x="1650151" y="709563"/>
                    <a:pt x="1650252" y="709697"/>
                  </a:cubicBezTo>
                  <a:cubicBezTo>
                    <a:pt x="1650353" y="709865"/>
                    <a:pt x="1651329" y="711043"/>
                    <a:pt x="1651565" y="711144"/>
                  </a:cubicBezTo>
                  <a:cubicBezTo>
                    <a:pt x="1651800" y="711245"/>
                    <a:pt x="1652978" y="713229"/>
                    <a:pt x="1652978" y="713229"/>
                  </a:cubicBezTo>
                  <a:lnTo>
                    <a:pt x="1654931" y="716425"/>
                  </a:lnTo>
                  <a:lnTo>
                    <a:pt x="1655974" y="718040"/>
                  </a:lnTo>
                  <a:lnTo>
                    <a:pt x="1656781" y="720529"/>
                  </a:lnTo>
                  <a:cubicBezTo>
                    <a:pt x="1656781" y="720529"/>
                    <a:pt x="1657286" y="722548"/>
                    <a:pt x="1657387" y="722716"/>
                  </a:cubicBezTo>
                  <a:cubicBezTo>
                    <a:pt x="1657488" y="722884"/>
                    <a:pt x="1657926" y="723759"/>
                    <a:pt x="1657993" y="723960"/>
                  </a:cubicBezTo>
                  <a:cubicBezTo>
                    <a:pt x="1658060" y="724162"/>
                    <a:pt x="1658599" y="726147"/>
                    <a:pt x="1658767" y="726248"/>
                  </a:cubicBezTo>
                  <a:cubicBezTo>
                    <a:pt x="1658935" y="726349"/>
                    <a:pt x="1659003" y="728401"/>
                    <a:pt x="1659036" y="729276"/>
                  </a:cubicBezTo>
                  <a:cubicBezTo>
                    <a:pt x="1659104" y="730150"/>
                    <a:pt x="1659036" y="731462"/>
                    <a:pt x="1659036" y="731664"/>
                  </a:cubicBezTo>
                  <a:cubicBezTo>
                    <a:pt x="1659036" y="731866"/>
                    <a:pt x="1658431" y="732976"/>
                    <a:pt x="1658229" y="733178"/>
                  </a:cubicBezTo>
                  <a:cubicBezTo>
                    <a:pt x="1657993" y="733413"/>
                    <a:pt x="1653281" y="732740"/>
                    <a:pt x="1653281" y="732740"/>
                  </a:cubicBezTo>
                  <a:cubicBezTo>
                    <a:pt x="1653281" y="732740"/>
                    <a:pt x="1651228" y="732740"/>
                    <a:pt x="1650892" y="732740"/>
                  </a:cubicBezTo>
                  <a:cubicBezTo>
                    <a:pt x="1650555" y="732740"/>
                    <a:pt x="1649276" y="732370"/>
                    <a:pt x="1649276" y="732370"/>
                  </a:cubicBezTo>
                  <a:lnTo>
                    <a:pt x="1647223" y="729545"/>
                  </a:lnTo>
                  <a:lnTo>
                    <a:pt x="1645978" y="727964"/>
                  </a:lnTo>
                  <a:lnTo>
                    <a:pt x="1645474" y="726652"/>
                  </a:lnTo>
                  <a:lnTo>
                    <a:pt x="1645474" y="725407"/>
                  </a:lnTo>
                  <a:lnTo>
                    <a:pt x="1645978" y="721505"/>
                  </a:lnTo>
                  <a:cubicBezTo>
                    <a:pt x="1645978" y="721505"/>
                    <a:pt x="1645574" y="720260"/>
                    <a:pt x="1645036" y="719991"/>
                  </a:cubicBezTo>
                  <a:cubicBezTo>
                    <a:pt x="1644531" y="719688"/>
                    <a:pt x="1642579" y="718545"/>
                    <a:pt x="1641771" y="718376"/>
                  </a:cubicBezTo>
                  <a:cubicBezTo>
                    <a:pt x="1640964" y="718242"/>
                    <a:pt x="1637497" y="716291"/>
                    <a:pt x="1635747" y="715349"/>
                  </a:cubicBezTo>
                  <a:cubicBezTo>
                    <a:pt x="1633997" y="714407"/>
                    <a:pt x="1634300" y="713835"/>
                    <a:pt x="1633492" y="712893"/>
                  </a:cubicBezTo>
                  <a:cubicBezTo>
                    <a:pt x="1632685" y="711951"/>
                    <a:pt x="1632348" y="712018"/>
                    <a:pt x="1631103" y="711076"/>
                  </a:cubicBezTo>
                  <a:cubicBezTo>
                    <a:pt x="1629858" y="710135"/>
                    <a:pt x="1628074" y="709563"/>
                    <a:pt x="1627334" y="709193"/>
                  </a:cubicBezTo>
                  <a:cubicBezTo>
                    <a:pt x="1626593" y="708823"/>
                    <a:pt x="1626391" y="709125"/>
                    <a:pt x="1626189" y="709125"/>
                  </a:cubicBezTo>
                  <a:cubicBezTo>
                    <a:pt x="1625987" y="709125"/>
                    <a:pt x="1625752" y="710067"/>
                    <a:pt x="1624507" y="711076"/>
                  </a:cubicBezTo>
                  <a:cubicBezTo>
                    <a:pt x="1623261" y="712086"/>
                    <a:pt x="1622925" y="710942"/>
                    <a:pt x="1622689" y="710942"/>
                  </a:cubicBezTo>
                  <a:cubicBezTo>
                    <a:pt x="1622487" y="710942"/>
                    <a:pt x="1622050" y="710235"/>
                    <a:pt x="1621545" y="709933"/>
                  </a:cubicBezTo>
                  <a:cubicBezTo>
                    <a:pt x="1621040" y="709630"/>
                    <a:pt x="1620737" y="709865"/>
                    <a:pt x="1620300" y="709865"/>
                  </a:cubicBezTo>
                  <a:cubicBezTo>
                    <a:pt x="1619862" y="709865"/>
                    <a:pt x="1618516" y="710168"/>
                    <a:pt x="1618516" y="710168"/>
                  </a:cubicBezTo>
                  <a:lnTo>
                    <a:pt x="1616699" y="710168"/>
                  </a:lnTo>
                  <a:cubicBezTo>
                    <a:pt x="1616699" y="710168"/>
                    <a:pt x="1616127" y="710673"/>
                    <a:pt x="1615824" y="711110"/>
                  </a:cubicBezTo>
                  <a:cubicBezTo>
                    <a:pt x="1615521" y="711547"/>
                    <a:pt x="1615622" y="711749"/>
                    <a:pt x="1615016" y="712624"/>
                  </a:cubicBezTo>
                  <a:cubicBezTo>
                    <a:pt x="1614444" y="713499"/>
                    <a:pt x="1614444" y="713936"/>
                    <a:pt x="1613569" y="713768"/>
                  </a:cubicBezTo>
                  <a:cubicBezTo>
                    <a:pt x="1612694" y="713633"/>
                    <a:pt x="1612559" y="713902"/>
                    <a:pt x="1611684" y="713768"/>
                  </a:cubicBezTo>
                  <a:cubicBezTo>
                    <a:pt x="1610809" y="713633"/>
                    <a:pt x="1610877" y="713465"/>
                    <a:pt x="1610742" y="713061"/>
                  </a:cubicBezTo>
                  <a:cubicBezTo>
                    <a:pt x="1610607" y="712624"/>
                    <a:pt x="1610170" y="712489"/>
                    <a:pt x="1610103" y="711917"/>
                  </a:cubicBezTo>
                  <a:cubicBezTo>
                    <a:pt x="1610035" y="711346"/>
                    <a:pt x="1610103" y="710471"/>
                    <a:pt x="1610103" y="710471"/>
                  </a:cubicBezTo>
                  <a:cubicBezTo>
                    <a:pt x="1610103" y="710471"/>
                    <a:pt x="1609598" y="708520"/>
                    <a:pt x="1609295" y="707881"/>
                  </a:cubicBezTo>
                  <a:cubicBezTo>
                    <a:pt x="1608992" y="707242"/>
                    <a:pt x="1608554" y="706501"/>
                    <a:pt x="1608285" y="706300"/>
                  </a:cubicBezTo>
                  <a:cubicBezTo>
                    <a:pt x="1607982" y="706098"/>
                    <a:pt x="1606468" y="704921"/>
                    <a:pt x="1606098" y="704853"/>
                  </a:cubicBezTo>
                  <a:cubicBezTo>
                    <a:pt x="1605727" y="704786"/>
                    <a:pt x="1605021" y="704416"/>
                    <a:pt x="1604583" y="704281"/>
                  </a:cubicBezTo>
                  <a:cubicBezTo>
                    <a:pt x="1604146" y="704147"/>
                    <a:pt x="1603708" y="702398"/>
                    <a:pt x="1603708" y="702398"/>
                  </a:cubicBezTo>
                  <a:lnTo>
                    <a:pt x="1603708" y="702465"/>
                  </a:lnTo>
                  <a:lnTo>
                    <a:pt x="1601958" y="700648"/>
                  </a:lnTo>
                  <a:lnTo>
                    <a:pt x="1601958" y="699908"/>
                  </a:lnTo>
                  <a:cubicBezTo>
                    <a:pt x="1601958" y="699908"/>
                    <a:pt x="1601857" y="698966"/>
                    <a:pt x="1601622" y="698663"/>
                  </a:cubicBezTo>
                  <a:cubicBezTo>
                    <a:pt x="1601386" y="698361"/>
                    <a:pt x="1600006" y="698428"/>
                    <a:pt x="1599703" y="698428"/>
                  </a:cubicBezTo>
                  <a:cubicBezTo>
                    <a:pt x="1599400" y="698428"/>
                    <a:pt x="1598761" y="698361"/>
                    <a:pt x="1598761" y="698361"/>
                  </a:cubicBezTo>
                  <a:lnTo>
                    <a:pt x="1597953" y="698798"/>
                  </a:lnTo>
                  <a:cubicBezTo>
                    <a:pt x="1597953" y="698798"/>
                    <a:pt x="1597314" y="699605"/>
                    <a:pt x="1597011" y="699605"/>
                  </a:cubicBezTo>
                  <a:cubicBezTo>
                    <a:pt x="1596708" y="699605"/>
                    <a:pt x="1596371" y="700177"/>
                    <a:pt x="1596371" y="700177"/>
                  </a:cubicBezTo>
                  <a:cubicBezTo>
                    <a:pt x="1596371" y="700177"/>
                    <a:pt x="1594487" y="701119"/>
                    <a:pt x="1593915" y="701489"/>
                  </a:cubicBezTo>
                  <a:cubicBezTo>
                    <a:pt x="1593342" y="701859"/>
                    <a:pt x="1592400" y="701489"/>
                    <a:pt x="1592400" y="701489"/>
                  </a:cubicBezTo>
                  <a:lnTo>
                    <a:pt x="1590448" y="701489"/>
                  </a:lnTo>
                  <a:cubicBezTo>
                    <a:pt x="1590448" y="701489"/>
                    <a:pt x="1588362" y="701119"/>
                    <a:pt x="1588126" y="700985"/>
                  </a:cubicBezTo>
                  <a:cubicBezTo>
                    <a:pt x="1587890" y="700850"/>
                    <a:pt x="1585366" y="699034"/>
                    <a:pt x="1585366" y="699034"/>
                  </a:cubicBezTo>
                  <a:lnTo>
                    <a:pt x="1584222" y="698226"/>
                  </a:lnTo>
                  <a:lnTo>
                    <a:pt x="1582472" y="695838"/>
                  </a:lnTo>
                  <a:lnTo>
                    <a:pt x="1581900" y="692810"/>
                  </a:lnTo>
                  <a:lnTo>
                    <a:pt x="1581597" y="691296"/>
                  </a:lnTo>
                  <a:cubicBezTo>
                    <a:pt x="1581597" y="691296"/>
                    <a:pt x="1580217" y="688336"/>
                    <a:pt x="1580217" y="687966"/>
                  </a:cubicBezTo>
                  <a:cubicBezTo>
                    <a:pt x="1580217" y="687596"/>
                    <a:pt x="1579342" y="686217"/>
                    <a:pt x="1579342" y="685948"/>
                  </a:cubicBezTo>
                  <a:cubicBezTo>
                    <a:pt x="1579342" y="685645"/>
                    <a:pt x="1578972" y="683492"/>
                    <a:pt x="1578972" y="683492"/>
                  </a:cubicBezTo>
                  <a:lnTo>
                    <a:pt x="1578333" y="682483"/>
                  </a:lnTo>
                  <a:lnTo>
                    <a:pt x="1576583" y="679354"/>
                  </a:lnTo>
                  <a:lnTo>
                    <a:pt x="1575842" y="678042"/>
                  </a:lnTo>
                  <a:cubicBezTo>
                    <a:pt x="1575842" y="678042"/>
                    <a:pt x="1575842" y="676663"/>
                    <a:pt x="1575842" y="675957"/>
                  </a:cubicBezTo>
                  <a:cubicBezTo>
                    <a:pt x="1575842" y="675250"/>
                    <a:pt x="1576616" y="674208"/>
                    <a:pt x="1576684" y="674006"/>
                  </a:cubicBezTo>
                  <a:cubicBezTo>
                    <a:pt x="1576751" y="673804"/>
                    <a:pt x="1577357" y="672189"/>
                    <a:pt x="1577357" y="672189"/>
                  </a:cubicBezTo>
                  <a:lnTo>
                    <a:pt x="1579241" y="671617"/>
                  </a:lnTo>
                  <a:cubicBezTo>
                    <a:pt x="1579241" y="671617"/>
                    <a:pt x="1581328" y="670743"/>
                    <a:pt x="1581563" y="670608"/>
                  </a:cubicBezTo>
                  <a:cubicBezTo>
                    <a:pt x="1581765" y="670474"/>
                    <a:pt x="1581866" y="667480"/>
                    <a:pt x="1581866" y="667480"/>
                  </a:cubicBezTo>
                  <a:lnTo>
                    <a:pt x="1582438" y="666168"/>
                  </a:lnTo>
                  <a:cubicBezTo>
                    <a:pt x="1582438" y="666168"/>
                    <a:pt x="1582304" y="662635"/>
                    <a:pt x="1582001" y="661828"/>
                  </a:cubicBezTo>
                  <a:cubicBezTo>
                    <a:pt x="1581698" y="661021"/>
                    <a:pt x="1582136" y="657690"/>
                    <a:pt x="1582001" y="657421"/>
                  </a:cubicBezTo>
                  <a:cubicBezTo>
                    <a:pt x="1581866" y="657119"/>
                    <a:pt x="1580991" y="655672"/>
                    <a:pt x="1580756" y="655470"/>
                  </a:cubicBezTo>
                  <a:cubicBezTo>
                    <a:pt x="1580554" y="655268"/>
                    <a:pt x="1578299" y="652510"/>
                    <a:pt x="1578299" y="652510"/>
                  </a:cubicBezTo>
                  <a:cubicBezTo>
                    <a:pt x="1578299" y="652510"/>
                    <a:pt x="1577357" y="651131"/>
                    <a:pt x="1577222" y="650693"/>
                  </a:cubicBezTo>
                  <a:cubicBezTo>
                    <a:pt x="1577087" y="650256"/>
                    <a:pt x="1576212" y="648439"/>
                    <a:pt x="1575977" y="647868"/>
                  </a:cubicBezTo>
                  <a:cubicBezTo>
                    <a:pt x="1575775" y="647296"/>
                    <a:pt x="1575337" y="645681"/>
                    <a:pt x="1575337" y="645681"/>
                  </a:cubicBezTo>
                  <a:cubicBezTo>
                    <a:pt x="1575337" y="645681"/>
                    <a:pt x="1573823" y="643864"/>
                    <a:pt x="1573587" y="643663"/>
                  </a:cubicBezTo>
                  <a:cubicBezTo>
                    <a:pt x="1573352" y="643427"/>
                    <a:pt x="1572443" y="642923"/>
                    <a:pt x="1572208" y="642586"/>
                  </a:cubicBezTo>
                  <a:cubicBezTo>
                    <a:pt x="1572006" y="642216"/>
                    <a:pt x="1570895" y="642721"/>
                    <a:pt x="1570693" y="642586"/>
                  </a:cubicBezTo>
                  <a:cubicBezTo>
                    <a:pt x="1570491" y="642452"/>
                    <a:pt x="1568674" y="642082"/>
                    <a:pt x="1568371" y="641846"/>
                  </a:cubicBezTo>
                  <a:cubicBezTo>
                    <a:pt x="1568068" y="641644"/>
                    <a:pt x="1567058" y="641342"/>
                    <a:pt x="1566621" y="641039"/>
                  </a:cubicBezTo>
                  <a:cubicBezTo>
                    <a:pt x="1566183" y="640736"/>
                    <a:pt x="1565376" y="640669"/>
                    <a:pt x="1565174" y="640467"/>
                  </a:cubicBezTo>
                  <a:cubicBezTo>
                    <a:pt x="1564972" y="640265"/>
                    <a:pt x="1563592" y="640164"/>
                    <a:pt x="1562784" y="639828"/>
                  </a:cubicBezTo>
                  <a:cubicBezTo>
                    <a:pt x="1561976" y="639491"/>
                    <a:pt x="1560765" y="639323"/>
                    <a:pt x="1560260" y="639323"/>
                  </a:cubicBezTo>
                  <a:cubicBezTo>
                    <a:pt x="1559755" y="639323"/>
                    <a:pt x="1559015" y="639323"/>
                    <a:pt x="1558746" y="639390"/>
                  </a:cubicBezTo>
                  <a:cubicBezTo>
                    <a:pt x="1558443" y="639458"/>
                    <a:pt x="1557366" y="639895"/>
                    <a:pt x="1556659" y="639828"/>
                  </a:cubicBezTo>
                  <a:cubicBezTo>
                    <a:pt x="1555952" y="639761"/>
                    <a:pt x="1555650" y="639828"/>
                    <a:pt x="1555650" y="639828"/>
                  </a:cubicBezTo>
                  <a:lnTo>
                    <a:pt x="1554943" y="638516"/>
                  </a:lnTo>
                  <a:lnTo>
                    <a:pt x="1553697" y="636565"/>
                  </a:lnTo>
                  <a:cubicBezTo>
                    <a:pt x="1553697" y="636565"/>
                    <a:pt x="1553058" y="634815"/>
                    <a:pt x="1552890" y="634614"/>
                  </a:cubicBezTo>
                  <a:cubicBezTo>
                    <a:pt x="1552755" y="634412"/>
                    <a:pt x="1549928" y="629534"/>
                    <a:pt x="1549861" y="629130"/>
                  </a:cubicBezTo>
                  <a:cubicBezTo>
                    <a:pt x="1549793" y="628727"/>
                    <a:pt x="1548986" y="628323"/>
                    <a:pt x="1548986" y="628323"/>
                  </a:cubicBezTo>
                  <a:cubicBezTo>
                    <a:pt x="1548986" y="628323"/>
                    <a:pt x="1547034" y="628828"/>
                    <a:pt x="1546731" y="629030"/>
                  </a:cubicBezTo>
                  <a:cubicBezTo>
                    <a:pt x="1546428" y="629231"/>
                    <a:pt x="1544712" y="629030"/>
                    <a:pt x="1543971" y="629030"/>
                  </a:cubicBezTo>
                  <a:cubicBezTo>
                    <a:pt x="1543264" y="629030"/>
                    <a:pt x="1542019" y="628592"/>
                    <a:pt x="1542019" y="628592"/>
                  </a:cubicBezTo>
                  <a:lnTo>
                    <a:pt x="1541077" y="624017"/>
                  </a:lnTo>
                  <a:cubicBezTo>
                    <a:pt x="1541077" y="624017"/>
                    <a:pt x="1540572" y="620990"/>
                    <a:pt x="1540572" y="620687"/>
                  </a:cubicBezTo>
                  <a:cubicBezTo>
                    <a:pt x="1540572" y="620384"/>
                    <a:pt x="1538687" y="617054"/>
                    <a:pt x="1538687" y="617054"/>
                  </a:cubicBezTo>
                  <a:lnTo>
                    <a:pt x="1537610" y="614094"/>
                  </a:lnTo>
                  <a:cubicBezTo>
                    <a:pt x="1537610" y="614094"/>
                    <a:pt x="1534851" y="609586"/>
                    <a:pt x="1534481" y="608812"/>
                  </a:cubicBezTo>
                  <a:cubicBezTo>
                    <a:pt x="1534110" y="608005"/>
                    <a:pt x="1533471" y="605784"/>
                    <a:pt x="1533471" y="605784"/>
                  </a:cubicBezTo>
                  <a:lnTo>
                    <a:pt x="1531149" y="603396"/>
                  </a:lnTo>
                  <a:lnTo>
                    <a:pt x="1528322" y="601445"/>
                  </a:lnTo>
                  <a:cubicBezTo>
                    <a:pt x="1528322" y="601445"/>
                    <a:pt x="1527178" y="600638"/>
                    <a:pt x="1526875" y="600436"/>
                  </a:cubicBezTo>
                  <a:cubicBezTo>
                    <a:pt x="1526572" y="600200"/>
                    <a:pt x="1524283" y="598350"/>
                    <a:pt x="1523543" y="597610"/>
                  </a:cubicBezTo>
                  <a:cubicBezTo>
                    <a:pt x="1522803" y="596903"/>
                    <a:pt x="1522399" y="596903"/>
                    <a:pt x="1521726" y="596096"/>
                  </a:cubicBezTo>
                  <a:cubicBezTo>
                    <a:pt x="1521086" y="595289"/>
                    <a:pt x="1520851" y="595222"/>
                    <a:pt x="1520716" y="594650"/>
                  </a:cubicBezTo>
                  <a:cubicBezTo>
                    <a:pt x="1520581" y="594078"/>
                    <a:pt x="1519403" y="592631"/>
                    <a:pt x="1519134" y="592329"/>
                  </a:cubicBezTo>
                  <a:cubicBezTo>
                    <a:pt x="1518831" y="592026"/>
                    <a:pt x="1517451" y="591622"/>
                    <a:pt x="1517182" y="591319"/>
                  </a:cubicBezTo>
                  <a:cubicBezTo>
                    <a:pt x="1516879" y="591017"/>
                    <a:pt x="1515163" y="589940"/>
                    <a:pt x="1514793" y="589570"/>
                  </a:cubicBezTo>
                  <a:cubicBezTo>
                    <a:pt x="1514423" y="589200"/>
                    <a:pt x="1513850" y="589436"/>
                    <a:pt x="1513413" y="589066"/>
                  </a:cubicBezTo>
                  <a:cubicBezTo>
                    <a:pt x="1512975" y="588695"/>
                    <a:pt x="1512033" y="588998"/>
                    <a:pt x="1511831" y="588998"/>
                  </a:cubicBezTo>
                  <a:cubicBezTo>
                    <a:pt x="1511629" y="588998"/>
                    <a:pt x="1510519" y="589570"/>
                    <a:pt x="1510249" y="589637"/>
                  </a:cubicBezTo>
                  <a:cubicBezTo>
                    <a:pt x="1509947" y="589705"/>
                    <a:pt x="1508365" y="590075"/>
                    <a:pt x="1508062" y="590075"/>
                  </a:cubicBezTo>
                  <a:cubicBezTo>
                    <a:pt x="1507759" y="590075"/>
                    <a:pt x="1506042" y="591084"/>
                    <a:pt x="1505302" y="591454"/>
                  </a:cubicBezTo>
                  <a:cubicBezTo>
                    <a:pt x="1504562" y="591824"/>
                    <a:pt x="1504158" y="591757"/>
                    <a:pt x="1503922" y="591824"/>
                  </a:cubicBezTo>
                  <a:cubicBezTo>
                    <a:pt x="1503720" y="591891"/>
                    <a:pt x="1502778" y="592766"/>
                    <a:pt x="1502542" y="593069"/>
                  </a:cubicBezTo>
                  <a:cubicBezTo>
                    <a:pt x="1502341" y="593371"/>
                    <a:pt x="1501600" y="594818"/>
                    <a:pt x="1501230" y="595154"/>
                  </a:cubicBezTo>
                  <a:cubicBezTo>
                    <a:pt x="1500860" y="595524"/>
                    <a:pt x="1499042" y="595726"/>
                    <a:pt x="1498706" y="595592"/>
                  </a:cubicBezTo>
                  <a:cubicBezTo>
                    <a:pt x="1498336" y="595457"/>
                    <a:pt x="1497259" y="595457"/>
                    <a:pt x="1496956" y="595289"/>
                  </a:cubicBezTo>
                  <a:cubicBezTo>
                    <a:pt x="1496653" y="595154"/>
                    <a:pt x="1494331" y="594717"/>
                    <a:pt x="1494129" y="594717"/>
                  </a:cubicBezTo>
                  <a:cubicBezTo>
                    <a:pt x="1493893" y="594717"/>
                    <a:pt x="1491537" y="595524"/>
                    <a:pt x="1491537" y="595524"/>
                  </a:cubicBezTo>
                  <a:lnTo>
                    <a:pt x="1490090" y="595524"/>
                  </a:lnTo>
                  <a:cubicBezTo>
                    <a:pt x="1490090" y="595524"/>
                    <a:pt x="1489586" y="596298"/>
                    <a:pt x="1489350" y="596365"/>
                  </a:cubicBezTo>
                  <a:cubicBezTo>
                    <a:pt x="1489148" y="596433"/>
                    <a:pt x="1486523" y="597476"/>
                    <a:pt x="1486523" y="597476"/>
                  </a:cubicBezTo>
                  <a:cubicBezTo>
                    <a:pt x="1486523" y="597476"/>
                    <a:pt x="1483629" y="597543"/>
                    <a:pt x="1483057" y="597476"/>
                  </a:cubicBezTo>
                  <a:cubicBezTo>
                    <a:pt x="1482484" y="597408"/>
                    <a:pt x="1478984" y="597476"/>
                    <a:pt x="1478984" y="597476"/>
                  </a:cubicBezTo>
                  <a:cubicBezTo>
                    <a:pt x="1478984" y="597476"/>
                    <a:pt x="1473835" y="598619"/>
                    <a:pt x="1473398" y="598720"/>
                  </a:cubicBezTo>
                  <a:cubicBezTo>
                    <a:pt x="1472960" y="598787"/>
                    <a:pt x="1471580" y="600032"/>
                    <a:pt x="1471311" y="600167"/>
                  </a:cubicBezTo>
                  <a:cubicBezTo>
                    <a:pt x="1471042" y="600301"/>
                    <a:pt x="1470672" y="601411"/>
                    <a:pt x="1469426" y="602488"/>
                  </a:cubicBezTo>
                  <a:cubicBezTo>
                    <a:pt x="1468181" y="603564"/>
                    <a:pt x="1467676" y="603295"/>
                    <a:pt x="1466532" y="603867"/>
                  </a:cubicBezTo>
                  <a:cubicBezTo>
                    <a:pt x="1465388" y="604439"/>
                    <a:pt x="1464445" y="604304"/>
                    <a:pt x="1463907" y="604372"/>
                  </a:cubicBezTo>
                  <a:cubicBezTo>
                    <a:pt x="1463402" y="604439"/>
                    <a:pt x="1461652" y="604372"/>
                    <a:pt x="1461652" y="604372"/>
                  </a:cubicBezTo>
                  <a:lnTo>
                    <a:pt x="1458960" y="601983"/>
                  </a:lnTo>
                  <a:lnTo>
                    <a:pt x="1456436" y="599527"/>
                  </a:lnTo>
                  <a:lnTo>
                    <a:pt x="1452296" y="597139"/>
                  </a:lnTo>
                  <a:lnTo>
                    <a:pt x="1450714" y="595390"/>
                  </a:lnTo>
                  <a:lnTo>
                    <a:pt x="1448628" y="595524"/>
                  </a:lnTo>
                  <a:cubicBezTo>
                    <a:pt x="1448628" y="595524"/>
                    <a:pt x="1447988" y="595894"/>
                    <a:pt x="1447383" y="596164"/>
                  </a:cubicBezTo>
                  <a:cubicBezTo>
                    <a:pt x="1446811" y="596466"/>
                    <a:pt x="1447012" y="597173"/>
                    <a:pt x="1446743" y="597408"/>
                  </a:cubicBezTo>
                  <a:cubicBezTo>
                    <a:pt x="1446440" y="597610"/>
                    <a:pt x="1446238" y="599797"/>
                    <a:pt x="1445734" y="600301"/>
                  </a:cubicBezTo>
                  <a:cubicBezTo>
                    <a:pt x="1445229" y="600806"/>
                    <a:pt x="1444219" y="601243"/>
                    <a:pt x="1443782" y="601243"/>
                  </a:cubicBezTo>
                  <a:cubicBezTo>
                    <a:pt x="1443344" y="601243"/>
                    <a:pt x="1442772" y="600604"/>
                    <a:pt x="1442536" y="600503"/>
                  </a:cubicBezTo>
                  <a:cubicBezTo>
                    <a:pt x="1442301" y="600436"/>
                    <a:pt x="1442402" y="598619"/>
                    <a:pt x="1442402" y="598317"/>
                  </a:cubicBezTo>
                  <a:cubicBezTo>
                    <a:pt x="1442402" y="598014"/>
                    <a:pt x="1442469" y="594683"/>
                    <a:pt x="1442469" y="594683"/>
                  </a:cubicBezTo>
                  <a:cubicBezTo>
                    <a:pt x="1442469" y="594683"/>
                    <a:pt x="1442402" y="592160"/>
                    <a:pt x="1442402" y="591723"/>
                  </a:cubicBezTo>
                  <a:cubicBezTo>
                    <a:pt x="1442402" y="591286"/>
                    <a:pt x="1441964" y="588897"/>
                    <a:pt x="1441964" y="588595"/>
                  </a:cubicBezTo>
                  <a:cubicBezTo>
                    <a:pt x="1441964" y="588292"/>
                    <a:pt x="1441325" y="587888"/>
                    <a:pt x="1440719" y="587518"/>
                  </a:cubicBezTo>
                  <a:cubicBezTo>
                    <a:pt x="1440147" y="587148"/>
                    <a:pt x="1438767" y="586576"/>
                    <a:pt x="1438195" y="586139"/>
                  </a:cubicBezTo>
                  <a:cubicBezTo>
                    <a:pt x="1437623" y="585702"/>
                    <a:pt x="1436378" y="585331"/>
                    <a:pt x="1435738" y="585130"/>
                  </a:cubicBezTo>
                  <a:cubicBezTo>
                    <a:pt x="1435099" y="584928"/>
                    <a:pt x="1433281" y="584692"/>
                    <a:pt x="1433281" y="584692"/>
                  </a:cubicBezTo>
                  <a:lnTo>
                    <a:pt x="1431397" y="584020"/>
                  </a:lnTo>
                  <a:lnTo>
                    <a:pt x="1429512" y="584322"/>
                  </a:lnTo>
                  <a:cubicBezTo>
                    <a:pt x="1429512" y="584322"/>
                    <a:pt x="1427190" y="584524"/>
                    <a:pt x="1426820" y="584524"/>
                  </a:cubicBezTo>
                  <a:cubicBezTo>
                    <a:pt x="1426450" y="584524"/>
                    <a:pt x="1425238" y="584659"/>
                    <a:pt x="1424632" y="584726"/>
                  </a:cubicBezTo>
                  <a:cubicBezTo>
                    <a:pt x="1424060" y="584793"/>
                    <a:pt x="1423555" y="585466"/>
                    <a:pt x="1422815" y="585903"/>
                  </a:cubicBezTo>
                  <a:cubicBezTo>
                    <a:pt x="1422108" y="586341"/>
                    <a:pt x="1421502" y="586341"/>
                    <a:pt x="1421065" y="586610"/>
                  </a:cubicBezTo>
                  <a:cubicBezTo>
                    <a:pt x="1420627" y="586913"/>
                    <a:pt x="1419483" y="587922"/>
                    <a:pt x="1419483" y="587922"/>
                  </a:cubicBezTo>
                  <a:cubicBezTo>
                    <a:pt x="1419483" y="587922"/>
                    <a:pt x="1418844" y="589301"/>
                    <a:pt x="1418608" y="589671"/>
                  </a:cubicBezTo>
                  <a:cubicBezTo>
                    <a:pt x="1418406" y="590041"/>
                    <a:pt x="1417800" y="590983"/>
                    <a:pt x="1417666" y="591252"/>
                  </a:cubicBezTo>
                  <a:cubicBezTo>
                    <a:pt x="1417531" y="591555"/>
                    <a:pt x="1416723" y="593136"/>
                    <a:pt x="1416353" y="593203"/>
                  </a:cubicBezTo>
                  <a:cubicBezTo>
                    <a:pt x="1415983" y="593271"/>
                    <a:pt x="1415041" y="594953"/>
                    <a:pt x="1414334" y="595222"/>
                  </a:cubicBezTo>
                  <a:cubicBezTo>
                    <a:pt x="1413627" y="595524"/>
                    <a:pt x="1413459" y="595222"/>
                    <a:pt x="1412449" y="594078"/>
                  </a:cubicBezTo>
                  <a:cubicBezTo>
                    <a:pt x="1411440" y="592900"/>
                    <a:pt x="1411002" y="593439"/>
                    <a:pt x="1410565" y="593271"/>
                  </a:cubicBezTo>
                  <a:cubicBezTo>
                    <a:pt x="1410127" y="593136"/>
                    <a:pt x="1409319" y="592833"/>
                    <a:pt x="1407872" y="592833"/>
                  </a:cubicBezTo>
                  <a:cubicBezTo>
                    <a:pt x="1406425" y="592833"/>
                    <a:pt x="1406795" y="592463"/>
                    <a:pt x="1406560" y="592261"/>
                  </a:cubicBezTo>
                  <a:cubicBezTo>
                    <a:pt x="1406358" y="592059"/>
                    <a:pt x="1405483" y="590310"/>
                    <a:pt x="1405483" y="590310"/>
                  </a:cubicBezTo>
                  <a:lnTo>
                    <a:pt x="1405348" y="588124"/>
                  </a:lnTo>
                  <a:lnTo>
                    <a:pt x="1405281" y="586879"/>
                  </a:lnTo>
                  <a:cubicBezTo>
                    <a:pt x="1405281" y="586879"/>
                    <a:pt x="1405146" y="585197"/>
                    <a:pt x="1405146" y="584928"/>
                  </a:cubicBezTo>
                  <a:cubicBezTo>
                    <a:pt x="1405146" y="584625"/>
                    <a:pt x="1403699" y="583683"/>
                    <a:pt x="1403463" y="583683"/>
                  </a:cubicBezTo>
                  <a:cubicBezTo>
                    <a:pt x="1403228" y="583683"/>
                    <a:pt x="1400064" y="585062"/>
                    <a:pt x="1400064" y="585062"/>
                  </a:cubicBezTo>
                  <a:cubicBezTo>
                    <a:pt x="1400064" y="585062"/>
                    <a:pt x="1399122" y="585870"/>
                    <a:pt x="1398920" y="585937"/>
                  </a:cubicBezTo>
                  <a:cubicBezTo>
                    <a:pt x="1398718" y="586004"/>
                    <a:pt x="1397237" y="586576"/>
                    <a:pt x="1396732" y="585937"/>
                  </a:cubicBezTo>
                  <a:cubicBezTo>
                    <a:pt x="1396228" y="585298"/>
                    <a:pt x="1396430" y="584793"/>
                    <a:pt x="1396430" y="584793"/>
                  </a:cubicBezTo>
                  <a:cubicBezTo>
                    <a:pt x="1396430" y="584793"/>
                    <a:pt x="1395050" y="581530"/>
                    <a:pt x="1395050" y="581160"/>
                  </a:cubicBezTo>
                  <a:cubicBezTo>
                    <a:pt x="1395050" y="580790"/>
                    <a:pt x="1394410" y="580858"/>
                    <a:pt x="1393670" y="580656"/>
                  </a:cubicBezTo>
                  <a:cubicBezTo>
                    <a:pt x="1392929" y="580454"/>
                    <a:pt x="1390473" y="580790"/>
                    <a:pt x="1390203" y="580656"/>
                  </a:cubicBezTo>
                  <a:cubicBezTo>
                    <a:pt x="1389901" y="580521"/>
                    <a:pt x="1388824" y="579714"/>
                    <a:pt x="1388756" y="579142"/>
                  </a:cubicBezTo>
                  <a:cubicBezTo>
                    <a:pt x="1388689" y="578570"/>
                    <a:pt x="1388689" y="577561"/>
                    <a:pt x="1388622" y="577191"/>
                  </a:cubicBezTo>
                  <a:cubicBezTo>
                    <a:pt x="1388554" y="576821"/>
                    <a:pt x="1388050" y="575172"/>
                    <a:pt x="1387881" y="574500"/>
                  </a:cubicBezTo>
                  <a:cubicBezTo>
                    <a:pt x="1387747" y="573860"/>
                    <a:pt x="1386804" y="570295"/>
                    <a:pt x="1386636" y="569790"/>
                  </a:cubicBezTo>
                  <a:cubicBezTo>
                    <a:pt x="1386501" y="569285"/>
                    <a:pt x="1385256" y="567973"/>
                    <a:pt x="1385054" y="567906"/>
                  </a:cubicBezTo>
                  <a:cubicBezTo>
                    <a:pt x="1384852" y="567839"/>
                    <a:pt x="1380982" y="566964"/>
                    <a:pt x="1380410" y="566964"/>
                  </a:cubicBezTo>
                  <a:cubicBezTo>
                    <a:pt x="1379838" y="566964"/>
                    <a:pt x="1377381" y="567973"/>
                    <a:pt x="1377078" y="567973"/>
                  </a:cubicBezTo>
                  <a:cubicBezTo>
                    <a:pt x="1376775" y="567973"/>
                    <a:pt x="1374621" y="568478"/>
                    <a:pt x="1374386" y="568545"/>
                  </a:cubicBezTo>
                  <a:cubicBezTo>
                    <a:pt x="1374184" y="568613"/>
                    <a:pt x="1370415" y="568680"/>
                    <a:pt x="1369674" y="568915"/>
                  </a:cubicBezTo>
                  <a:cubicBezTo>
                    <a:pt x="1368967" y="569151"/>
                    <a:pt x="1367419" y="568646"/>
                    <a:pt x="1367419" y="568646"/>
                  </a:cubicBezTo>
                  <a:lnTo>
                    <a:pt x="1366544" y="568209"/>
                  </a:lnTo>
                  <a:cubicBezTo>
                    <a:pt x="1366544" y="568209"/>
                    <a:pt x="1365467" y="566628"/>
                    <a:pt x="1365164" y="565888"/>
                  </a:cubicBezTo>
                  <a:cubicBezTo>
                    <a:pt x="1364862" y="565148"/>
                    <a:pt x="1364424" y="562860"/>
                    <a:pt x="1364357" y="562558"/>
                  </a:cubicBezTo>
                  <a:cubicBezTo>
                    <a:pt x="1364290" y="562255"/>
                    <a:pt x="1363919" y="559294"/>
                    <a:pt x="1363482" y="557983"/>
                  </a:cubicBezTo>
                  <a:cubicBezTo>
                    <a:pt x="1363044" y="556671"/>
                    <a:pt x="1363044" y="556839"/>
                    <a:pt x="1362607" y="556233"/>
                  </a:cubicBezTo>
                  <a:cubicBezTo>
                    <a:pt x="1362169" y="555661"/>
                    <a:pt x="1358400" y="551524"/>
                    <a:pt x="1358131" y="551524"/>
                  </a:cubicBezTo>
                  <a:cubicBezTo>
                    <a:pt x="1357861" y="551524"/>
                    <a:pt x="1355876" y="551827"/>
                    <a:pt x="1355607" y="551827"/>
                  </a:cubicBezTo>
                  <a:cubicBezTo>
                    <a:pt x="1355304" y="551827"/>
                    <a:pt x="1354159" y="553643"/>
                    <a:pt x="1353857" y="553778"/>
                  </a:cubicBezTo>
                  <a:cubicBezTo>
                    <a:pt x="1353554" y="553946"/>
                    <a:pt x="1352847" y="554518"/>
                    <a:pt x="1352106" y="554719"/>
                  </a:cubicBezTo>
                  <a:cubicBezTo>
                    <a:pt x="1351366" y="554921"/>
                    <a:pt x="1350020" y="555157"/>
                    <a:pt x="1348977" y="555291"/>
                  </a:cubicBezTo>
                  <a:cubicBezTo>
                    <a:pt x="1347967" y="555426"/>
                    <a:pt x="1347025" y="555594"/>
                    <a:pt x="1346789" y="555594"/>
                  </a:cubicBezTo>
                  <a:cubicBezTo>
                    <a:pt x="1346587" y="555594"/>
                    <a:pt x="1345409" y="556334"/>
                    <a:pt x="1345106" y="556233"/>
                  </a:cubicBezTo>
                  <a:cubicBezTo>
                    <a:pt x="1344803" y="556166"/>
                    <a:pt x="1343592" y="555661"/>
                    <a:pt x="1343356" y="555359"/>
                  </a:cubicBezTo>
                  <a:cubicBezTo>
                    <a:pt x="1343154" y="555056"/>
                    <a:pt x="1341775" y="553677"/>
                    <a:pt x="1341775" y="553677"/>
                  </a:cubicBezTo>
                  <a:cubicBezTo>
                    <a:pt x="1341775" y="553677"/>
                    <a:pt x="1340260" y="551591"/>
                    <a:pt x="1340024" y="551221"/>
                  </a:cubicBezTo>
                  <a:cubicBezTo>
                    <a:pt x="1339789" y="550851"/>
                    <a:pt x="1339082" y="550582"/>
                    <a:pt x="1339082" y="550582"/>
                  </a:cubicBezTo>
                  <a:cubicBezTo>
                    <a:pt x="1339082" y="550582"/>
                    <a:pt x="1335750" y="549270"/>
                    <a:pt x="1335515" y="549270"/>
                  </a:cubicBezTo>
                  <a:cubicBezTo>
                    <a:pt x="1335313" y="549270"/>
                    <a:pt x="1334438" y="549573"/>
                    <a:pt x="1334202" y="549775"/>
                  </a:cubicBezTo>
                  <a:cubicBezTo>
                    <a:pt x="1334000" y="549976"/>
                    <a:pt x="1333698" y="550582"/>
                    <a:pt x="1333698" y="550582"/>
                  </a:cubicBezTo>
                  <a:lnTo>
                    <a:pt x="1331173" y="552533"/>
                  </a:lnTo>
                  <a:lnTo>
                    <a:pt x="1329726" y="552735"/>
                  </a:lnTo>
                  <a:cubicBezTo>
                    <a:pt x="1329726" y="552735"/>
                    <a:pt x="1328717" y="551927"/>
                    <a:pt x="1327976" y="551221"/>
                  </a:cubicBezTo>
                  <a:cubicBezTo>
                    <a:pt x="1327236" y="550515"/>
                    <a:pt x="1324510" y="549135"/>
                    <a:pt x="1324510" y="549135"/>
                  </a:cubicBezTo>
                  <a:cubicBezTo>
                    <a:pt x="1324510" y="549135"/>
                    <a:pt x="1322322" y="550077"/>
                    <a:pt x="1322053" y="550380"/>
                  </a:cubicBezTo>
                  <a:cubicBezTo>
                    <a:pt x="1321750" y="550683"/>
                    <a:pt x="1320740" y="551692"/>
                    <a:pt x="1320303" y="551827"/>
                  </a:cubicBezTo>
                  <a:cubicBezTo>
                    <a:pt x="1319865" y="551961"/>
                    <a:pt x="1317981" y="553206"/>
                    <a:pt x="1317274" y="553206"/>
                  </a:cubicBezTo>
                  <a:cubicBezTo>
                    <a:pt x="1316534" y="553206"/>
                    <a:pt x="1316197" y="552264"/>
                    <a:pt x="1316197" y="552264"/>
                  </a:cubicBezTo>
                  <a:lnTo>
                    <a:pt x="1315558" y="550245"/>
                  </a:lnTo>
                  <a:cubicBezTo>
                    <a:pt x="1315558" y="550245"/>
                    <a:pt x="1314413" y="548227"/>
                    <a:pt x="1314178" y="547992"/>
                  </a:cubicBezTo>
                  <a:cubicBezTo>
                    <a:pt x="1313976" y="547790"/>
                    <a:pt x="1311721" y="545031"/>
                    <a:pt x="1310913" y="544089"/>
                  </a:cubicBezTo>
                  <a:cubicBezTo>
                    <a:pt x="1310106" y="543147"/>
                    <a:pt x="1309836" y="543215"/>
                    <a:pt x="1309163" y="542845"/>
                  </a:cubicBezTo>
                  <a:cubicBezTo>
                    <a:pt x="1308524" y="542475"/>
                    <a:pt x="1306841" y="542037"/>
                    <a:pt x="1306841" y="542037"/>
                  </a:cubicBezTo>
                  <a:cubicBezTo>
                    <a:pt x="1306841" y="542037"/>
                    <a:pt x="1301692" y="542475"/>
                    <a:pt x="1301120" y="542609"/>
                  </a:cubicBezTo>
                  <a:cubicBezTo>
                    <a:pt x="1300548" y="542744"/>
                    <a:pt x="1299538" y="543248"/>
                    <a:pt x="1299100" y="543753"/>
                  </a:cubicBezTo>
                  <a:cubicBezTo>
                    <a:pt x="1298663" y="544258"/>
                    <a:pt x="1298360" y="545199"/>
                    <a:pt x="1298226" y="545570"/>
                  </a:cubicBezTo>
                  <a:cubicBezTo>
                    <a:pt x="1298091" y="545940"/>
                    <a:pt x="1297923" y="547016"/>
                    <a:pt x="1297923" y="547016"/>
                  </a:cubicBezTo>
                  <a:cubicBezTo>
                    <a:pt x="1297923" y="547016"/>
                    <a:pt x="1296543" y="548698"/>
                    <a:pt x="1295668" y="548900"/>
                  </a:cubicBezTo>
                  <a:cubicBezTo>
                    <a:pt x="1294793" y="549102"/>
                    <a:pt x="1294860" y="548900"/>
                    <a:pt x="1294860" y="548900"/>
                  </a:cubicBezTo>
                  <a:lnTo>
                    <a:pt x="1294052" y="544560"/>
                  </a:lnTo>
                  <a:cubicBezTo>
                    <a:pt x="1294052" y="544560"/>
                    <a:pt x="1294692" y="541365"/>
                    <a:pt x="1294692" y="540927"/>
                  </a:cubicBezTo>
                  <a:cubicBezTo>
                    <a:pt x="1294692" y="540490"/>
                    <a:pt x="1294826" y="539413"/>
                    <a:pt x="1294826" y="538976"/>
                  </a:cubicBezTo>
                  <a:cubicBezTo>
                    <a:pt x="1294826" y="538539"/>
                    <a:pt x="1294894" y="536521"/>
                    <a:pt x="1294894" y="536521"/>
                  </a:cubicBezTo>
                  <a:lnTo>
                    <a:pt x="1294692" y="534569"/>
                  </a:lnTo>
                  <a:cubicBezTo>
                    <a:pt x="1294692" y="534569"/>
                    <a:pt x="1292740" y="531979"/>
                    <a:pt x="1292504" y="531878"/>
                  </a:cubicBezTo>
                  <a:cubicBezTo>
                    <a:pt x="1292302" y="531811"/>
                    <a:pt x="1289374" y="529557"/>
                    <a:pt x="1289374" y="529557"/>
                  </a:cubicBezTo>
                  <a:cubicBezTo>
                    <a:pt x="1289374" y="529557"/>
                    <a:pt x="1286345" y="528111"/>
                    <a:pt x="1285975" y="527808"/>
                  </a:cubicBezTo>
                  <a:cubicBezTo>
                    <a:pt x="1285605" y="527505"/>
                    <a:pt x="1281196" y="527572"/>
                    <a:pt x="1280893" y="527740"/>
                  </a:cubicBezTo>
                  <a:cubicBezTo>
                    <a:pt x="1280590" y="527875"/>
                    <a:pt x="1277932" y="528245"/>
                    <a:pt x="1277629" y="528245"/>
                  </a:cubicBezTo>
                  <a:cubicBezTo>
                    <a:pt x="1277326" y="528245"/>
                    <a:pt x="1276047" y="529254"/>
                    <a:pt x="1275744" y="529322"/>
                  </a:cubicBezTo>
                  <a:cubicBezTo>
                    <a:pt x="1275475" y="529389"/>
                    <a:pt x="1270158" y="530465"/>
                    <a:pt x="1269451" y="530263"/>
                  </a:cubicBezTo>
                  <a:cubicBezTo>
                    <a:pt x="1268710" y="530062"/>
                    <a:pt x="1267129" y="529456"/>
                    <a:pt x="1267129" y="529456"/>
                  </a:cubicBezTo>
                  <a:lnTo>
                    <a:pt x="1265749" y="527135"/>
                  </a:lnTo>
                  <a:lnTo>
                    <a:pt x="1266119" y="524948"/>
                  </a:lnTo>
                  <a:lnTo>
                    <a:pt x="1266119" y="523367"/>
                  </a:lnTo>
                  <a:cubicBezTo>
                    <a:pt x="1266119" y="523367"/>
                    <a:pt x="1264504" y="519028"/>
                    <a:pt x="1264066" y="518456"/>
                  </a:cubicBezTo>
                  <a:cubicBezTo>
                    <a:pt x="1263629" y="517884"/>
                    <a:pt x="1262720" y="516068"/>
                    <a:pt x="1262720" y="516068"/>
                  </a:cubicBezTo>
                  <a:cubicBezTo>
                    <a:pt x="1262720" y="516068"/>
                    <a:pt x="1259085" y="512502"/>
                    <a:pt x="1258648" y="512165"/>
                  </a:cubicBezTo>
                  <a:cubicBezTo>
                    <a:pt x="1258210" y="511795"/>
                    <a:pt x="1257705" y="511728"/>
                    <a:pt x="1256898" y="511762"/>
                  </a:cubicBezTo>
                  <a:cubicBezTo>
                    <a:pt x="1256090" y="511795"/>
                    <a:pt x="1255316" y="511795"/>
                    <a:pt x="1254878" y="511762"/>
                  </a:cubicBezTo>
                  <a:cubicBezTo>
                    <a:pt x="1254441" y="511728"/>
                    <a:pt x="1253633" y="511829"/>
                    <a:pt x="1253196" y="511728"/>
                  </a:cubicBezTo>
                  <a:cubicBezTo>
                    <a:pt x="1252758" y="511661"/>
                    <a:pt x="1249426" y="511795"/>
                    <a:pt x="1249224" y="511728"/>
                  </a:cubicBezTo>
                  <a:cubicBezTo>
                    <a:pt x="1249023" y="511661"/>
                    <a:pt x="1248720" y="511089"/>
                    <a:pt x="1248720" y="511089"/>
                  </a:cubicBezTo>
                  <a:cubicBezTo>
                    <a:pt x="1248720" y="511089"/>
                    <a:pt x="1247138" y="509340"/>
                    <a:pt x="1246700" y="509070"/>
                  </a:cubicBezTo>
                  <a:cubicBezTo>
                    <a:pt x="1246263" y="508768"/>
                    <a:pt x="1244445" y="507624"/>
                    <a:pt x="1243570" y="507119"/>
                  </a:cubicBezTo>
                  <a:cubicBezTo>
                    <a:pt x="1242695" y="506615"/>
                    <a:pt x="1242628" y="506817"/>
                    <a:pt x="1241820" y="506312"/>
                  </a:cubicBezTo>
                  <a:cubicBezTo>
                    <a:pt x="1241013" y="505807"/>
                    <a:pt x="1241013" y="504563"/>
                    <a:pt x="1240945" y="503991"/>
                  </a:cubicBezTo>
                  <a:cubicBezTo>
                    <a:pt x="1240878" y="503419"/>
                    <a:pt x="1240508" y="501973"/>
                    <a:pt x="1240508" y="501468"/>
                  </a:cubicBezTo>
                  <a:cubicBezTo>
                    <a:pt x="1240508" y="500963"/>
                    <a:pt x="1238253" y="500089"/>
                    <a:pt x="1237614" y="499584"/>
                  </a:cubicBezTo>
                  <a:cubicBezTo>
                    <a:pt x="1236974" y="499080"/>
                    <a:pt x="1236537" y="499080"/>
                    <a:pt x="1236301" y="498777"/>
                  </a:cubicBezTo>
                  <a:cubicBezTo>
                    <a:pt x="1236099" y="498474"/>
                    <a:pt x="1234147" y="496018"/>
                    <a:pt x="1233912" y="495379"/>
                  </a:cubicBezTo>
                  <a:cubicBezTo>
                    <a:pt x="1233710" y="494740"/>
                    <a:pt x="1232162" y="491847"/>
                    <a:pt x="1232162" y="491847"/>
                  </a:cubicBezTo>
                  <a:lnTo>
                    <a:pt x="1230210" y="488079"/>
                  </a:lnTo>
                  <a:lnTo>
                    <a:pt x="1229065" y="486397"/>
                  </a:lnTo>
                  <a:lnTo>
                    <a:pt x="1228190" y="484884"/>
                  </a:lnTo>
                  <a:cubicBezTo>
                    <a:pt x="1228190" y="484884"/>
                    <a:pt x="1227820" y="483504"/>
                    <a:pt x="1227686" y="483303"/>
                  </a:cubicBezTo>
                  <a:cubicBezTo>
                    <a:pt x="1227551" y="483101"/>
                    <a:pt x="1227315" y="481284"/>
                    <a:pt x="1227315" y="481284"/>
                  </a:cubicBezTo>
                  <a:lnTo>
                    <a:pt x="1225935" y="479535"/>
                  </a:lnTo>
                  <a:lnTo>
                    <a:pt x="1225363" y="479098"/>
                  </a:lnTo>
                  <a:lnTo>
                    <a:pt x="1223041" y="477584"/>
                  </a:lnTo>
                  <a:lnTo>
                    <a:pt x="1221358" y="477012"/>
                  </a:lnTo>
                  <a:lnTo>
                    <a:pt x="1220854" y="474623"/>
                  </a:lnTo>
                  <a:lnTo>
                    <a:pt x="1220854" y="473816"/>
                  </a:lnTo>
                  <a:lnTo>
                    <a:pt x="1221459" y="472874"/>
                  </a:lnTo>
                  <a:cubicBezTo>
                    <a:pt x="1221459" y="472874"/>
                    <a:pt x="1222368" y="472134"/>
                    <a:pt x="1222503" y="471932"/>
                  </a:cubicBezTo>
                  <a:cubicBezTo>
                    <a:pt x="1222637" y="471731"/>
                    <a:pt x="1222940" y="470049"/>
                    <a:pt x="1222940" y="470049"/>
                  </a:cubicBezTo>
                  <a:lnTo>
                    <a:pt x="1222806" y="468737"/>
                  </a:lnTo>
                  <a:cubicBezTo>
                    <a:pt x="1222806" y="468737"/>
                    <a:pt x="1218969" y="466415"/>
                    <a:pt x="1218094" y="465844"/>
                  </a:cubicBezTo>
                  <a:cubicBezTo>
                    <a:pt x="1217219" y="465272"/>
                    <a:pt x="1216209" y="465339"/>
                    <a:pt x="1215906" y="465272"/>
                  </a:cubicBezTo>
                  <a:cubicBezTo>
                    <a:pt x="1215603" y="465204"/>
                    <a:pt x="1213012" y="464700"/>
                    <a:pt x="1212709" y="464532"/>
                  </a:cubicBezTo>
                  <a:cubicBezTo>
                    <a:pt x="1212440" y="464397"/>
                    <a:pt x="1210757" y="464599"/>
                    <a:pt x="1209882" y="464397"/>
                  </a:cubicBezTo>
                  <a:cubicBezTo>
                    <a:pt x="1209007" y="464195"/>
                    <a:pt x="1208065" y="464834"/>
                    <a:pt x="1207358" y="465036"/>
                  </a:cubicBezTo>
                  <a:cubicBezTo>
                    <a:pt x="1206651" y="465238"/>
                    <a:pt x="1206618" y="465978"/>
                    <a:pt x="1206348" y="466045"/>
                  </a:cubicBezTo>
                  <a:cubicBezTo>
                    <a:pt x="1206046" y="466113"/>
                    <a:pt x="1204834" y="466853"/>
                    <a:pt x="1204834" y="466853"/>
                  </a:cubicBezTo>
                  <a:cubicBezTo>
                    <a:pt x="1204834" y="466853"/>
                    <a:pt x="1202815" y="467156"/>
                    <a:pt x="1202579" y="467223"/>
                  </a:cubicBezTo>
                  <a:cubicBezTo>
                    <a:pt x="1202344" y="467290"/>
                    <a:pt x="1201435" y="469107"/>
                    <a:pt x="1201435" y="469107"/>
                  </a:cubicBezTo>
                  <a:lnTo>
                    <a:pt x="1200627" y="470183"/>
                  </a:lnTo>
                  <a:cubicBezTo>
                    <a:pt x="1200627" y="470183"/>
                    <a:pt x="1199752" y="470620"/>
                    <a:pt x="1199382" y="471260"/>
                  </a:cubicBezTo>
                  <a:cubicBezTo>
                    <a:pt x="1199012" y="471899"/>
                    <a:pt x="1198137" y="472706"/>
                    <a:pt x="1197565" y="472706"/>
                  </a:cubicBezTo>
                  <a:cubicBezTo>
                    <a:pt x="1196993" y="472706"/>
                    <a:pt x="1196118" y="472504"/>
                    <a:pt x="1196118" y="472504"/>
                  </a:cubicBezTo>
                  <a:lnTo>
                    <a:pt x="1194603" y="471260"/>
                  </a:lnTo>
                  <a:lnTo>
                    <a:pt x="1192651" y="469174"/>
                  </a:lnTo>
                  <a:lnTo>
                    <a:pt x="1190699" y="468097"/>
                  </a:lnTo>
                  <a:lnTo>
                    <a:pt x="1185348" y="467660"/>
                  </a:lnTo>
                  <a:lnTo>
                    <a:pt x="1182656" y="468400"/>
                  </a:lnTo>
                  <a:lnTo>
                    <a:pt x="1180704" y="469477"/>
                  </a:lnTo>
                  <a:cubicBezTo>
                    <a:pt x="1180704" y="469477"/>
                    <a:pt x="1179055" y="470856"/>
                    <a:pt x="1178886" y="471159"/>
                  </a:cubicBezTo>
                  <a:cubicBezTo>
                    <a:pt x="1178752" y="471461"/>
                    <a:pt x="1177574" y="473244"/>
                    <a:pt x="1177372" y="473547"/>
                  </a:cubicBezTo>
                  <a:cubicBezTo>
                    <a:pt x="1177170" y="473850"/>
                    <a:pt x="1175925" y="475633"/>
                    <a:pt x="1175353" y="475868"/>
                  </a:cubicBezTo>
                  <a:cubicBezTo>
                    <a:pt x="1174781" y="476104"/>
                    <a:pt x="1174410" y="476945"/>
                    <a:pt x="1173771" y="477449"/>
                  </a:cubicBezTo>
                  <a:cubicBezTo>
                    <a:pt x="1173131" y="477954"/>
                    <a:pt x="1170372" y="478526"/>
                    <a:pt x="1170002" y="478694"/>
                  </a:cubicBezTo>
                  <a:cubicBezTo>
                    <a:pt x="1169631" y="478828"/>
                    <a:pt x="1168252" y="479198"/>
                    <a:pt x="1167107" y="479501"/>
                  </a:cubicBezTo>
                  <a:cubicBezTo>
                    <a:pt x="1165963" y="479804"/>
                    <a:pt x="1162631" y="480746"/>
                    <a:pt x="1162631" y="480746"/>
                  </a:cubicBezTo>
                  <a:lnTo>
                    <a:pt x="1159737" y="480746"/>
                  </a:lnTo>
                  <a:lnTo>
                    <a:pt x="1158290" y="478122"/>
                  </a:lnTo>
                  <a:cubicBezTo>
                    <a:pt x="1158290" y="478122"/>
                    <a:pt x="1158290" y="476810"/>
                    <a:pt x="1158290" y="476541"/>
                  </a:cubicBezTo>
                  <a:cubicBezTo>
                    <a:pt x="1158290" y="476238"/>
                    <a:pt x="1157549" y="474152"/>
                    <a:pt x="1157549" y="474152"/>
                  </a:cubicBezTo>
                  <a:cubicBezTo>
                    <a:pt x="1157549" y="474152"/>
                    <a:pt x="1151256" y="468131"/>
                    <a:pt x="1150650" y="467425"/>
                  </a:cubicBezTo>
                  <a:cubicBezTo>
                    <a:pt x="1150078" y="466685"/>
                    <a:pt x="1145568" y="462648"/>
                    <a:pt x="1145501" y="462412"/>
                  </a:cubicBezTo>
                  <a:cubicBezTo>
                    <a:pt x="1145434" y="462210"/>
                    <a:pt x="1143482" y="459654"/>
                    <a:pt x="1143246" y="459587"/>
                  </a:cubicBezTo>
                  <a:cubicBezTo>
                    <a:pt x="1143044" y="459519"/>
                    <a:pt x="1139275" y="457131"/>
                    <a:pt x="1139275" y="457131"/>
                  </a:cubicBezTo>
                  <a:lnTo>
                    <a:pt x="1133756" y="455987"/>
                  </a:lnTo>
                  <a:lnTo>
                    <a:pt x="1130121" y="453733"/>
                  </a:lnTo>
                  <a:lnTo>
                    <a:pt x="1129549" y="452421"/>
                  </a:lnTo>
                  <a:lnTo>
                    <a:pt x="1128606" y="449898"/>
                  </a:lnTo>
                  <a:lnTo>
                    <a:pt x="1126722" y="446703"/>
                  </a:lnTo>
                  <a:lnTo>
                    <a:pt x="1125914" y="444684"/>
                  </a:lnTo>
                  <a:cubicBezTo>
                    <a:pt x="1125914" y="444684"/>
                    <a:pt x="1124770" y="440614"/>
                    <a:pt x="1124534" y="440479"/>
                  </a:cubicBezTo>
                  <a:cubicBezTo>
                    <a:pt x="1124332" y="440345"/>
                    <a:pt x="1122885" y="439470"/>
                    <a:pt x="1122515" y="439235"/>
                  </a:cubicBezTo>
                  <a:cubicBezTo>
                    <a:pt x="1122145" y="438999"/>
                    <a:pt x="1120698" y="437990"/>
                    <a:pt x="1120698" y="437990"/>
                  </a:cubicBezTo>
                  <a:lnTo>
                    <a:pt x="1120327" y="436409"/>
                  </a:lnTo>
                  <a:cubicBezTo>
                    <a:pt x="1120327" y="436409"/>
                    <a:pt x="1120193" y="434895"/>
                    <a:pt x="1120193" y="434155"/>
                  </a:cubicBezTo>
                  <a:cubicBezTo>
                    <a:pt x="1120193" y="433449"/>
                    <a:pt x="1120058" y="430892"/>
                    <a:pt x="1120058" y="430623"/>
                  </a:cubicBezTo>
                  <a:cubicBezTo>
                    <a:pt x="1120058" y="430320"/>
                    <a:pt x="1119755" y="427730"/>
                    <a:pt x="1119755" y="427730"/>
                  </a:cubicBezTo>
                  <a:cubicBezTo>
                    <a:pt x="1119755" y="427730"/>
                    <a:pt x="1118241" y="424097"/>
                    <a:pt x="1118073" y="423895"/>
                  </a:cubicBezTo>
                  <a:cubicBezTo>
                    <a:pt x="1117938" y="423693"/>
                    <a:pt x="1117332" y="422953"/>
                    <a:pt x="1117332" y="422953"/>
                  </a:cubicBezTo>
                  <a:cubicBezTo>
                    <a:pt x="1117332" y="422953"/>
                    <a:pt x="1113563" y="419488"/>
                    <a:pt x="1113361" y="419320"/>
                  </a:cubicBezTo>
                  <a:cubicBezTo>
                    <a:pt x="1113159" y="419185"/>
                    <a:pt x="1111173" y="417806"/>
                    <a:pt x="1111173" y="417806"/>
                  </a:cubicBezTo>
                  <a:lnTo>
                    <a:pt x="1110164" y="415418"/>
                  </a:lnTo>
                  <a:cubicBezTo>
                    <a:pt x="1110164" y="415418"/>
                    <a:pt x="1109726" y="414543"/>
                    <a:pt x="1109356" y="413904"/>
                  </a:cubicBezTo>
                  <a:cubicBezTo>
                    <a:pt x="1108986" y="413265"/>
                    <a:pt x="1108414" y="412525"/>
                    <a:pt x="1108346" y="412323"/>
                  </a:cubicBezTo>
                  <a:cubicBezTo>
                    <a:pt x="1108279" y="412121"/>
                    <a:pt x="1106765" y="412020"/>
                    <a:pt x="1106260" y="411818"/>
                  </a:cubicBezTo>
                  <a:cubicBezTo>
                    <a:pt x="1105755" y="411583"/>
                    <a:pt x="1104745" y="411078"/>
                    <a:pt x="1103736" y="411011"/>
                  </a:cubicBezTo>
                  <a:cubicBezTo>
                    <a:pt x="1102726" y="410944"/>
                    <a:pt x="1102423" y="410506"/>
                    <a:pt x="1101346" y="410506"/>
                  </a:cubicBezTo>
                  <a:cubicBezTo>
                    <a:pt x="1100269" y="410506"/>
                    <a:pt x="1100202" y="410372"/>
                    <a:pt x="1099966" y="410136"/>
                  </a:cubicBezTo>
                  <a:cubicBezTo>
                    <a:pt x="1099764" y="409901"/>
                    <a:pt x="1098654" y="408993"/>
                    <a:pt x="1098654" y="408993"/>
                  </a:cubicBezTo>
                  <a:cubicBezTo>
                    <a:pt x="1098654" y="408993"/>
                    <a:pt x="1098654" y="406537"/>
                    <a:pt x="1098587" y="406301"/>
                  </a:cubicBezTo>
                  <a:cubicBezTo>
                    <a:pt x="1098519" y="406066"/>
                    <a:pt x="1098587" y="405730"/>
                    <a:pt x="1098587" y="405427"/>
                  </a:cubicBezTo>
                  <a:cubicBezTo>
                    <a:pt x="1098587" y="405158"/>
                    <a:pt x="1098957" y="404350"/>
                    <a:pt x="1098957" y="404350"/>
                  </a:cubicBezTo>
                  <a:cubicBezTo>
                    <a:pt x="1098957" y="404350"/>
                    <a:pt x="1099899" y="402332"/>
                    <a:pt x="1100101" y="402096"/>
                  </a:cubicBezTo>
                  <a:cubicBezTo>
                    <a:pt x="1100303" y="401895"/>
                    <a:pt x="1100808" y="401659"/>
                    <a:pt x="1100808" y="401659"/>
                  </a:cubicBezTo>
                  <a:lnTo>
                    <a:pt x="1100808" y="398631"/>
                  </a:lnTo>
                  <a:lnTo>
                    <a:pt x="1099933" y="397320"/>
                  </a:lnTo>
                  <a:lnTo>
                    <a:pt x="1098486" y="396243"/>
                  </a:lnTo>
                  <a:lnTo>
                    <a:pt x="1095457" y="394561"/>
                  </a:lnTo>
                  <a:lnTo>
                    <a:pt x="1094649" y="391601"/>
                  </a:lnTo>
                  <a:lnTo>
                    <a:pt x="1097173" y="389280"/>
                  </a:lnTo>
                  <a:cubicBezTo>
                    <a:pt x="1097173" y="389280"/>
                    <a:pt x="1097543" y="388405"/>
                    <a:pt x="1097678" y="387463"/>
                  </a:cubicBezTo>
                  <a:cubicBezTo>
                    <a:pt x="1097812" y="386521"/>
                    <a:pt x="1097913" y="384570"/>
                    <a:pt x="1097913" y="384267"/>
                  </a:cubicBezTo>
                  <a:cubicBezTo>
                    <a:pt x="1097913" y="383965"/>
                    <a:pt x="1096332" y="382182"/>
                    <a:pt x="1096029" y="381946"/>
                  </a:cubicBezTo>
                  <a:cubicBezTo>
                    <a:pt x="1095726" y="381745"/>
                    <a:pt x="1091452" y="380803"/>
                    <a:pt x="1091452" y="380803"/>
                  </a:cubicBezTo>
                  <a:lnTo>
                    <a:pt x="1087817" y="377842"/>
                  </a:lnTo>
                  <a:cubicBezTo>
                    <a:pt x="1087817" y="377842"/>
                    <a:pt x="1084182" y="372561"/>
                    <a:pt x="1083913" y="371619"/>
                  </a:cubicBezTo>
                  <a:cubicBezTo>
                    <a:pt x="1083610" y="370677"/>
                    <a:pt x="1081591" y="367145"/>
                    <a:pt x="1081591" y="367145"/>
                  </a:cubicBezTo>
                  <a:lnTo>
                    <a:pt x="1080649" y="360989"/>
                  </a:lnTo>
                  <a:lnTo>
                    <a:pt x="1080581" y="355909"/>
                  </a:lnTo>
                  <a:lnTo>
                    <a:pt x="1079706" y="349450"/>
                  </a:lnTo>
                  <a:cubicBezTo>
                    <a:pt x="1079706" y="349450"/>
                    <a:pt x="1080144" y="346759"/>
                    <a:pt x="1080783" y="345885"/>
                  </a:cubicBezTo>
                  <a:cubicBezTo>
                    <a:pt x="1081423" y="345010"/>
                    <a:pt x="1081860" y="343362"/>
                    <a:pt x="1081860" y="343059"/>
                  </a:cubicBezTo>
                  <a:cubicBezTo>
                    <a:pt x="1081860" y="342756"/>
                    <a:pt x="1083880" y="342487"/>
                    <a:pt x="1084182" y="342487"/>
                  </a:cubicBezTo>
                  <a:cubicBezTo>
                    <a:pt x="1084485" y="342487"/>
                    <a:pt x="1087884" y="344573"/>
                    <a:pt x="1088154" y="344573"/>
                  </a:cubicBezTo>
                  <a:cubicBezTo>
                    <a:pt x="1088456" y="344573"/>
                    <a:pt x="1090678" y="344203"/>
                    <a:pt x="1090981" y="344203"/>
                  </a:cubicBezTo>
                  <a:cubicBezTo>
                    <a:pt x="1091283" y="344203"/>
                    <a:pt x="1094111" y="342756"/>
                    <a:pt x="1094111" y="342756"/>
                  </a:cubicBezTo>
                  <a:cubicBezTo>
                    <a:pt x="1094111" y="342756"/>
                    <a:pt x="1095490" y="341680"/>
                    <a:pt x="1095558" y="341377"/>
                  </a:cubicBezTo>
                  <a:cubicBezTo>
                    <a:pt x="1095625" y="341074"/>
                    <a:pt x="1099260" y="339560"/>
                    <a:pt x="1099260" y="339560"/>
                  </a:cubicBezTo>
                  <a:cubicBezTo>
                    <a:pt x="1099260" y="339560"/>
                    <a:pt x="1101784" y="336936"/>
                    <a:pt x="1102019" y="336230"/>
                  </a:cubicBezTo>
                  <a:cubicBezTo>
                    <a:pt x="1102221" y="335524"/>
                    <a:pt x="1103265" y="332900"/>
                    <a:pt x="1103265" y="332900"/>
                  </a:cubicBezTo>
                  <a:lnTo>
                    <a:pt x="1102524" y="330377"/>
                  </a:lnTo>
                  <a:lnTo>
                    <a:pt x="1102524" y="327114"/>
                  </a:lnTo>
                  <a:lnTo>
                    <a:pt x="1102894" y="322909"/>
                  </a:lnTo>
                  <a:lnTo>
                    <a:pt x="1102962" y="320150"/>
                  </a:lnTo>
                  <a:lnTo>
                    <a:pt x="1102390" y="318132"/>
                  </a:lnTo>
                  <a:cubicBezTo>
                    <a:pt x="1102390" y="318132"/>
                    <a:pt x="1102591" y="314364"/>
                    <a:pt x="1102591" y="314162"/>
                  </a:cubicBezTo>
                  <a:cubicBezTo>
                    <a:pt x="1102591" y="313961"/>
                    <a:pt x="1102457" y="312077"/>
                    <a:pt x="1102457" y="311774"/>
                  </a:cubicBezTo>
                  <a:cubicBezTo>
                    <a:pt x="1102457" y="311471"/>
                    <a:pt x="1102322" y="309251"/>
                    <a:pt x="1102322" y="308948"/>
                  </a:cubicBezTo>
                  <a:cubicBezTo>
                    <a:pt x="1102322" y="308645"/>
                    <a:pt x="1102524" y="306055"/>
                    <a:pt x="1102524" y="306055"/>
                  </a:cubicBezTo>
                  <a:cubicBezTo>
                    <a:pt x="1102524" y="306055"/>
                    <a:pt x="1102524" y="304542"/>
                    <a:pt x="1102524" y="303532"/>
                  </a:cubicBezTo>
                  <a:cubicBezTo>
                    <a:pt x="1102524" y="302523"/>
                    <a:pt x="1102053" y="300337"/>
                    <a:pt x="1102053" y="299899"/>
                  </a:cubicBezTo>
                  <a:cubicBezTo>
                    <a:pt x="1102053" y="299462"/>
                    <a:pt x="1102524" y="297376"/>
                    <a:pt x="1102524" y="297376"/>
                  </a:cubicBezTo>
                  <a:lnTo>
                    <a:pt x="1102524" y="295358"/>
                  </a:lnTo>
                  <a:lnTo>
                    <a:pt x="1101447" y="293541"/>
                  </a:lnTo>
                  <a:lnTo>
                    <a:pt x="1100640" y="292095"/>
                  </a:lnTo>
                  <a:lnTo>
                    <a:pt x="1099899" y="290077"/>
                  </a:lnTo>
                  <a:lnTo>
                    <a:pt x="1098216" y="288125"/>
                  </a:lnTo>
                  <a:lnTo>
                    <a:pt x="1096837" y="287554"/>
                  </a:lnTo>
                  <a:lnTo>
                    <a:pt x="1095961" y="286679"/>
                  </a:lnTo>
                  <a:lnTo>
                    <a:pt x="1094649" y="285434"/>
                  </a:lnTo>
                  <a:lnTo>
                    <a:pt x="1094582" y="283618"/>
                  </a:lnTo>
                  <a:lnTo>
                    <a:pt x="1096029" y="281936"/>
                  </a:lnTo>
                  <a:lnTo>
                    <a:pt x="1097846" y="280119"/>
                  </a:lnTo>
                  <a:lnTo>
                    <a:pt x="1102053" y="277731"/>
                  </a:lnTo>
                  <a:lnTo>
                    <a:pt x="1108010" y="276217"/>
                  </a:lnTo>
                  <a:lnTo>
                    <a:pt x="1110534" y="271743"/>
                  </a:lnTo>
                  <a:cubicBezTo>
                    <a:pt x="1110534" y="271743"/>
                    <a:pt x="1111039" y="270936"/>
                    <a:pt x="1111274" y="270801"/>
                  </a:cubicBezTo>
                  <a:cubicBezTo>
                    <a:pt x="1111476" y="270666"/>
                    <a:pt x="1112587" y="269119"/>
                    <a:pt x="1112856" y="268850"/>
                  </a:cubicBezTo>
                  <a:cubicBezTo>
                    <a:pt x="1113159" y="268547"/>
                    <a:pt x="1113428" y="266091"/>
                    <a:pt x="1113428" y="266091"/>
                  </a:cubicBezTo>
                  <a:cubicBezTo>
                    <a:pt x="1113428" y="266091"/>
                    <a:pt x="1110736" y="263905"/>
                    <a:pt x="1109861" y="263266"/>
                  </a:cubicBezTo>
                  <a:cubicBezTo>
                    <a:pt x="1108986" y="262626"/>
                    <a:pt x="1107404" y="260238"/>
                    <a:pt x="1107269" y="260003"/>
                  </a:cubicBezTo>
                  <a:cubicBezTo>
                    <a:pt x="1107135" y="259801"/>
                    <a:pt x="1103366" y="257614"/>
                    <a:pt x="1103366" y="257614"/>
                  </a:cubicBezTo>
                  <a:lnTo>
                    <a:pt x="1101784" y="257480"/>
                  </a:lnTo>
                  <a:cubicBezTo>
                    <a:pt x="1101784" y="257480"/>
                    <a:pt x="1097072" y="258052"/>
                    <a:pt x="1095928" y="258421"/>
                  </a:cubicBezTo>
                  <a:cubicBezTo>
                    <a:pt x="1094750" y="258792"/>
                    <a:pt x="1093034" y="258421"/>
                    <a:pt x="1093034" y="258421"/>
                  </a:cubicBezTo>
                  <a:cubicBezTo>
                    <a:pt x="1093034" y="258421"/>
                    <a:pt x="1090005" y="256403"/>
                    <a:pt x="1089769" y="256403"/>
                  </a:cubicBezTo>
                  <a:cubicBezTo>
                    <a:pt x="1089567" y="256403"/>
                    <a:pt x="1086942" y="255259"/>
                    <a:pt x="1086942" y="255259"/>
                  </a:cubicBezTo>
                  <a:lnTo>
                    <a:pt x="1085360" y="252366"/>
                  </a:lnTo>
                  <a:lnTo>
                    <a:pt x="1086875" y="250987"/>
                  </a:lnTo>
                  <a:lnTo>
                    <a:pt x="1088322" y="248733"/>
                  </a:lnTo>
                  <a:lnTo>
                    <a:pt x="1089634" y="246345"/>
                  </a:lnTo>
                  <a:lnTo>
                    <a:pt x="1090644" y="242140"/>
                  </a:lnTo>
                  <a:lnTo>
                    <a:pt x="1094043" y="236354"/>
                  </a:lnTo>
                  <a:lnTo>
                    <a:pt x="1093303" y="233158"/>
                  </a:lnTo>
                  <a:lnTo>
                    <a:pt x="1087884" y="228886"/>
                  </a:lnTo>
                  <a:lnTo>
                    <a:pt x="1085360" y="222427"/>
                  </a:lnTo>
                  <a:lnTo>
                    <a:pt x="1088692" y="216910"/>
                  </a:lnTo>
                  <a:lnTo>
                    <a:pt x="1091519" y="210452"/>
                  </a:lnTo>
                  <a:lnTo>
                    <a:pt x="1094346" y="204228"/>
                  </a:lnTo>
                  <a:lnTo>
                    <a:pt x="1096668" y="201604"/>
                  </a:lnTo>
                  <a:cubicBezTo>
                    <a:pt x="1096668" y="201604"/>
                    <a:pt x="1101750" y="199720"/>
                    <a:pt x="1102019" y="199586"/>
                  </a:cubicBezTo>
                  <a:cubicBezTo>
                    <a:pt x="1102322" y="199451"/>
                    <a:pt x="1105149" y="199148"/>
                    <a:pt x="1105149" y="199148"/>
                  </a:cubicBezTo>
                  <a:lnTo>
                    <a:pt x="1107606" y="199148"/>
                  </a:lnTo>
                  <a:cubicBezTo>
                    <a:pt x="1107606" y="199148"/>
                    <a:pt x="1110366" y="200460"/>
                    <a:pt x="1110568" y="200090"/>
                  </a:cubicBezTo>
                  <a:cubicBezTo>
                    <a:pt x="1110769" y="199720"/>
                    <a:pt x="1112890" y="199788"/>
                    <a:pt x="1112890" y="199788"/>
                  </a:cubicBezTo>
                  <a:cubicBezTo>
                    <a:pt x="1112890" y="199788"/>
                    <a:pt x="1114068" y="198408"/>
                    <a:pt x="1114202" y="197769"/>
                  </a:cubicBezTo>
                  <a:cubicBezTo>
                    <a:pt x="1114337" y="197130"/>
                    <a:pt x="1114202" y="196087"/>
                    <a:pt x="1114202" y="196087"/>
                  </a:cubicBezTo>
                  <a:lnTo>
                    <a:pt x="1113462" y="192454"/>
                  </a:lnTo>
                  <a:lnTo>
                    <a:pt x="1113159" y="188989"/>
                  </a:lnTo>
                  <a:lnTo>
                    <a:pt x="1114404" y="187173"/>
                  </a:lnTo>
                  <a:lnTo>
                    <a:pt x="1119924" y="184347"/>
                  </a:lnTo>
                  <a:lnTo>
                    <a:pt x="1119924" y="180344"/>
                  </a:lnTo>
                  <a:lnTo>
                    <a:pt x="1119385" y="176778"/>
                  </a:lnTo>
                  <a:cubicBezTo>
                    <a:pt x="1119385" y="176778"/>
                    <a:pt x="1121236" y="171194"/>
                    <a:pt x="1121606" y="170992"/>
                  </a:cubicBezTo>
                  <a:cubicBezTo>
                    <a:pt x="1121977" y="170790"/>
                    <a:pt x="1123424" y="168032"/>
                    <a:pt x="1123558" y="167796"/>
                  </a:cubicBezTo>
                  <a:cubicBezTo>
                    <a:pt x="1123693" y="167594"/>
                    <a:pt x="1126453" y="164466"/>
                    <a:pt x="1126587" y="163894"/>
                  </a:cubicBezTo>
                  <a:cubicBezTo>
                    <a:pt x="1126722" y="163322"/>
                    <a:pt x="1128472" y="159992"/>
                    <a:pt x="1128472" y="159992"/>
                  </a:cubicBezTo>
                  <a:lnTo>
                    <a:pt x="1128775" y="158041"/>
                  </a:lnTo>
                  <a:lnTo>
                    <a:pt x="1125880" y="154778"/>
                  </a:lnTo>
                  <a:lnTo>
                    <a:pt x="1123121" y="151515"/>
                  </a:lnTo>
                  <a:cubicBezTo>
                    <a:pt x="1123121" y="151515"/>
                    <a:pt x="1121236" y="149934"/>
                    <a:pt x="1120799" y="149496"/>
                  </a:cubicBezTo>
                  <a:cubicBezTo>
                    <a:pt x="1120361" y="149059"/>
                    <a:pt x="1116760" y="147411"/>
                    <a:pt x="1116760" y="147411"/>
                  </a:cubicBezTo>
                  <a:lnTo>
                    <a:pt x="1112688" y="146166"/>
                  </a:lnTo>
                  <a:lnTo>
                    <a:pt x="1107539" y="145662"/>
                  </a:lnTo>
                  <a:lnTo>
                    <a:pt x="1104274" y="145022"/>
                  </a:lnTo>
                  <a:lnTo>
                    <a:pt x="1100740" y="141995"/>
                  </a:lnTo>
                  <a:lnTo>
                    <a:pt x="1099058" y="139169"/>
                  </a:lnTo>
                  <a:lnTo>
                    <a:pt x="1099058" y="133888"/>
                  </a:lnTo>
                  <a:lnTo>
                    <a:pt x="1099361" y="130322"/>
                  </a:lnTo>
                  <a:lnTo>
                    <a:pt x="1102120" y="127799"/>
                  </a:lnTo>
                  <a:lnTo>
                    <a:pt x="1105149" y="127227"/>
                  </a:lnTo>
                  <a:lnTo>
                    <a:pt x="1108279" y="126588"/>
                  </a:lnTo>
                  <a:cubicBezTo>
                    <a:pt x="1108279" y="126588"/>
                    <a:pt x="1110231" y="125646"/>
                    <a:pt x="1112048" y="125074"/>
                  </a:cubicBezTo>
                  <a:cubicBezTo>
                    <a:pt x="1113866" y="124502"/>
                    <a:pt x="1115380" y="123426"/>
                    <a:pt x="1115380" y="123426"/>
                  </a:cubicBezTo>
                  <a:lnTo>
                    <a:pt x="1118746" y="122013"/>
                  </a:lnTo>
                  <a:lnTo>
                    <a:pt x="1118174" y="121340"/>
                  </a:lnTo>
                  <a:lnTo>
                    <a:pt x="1113260" y="117472"/>
                  </a:lnTo>
                  <a:lnTo>
                    <a:pt x="1108616" y="117472"/>
                  </a:lnTo>
                  <a:lnTo>
                    <a:pt x="1101649" y="103848"/>
                  </a:lnTo>
                  <a:lnTo>
                    <a:pt x="1096433" y="102536"/>
                  </a:lnTo>
                  <a:lnTo>
                    <a:pt x="1090341" y="98331"/>
                  </a:lnTo>
                  <a:lnTo>
                    <a:pt x="1086000" y="98331"/>
                  </a:lnTo>
                  <a:lnTo>
                    <a:pt x="1079706" y="100080"/>
                  </a:lnTo>
                  <a:lnTo>
                    <a:pt x="1076442" y="92242"/>
                  </a:lnTo>
                  <a:cubicBezTo>
                    <a:pt x="1076442" y="92242"/>
                    <a:pt x="1073817" y="90223"/>
                    <a:pt x="1072672" y="90223"/>
                  </a:cubicBezTo>
                  <a:cubicBezTo>
                    <a:pt x="1071495" y="90223"/>
                    <a:pt x="1064259" y="83832"/>
                    <a:pt x="1064259" y="83832"/>
                  </a:cubicBezTo>
                  <a:lnTo>
                    <a:pt x="1060792" y="80367"/>
                  </a:lnTo>
                  <a:lnTo>
                    <a:pt x="1055576" y="78618"/>
                  </a:lnTo>
                  <a:lnTo>
                    <a:pt x="1050932" y="81813"/>
                  </a:lnTo>
                  <a:lnTo>
                    <a:pt x="1046287" y="84437"/>
                  </a:lnTo>
                  <a:lnTo>
                    <a:pt x="1040499" y="76330"/>
                  </a:lnTo>
                  <a:lnTo>
                    <a:pt x="1033263" y="70544"/>
                  </a:lnTo>
                  <a:lnTo>
                    <a:pt x="1035282" y="67348"/>
                  </a:lnTo>
                  <a:lnTo>
                    <a:pt x="1033263" y="61697"/>
                  </a:lnTo>
                  <a:lnTo>
                    <a:pt x="1025152" y="60116"/>
                  </a:lnTo>
                  <a:lnTo>
                    <a:pt x="1019936" y="60116"/>
                  </a:lnTo>
                  <a:lnTo>
                    <a:pt x="1015864" y="58367"/>
                  </a:lnTo>
                  <a:lnTo>
                    <a:pt x="1006003" y="58367"/>
                  </a:lnTo>
                  <a:lnTo>
                    <a:pt x="997017" y="56617"/>
                  </a:lnTo>
                  <a:lnTo>
                    <a:pt x="981671" y="56617"/>
                  </a:lnTo>
                  <a:lnTo>
                    <a:pt x="967771" y="56617"/>
                  </a:lnTo>
                  <a:lnTo>
                    <a:pt x="963699" y="59813"/>
                  </a:lnTo>
                  <a:lnTo>
                    <a:pt x="958617" y="58299"/>
                  </a:lnTo>
                  <a:lnTo>
                    <a:pt x="948824" y="53388"/>
                  </a:lnTo>
                  <a:lnTo>
                    <a:pt x="938963" y="50495"/>
                  </a:lnTo>
                  <a:lnTo>
                    <a:pt x="934992" y="51874"/>
                  </a:lnTo>
                  <a:lnTo>
                    <a:pt x="929943" y="47366"/>
                  </a:lnTo>
                  <a:cubicBezTo>
                    <a:pt x="929943" y="47366"/>
                    <a:pt x="930347" y="45987"/>
                    <a:pt x="930347" y="45718"/>
                  </a:cubicBezTo>
                  <a:cubicBezTo>
                    <a:pt x="930347" y="45415"/>
                    <a:pt x="930347" y="43599"/>
                    <a:pt x="930347" y="43599"/>
                  </a:cubicBezTo>
                  <a:lnTo>
                    <a:pt x="926645" y="42724"/>
                  </a:lnTo>
                  <a:lnTo>
                    <a:pt x="922506" y="42724"/>
                  </a:lnTo>
                  <a:lnTo>
                    <a:pt x="919746" y="47366"/>
                  </a:lnTo>
                  <a:cubicBezTo>
                    <a:pt x="919746" y="47366"/>
                    <a:pt x="917794" y="47804"/>
                    <a:pt x="917558" y="48073"/>
                  </a:cubicBezTo>
                  <a:cubicBezTo>
                    <a:pt x="917323" y="48376"/>
                    <a:pt x="912106" y="50024"/>
                    <a:pt x="911703" y="50091"/>
                  </a:cubicBezTo>
                  <a:cubicBezTo>
                    <a:pt x="911265" y="50159"/>
                    <a:pt x="907058" y="51168"/>
                    <a:pt x="906688" y="51403"/>
                  </a:cubicBezTo>
                  <a:cubicBezTo>
                    <a:pt x="906318" y="51605"/>
                    <a:pt x="902784" y="51538"/>
                    <a:pt x="902784" y="51538"/>
                  </a:cubicBezTo>
                  <a:lnTo>
                    <a:pt x="896322" y="52547"/>
                  </a:lnTo>
                  <a:cubicBezTo>
                    <a:pt x="896322" y="52547"/>
                    <a:pt x="887976" y="54195"/>
                    <a:pt x="887707" y="54195"/>
                  </a:cubicBezTo>
                  <a:cubicBezTo>
                    <a:pt x="887404" y="54195"/>
                    <a:pt x="882423" y="53052"/>
                    <a:pt x="882120" y="53119"/>
                  </a:cubicBezTo>
                  <a:cubicBezTo>
                    <a:pt x="881817" y="53186"/>
                    <a:pt x="876399" y="52042"/>
                    <a:pt x="876163" y="51807"/>
                  </a:cubicBezTo>
                  <a:cubicBezTo>
                    <a:pt x="875961" y="51571"/>
                    <a:pt x="874649" y="47905"/>
                    <a:pt x="872832" y="47905"/>
                  </a:cubicBezTo>
                  <a:cubicBezTo>
                    <a:pt x="871014" y="47905"/>
                    <a:pt x="865158" y="47972"/>
                    <a:pt x="864721" y="48544"/>
                  </a:cubicBezTo>
                  <a:cubicBezTo>
                    <a:pt x="864283" y="49116"/>
                    <a:pt x="860952" y="49688"/>
                    <a:pt x="859639" y="50562"/>
                  </a:cubicBezTo>
                  <a:cubicBezTo>
                    <a:pt x="858327" y="51437"/>
                    <a:pt x="854995" y="53085"/>
                    <a:pt x="854927" y="53321"/>
                  </a:cubicBezTo>
                  <a:cubicBezTo>
                    <a:pt x="854860" y="53556"/>
                    <a:pt x="851394" y="53960"/>
                    <a:pt x="851394" y="53960"/>
                  </a:cubicBezTo>
                  <a:lnTo>
                    <a:pt x="848668" y="49620"/>
                  </a:lnTo>
                  <a:lnTo>
                    <a:pt x="845841" y="47871"/>
                  </a:lnTo>
                  <a:cubicBezTo>
                    <a:pt x="845841" y="47871"/>
                    <a:pt x="842038" y="48409"/>
                    <a:pt x="841163" y="49048"/>
                  </a:cubicBezTo>
                  <a:cubicBezTo>
                    <a:pt x="840288" y="49688"/>
                    <a:pt x="837259" y="50798"/>
                    <a:pt x="836720" y="51336"/>
                  </a:cubicBezTo>
                  <a:cubicBezTo>
                    <a:pt x="836182" y="51874"/>
                    <a:pt x="834129" y="52749"/>
                    <a:pt x="832480" y="53724"/>
                  </a:cubicBezTo>
                  <a:cubicBezTo>
                    <a:pt x="830864" y="54700"/>
                    <a:pt x="830292" y="54801"/>
                    <a:pt x="828239" y="54801"/>
                  </a:cubicBezTo>
                  <a:cubicBezTo>
                    <a:pt x="826186" y="54801"/>
                    <a:pt x="821609" y="54801"/>
                    <a:pt x="821609" y="54801"/>
                  </a:cubicBezTo>
                  <a:lnTo>
                    <a:pt x="816729" y="54263"/>
                  </a:lnTo>
                  <a:cubicBezTo>
                    <a:pt x="816729" y="54263"/>
                    <a:pt x="812691" y="55036"/>
                    <a:pt x="812287" y="56012"/>
                  </a:cubicBezTo>
                  <a:cubicBezTo>
                    <a:pt x="811849" y="56987"/>
                    <a:pt x="809898" y="60149"/>
                    <a:pt x="809898" y="60149"/>
                  </a:cubicBezTo>
                  <a:lnTo>
                    <a:pt x="807172" y="65700"/>
                  </a:lnTo>
                  <a:cubicBezTo>
                    <a:pt x="807172" y="65700"/>
                    <a:pt x="804008" y="67887"/>
                    <a:pt x="803907" y="68526"/>
                  </a:cubicBezTo>
                  <a:cubicBezTo>
                    <a:pt x="803806" y="69165"/>
                    <a:pt x="802056" y="71991"/>
                    <a:pt x="802056" y="71991"/>
                  </a:cubicBezTo>
                  <a:cubicBezTo>
                    <a:pt x="802056" y="71991"/>
                    <a:pt x="800104" y="75254"/>
                    <a:pt x="800003" y="75691"/>
                  </a:cubicBezTo>
                  <a:cubicBezTo>
                    <a:pt x="799902" y="76128"/>
                    <a:pt x="798926" y="77440"/>
                    <a:pt x="798152" y="77979"/>
                  </a:cubicBezTo>
                  <a:cubicBezTo>
                    <a:pt x="797378" y="78517"/>
                    <a:pt x="794989" y="81679"/>
                    <a:pt x="794888" y="82116"/>
                  </a:cubicBezTo>
                  <a:cubicBezTo>
                    <a:pt x="794787" y="82554"/>
                    <a:pt x="792498" y="84202"/>
                    <a:pt x="791287" y="84303"/>
                  </a:cubicBezTo>
                  <a:cubicBezTo>
                    <a:pt x="790075" y="84404"/>
                    <a:pt x="788998" y="85615"/>
                    <a:pt x="788022" y="85817"/>
                  </a:cubicBezTo>
                  <a:cubicBezTo>
                    <a:pt x="787046" y="86018"/>
                    <a:pt x="786407" y="86018"/>
                    <a:pt x="785431" y="86153"/>
                  </a:cubicBezTo>
                  <a:cubicBezTo>
                    <a:pt x="784455" y="86254"/>
                    <a:pt x="781830" y="86153"/>
                    <a:pt x="780012" y="86153"/>
                  </a:cubicBezTo>
                  <a:cubicBezTo>
                    <a:pt x="778161" y="86153"/>
                    <a:pt x="774796" y="85951"/>
                    <a:pt x="773281" y="86254"/>
                  </a:cubicBezTo>
                  <a:cubicBezTo>
                    <a:pt x="771767" y="86590"/>
                    <a:pt x="768401" y="86456"/>
                    <a:pt x="766853" y="86691"/>
                  </a:cubicBezTo>
                  <a:cubicBezTo>
                    <a:pt x="765339" y="86893"/>
                    <a:pt x="761199" y="87230"/>
                    <a:pt x="761199" y="87230"/>
                  </a:cubicBezTo>
                  <a:lnTo>
                    <a:pt x="751641" y="90257"/>
                  </a:lnTo>
                  <a:lnTo>
                    <a:pt x="750564" y="92982"/>
                  </a:lnTo>
                  <a:lnTo>
                    <a:pt x="748411" y="95707"/>
                  </a:lnTo>
                  <a:cubicBezTo>
                    <a:pt x="748411" y="95707"/>
                    <a:pt x="747435" y="96682"/>
                    <a:pt x="746896" y="96918"/>
                  </a:cubicBezTo>
                  <a:cubicBezTo>
                    <a:pt x="746358" y="97153"/>
                    <a:pt x="743733" y="96817"/>
                    <a:pt x="743295" y="96817"/>
                  </a:cubicBezTo>
                  <a:cubicBezTo>
                    <a:pt x="742858" y="96817"/>
                    <a:pt x="741343" y="96480"/>
                    <a:pt x="740367" y="96379"/>
                  </a:cubicBezTo>
                  <a:cubicBezTo>
                    <a:pt x="739391" y="96279"/>
                    <a:pt x="737641" y="95168"/>
                    <a:pt x="737641" y="94731"/>
                  </a:cubicBezTo>
                  <a:cubicBezTo>
                    <a:pt x="737641" y="94294"/>
                    <a:pt x="737204" y="94395"/>
                    <a:pt x="738617" y="93520"/>
                  </a:cubicBezTo>
                  <a:cubicBezTo>
                    <a:pt x="740031" y="92645"/>
                    <a:pt x="742084" y="91569"/>
                    <a:pt x="742084" y="91569"/>
                  </a:cubicBezTo>
                  <a:lnTo>
                    <a:pt x="745011" y="88541"/>
                  </a:lnTo>
                  <a:lnTo>
                    <a:pt x="743834" y="86624"/>
                  </a:lnTo>
                  <a:cubicBezTo>
                    <a:pt x="743834" y="86624"/>
                    <a:pt x="740569" y="86119"/>
                    <a:pt x="739593" y="86119"/>
                  </a:cubicBezTo>
                  <a:cubicBezTo>
                    <a:pt x="738617" y="86119"/>
                    <a:pt x="734713" y="86119"/>
                    <a:pt x="734713" y="86119"/>
                  </a:cubicBezTo>
                  <a:cubicBezTo>
                    <a:pt x="734713" y="86119"/>
                    <a:pt x="734377" y="87196"/>
                    <a:pt x="732223" y="85245"/>
                  </a:cubicBezTo>
                  <a:cubicBezTo>
                    <a:pt x="730035" y="83294"/>
                    <a:pt x="728622" y="81780"/>
                    <a:pt x="728184" y="81443"/>
                  </a:cubicBezTo>
                  <a:cubicBezTo>
                    <a:pt x="727747" y="81107"/>
                    <a:pt x="725357" y="79257"/>
                    <a:pt x="725357" y="79257"/>
                  </a:cubicBezTo>
                  <a:cubicBezTo>
                    <a:pt x="725357" y="79257"/>
                    <a:pt x="723742" y="77306"/>
                    <a:pt x="723170" y="76431"/>
                  </a:cubicBezTo>
                  <a:cubicBezTo>
                    <a:pt x="722631" y="75556"/>
                    <a:pt x="720881" y="72966"/>
                    <a:pt x="720881" y="72966"/>
                  </a:cubicBezTo>
                  <a:cubicBezTo>
                    <a:pt x="720881" y="72966"/>
                    <a:pt x="720780" y="70914"/>
                    <a:pt x="719131" y="70241"/>
                  </a:cubicBezTo>
                  <a:cubicBezTo>
                    <a:pt x="717516" y="69602"/>
                    <a:pt x="714689" y="67214"/>
                    <a:pt x="714251" y="67416"/>
                  </a:cubicBezTo>
                  <a:cubicBezTo>
                    <a:pt x="713814" y="67651"/>
                    <a:pt x="713040" y="67315"/>
                    <a:pt x="712299" y="68728"/>
                  </a:cubicBezTo>
                  <a:cubicBezTo>
                    <a:pt x="711525" y="70141"/>
                    <a:pt x="711222" y="70376"/>
                    <a:pt x="710886" y="71318"/>
                  </a:cubicBezTo>
                  <a:cubicBezTo>
                    <a:pt x="710549" y="72294"/>
                    <a:pt x="710112" y="74346"/>
                    <a:pt x="710112" y="74783"/>
                  </a:cubicBezTo>
                  <a:cubicBezTo>
                    <a:pt x="710112" y="75220"/>
                    <a:pt x="709237" y="76835"/>
                    <a:pt x="708698" y="77407"/>
                  </a:cubicBezTo>
                  <a:cubicBezTo>
                    <a:pt x="708160" y="77945"/>
                    <a:pt x="707722" y="78281"/>
                    <a:pt x="705333" y="77844"/>
                  </a:cubicBezTo>
                  <a:cubicBezTo>
                    <a:pt x="702943" y="77407"/>
                    <a:pt x="701092" y="76767"/>
                    <a:pt x="700756" y="76767"/>
                  </a:cubicBezTo>
                  <a:cubicBezTo>
                    <a:pt x="700419" y="76767"/>
                    <a:pt x="699914" y="76532"/>
                    <a:pt x="699914" y="76532"/>
                  </a:cubicBezTo>
                  <a:lnTo>
                    <a:pt x="693284" y="76196"/>
                  </a:lnTo>
                  <a:lnTo>
                    <a:pt x="689683" y="76397"/>
                  </a:lnTo>
                  <a:cubicBezTo>
                    <a:pt x="689683" y="76397"/>
                    <a:pt x="682077" y="80401"/>
                    <a:pt x="681640" y="80535"/>
                  </a:cubicBezTo>
                  <a:cubicBezTo>
                    <a:pt x="681202" y="80636"/>
                    <a:pt x="674135" y="80737"/>
                    <a:pt x="673697" y="81073"/>
                  </a:cubicBezTo>
                  <a:cubicBezTo>
                    <a:pt x="673260" y="81410"/>
                    <a:pt x="663803" y="83798"/>
                    <a:pt x="663803" y="83798"/>
                  </a:cubicBezTo>
                  <a:cubicBezTo>
                    <a:pt x="663803" y="83798"/>
                    <a:pt x="655322" y="83025"/>
                    <a:pt x="654885" y="82688"/>
                  </a:cubicBezTo>
                  <a:cubicBezTo>
                    <a:pt x="654447" y="82385"/>
                    <a:pt x="650880" y="81612"/>
                    <a:pt x="647918" y="81713"/>
                  </a:cubicBezTo>
                  <a:cubicBezTo>
                    <a:pt x="644990" y="81813"/>
                    <a:pt x="642601" y="82049"/>
                    <a:pt x="642601" y="82049"/>
                  </a:cubicBezTo>
                  <a:lnTo>
                    <a:pt x="640413" y="84976"/>
                  </a:lnTo>
                  <a:lnTo>
                    <a:pt x="642601" y="87162"/>
                  </a:lnTo>
                  <a:lnTo>
                    <a:pt x="644654" y="90190"/>
                  </a:lnTo>
                  <a:cubicBezTo>
                    <a:pt x="644654" y="90190"/>
                    <a:pt x="645091" y="91603"/>
                    <a:pt x="644654" y="91939"/>
                  </a:cubicBezTo>
                  <a:cubicBezTo>
                    <a:pt x="644216" y="92275"/>
                    <a:pt x="641389" y="92376"/>
                    <a:pt x="640951" y="92275"/>
                  </a:cubicBezTo>
                  <a:cubicBezTo>
                    <a:pt x="640514" y="92174"/>
                    <a:pt x="636610" y="91300"/>
                    <a:pt x="635197" y="91300"/>
                  </a:cubicBezTo>
                  <a:cubicBezTo>
                    <a:pt x="633783" y="91300"/>
                    <a:pt x="631932" y="91098"/>
                    <a:pt x="629980" y="91300"/>
                  </a:cubicBezTo>
                  <a:cubicBezTo>
                    <a:pt x="628028" y="91535"/>
                    <a:pt x="626817" y="92074"/>
                    <a:pt x="624562" y="92275"/>
                  </a:cubicBezTo>
                  <a:cubicBezTo>
                    <a:pt x="622273" y="92477"/>
                    <a:pt x="623586" y="91939"/>
                    <a:pt x="620759" y="92713"/>
                  </a:cubicBezTo>
                  <a:cubicBezTo>
                    <a:pt x="617932" y="93486"/>
                    <a:pt x="616518" y="93352"/>
                    <a:pt x="616182" y="93486"/>
                  </a:cubicBezTo>
                  <a:cubicBezTo>
                    <a:pt x="615845" y="93587"/>
                    <a:pt x="613994" y="93722"/>
                    <a:pt x="612816" y="93924"/>
                  </a:cubicBezTo>
                  <a:cubicBezTo>
                    <a:pt x="611605" y="94126"/>
                    <a:pt x="609215" y="94025"/>
                    <a:pt x="608811" y="94025"/>
                  </a:cubicBezTo>
                  <a:cubicBezTo>
                    <a:pt x="608374" y="94025"/>
                    <a:pt x="605783" y="93385"/>
                    <a:pt x="605345" y="93251"/>
                  </a:cubicBezTo>
                  <a:cubicBezTo>
                    <a:pt x="604907" y="93150"/>
                    <a:pt x="601340" y="91199"/>
                    <a:pt x="601004" y="91064"/>
                  </a:cubicBezTo>
                  <a:cubicBezTo>
                    <a:pt x="600667" y="90963"/>
                    <a:pt x="598816" y="89315"/>
                    <a:pt x="598816" y="89315"/>
                  </a:cubicBezTo>
                  <a:cubicBezTo>
                    <a:pt x="598816" y="89315"/>
                    <a:pt x="596427" y="87801"/>
                    <a:pt x="595888" y="87566"/>
                  </a:cubicBezTo>
                  <a:cubicBezTo>
                    <a:pt x="595350" y="87364"/>
                    <a:pt x="591412" y="86153"/>
                    <a:pt x="591109" y="86153"/>
                  </a:cubicBezTo>
                  <a:cubicBezTo>
                    <a:pt x="590806" y="86153"/>
                    <a:pt x="586869" y="86052"/>
                    <a:pt x="586431" y="86052"/>
                  </a:cubicBezTo>
                  <a:cubicBezTo>
                    <a:pt x="585994" y="86052"/>
                    <a:pt x="582090" y="86254"/>
                    <a:pt x="582090" y="86254"/>
                  </a:cubicBezTo>
                  <a:lnTo>
                    <a:pt x="571657" y="85817"/>
                  </a:lnTo>
                  <a:cubicBezTo>
                    <a:pt x="571657" y="85817"/>
                    <a:pt x="562301" y="85278"/>
                    <a:pt x="561998" y="85278"/>
                  </a:cubicBezTo>
                  <a:cubicBezTo>
                    <a:pt x="561661" y="85278"/>
                    <a:pt x="556950" y="84639"/>
                    <a:pt x="556512" y="84639"/>
                  </a:cubicBezTo>
                  <a:cubicBezTo>
                    <a:pt x="556075" y="84639"/>
                    <a:pt x="549512" y="82688"/>
                    <a:pt x="549512" y="82688"/>
                  </a:cubicBezTo>
                  <a:lnTo>
                    <a:pt x="549512" y="79997"/>
                  </a:lnTo>
                  <a:lnTo>
                    <a:pt x="547897" y="75658"/>
                  </a:lnTo>
                  <a:cubicBezTo>
                    <a:pt x="547897" y="75658"/>
                    <a:pt x="544531" y="73269"/>
                    <a:pt x="544195" y="73168"/>
                  </a:cubicBezTo>
                  <a:cubicBezTo>
                    <a:pt x="543858" y="73067"/>
                    <a:pt x="539954" y="72394"/>
                    <a:pt x="539954" y="72394"/>
                  </a:cubicBezTo>
                  <a:cubicBezTo>
                    <a:pt x="539954" y="72394"/>
                    <a:pt x="537329" y="71957"/>
                    <a:pt x="537026" y="71957"/>
                  </a:cubicBezTo>
                  <a:cubicBezTo>
                    <a:pt x="536690" y="71957"/>
                    <a:pt x="533762" y="71856"/>
                    <a:pt x="533324" y="71856"/>
                  </a:cubicBezTo>
                  <a:cubicBezTo>
                    <a:pt x="532887" y="71856"/>
                    <a:pt x="525180" y="71318"/>
                    <a:pt x="525180" y="71318"/>
                  </a:cubicBezTo>
                  <a:cubicBezTo>
                    <a:pt x="525180" y="71318"/>
                    <a:pt x="521814" y="69905"/>
                    <a:pt x="521377" y="69905"/>
                  </a:cubicBezTo>
                  <a:cubicBezTo>
                    <a:pt x="520939" y="69905"/>
                    <a:pt x="516160" y="68055"/>
                    <a:pt x="516160" y="68055"/>
                  </a:cubicBezTo>
                  <a:lnTo>
                    <a:pt x="514107" y="66205"/>
                  </a:lnTo>
                  <a:lnTo>
                    <a:pt x="511920" y="64792"/>
                  </a:lnTo>
                  <a:lnTo>
                    <a:pt x="510405" y="62942"/>
                  </a:lnTo>
                  <a:lnTo>
                    <a:pt x="509766" y="60217"/>
                  </a:lnTo>
                  <a:lnTo>
                    <a:pt x="508352" y="56416"/>
                  </a:lnTo>
                  <a:lnTo>
                    <a:pt x="506064" y="52715"/>
                  </a:lnTo>
                  <a:lnTo>
                    <a:pt x="506064" y="48712"/>
                  </a:lnTo>
                  <a:lnTo>
                    <a:pt x="507376" y="45684"/>
                  </a:lnTo>
                  <a:lnTo>
                    <a:pt x="507814" y="40369"/>
                  </a:lnTo>
                  <a:lnTo>
                    <a:pt x="508352" y="36030"/>
                  </a:lnTo>
                  <a:lnTo>
                    <a:pt x="507713" y="33843"/>
                  </a:lnTo>
                  <a:lnTo>
                    <a:pt x="505324" y="32094"/>
                  </a:lnTo>
                  <a:lnTo>
                    <a:pt x="500646" y="28495"/>
                  </a:lnTo>
                  <a:cubicBezTo>
                    <a:pt x="500646" y="28495"/>
                    <a:pt x="498357" y="27183"/>
                    <a:pt x="498021" y="27082"/>
                  </a:cubicBezTo>
                  <a:cubicBezTo>
                    <a:pt x="497684" y="26981"/>
                    <a:pt x="495530" y="26409"/>
                    <a:pt x="495093" y="27082"/>
                  </a:cubicBezTo>
                  <a:cubicBezTo>
                    <a:pt x="494655" y="27721"/>
                    <a:pt x="492804" y="27957"/>
                    <a:pt x="492602" y="28394"/>
                  </a:cubicBezTo>
                  <a:cubicBezTo>
                    <a:pt x="492400" y="28831"/>
                    <a:pt x="491391" y="30244"/>
                    <a:pt x="491290" y="30580"/>
                  </a:cubicBezTo>
                  <a:cubicBezTo>
                    <a:pt x="491189" y="30917"/>
                    <a:pt x="490314" y="32430"/>
                    <a:pt x="490314" y="32430"/>
                  </a:cubicBezTo>
                  <a:lnTo>
                    <a:pt x="487386" y="32767"/>
                  </a:lnTo>
                  <a:lnTo>
                    <a:pt x="482708" y="31690"/>
                  </a:lnTo>
                  <a:lnTo>
                    <a:pt x="478804" y="29066"/>
                  </a:lnTo>
                  <a:lnTo>
                    <a:pt x="476212" y="25703"/>
                  </a:lnTo>
                  <a:lnTo>
                    <a:pt x="475438" y="24626"/>
                  </a:lnTo>
                  <a:lnTo>
                    <a:pt x="472611" y="22776"/>
                  </a:lnTo>
                  <a:lnTo>
                    <a:pt x="470323" y="21027"/>
                  </a:lnTo>
                  <a:lnTo>
                    <a:pt x="466621" y="19614"/>
                  </a:lnTo>
                  <a:cubicBezTo>
                    <a:pt x="466621" y="19614"/>
                    <a:pt x="462044" y="18941"/>
                    <a:pt x="461505" y="19076"/>
                  </a:cubicBezTo>
                  <a:cubicBezTo>
                    <a:pt x="460967" y="19176"/>
                    <a:pt x="458241" y="19378"/>
                    <a:pt x="456726" y="19076"/>
                  </a:cubicBezTo>
                  <a:cubicBezTo>
                    <a:pt x="455212" y="18773"/>
                    <a:pt x="453260" y="19277"/>
                    <a:pt x="452284" y="19076"/>
                  </a:cubicBezTo>
                  <a:cubicBezTo>
                    <a:pt x="451308" y="18874"/>
                    <a:pt x="449356" y="18537"/>
                    <a:pt x="448818" y="18975"/>
                  </a:cubicBezTo>
                  <a:cubicBezTo>
                    <a:pt x="448279" y="19412"/>
                    <a:pt x="446967" y="20825"/>
                    <a:pt x="446967" y="21262"/>
                  </a:cubicBezTo>
                  <a:cubicBezTo>
                    <a:pt x="446967" y="21699"/>
                    <a:pt x="446967" y="22675"/>
                    <a:pt x="446967" y="22675"/>
                  </a:cubicBezTo>
                  <a:lnTo>
                    <a:pt x="449995" y="25265"/>
                  </a:lnTo>
                  <a:lnTo>
                    <a:pt x="450197" y="26342"/>
                  </a:lnTo>
                  <a:cubicBezTo>
                    <a:pt x="450197" y="26342"/>
                    <a:pt x="449760" y="26779"/>
                    <a:pt x="449423" y="27216"/>
                  </a:cubicBezTo>
                  <a:cubicBezTo>
                    <a:pt x="449087" y="27654"/>
                    <a:pt x="447034" y="28865"/>
                    <a:pt x="446933" y="29403"/>
                  </a:cubicBezTo>
                  <a:cubicBezTo>
                    <a:pt x="446832" y="29941"/>
                    <a:pt x="446293" y="30277"/>
                    <a:pt x="445957" y="30614"/>
                  </a:cubicBezTo>
                  <a:cubicBezTo>
                    <a:pt x="445620" y="30950"/>
                    <a:pt x="445183" y="31152"/>
                    <a:pt x="444442" y="31489"/>
                  </a:cubicBezTo>
                  <a:cubicBezTo>
                    <a:pt x="443668" y="31825"/>
                    <a:pt x="441514" y="32700"/>
                    <a:pt x="441514" y="32700"/>
                  </a:cubicBezTo>
                  <a:lnTo>
                    <a:pt x="439865" y="33137"/>
                  </a:lnTo>
                  <a:lnTo>
                    <a:pt x="438014" y="34112"/>
                  </a:lnTo>
                  <a:cubicBezTo>
                    <a:pt x="438014" y="34112"/>
                    <a:pt x="436264" y="34550"/>
                    <a:pt x="435288" y="34886"/>
                  </a:cubicBezTo>
                  <a:cubicBezTo>
                    <a:pt x="434312" y="35223"/>
                    <a:pt x="431687" y="35525"/>
                    <a:pt x="430812" y="35660"/>
                  </a:cubicBezTo>
                  <a:cubicBezTo>
                    <a:pt x="429937" y="35761"/>
                    <a:pt x="427985" y="36097"/>
                    <a:pt x="427985" y="36097"/>
                  </a:cubicBezTo>
                  <a:cubicBezTo>
                    <a:pt x="427985" y="36097"/>
                    <a:pt x="427110" y="37510"/>
                    <a:pt x="426235" y="37947"/>
                  </a:cubicBezTo>
                  <a:cubicBezTo>
                    <a:pt x="425360" y="38385"/>
                    <a:pt x="421658" y="39461"/>
                    <a:pt x="421658" y="39798"/>
                  </a:cubicBezTo>
                  <a:cubicBezTo>
                    <a:pt x="421658" y="40134"/>
                    <a:pt x="419908" y="41749"/>
                    <a:pt x="419605" y="42085"/>
                  </a:cubicBezTo>
                  <a:cubicBezTo>
                    <a:pt x="419269" y="42422"/>
                    <a:pt x="417115" y="45449"/>
                    <a:pt x="417115" y="45449"/>
                  </a:cubicBezTo>
                  <a:lnTo>
                    <a:pt x="415802" y="47736"/>
                  </a:lnTo>
                  <a:lnTo>
                    <a:pt x="413312" y="49048"/>
                  </a:lnTo>
                  <a:cubicBezTo>
                    <a:pt x="413312" y="49048"/>
                    <a:pt x="409172" y="50360"/>
                    <a:pt x="408735" y="50360"/>
                  </a:cubicBezTo>
                  <a:cubicBezTo>
                    <a:pt x="408297" y="50360"/>
                    <a:pt x="403081" y="50360"/>
                    <a:pt x="402643" y="50562"/>
                  </a:cubicBezTo>
                  <a:cubicBezTo>
                    <a:pt x="402206" y="50764"/>
                    <a:pt x="399615" y="50764"/>
                    <a:pt x="398605" y="51000"/>
                  </a:cubicBezTo>
                  <a:cubicBezTo>
                    <a:pt x="397629" y="51201"/>
                    <a:pt x="395576" y="50798"/>
                    <a:pt x="394364" y="51201"/>
                  </a:cubicBezTo>
                  <a:cubicBezTo>
                    <a:pt x="393153" y="51639"/>
                    <a:pt x="390763" y="51302"/>
                    <a:pt x="390326" y="51302"/>
                  </a:cubicBezTo>
                  <a:cubicBezTo>
                    <a:pt x="389888" y="51302"/>
                    <a:pt x="385883" y="51403"/>
                    <a:pt x="385883" y="51403"/>
                  </a:cubicBezTo>
                  <a:cubicBezTo>
                    <a:pt x="385883" y="51403"/>
                    <a:pt x="382181" y="49452"/>
                    <a:pt x="381744" y="49217"/>
                  </a:cubicBezTo>
                  <a:cubicBezTo>
                    <a:pt x="381306" y="48981"/>
                    <a:pt x="374037" y="48678"/>
                    <a:pt x="374037" y="48678"/>
                  </a:cubicBezTo>
                  <a:lnTo>
                    <a:pt x="368619" y="45853"/>
                  </a:lnTo>
                  <a:lnTo>
                    <a:pt x="368619" y="41816"/>
                  </a:lnTo>
                  <a:lnTo>
                    <a:pt x="367104" y="38889"/>
                  </a:lnTo>
                  <a:lnTo>
                    <a:pt x="364378" y="35189"/>
                  </a:lnTo>
                  <a:cubicBezTo>
                    <a:pt x="364378" y="35189"/>
                    <a:pt x="360912" y="33137"/>
                    <a:pt x="360474" y="32901"/>
                  </a:cubicBezTo>
                  <a:cubicBezTo>
                    <a:pt x="360037" y="32700"/>
                    <a:pt x="353844" y="30849"/>
                    <a:pt x="353844" y="30849"/>
                  </a:cubicBezTo>
                  <a:lnTo>
                    <a:pt x="350681" y="30513"/>
                  </a:lnTo>
                  <a:lnTo>
                    <a:pt x="345666" y="28999"/>
                  </a:lnTo>
                  <a:lnTo>
                    <a:pt x="339036" y="25837"/>
                  </a:lnTo>
                  <a:cubicBezTo>
                    <a:pt x="339036" y="25837"/>
                    <a:pt x="338834" y="24963"/>
                    <a:pt x="338397" y="24525"/>
                  </a:cubicBezTo>
                  <a:cubicBezTo>
                    <a:pt x="337959" y="24088"/>
                    <a:pt x="335233" y="21800"/>
                    <a:pt x="335233" y="21800"/>
                  </a:cubicBezTo>
                  <a:lnTo>
                    <a:pt x="332070" y="19311"/>
                  </a:lnTo>
                  <a:lnTo>
                    <a:pt x="329478" y="19513"/>
                  </a:lnTo>
                  <a:lnTo>
                    <a:pt x="328603" y="21363"/>
                  </a:lnTo>
                  <a:lnTo>
                    <a:pt x="328603" y="22675"/>
                  </a:lnTo>
                  <a:lnTo>
                    <a:pt x="329243" y="25837"/>
                  </a:lnTo>
                  <a:cubicBezTo>
                    <a:pt x="329243" y="25837"/>
                    <a:pt x="329579" y="25938"/>
                    <a:pt x="328603" y="26611"/>
                  </a:cubicBezTo>
                  <a:cubicBezTo>
                    <a:pt x="327627" y="27250"/>
                    <a:pt x="325675" y="27586"/>
                    <a:pt x="325675" y="27586"/>
                  </a:cubicBezTo>
                  <a:cubicBezTo>
                    <a:pt x="325675" y="27586"/>
                    <a:pt x="324901" y="28225"/>
                    <a:pt x="324464" y="28225"/>
                  </a:cubicBezTo>
                  <a:cubicBezTo>
                    <a:pt x="324026" y="28225"/>
                    <a:pt x="321637" y="28764"/>
                    <a:pt x="321199" y="28764"/>
                  </a:cubicBezTo>
                  <a:cubicBezTo>
                    <a:pt x="320762" y="28764"/>
                    <a:pt x="319012" y="28764"/>
                    <a:pt x="319012" y="28764"/>
                  </a:cubicBezTo>
                  <a:lnTo>
                    <a:pt x="312045" y="23550"/>
                  </a:lnTo>
                  <a:lnTo>
                    <a:pt x="309016" y="20623"/>
                  </a:lnTo>
                  <a:lnTo>
                    <a:pt x="303901" y="17259"/>
                  </a:lnTo>
                  <a:lnTo>
                    <a:pt x="299559" y="13693"/>
                  </a:lnTo>
                  <a:lnTo>
                    <a:pt x="295319" y="10430"/>
                  </a:lnTo>
                  <a:lnTo>
                    <a:pt x="291718" y="8143"/>
                  </a:lnTo>
                  <a:lnTo>
                    <a:pt x="289026" y="5317"/>
                  </a:lnTo>
                  <a:lnTo>
                    <a:pt x="288487" y="3265"/>
                  </a:lnTo>
                  <a:lnTo>
                    <a:pt x="287713" y="1583"/>
                  </a:lnTo>
                  <a:cubicBezTo>
                    <a:pt x="287713" y="1583"/>
                    <a:pt x="285324" y="977"/>
                    <a:pt x="284886" y="977"/>
                  </a:cubicBezTo>
                  <a:cubicBezTo>
                    <a:pt x="284449" y="977"/>
                    <a:pt x="282497" y="977"/>
                    <a:pt x="282497" y="977"/>
                  </a:cubicBezTo>
                  <a:cubicBezTo>
                    <a:pt x="282497" y="977"/>
                    <a:pt x="280982" y="-536"/>
                    <a:pt x="279468" y="204"/>
                  </a:cubicBezTo>
                  <a:cubicBezTo>
                    <a:pt x="277953" y="977"/>
                    <a:pt x="277617" y="843"/>
                    <a:pt x="276304" y="1078"/>
                  </a:cubicBezTo>
                  <a:cubicBezTo>
                    <a:pt x="274992" y="1280"/>
                    <a:pt x="275227" y="742"/>
                    <a:pt x="273275" y="1617"/>
                  </a:cubicBezTo>
                  <a:cubicBezTo>
                    <a:pt x="271323" y="2491"/>
                    <a:pt x="270650" y="2491"/>
                    <a:pt x="269270" y="3130"/>
                  </a:cubicBezTo>
                  <a:cubicBezTo>
                    <a:pt x="267857" y="3770"/>
                    <a:pt x="266679" y="3669"/>
                    <a:pt x="265905" y="4207"/>
                  </a:cubicBezTo>
                  <a:cubicBezTo>
                    <a:pt x="265131" y="4745"/>
                    <a:pt x="263313" y="3971"/>
                    <a:pt x="262304" y="4981"/>
                  </a:cubicBezTo>
                  <a:cubicBezTo>
                    <a:pt x="261328" y="5956"/>
                    <a:pt x="260251" y="5620"/>
                    <a:pt x="259813" y="6494"/>
                  </a:cubicBezTo>
                  <a:cubicBezTo>
                    <a:pt x="259376" y="7369"/>
                    <a:pt x="257659" y="9085"/>
                    <a:pt x="257760" y="9522"/>
                  </a:cubicBezTo>
                  <a:cubicBezTo>
                    <a:pt x="257861" y="9959"/>
                    <a:pt x="257323" y="11910"/>
                    <a:pt x="257323" y="11910"/>
                  </a:cubicBezTo>
                  <a:lnTo>
                    <a:pt x="257323" y="15712"/>
                  </a:lnTo>
                  <a:lnTo>
                    <a:pt x="258400" y="18739"/>
                  </a:lnTo>
                  <a:lnTo>
                    <a:pt x="258063" y="20926"/>
                  </a:lnTo>
                  <a:lnTo>
                    <a:pt x="257289" y="22137"/>
                  </a:lnTo>
                  <a:cubicBezTo>
                    <a:pt x="257289" y="22137"/>
                    <a:pt x="254126" y="24727"/>
                    <a:pt x="253688" y="24963"/>
                  </a:cubicBezTo>
                  <a:cubicBezTo>
                    <a:pt x="253251" y="25198"/>
                    <a:pt x="253587" y="25602"/>
                    <a:pt x="251635" y="26174"/>
                  </a:cubicBezTo>
                  <a:cubicBezTo>
                    <a:pt x="249683" y="26712"/>
                    <a:pt x="248371" y="27486"/>
                    <a:pt x="247731" y="28125"/>
                  </a:cubicBezTo>
                  <a:cubicBezTo>
                    <a:pt x="247092" y="28764"/>
                    <a:pt x="245140" y="29201"/>
                    <a:pt x="245140" y="29201"/>
                  </a:cubicBezTo>
                  <a:cubicBezTo>
                    <a:pt x="245140" y="29201"/>
                    <a:pt x="243289" y="30177"/>
                    <a:pt x="243289" y="30614"/>
                  </a:cubicBezTo>
                  <a:cubicBezTo>
                    <a:pt x="243289" y="31051"/>
                    <a:pt x="241976" y="33877"/>
                    <a:pt x="241976" y="34314"/>
                  </a:cubicBezTo>
                  <a:cubicBezTo>
                    <a:pt x="241976" y="34752"/>
                    <a:pt x="237399" y="36703"/>
                    <a:pt x="237097" y="36938"/>
                  </a:cubicBezTo>
                  <a:cubicBezTo>
                    <a:pt x="236760" y="37140"/>
                    <a:pt x="234707" y="37476"/>
                    <a:pt x="234270" y="38250"/>
                  </a:cubicBezTo>
                  <a:cubicBezTo>
                    <a:pt x="233832" y="39024"/>
                    <a:pt x="230029" y="42590"/>
                    <a:pt x="230029" y="42590"/>
                  </a:cubicBezTo>
                  <a:lnTo>
                    <a:pt x="228178" y="45180"/>
                  </a:lnTo>
                  <a:cubicBezTo>
                    <a:pt x="228178" y="45180"/>
                    <a:pt x="225149" y="48342"/>
                    <a:pt x="223837" y="48544"/>
                  </a:cubicBezTo>
                  <a:cubicBezTo>
                    <a:pt x="222524" y="48746"/>
                    <a:pt x="216231" y="48712"/>
                    <a:pt x="215894" y="48914"/>
                  </a:cubicBezTo>
                  <a:cubicBezTo>
                    <a:pt x="215558" y="49149"/>
                    <a:pt x="212966" y="49620"/>
                    <a:pt x="212529" y="49620"/>
                  </a:cubicBezTo>
                  <a:cubicBezTo>
                    <a:pt x="212091" y="49620"/>
                    <a:pt x="207750" y="49620"/>
                    <a:pt x="207750" y="49620"/>
                  </a:cubicBezTo>
                  <a:lnTo>
                    <a:pt x="203711" y="53220"/>
                  </a:lnTo>
                  <a:cubicBezTo>
                    <a:pt x="203711" y="53220"/>
                    <a:pt x="200884" y="55272"/>
                    <a:pt x="200548" y="56382"/>
                  </a:cubicBezTo>
                  <a:cubicBezTo>
                    <a:pt x="200211" y="57458"/>
                    <a:pt x="197081" y="61226"/>
                    <a:pt x="197081" y="61226"/>
                  </a:cubicBezTo>
                  <a:cubicBezTo>
                    <a:pt x="197081" y="61226"/>
                    <a:pt x="191966" y="60856"/>
                    <a:pt x="190990" y="61226"/>
                  </a:cubicBezTo>
                  <a:cubicBezTo>
                    <a:pt x="190014" y="61596"/>
                    <a:pt x="178268" y="61932"/>
                    <a:pt x="178268" y="61932"/>
                  </a:cubicBezTo>
                  <a:lnTo>
                    <a:pt x="174028" y="61831"/>
                  </a:lnTo>
                  <a:lnTo>
                    <a:pt x="170427" y="60957"/>
                  </a:lnTo>
                  <a:lnTo>
                    <a:pt x="165749" y="61831"/>
                  </a:lnTo>
                  <a:lnTo>
                    <a:pt x="162518" y="61831"/>
                  </a:lnTo>
                  <a:cubicBezTo>
                    <a:pt x="162518" y="61831"/>
                    <a:pt x="158816" y="65633"/>
                    <a:pt x="158076" y="65969"/>
                  </a:cubicBezTo>
                  <a:cubicBezTo>
                    <a:pt x="157302" y="66306"/>
                    <a:pt x="153835" y="68156"/>
                    <a:pt x="153196" y="68694"/>
                  </a:cubicBezTo>
                  <a:cubicBezTo>
                    <a:pt x="152556" y="69232"/>
                    <a:pt x="150369" y="70746"/>
                    <a:pt x="150369" y="70746"/>
                  </a:cubicBezTo>
                  <a:lnTo>
                    <a:pt x="147003" y="72260"/>
                  </a:lnTo>
                  <a:lnTo>
                    <a:pt x="141787" y="71923"/>
                  </a:lnTo>
                  <a:cubicBezTo>
                    <a:pt x="141787" y="71923"/>
                    <a:pt x="138085" y="71823"/>
                    <a:pt x="137782" y="72024"/>
                  </a:cubicBezTo>
                  <a:cubicBezTo>
                    <a:pt x="137445" y="72226"/>
                    <a:pt x="130815" y="72226"/>
                    <a:pt x="130815" y="72226"/>
                  </a:cubicBezTo>
                  <a:lnTo>
                    <a:pt x="125700" y="73303"/>
                  </a:lnTo>
                  <a:lnTo>
                    <a:pt x="120685" y="73202"/>
                  </a:lnTo>
                  <a:lnTo>
                    <a:pt x="120147" y="77676"/>
                  </a:lnTo>
                  <a:cubicBezTo>
                    <a:pt x="120147" y="77676"/>
                    <a:pt x="118229" y="78988"/>
                    <a:pt x="117926" y="79190"/>
                  </a:cubicBezTo>
                  <a:cubicBezTo>
                    <a:pt x="117589" y="79425"/>
                    <a:pt x="112978" y="82789"/>
                    <a:pt x="112978" y="82789"/>
                  </a:cubicBezTo>
                  <a:lnTo>
                    <a:pt x="112978" y="85278"/>
                  </a:lnTo>
                  <a:cubicBezTo>
                    <a:pt x="112978" y="85278"/>
                    <a:pt x="110252" y="87230"/>
                    <a:pt x="109950" y="87330"/>
                  </a:cubicBezTo>
                  <a:cubicBezTo>
                    <a:pt x="109613" y="87431"/>
                    <a:pt x="108873" y="88306"/>
                    <a:pt x="108435" y="88642"/>
                  </a:cubicBezTo>
                  <a:cubicBezTo>
                    <a:pt x="107998" y="88979"/>
                    <a:pt x="107459" y="89820"/>
                    <a:pt x="106685" y="90156"/>
                  </a:cubicBezTo>
                  <a:cubicBezTo>
                    <a:pt x="105911" y="90492"/>
                    <a:pt x="103959" y="91132"/>
                    <a:pt x="103959" y="91132"/>
                  </a:cubicBezTo>
                  <a:lnTo>
                    <a:pt x="100358" y="92511"/>
                  </a:lnTo>
                  <a:lnTo>
                    <a:pt x="95882" y="93217"/>
                  </a:lnTo>
                  <a:cubicBezTo>
                    <a:pt x="95882" y="93217"/>
                    <a:pt x="92685" y="93957"/>
                    <a:pt x="91978" y="94092"/>
                  </a:cubicBezTo>
                  <a:cubicBezTo>
                    <a:pt x="91238" y="94226"/>
                    <a:pt x="88209" y="94529"/>
                    <a:pt x="88209" y="94529"/>
                  </a:cubicBezTo>
                  <a:lnTo>
                    <a:pt x="85314" y="95101"/>
                  </a:lnTo>
                  <a:lnTo>
                    <a:pt x="82723" y="95404"/>
                  </a:lnTo>
                  <a:lnTo>
                    <a:pt x="81713" y="96413"/>
                  </a:lnTo>
                  <a:lnTo>
                    <a:pt x="82285" y="99609"/>
                  </a:lnTo>
                  <a:lnTo>
                    <a:pt x="82588" y="103814"/>
                  </a:lnTo>
                  <a:lnTo>
                    <a:pt x="84776" y="108019"/>
                  </a:lnTo>
                  <a:cubicBezTo>
                    <a:pt x="84776" y="108019"/>
                    <a:pt x="85213" y="109768"/>
                    <a:pt x="85348" y="110777"/>
                  </a:cubicBezTo>
                  <a:cubicBezTo>
                    <a:pt x="85483" y="111786"/>
                    <a:pt x="85651" y="116731"/>
                    <a:pt x="85651" y="116731"/>
                  </a:cubicBezTo>
                  <a:lnTo>
                    <a:pt x="85213" y="124973"/>
                  </a:lnTo>
                  <a:lnTo>
                    <a:pt x="81747" y="129010"/>
                  </a:lnTo>
                  <a:lnTo>
                    <a:pt x="81747" y="133921"/>
                  </a:lnTo>
                  <a:cubicBezTo>
                    <a:pt x="81747" y="133921"/>
                    <a:pt x="79862" y="135233"/>
                    <a:pt x="79559" y="135670"/>
                  </a:cubicBezTo>
                  <a:cubicBezTo>
                    <a:pt x="79257" y="136108"/>
                    <a:pt x="76665" y="137992"/>
                    <a:pt x="76531" y="138429"/>
                  </a:cubicBezTo>
                  <a:cubicBezTo>
                    <a:pt x="76396" y="138866"/>
                    <a:pt x="75016" y="141457"/>
                    <a:pt x="74848" y="141894"/>
                  </a:cubicBezTo>
                  <a:cubicBezTo>
                    <a:pt x="74713" y="142331"/>
                    <a:pt x="73030" y="144652"/>
                    <a:pt x="73030" y="145224"/>
                  </a:cubicBezTo>
                  <a:cubicBezTo>
                    <a:pt x="73030" y="145796"/>
                    <a:pt x="73030" y="147848"/>
                    <a:pt x="73030" y="147848"/>
                  </a:cubicBezTo>
                  <a:lnTo>
                    <a:pt x="73030" y="153062"/>
                  </a:lnTo>
                  <a:cubicBezTo>
                    <a:pt x="73030" y="153062"/>
                    <a:pt x="76665" y="160598"/>
                    <a:pt x="76800" y="161169"/>
                  </a:cubicBezTo>
                  <a:cubicBezTo>
                    <a:pt x="76934" y="161741"/>
                    <a:pt x="83329" y="175365"/>
                    <a:pt x="83329" y="175365"/>
                  </a:cubicBezTo>
                  <a:lnTo>
                    <a:pt x="85516" y="179268"/>
                  </a:lnTo>
                  <a:lnTo>
                    <a:pt x="86526" y="183472"/>
                  </a:lnTo>
                  <a:lnTo>
                    <a:pt x="87536" y="188687"/>
                  </a:lnTo>
                  <a:lnTo>
                    <a:pt x="88983" y="192892"/>
                  </a:lnTo>
                  <a:lnTo>
                    <a:pt x="89689" y="194641"/>
                  </a:lnTo>
                  <a:cubicBezTo>
                    <a:pt x="89689" y="194641"/>
                    <a:pt x="91271" y="197534"/>
                    <a:pt x="91877" y="198106"/>
                  </a:cubicBezTo>
                  <a:cubicBezTo>
                    <a:pt x="92449" y="198678"/>
                    <a:pt x="97968" y="204632"/>
                    <a:pt x="97968" y="204632"/>
                  </a:cubicBezTo>
                  <a:lnTo>
                    <a:pt x="99483" y="206818"/>
                  </a:lnTo>
                  <a:lnTo>
                    <a:pt x="100863" y="209577"/>
                  </a:lnTo>
                  <a:lnTo>
                    <a:pt x="100863" y="212201"/>
                  </a:lnTo>
                  <a:cubicBezTo>
                    <a:pt x="100863" y="212201"/>
                    <a:pt x="99719" y="215396"/>
                    <a:pt x="98978" y="216540"/>
                  </a:cubicBezTo>
                  <a:cubicBezTo>
                    <a:pt x="98238" y="217684"/>
                    <a:pt x="97666" y="220880"/>
                    <a:pt x="97228" y="221317"/>
                  </a:cubicBezTo>
                  <a:cubicBezTo>
                    <a:pt x="96791" y="221754"/>
                    <a:pt x="95916" y="223638"/>
                    <a:pt x="95916" y="223638"/>
                  </a:cubicBezTo>
                  <a:cubicBezTo>
                    <a:pt x="95916" y="223638"/>
                    <a:pt x="95343" y="226094"/>
                    <a:pt x="95343" y="226666"/>
                  </a:cubicBezTo>
                  <a:cubicBezTo>
                    <a:pt x="95343" y="227238"/>
                    <a:pt x="96353" y="232014"/>
                    <a:pt x="96925" y="233192"/>
                  </a:cubicBezTo>
                  <a:cubicBezTo>
                    <a:pt x="97497" y="234336"/>
                    <a:pt x="98372" y="239718"/>
                    <a:pt x="98372" y="240424"/>
                  </a:cubicBezTo>
                  <a:cubicBezTo>
                    <a:pt x="98372" y="241164"/>
                    <a:pt x="98675" y="243620"/>
                    <a:pt x="97632" y="244629"/>
                  </a:cubicBezTo>
                  <a:cubicBezTo>
                    <a:pt x="96622" y="245638"/>
                    <a:pt x="95613" y="246076"/>
                    <a:pt x="95613" y="246076"/>
                  </a:cubicBezTo>
                  <a:lnTo>
                    <a:pt x="95613" y="246950"/>
                  </a:lnTo>
                  <a:lnTo>
                    <a:pt x="95613" y="250415"/>
                  </a:lnTo>
                  <a:cubicBezTo>
                    <a:pt x="95613" y="250415"/>
                    <a:pt x="95310" y="252871"/>
                    <a:pt x="94872" y="253308"/>
                  </a:cubicBezTo>
                  <a:cubicBezTo>
                    <a:pt x="94435" y="253746"/>
                    <a:pt x="93863" y="257648"/>
                    <a:pt x="93863" y="257648"/>
                  </a:cubicBezTo>
                  <a:lnTo>
                    <a:pt x="94166" y="260541"/>
                  </a:lnTo>
                  <a:cubicBezTo>
                    <a:pt x="94166" y="260541"/>
                    <a:pt x="94603" y="262425"/>
                    <a:pt x="94166" y="262727"/>
                  </a:cubicBezTo>
                  <a:cubicBezTo>
                    <a:pt x="93728" y="263030"/>
                    <a:pt x="93425" y="265351"/>
                    <a:pt x="93425" y="265351"/>
                  </a:cubicBezTo>
                  <a:lnTo>
                    <a:pt x="93291" y="267370"/>
                  </a:lnTo>
                  <a:cubicBezTo>
                    <a:pt x="93291" y="267370"/>
                    <a:pt x="93156" y="269556"/>
                    <a:pt x="91978" y="270566"/>
                  </a:cubicBezTo>
                  <a:cubicBezTo>
                    <a:pt x="90834" y="271575"/>
                    <a:pt x="90093" y="273593"/>
                    <a:pt x="89521" y="274198"/>
                  </a:cubicBezTo>
                  <a:cubicBezTo>
                    <a:pt x="88949" y="274771"/>
                    <a:pt x="87334" y="276217"/>
                    <a:pt x="87334" y="276217"/>
                  </a:cubicBezTo>
                  <a:cubicBezTo>
                    <a:pt x="87334" y="276217"/>
                    <a:pt x="85887" y="277226"/>
                    <a:pt x="84305" y="278841"/>
                  </a:cubicBezTo>
                  <a:cubicBezTo>
                    <a:pt x="82723" y="280422"/>
                    <a:pt x="80670" y="281734"/>
                    <a:pt x="80670" y="281734"/>
                  </a:cubicBezTo>
                  <a:lnTo>
                    <a:pt x="78079" y="283483"/>
                  </a:lnTo>
                  <a:lnTo>
                    <a:pt x="75117" y="284190"/>
                  </a:lnTo>
                  <a:lnTo>
                    <a:pt x="73030" y="287654"/>
                  </a:lnTo>
                  <a:lnTo>
                    <a:pt x="73030" y="288664"/>
                  </a:lnTo>
                  <a:lnTo>
                    <a:pt x="72155" y="289975"/>
                  </a:lnTo>
                  <a:lnTo>
                    <a:pt x="70641" y="290682"/>
                  </a:lnTo>
                  <a:cubicBezTo>
                    <a:pt x="70641" y="290682"/>
                    <a:pt x="69160" y="292801"/>
                    <a:pt x="69127" y="293003"/>
                  </a:cubicBezTo>
                  <a:cubicBezTo>
                    <a:pt x="69059" y="293239"/>
                    <a:pt x="66737" y="293810"/>
                    <a:pt x="66535" y="293945"/>
                  </a:cubicBezTo>
                  <a:cubicBezTo>
                    <a:pt x="66300" y="294046"/>
                    <a:pt x="65828" y="294113"/>
                    <a:pt x="64482" y="294382"/>
                  </a:cubicBezTo>
                  <a:cubicBezTo>
                    <a:pt x="63136" y="294651"/>
                    <a:pt x="60948" y="294147"/>
                    <a:pt x="60343" y="294382"/>
                  </a:cubicBezTo>
                  <a:cubicBezTo>
                    <a:pt x="59737" y="294584"/>
                    <a:pt x="58727" y="294113"/>
                    <a:pt x="58727" y="294113"/>
                  </a:cubicBezTo>
                  <a:cubicBezTo>
                    <a:pt x="58727" y="294113"/>
                    <a:pt x="55900" y="293508"/>
                    <a:pt x="55732" y="293676"/>
                  </a:cubicBezTo>
                  <a:cubicBezTo>
                    <a:pt x="55564" y="293844"/>
                    <a:pt x="52568" y="292431"/>
                    <a:pt x="51592" y="291826"/>
                  </a:cubicBezTo>
                  <a:cubicBezTo>
                    <a:pt x="50616" y="291220"/>
                    <a:pt x="46746" y="288933"/>
                    <a:pt x="46713" y="288731"/>
                  </a:cubicBezTo>
                  <a:cubicBezTo>
                    <a:pt x="46645" y="288529"/>
                    <a:pt x="47049" y="288630"/>
                    <a:pt x="46006" y="286813"/>
                  </a:cubicBezTo>
                  <a:cubicBezTo>
                    <a:pt x="44963" y="285031"/>
                    <a:pt x="43414" y="282508"/>
                    <a:pt x="43246" y="281667"/>
                  </a:cubicBezTo>
                  <a:cubicBezTo>
                    <a:pt x="43078" y="280792"/>
                    <a:pt x="42203" y="278033"/>
                    <a:pt x="42203" y="277226"/>
                  </a:cubicBezTo>
                  <a:cubicBezTo>
                    <a:pt x="42203" y="276419"/>
                    <a:pt x="42136" y="275208"/>
                    <a:pt x="42203" y="274468"/>
                  </a:cubicBezTo>
                  <a:cubicBezTo>
                    <a:pt x="42270" y="273694"/>
                    <a:pt x="42136" y="273156"/>
                    <a:pt x="42809" y="272416"/>
                  </a:cubicBezTo>
                  <a:cubicBezTo>
                    <a:pt x="43448" y="271676"/>
                    <a:pt x="44054" y="271339"/>
                    <a:pt x="44761" y="270397"/>
                  </a:cubicBezTo>
                  <a:cubicBezTo>
                    <a:pt x="45467" y="269489"/>
                    <a:pt x="45804" y="269321"/>
                    <a:pt x="45804" y="268715"/>
                  </a:cubicBezTo>
                  <a:cubicBezTo>
                    <a:pt x="45804" y="268110"/>
                    <a:pt x="44054" y="266327"/>
                    <a:pt x="44054" y="264544"/>
                  </a:cubicBezTo>
                  <a:cubicBezTo>
                    <a:pt x="44054" y="262761"/>
                    <a:pt x="44390" y="259397"/>
                    <a:pt x="44390" y="259061"/>
                  </a:cubicBezTo>
                  <a:cubicBezTo>
                    <a:pt x="44390" y="258724"/>
                    <a:pt x="43448" y="256134"/>
                    <a:pt x="43448" y="256134"/>
                  </a:cubicBezTo>
                  <a:lnTo>
                    <a:pt x="43515" y="253510"/>
                  </a:lnTo>
                  <a:cubicBezTo>
                    <a:pt x="43515" y="253510"/>
                    <a:pt x="41934" y="250987"/>
                    <a:pt x="41698" y="250819"/>
                  </a:cubicBezTo>
                  <a:cubicBezTo>
                    <a:pt x="41496" y="250684"/>
                    <a:pt x="39679" y="248363"/>
                    <a:pt x="39376" y="248296"/>
                  </a:cubicBezTo>
                  <a:cubicBezTo>
                    <a:pt x="39073" y="248229"/>
                    <a:pt x="37289" y="249372"/>
                    <a:pt x="37054" y="249440"/>
                  </a:cubicBezTo>
                  <a:cubicBezTo>
                    <a:pt x="36818" y="249507"/>
                    <a:pt x="34664" y="251458"/>
                    <a:pt x="34361" y="251626"/>
                  </a:cubicBezTo>
                  <a:cubicBezTo>
                    <a:pt x="34058" y="251761"/>
                    <a:pt x="33419" y="252131"/>
                    <a:pt x="32914" y="252636"/>
                  </a:cubicBezTo>
                  <a:cubicBezTo>
                    <a:pt x="32409" y="253140"/>
                    <a:pt x="31905" y="253577"/>
                    <a:pt x="30727" y="253880"/>
                  </a:cubicBezTo>
                  <a:cubicBezTo>
                    <a:pt x="29582" y="254183"/>
                    <a:pt x="26890" y="252736"/>
                    <a:pt x="26890" y="252736"/>
                  </a:cubicBezTo>
                  <a:cubicBezTo>
                    <a:pt x="26890" y="252736"/>
                    <a:pt x="24635" y="253241"/>
                    <a:pt x="24366" y="253308"/>
                  </a:cubicBezTo>
                  <a:cubicBezTo>
                    <a:pt x="24063" y="253376"/>
                    <a:pt x="19351" y="253813"/>
                    <a:pt x="19351" y="253813"/>
                  </a:cubicBezTo>
                  <a:lnTo>
                    <a:pt x="16020" y="254957"/>
                  </a:lnTo>
                  <a:cubicBezTo>
                    <a:pt x="16020" y="254957"/>
                    <a:pt x="14135" y="258926"/>
                    <a:pt x="13697" y="259431"/>
                  </a:cubicBezTo>
                  <a:cubicBezTo>
                    <a:pt x="13260" y="259935"/>
                    <a:pt x="10938" y="261819"/>
                    <a:pt x="10870" y="262391"/>
                  </a:cubicBezTo>
                  <a:cubicBezTo>
                    <a:pt x="10803" y="262963"/>
                    <a:pt x="9524" y="266596"/>
                    <a:pt x="9524" y="266596"/>
                  </a:cubicBezTo>
                  <a:lnTo>
                    <a:pt x="8683" y="272685"/>
                  </a:lnTo>
                  <a:lnTo>
                    <a:pt x="8683" y="276520"/>
                  </a:lnTo>
                  <a:lnTo>
                    <a:pt x="6933" y="283315"/>
                  </a:lnTo>
                  <a:lnTo>
                    <a:pt x="6933" y="288664"/>
                  </a:lnTo>
                  <a:cubicBezTo>
                    <a:pt x="6933" y="288664"/>
                    <a:pt x="4476" y="291691"/>
                    <a:pt x="3904" y="292869"/>
                  </a:cubicBezTo>
                  <a:cubicBezTo>
                    <a:pt x="3332" y="294012"/>
                    <a:pt x="1716" y="298957"/>
                    <a:pt x="1716" y="298957"/>
                  </a:cubicBezTo>
                  <a:lnTo>
                    <a:pt x="2457" y="303028"/>
                  </a:lnTo>
                  <a:cubicBezTo>
                    <a:pt x="2457" y="303028"/>
                    <a:pt x="4207" y="308545"/>
                    <a:pt x="4779" y="309116"/>
                  </a:cubicBezTo>
                  <a:cubicBezTo>
                    <a:pt x="5351" y="309688"/>
                    <a:pt x="6361" y="314331"/>
                    <a:pt x="6361" y="314331"/>
                  </a:cubicBezTo>
                  <a:lnTo>
                    <a:pt x="8380" y="320554"/>
                  </a:lnTo>
                  <a:lnTo>
                    <a:pt x="12284" y="325196"/>
                  </a:lnTo>
                  <a:cubicBezTo>
                    <a:pt x="12284" y="325196"/>
                    <a:pt x="14471" y="327383"/>
                    <a:pt x="15481" y="327955"/>
                  </a:cubicBezTo>
                  <a:cubicBezTo>
                    <a:pt x="16491" y="328527"/>
                    <a:pt x="17366" y="328998"/>
                    <a:pt x="17366" y="328998"/>
                  </a:cubicBezTo>
                  <a:lnTo>
                    <a:pt x="19553" y="330747"/>
                  </a:lnTo>
                  <a:lnTo>
                    <a:pt x="21169" y="333371"/>
                  </a:lnTo>
                  <a:lnTo>
                    <a:pt x="21068" y="335860"/>
                  </a:lnTo>
                  <a:lnTo>
                    <a:pt x="20092" y="336835"/>
                  </a:lnTo>
                  <a:lnTo>
                    <a:pt x="15952" y="342252"/>
                  </a:lnTo>
                  <a:cubicBezTo>
                    <a:pt x="15952" y="342252"/>
                    <a:pt x="14202" y="342891"/>
                    <a:pt x="14101" y="343227"/>
                  </a:cubicBezTo>
                  <a:cubicBezTo>
                    <a:pt x="14000" y="343563"/>
                    <a:pt x="12688" y="345178"/>
                    <a:pt x="12688" y="345178"/>
                  </a:cubicBezTo>
                  <a:cubicBezTo>
                    <a:pt x="12688" y="345178"/>
                    <a:pt x="12250" y="347466"/>
                    <a:pt x="12048" y="347903"/>
                  </a:cubicBezTo>
                  <a:cubicBezTo>
                    <a:pt x="11846" y="348340"/>
                    <a:pt x="10971" y="350191"/>
                    <a:pt x="10971" y="350191"/>
                  </a:cubicBezTo>
                  <a:cubicBezTo>
                    <a:pt x="10971" y="350191"/>
                    <a:pt x="9659" y="351603"/>
                    <a:pt x="9659" y="352142"/>
                  </a:cubicBezTo>
                  <a:cubicBezTo>
                    <a:pt x="9659" y="352680"/>
                    <a:pt x="9322" y="354194"/>
                    <a:pt x="9322" y="354194"/>
                  </a:cubicBezTo>
                  <a:cubicBezTo>
                    <a:pt x="9322" y="354194"/>
                    <a:pt x="9120" y="356582"/>
                    <a:pt x="9120" y="356918"/>
                  </a:cubicBezTo>
                  <a:cubicBezTo>
                    <a:pt x="9120" y="357255"/>
                    <a:pt x="9894" y="359946"/>
                    <a:pt x="10197" y="360081"/>
                  </a:cubicBezTo>
                  <a:cubicBezTo>
                    <a:pt x="10534" y="360181"/>
                    <a:pt x="11611" y="363007"/>
                    <a:pt x="11611" y="363007"/>
                  </a:cubicBezTo>
                  <a:lnTo>
                    <a:pt x="12923" y="365631"/>
                  </a:lnTo>
                  <a:lnTo>
                    <a:pt x="12048" y="372157"/>
                  </a:lnTo>
                  <a:lnTo>
                    <a:pt x="11409" y="374983"/>
                  </a:lnTo>
                  <a:lnTo>
                    <a:pt x="10769" y="376497"/>
                  </a:lnTo>
                  <a:lnTo>
                    <a:pt x="7168" y="380836"/>
                  </a:lnTo>
                  <a:lnTo>
                    <a:pt x="6529" y="384436"/>
                  </a:lnTo>
                  <a:cubicBezTo>
                    <a:pt x="6529" y="384436"/>
                    <a:pt x="5116" y="387800"/>
                    <a:pt x="4880" y="388338"/>
                  </a:cubicBezTo>
                  <a:cubicBezTo>
                    <a:pt x="4678" y="388876"/>
                    <a:pt x="3365" y="390625"/>
                    <a:pt x="3130" y="391063"/>
                  </a:cubicBezTo>
                  <a:cubicBezTo>
                    <a:pt x="2928" y="391500"/>
                    <a:pt x="2356" y="392240"/>
                    <a:pt x="1615" y="393451"/>
                  </a:cubicBezTo>
                  <a:cubicBezTo>
                    <a:pt x="841" y="394662"/>
                    <a:pt x="0" y="396916"/>
                    <a:pt x="0" y="399002"/>
                  </a:cubicBezTo>
                  <a:cubicBezTo>
                    <a:pt x="0" y="401054"/>
                    <a:pt x="0" y="403442"/>
                    <a:pt x="0" y="403442"/>
                  </a:cubicBezTo>
                  <a:cubicBezTo>
                    <a:pt x="0" y="403442"/>
                    <a:pt x="2389" y="406705"/>
                    <a:pt x="3904" y="408017"/>
                  </a:cubicBezTo>
                  <a:cubicBezTo>
                    <a:pt x="5418" y="409329"/>
                    <a:pt x="8481" y="412592"/>
                    <a:pt x="9558" y="413567"/>
                  </a:cubicBezTo>
                  <a:cubicBezTo>
                    <a:pt x="10635" y="414543"/>
                    <a:pt x="11846" y="415956"/>
                    <a:pt x="11846" y="415956"/>
                  </a:cubicBezTo>
                  <a:cubicBezTo>
                    <a:pt x="11846" y="415956"/>
                    <a:pt x="12923" y="417571"/>
                    <a:pt x="13058" y="418681"/>
                  </a:cubicBezTo>
                  <a:cubicBezTo>
                    <a:pt x="13159" y="419757"/>
                    <a:pt x="13058" y="423996"/>
                    <a:pt x="13058" y="424433"/>
                  </a:cubicBezTo>
                  <a:cubicBezTo>
                    <a:pt x="13058" y="424871"/>
                    <a:pt x="12082" y="429311"/>
                    <a:pt x="12082" y="429311"/>
                  </a:cubicBezTo>
                  <a:lnTo>
                    <a:pt x="12520" y="433886"/>
                  </a:lnTo>
                  <a:cubicBezTo>
                    <a:pt x="12520" y="433886"/>
                    <a:pt x="12856" y="436476"/>
                    <a:pt x="12856" y="436913"/>
                  </a:cubicBezTo>
                  <a:cubicBezTo>
                    <a:pt x="12856" y="437351"/>
                    <a:pt x="13630" y="440378"/>
                    <a:pt x="13731" y="440715"/>
                  </a:cubicBezTo>
                  <a:cubicBezTo>
                    <a:pt x="13832" y="441051"/>
                    <a:pt x="15919" y="443103"/>
                    <a:pt x="16121" y="443978"/>
                  </a:cubicBezTo>
                  <a:cubicBezTo>
                    <a:pt x="16322" y="444852"/>
                    <a:pt x="18173" y="446602"/>
                    <a:pt x="20024" y="448015"/>
                  </a:cubicBezTo>
                  <a:cubicBezTo>
                    <a:pt x="21875" y="449427"/>
                    <a:pt x="24029" y="450403"/>
                    <a:pt x="24164" y="450739"/>
                  </a:cubicBezTo>
                  <a:cubicBezTo>
                    <a:pt x="24265" y="451076"/>
                    <a:pt x="26015" y="452354"/>
                    <a:pt x="26015" y="452354"/>
                  </a:cubicBezTo>
                  <a:lnTo>
                    <a:pt x="28404" y="453431"/>
                  </a:lnTo>
                  <a:lnTo>
                    <a:pt x="31669" y="455920"/>
                  </a:lnTo>
                  <a:cubicBezTo>
                    <a:pt x="31669" y="455920"/>
                    <a:pt x="33082" y="456895"/>
                    <a:pt x="33857" y="457232"/>
                  </a:cubicBezTo>
                  <a:cubicBezTo>
                    <a:pt x="34631" y="457568"/>
                    <a:pt x="36145" y="457972"/>
                    <a:pt x="37020" y="457232"/>
                  </a:cubicBezTo>
                  <a:cubicBezTo>
                    <a:pt x="37895" y="456458"/>
                    <a:pt x="38535" y="455045"/>
                    <a:pt x="38669" y="454608"/>
                  </a:cubicBezTo>
                  <a:cubicBezTo>
                    <a:pt x="38770" y="454171"/>
                    <a:pt x="39309" y="452993"/>
                    <a:pt x="39746" y="452859"/>
                  </a:cubicBezTo>
                  <a:cubicBezTo>
                    <a:pt x="40184" y="452758"/>
                    <a:pt x="40722" y="452320"/>
                    <a:pt x="40722" y="452320"/>
                  </a:cubicBezTo>
                  <a:cubicBezTo>
                    <a:pt x="40722" y="452320"/>
                    <a:pt x="44761" y="453195"/>
                    <a:pt x="45164" y="453397"/>
                  </a:cubicBezTo>
                  <a:cubicBezTo>
                    <a:pt x="45602" y="453599"/>
                    <a:pt x="47217" y="454911"/>
                    <a:pt x="48092" y="455684"/>
                  </a:cubicBezTo>
                  <a:cubicBezTo>
                    <a:pt x="48967" y="456458"/>
                    <a:pt x="49741" y="457534"/>
                    <a:pt x="51357" y="458948"/>
                  </a:cubicBezTo>
                  <a:cubicBezTo>
                    <a:pt x="52972" y="460360"/>
                    <a:pt x="55496" y="461773"/>
                    <a:pt x="55496" y="461773"/>
                  </a:cubicBezTo>
                  <a:lnTo>
                    <a:pt x="56809" y="462547"/>
                  </a:lnTo>
                  <a:cubicBezTo>
                    <a:pt x="56809" y="462547"/>
                    <a:pt x="60847" y="465474"/>
                    <a:pt x="61689" y="466012"/>
                  </a:cubicBezTo>
                  <a:cubicBezTo>
                    <a:pt x="62564" y="466550"/>
                    <a:pt x="61150" y="466113"/>
                    <a:pt x="63876" y="466651"/>
                  </a:cubicBezTo>
                  <a:cubicBezTo>
                    <a:pt x="66602" y="467189"/>
                    <a:pt x="69867" y="468602"/>
                    <a:pt x="69867" y="468602"/>
                  </a:cubicBezTo>
                  <a:cubicBezTo>
                    <a:pt x="69867" y="468602"/>
                    <a:pt x="73030" y="470015"/>
                    <a:pt x="73905" y="470553"/>
                  </a:cubicBezTo>
                  <a:cubicBezTo>
                    <a:pt x="74780" y="471091"/>
                    <a:pt x="77506" y="473581"/>
                    <a:pt x="77506" y="473581"/>
                  </a:cubicBezTo>
                  <a:lnTo>
                    <a:pt x="79257" y="476171"/>
                  </a:lnTo>
                  <a:lnTo>
                    <a:pt x="80031" y="479198"/>
                  </a:lnTo>
                  <a:lnTo>
                    <a:pt x="81781" y="482462"/>
                  </a:lnTo>
                  <a:cubicBezTo>
                    <a:pt x="81781" y="482462"/>
                    <a:pt x="82656" y="484648"/>
                    <a:pt x="82757" y="485085"/>
                  </a:cubicBezTo>
                  <a:cubicBezTo>
                    <a:pt x="82858" y="485523"/>
                    <a:pt x="84372" y="489761"/>
                    <a:pt x="84372" y="489761"/>
                  </a:cubicBezTo>
                  <a:lnTo>
                    <a:pt x="85987" y="493798"/>
                  </a:lnTo>
                  <a:lnTo>
                    <a:pt x="87939" y="495985"/>
                  </a:lnTo>
                  <a:lnTo>
                    <a:pt x="89891" y="499012"/>
                  </a:lnTo>
                  <a:lnTo>
                    <a:pt x="92180" y="503352"/>
                  </a:lnTo>
                  <a:cubicBezTo>
                    <a:pt x="92180" y="503352"/>
                    <a:pt x="92281" y="503991"/>
                    <a:pt x="93055" y="505303"/>
                  </a:cubicBezTo>
                  <a:cubicBezTo>
                    <a:pt x="93829" y="506615"/>
                    <a:pt x="96858" y="512266"/>
                    <a:pt x="97194" y="513242"/>
                  </a:cubicBezTo>
                  <a:cubicBezTo>
                    <a:pt x="97531" y="514217"/>
                    <a:pt x="97834" y="515630"/>
                    <a:pt x="98507" y="516606"/>
                  </a:cubicBezTo>
                  <a:cubicBezTo>
                    <a:pt x="99146" y="517581"/>
                    <a:pt x="101334" y="518792"/>
                    <a:pt x="101570" y="519230"/>
                  </a:cubicBezTo>
                  <a:cubicBezTo>
                    <a:pt x="101771" y="519667"/>
                    <a:pt x="102445" y="521282"/>
                    <a:pt x="102747" y="521719"/>
                  </a:cubicBezTo>
                  <a:cubicBezTo>
                    <a:pt x="103084" y="522156"/>
                    <a:pt x="108839" y="526933"/>
                    <a:pt x="108839" y="526933"/>
                  </a:cubicBezTo>
                  <a:lnTo>
                    <a:pt x="113079" y="531710"/>
                  </a:lnTo>
                  <a:lnTo>
                    <a:pt x="117858" y="535309"/>
                  </a:lnTo>
                  <a:lnTo>
                    <a:pt x="121998" y="539010"/>
                  </a:lnTo>
                  <a:lnTo>
                    <a:pt x="129402" y="544123"/>
                  </a:lnTo>
                  <a:lnTo>
                    <a:pt x="134181" y="547487"/>
                  </a:lnTo>
                  <a:lnTo>
                    <a:pt x="137445" y="551187"/>
                  </a:lnTo>
                  <a:lnTo>
                    <a:pt x="144412" y="557377"/>
                  </a:lnTo>
                  <a:lnTo>
                    <a:pt x="147878" y="560741"/>
                  </a:lnTo>
                  <a:lnTo>
                    <a:pt x="151244" y="565753"/>
                  </a:lnTo>
                  <a:lnTo>
                    <a:pt x="153431" y="570766"/>
                  </a:lnTo>
                  <a:lnTo>
                    <a:pt x="158008" y="574802"/>
                  </a:lnTo>
                  <a:lnTo>
                    <a:pt x="159085" y="575442"/>
                  </a:lnTo>
                  <a:lnTo>
                    <a:pt x="161138" y="578772"/>
                  </a:lnTo>
                  <a:lnTo>
                    <a:pt x="163090" y="579916"/>
                  </a:lnTo>
                  <a:lnTo>
                    <a:pt x="166220" y="579916"/>
                  </a:lnTo>
                  <a:lnTo>
                    <a:pt x="167095" y="580992"/>
                  </a:lnTo>
                  <a:lnTo>
                    <a:pt x="170124" y="584591"/>
                  </a:lnTo>
                  <a:lnTo>
                    <a:pt x="170360" y="586879"/>
                  </a:lnTo>
                  <a:lnTo>
                    <a:pt x="170561" y="589166"/>
                  </a:lnTo>
                  <a:cubicBezTo>
                    <a:pt x="170561" y="589166"/>
                    <a:pt x="170797" y="590478"/>
                    <a:pt x="170662" y="590916"/>
                  </a:cubicBezTo>
                  <a:cubicBezTo>
                    <a:pt x="170561" y="591353"/>
                    <a:pt x="170561" y="593842"/>
                    <a:pt x="170561" y="593842"/>
                  </a:cubicBezTo>
                  <a:lnTo>
                    <a:pt x="170561" y="596466"/>
                  </a:lnTo>
                  <a:cubicBezTo>
                    <a:pt x="170561" y="596466"/>
                    <a:pt x="170662" y="599494"/>
                    <a:pt x="170797" y="600267"/>
                  </a:cubicBezTo>
                  <a:cubicBezTo>
                    <a:pt x="170898" y="601008"/>
                    <a:pt x="171571" y="601680"/>
                    <a:pt x="171874" y="602757"/>
                  </a:cubicBezTo>
                  <a:cubicBezTo>
                    <a:pt x="172211" y="603833"/>
                    <a:pt x="172749" y="604170"/>
                    <a:pt x="172951" y="604809"/>
                  </a:cubicBezTo>
                  <a:cubicBezTo>
                    <a:pt x="173153" y="605448"/>
                    <a:pt x="174028" y="606995"/>
                    <a:pt x="174129" y="607635"/>
                  </a:cubicBezTo>
                  <a:cubicBezTo>
                    <a:pt x="174230" y="608274"/>
                    <a:pt x="174903" y="609586"/>
                    <a:pt x="175206" y="610225"/>
                  </a:cubicBezTo>
                  <a:cubicBezTo>
                    <a:pt x="175542" y="610864"/>
                    <a:pt x="176182" y="612512"/>
                    <a:pt x="176182" y="612512"/>
                  </a:cubicBezTo>
                  <a:cubicBezTo>
                    <a:pt x="176182" y="612512"/>
                    <a:pt x="176821" y="613690"/>
                    <a:pt x="177393" y="614026"/>
                  </a:cubicBezTo>
                  <a:cubicBezTo>
                    <a:pt x="177932" y="614362"/>
                    <a:pt x="177595" y="614564"/>
                    <a:pt x="178470" y="614564"/>
                  </a:cubicBezTo>
                  <a:cubicBezTo>
                    <a:pt x="179345" y="614564"/>
                    <a:pt x="180321" y="614228"/>
                    <a:pt x="180961" y="614564"/>
                  </a:cubicBezTo>
                  <a:cubicBezTo>
                    <a:pt x="181600" y="614901"/>
                    <a:pt x="183014" y="615203"/>
                    <a:pt x="183014" y="615203"/>
                  </a:cubicBezTo>
                  <a:cubicBezTo>
                    <a:pt x="183014" y="615203"/>
                    <a:pt x="184865" y="615405"/>
                    <a:pt x="185504" y="615203"/>
                  </a:cubicBezTo>
                  <a:cubicBezTo>
                    <a:pt x="186144" y="615002"/>
                    <a:pt x="187557" y="614665"/>
                    <a:pt x="187557" y="614665"/>
                  </a:cubicBezTo>
                  <a:cubicBezTo>
                    <a:pt x="187557" y="614665"/>
                    <a:pt x="187456" y="615540"/>
                    <a:pt x="188331" y="614463"/>
                  </a:cubicBezTo>
                  <a:cubicBezTo>
                    <a:pt x="189206" y="613387"/>
                    <a:pt x="188970" y="614262"/>
                    <a:pt x="189206" y="613387"/>
                  </a:cubicBezTo>
                  <a:cubicBezTo>
                    <a:pt x="189408" y="612512"/>
                    <a:pt x="189644" y="610898"/>
                    <a:pt x="189644" y="610898"/>
                  </a:cubicBezTo>
                  <a:cubicBezTo>
                    <a:pt x="189644" y="610898"/>
                    <a:pt x="189845" y="610124"/>
                    <a:pt x="189980" y="609821"/>
                  </a:cubicBezTo>
                  <a:cubicBezTo>
                    <a:pt x="190081" y="609485"/>
                    <a:pt x="190182" y="608610"/>
                    <a:pt x="190182" y="607870"/>
                  </a:cubicBezTo>
                  <a:cubicBezTo>
                    <a:pt x="190182" y="607096"/>
                    <a:pt x="190283" y="605818"/>
                    <a:pt x="190283" y="605818"/>
                  </a:cubicBezTo>
                  <a:cubicBezTo>
                    <a:pt x="190283" y="605818"/>
                    <a:pt x="191057" y="604843"/>
                    <a:pt x="191360" y="604742"/>
                  </a:cubicBezTo>
                  <a:cubicBezTo>
                    <a:pt x="191696" y="604641"/>
                    <a:pt x="191360" y="603430"/>
                    <a:pt x="191898" y="602891"/>
                  </a:cubicBezTo>
                  <a:cubicBezTo>
                    <a:pt x="192437" y="602353"/>
                    <a:pt x="193850" y="601277"/>
                    <a:pt x="193850" y="601277"/>
                  </a:cubicBezTo>
                  <a:lnTo>
                    <a:pt x="196576" y="599864"/>
                  </a:lnTo>
                  <a:lnTo>
                    <a:pt x="199168" y="598989"/>
                  </a:lnTo>
                  <a:lnTo>
                    <a:pt x="201793" y="597476"/>
                  </a:lnTo>
                  <a:lnTo>
                    <a:pt x="203644" y="596164"/>
                  </a:lnTo>
                  <a:cubicBezTo>
                    <a:pt x="203644" y="596164"/>
                    <a:pt x="204182" y="596164"/>
                    <a:pt x="205057" y="595625"/>
                  </a:cubicBezTo>
                  <a:cubicBezTo>
                    <a:pt x="205932" y="595087"/>
                    <a:pt x="206269" y="593775"/>
                    <a:pt x="206908" y="593573"/>
                  </a:cubicBezTo>
                  <a:cubicBezTo>
                    <a:pt x="207548" y="593371"/>
                    <a:pt x="208524" y="593371"/>
                    <a:pt x="208961" y="593035"/>
                  </a:cubicBezTo>
                  <a:cubicBezTo>
                    <a:pt x="209399" y="592699"/>
                    <a:pt x="209937" y="592497"/>
                    <a:pt x="210577" y="592396"/>
                  </a:cubicBezTo>
                  <a:cubicBezTo>
                    <a:pt x="211216" y="592295"/>
                    <a:pt x="212091" y="592194"/>
                    <a:pt x="212091" y="591757"/>
                  </a:cubicBezTo>
                  <a:cubicBezTo>
                    <a:pt x="212091" y="591319"/>
                    <a:pt x="212293" y="589907"/>
                    <a:pt x="212293" y="589469"/>
                  </a:cubicBezTo>
                  <a:cubicBezTo>
                    <a:pt x="212293" y="589032"/>
                    <a:pt x="212192" y="588931"/>
                    <a:pt x="212192" y="587283"/>
                  </a:cubicBezTo>
                  <a:cubicBezTo>
                    <a:pt x="212192" y="585634"/>
                    <a:pt x="212293" y="584255"/>
                    <a:pt x="212293" y="584255"/>
                  </a:cubicBezTo>
                  <a:lnTo>
                    <a:pt x="212495" y="582943"/>
                  </a:lnTo>
                  <a:lnTo>
                    <a:pt x="213033" y="581732"/>
                  </a:lnTo>
                  <a:lnTo>
                    <a:pt x="213808" y="580117"/>
                  </a:lnTo>
                  <a:cubicBezTo>
                    <a:pt x="213808" y="580117"/>
                    <a:pt x="215019" y="579243"/>
                    <a:pt x="215659" y="579142"/>
                  </a:cubicBezTo>
                  <a:cubicBezTo>
                    <a:pt x="216298" y="579041"/>
                    <a:pt x="218250" y="578267"/>
                    <a:pt x="218250" y="578267"/>
                  </a:cubicBezTo>
                  <a:lnTo>
                    <a:pt x="219462" y="578065"/>
                  </a:lnTo>
                  <a:lnTo>
                    <a:pt x="220774" y="578839"/>
                  </a:lnTo>
                  <a:cubicBezTo>
                    <a:pt x="220774" y="578839"/>
                    <a:pt x="222087" y="578637"/>
                    <a:pt x="222288" y="579075"/>
                  </a:cubicBezTo>
                  <a:cubicBezTo>
                    <a:pt x="222490" y="579512"/>
                    <a:pt x="223063" y="580689"/>
                    <a:pt x="223365" y="580925"/>
                  </a:cubicBezTo>
                  <a:cubicBezTo>
                    <a:pt x="223702" y="581160"/>
                    <a:pt x="224341" y="581564"/>
                    <a:pt x="224577" y="581900"/>
                  </a:cubicBezTo>
                  <a:cubicBezTo>
                    <a:pt x="224813" y="582237"/>
                    <a:pt x="226630" y="583852"/>
                    <a:pt x="226966" y="583952"/>
                  </a:cubicBezTo>
                  <a:cubicBezTo>
                    <a:pt x="227303" y="584053"/>
                    <a:pt x="227303" y="583515"/>
                    <a:pt x="228043" y="583078"/>
                  </a:cubicBezTo>
                  <a:cubicBezTo>
                    <a:pt x="228817" y="582640"/>
                    <a:pt x="228918" y="582977"/>
                    <a:pt x="229659" y="582001"/>
                  </a:cubicBezTo>
                  <a:cubicBezTo>
                    <a:pt x="230433" y="581026"/>
                    <a:pt x="229861" y="581463"/>
                    <a:pt x="230433" y="581026"/>
                  </a:cubicBezTo>
                  <a:cubicBezTo>
                    <a:pt x="230971" y="580588"/>
                    <a:pt x="231914" y="580218"/>
                    <a:pt x="231914" y="580218"/>
                  </a:cubicBezTo>
                  <a:lnTo>
                    <a:pt x="233596" y="579781"/>
                  </a:lnTo>
                  <a:lnTo>
                    <a:pt x="236323" y="579714"/>
                  </a:lnTo>
                  <a:lnTo>
                    <a:pt x="237837" y="580353"/>
                  </a:lnTo>
                  <a:cubicBezTo>
                    <a:pt x="237837" y="580353"/>
                    <a:pt x="239049" y="582102"/>
                    <a:pt x="239183" y="582270"/>
                  </a:cubicBezTo>
                  <a:cubicBezTo>
                    <a:pt x="239351" y="582438"/>
                    <a:pt x="241573" y="584827"/>
                    <a:pt x="241573" y="584827"/>
                  </a:cubicBezTo>
                  <a:lnTo>
                    <a:pt x="243693" y="587754"/>
                  </a:lnTo>
                  <a:lnTo>
                    <a:pt x="245645" y="590075"/>
                  </a:lnTo>
                  <a:lnTo>
                    <a:pt x="250592" y="595053"/>
                  </a:lnTo>
                  <a:lnTo>
                    <a:pt x="255337" y="597711"/>
                  </a:lnTo>
                  <a:cubicBezTo>
                    <a:pt x="255337" y="597711"/>
                    <a:pt x="259208" y="600200"/>
                    <a:pt x="259409" y="600200"/>
                  </a:cubicBezTo>
                  <a:cubicBezTo>
                    <a:pt x="259611" y="600200"/>
                    <a:pt x="261698" y="600402"/>
                    <a:pt x="262405" y="600570"/>
                  </a:cubicBezTo>
                  <a:cubicBezTo>
                    <a:pt x="263112" y="600738"/>
                    <a:pt x="266309" y="600839"/>
                    <a:pt x="266915" y="600839"/>
                  </a:cubicBezTo>
                  <a:cubicBezTo>
                    <a:pt x="267520" y="600839"/>
                    <a:pt x="270448" y="600839"/>
                    <a:pt x="270448" y="600839"/>
                  </a:cubicBezTo>
                  <a:lnTo>
                    <a:pt x="271761" y="600974"/>
                  </a:lnTo>
                  <a:lnTo>
                    <a:pt x="274083" y="602151"/>
                  </a:lnTo>
                  <a:cubicBezTo>
                    <a:pt x="274083" y="602151"/>
                    <a:pt x="274958" y="602656"/>
                    <a:pt x="275160" y="603228"/>
                  </a:cubicBezTo>
                  <a:cubicBezTo>
                    <a:pt x="275362" y="603800"/>
                    <a:pt x="276102" y="606054"/>
                    <a:pt x="276102" y="606054"/>
                  </a:cubicBezTo>
                  <a:cubicBezTo>
                    <a:pt x="276102" y="606054"/>
                    <a:pt x="276237" y="607635"/>
                    <a:pt x="276237" y="608005"/>
                  </a:cubicBezTo>
                  <a:cubicBezTo>
                    <a:pt x="276237" y="608375"/>
                    <a:pt x="275867" y="609518"/>
                    <a:pt x="275867" y="609754"/>
                  </a:cubicBezTo>
                  <a:cubicBezTo>
                    <a:pt x="275867" y="609956"/>
                    <a:pt x="275294" y="612075"/>
                    <a:pt x="275294" y="612075"/>
                  </a:cubicBezTo>
                  <a:lnTo>
                    <a:pt x="274924" y="614026"/>
                  </a:lnTo>
                  <a:cubicBezTo>
                    <a:pt x="274924" y="614026"/>
                    <a:pt x="274722" y="615977"/>
                    <a:pt x="274722" y="616616"/>
                  </a:cubicBezTo>
                  <a:cubicBezTo>
                    <a:pt x="274722" y="617256"/>
                    <a:pt x="274722" y="618803"/>
                    <a:pt x="274588" y="619139"/>
                  </a:cubicBezTo>
                  <a:cubicBezTo>
                    <a:pt x="274453" y="619509"/>
                    <a:pt x="274520" y="620956"/>
                    <a:pt x="274520" y="620956"/>
                  </a:cubicBezTo>
                  <a:cubicBezTo>
                    <a:pt x="274520" y="620956"/>
                    <a:pt x="275463" y="623075"/>
                    <a:pt x="275463" y="623479"/>
                  </a:cubicBezTo>
                  <a:cubicBezTo>
                    <a:pt x="275463" y="623916"/>
                    <a:pt x="276102" y="625430"/>
                    <a:pt x="276102" y="625430"/>
                  </a:cubicBezTo>
                  <a:lnTo>
                    <a:pt x="277482" y="630274"/>
                  </a:lnTo>
                  <a:cubicBezTo>
                    <a:pt x="277482" y="630274"/>
                    <a:pt x="277785" y="632898"/>
                    <a:pt x="277785" y="633167"/>
                  </a:cubicBezTo>
                  <a:cubicBezTo>
                    <a:pt x="277785" y="633470"/>
                    <a:pt x="278290" y="635253"/>
                    <a:pt x="278357" y="635556"/>
                  </a:cubicBezTo>
                  <a:cubicBezTo>
                    <a:pt x="278424" y="635858"/>
                    <a:pt x="280174" y="637372"/>
                    <a:pt x="280174" y="637372"/>
                  </a:cubicBezTo>
                  <a:lnTo>
                    <a:pt x="281622" y="639390"/>
                  </a:lnTo>
                  <a:cubicBezTo>
                    <a:pt x="281622" y="639390"/>
                    <a:pt x="282126" y="639761"/>
                    <a:pt x="282429" y="639895"/>
                  </a:cubicBezTo>
                  <a:cubicBezTo>
                    <a:pt x="282732" y="640030"/>
                    <a:pt x="284886" y="641207"/>
                    <a:pt x="284886" y="641207"/>
                  </a:cubicBezTo>
                  <a:lnTo>
                    <a:pt x="286973" y="642519"/>
                  </a:lnTo>
                  <a:lnTo>
                    <a:pt x="290002" y="643966"/>
                  </a:lnTo>
                  <a:lnTo>
                    <a:pt x="293905" y="646421"/>
                  </a:lnTo>
                  <a:cubicBezTo>
                    <a:pt x="293905" y="646421"/>
                    <a:pt x="297607" y="648742"/>
                    <a:pt x="297877" y="649045"/>
                  </a:cubicBezTo>
                  <a:cubicBezTo>
                    <a:pt x="298180" y="649348"/>
                    <a:pt x="302285" y="652745"/>
                    <a:pt x="302285" y="652745"/>
                  </a:cubicBezTo>
                  <a:cubicBezTo>
                    <a:pt x="302285" y="652745"/>
                    <a:pt x="303295" y="654697"/>
                    <a:pt x="303531" y="655134"/>
                  </a:cubicBezTo>
                  <a:cubicBezTo>
                    <a:pt x="303733" y="655571"/>
                    <a:pt x="305718" y="659036"/>
                    <a:pt x="306290" y="660045"/>
                  </a:cubicBezTo>
                  <a:cubicBezTo>
                    <a:pt x="306862" y="661054"/>
                    <a:pt x="310127" y="665259"/>
                    <a:pt x="310497" y="665999"/>
                  </a:cubicBezTo>
                  <a:cubicBezTo>
                    <a:pt x="310867" y="666706"/>
                    <a:pt x="312685" y="669767"/>
                    <a:pt x="312685" y="669767"/>
                  </a:cubicBezTo>
                  <a:cubicBezTo>
                    <a:pt x="312685" y="669767"/>
                    <a:pt x="314435" y="673030"/>
                    <a:pt x="314435" y="673333"/>
                  </a:cubicBezTo>
                  <a:cubicBezTo>
                    <a:pt x="314435" y="673635"/>
                    <a:pt x="314805" y="677100"/>
                    <a:pt x="314805" y="677807"/>
                  </a:cubicBezTo>
                  <a:cubicBezTo>
                    <a:pt x="314805" y="678547"/>
                    <a:pt x="314805" y="681642"/>
                    <a:pt x="314805" y="681642"/>
                  </a:cubicBezTo>
                  <a:lnTo>
                    <a:pt x="317262" y="684669"/>
                  </a:lnTo>
                  <a:cubicBezTo>
                    <a:pt x="317262" y="684669"/>
                    <a:pt x="319887" y="687125"/>
                    <a:pt x="320223" y="687630"/>
                  </a:cubicBezTo>
                  <a:cubicBezTo>
                    <a:pt x="320594" y="688134"/>
                    <a:pt x="324632" y="690825"/>
                    <a:pt x="325137" y="690893"/>
                  </a:cubicBezTo>
                  <a:cubicBezTo>
                    <a:pt x="325642" y="690960"/>
                    <a:pt x="328536" y="692709"/>
                    <a:pt x="329041" y="693079"/>
                  </a:cubicBezTo>
                  <a:cubicBezTo>
                    <a:pt x="329546" y="693449"/>
                    <a:pt x="335637" y="696275"/>
                    <a:pt x="336075" y="696981"/>
                  </a:cubicBezTo>
                  <a:cubicBezTo>
                    <a:pt x="336512" y="697722"/>
                    <a:pt x="339911" y="700816"/>
                    <a:pt x="340349" y="701254"/>
                  </a:cubicBezTo>
                  <a:cubicBezTo>
                    <a:pt x="340786" y="701691"/>
                    <a:pt x="344993" y="705257"/>
                    <a:pt x="344993" y="705257"/>
                  </a:cubicBezTo>
                  <a:cubicBezTo>
                    <a:pt x="344993" y="705257"/>
                    <a:pt x="348190" y="708015"/>
                    <a:pt x="348460" y="708015"/>
                  </a:cubicBezTo>
                  <a:cubicBezTo>
                    <a:pt x="348762" y="708015"/>
                    <a:pt x="353104" y="709765"/>
                    <a:pt x="353373" y="709765"/>
                  </a:cubicBezTo>
                  <a:cubicBezTo>
                    <a:pt x="353676" y="709765"/>
                    <a:pt x="356772" y="709394"/>
                    <a:pt x="357210" y="709765"/>
                  </a:cubicBezTo>
                  <a:cubicBezTo>
                    <a:pt x="357647" y="710135"/>
                    <a:pt x="359296" y="711211"/>
                    <a:pt x="359296" y="711211"/>
                  </a:cubicBezTo>
                  <a:cubicBezTo>
                    <a:pt x="359296" y="711211"/>
                    <a:pt x="361114" y="713398"/>
                    <a:pt x="361181" y="713667"/>
                  </a:cubicBezTo>
                  <a:cubicBezTo>
                    <a:pt x="361248" y="713970"/>
                    <a:pt x="362830" y="715921"/>
                    <a:pt x="363066" y="716560"/>
                  </a:cubicBezTo>
                  <a:cubicBezTo>
                    <a:pt x="363301" y="717199"/>
                    <a:pt x="363941" y="719688"/>
                    <a:pt x="364075" y="720462"/>
                  </a:cubicBezTo>
                  <a:cubicBezTo>
                    <a:pt x="364210" y="721269"/>
                    <a:pt x="364950" y="723927"/>
                    <a:pt x="364950" y="724230"/>
                  </a:cubicBezTo>
                  <a:cubicBezTo>
                    <a:pt x="364950" y="724532"/>
                    <a:pt x="365320" y="726113"/>
                    <a:pt x="365455" y="726483"/>
                  </a:cubicBezTo>
                  <a:cubicBezTo>
                    <a:pt x="365590" y="726853"/>
                    <a:pt x="366700" y="728435"/>
                    <a:pt x="366768" y="728636"/>
                  </a:cubicBezTo>
                  <a:cubicBezTo>
                    <a:pt x="366835" y="728872"/>
                    <a:pt x="367845" y="734860"/>
                    <a:pt x="367845" y="734860"/>
                  </a:cubicBezTo>
                  <a:cubicBezTo>
                    <a:pt x="367845" y="734860"/>
                    <a:pt x="367979" y="736441"/>
                    <a:pt x="368282" y="737114"/>
                  </a:cubicBezTo>
                  <a:cubicBezTo>
                    <a:pt x="368585" y="737753"/>
                    <a:pt x="371816" y="739199"/>
                    <a:pt x="371816" y="739435"/>
                  </a:cubicBezTo>
                  <a:cubicBezTo>
                    <a:pt x="371816" y="739637"/>
                    <a:pt x="373128" y="742900"/>
                    <a:pt x="373128" y="742900"/>
                  </a:cubicBezTo>
                  <a:cubicBezTo>
                    <a:pt x="373128" y="742900"/>
                    <a:pt x="374710" y="746869"/>
                    <a:pt x="374710" y="747475"/>
                  </a:cubicBezTo>
                  <a:cubicBezTo>
                    <a:pt x="374710" y="748047"/>
                    <a:pt x="375148" y="751242"/>
                    <a:pt x="375148" y="751679"/>
                  </a:cubicBezTo>
                  <a:cubicBezTo>
                    <a:pt x="375148" y="752117"/>
                    <a:pt x="375518" y="753866"/>
                    <a:pt x="375518" y="754135"/>
                  </a:cubicBezTo>
                  <a:cubicBezTo>
                    <a:pt x="375518" y="754404"/>
                    <a:pt x="376460" y="756221"/>
                    <a:pt x="376460" y="756725"/>
                  </a:cubicBezTo>
                  <a:cubicBezTo>
                    <a:pt x="376460" y="757230"/>
                    <a:pt x="377100" y="758609"/>
                    <a:pt x="377403" y="759114"/>
                  </a:cubicBezTo>
                  <a:cubicBezTo>
                    <a:pt x="377705" y="759619"/>
                    <a:pt x="379287" y="762074"/>
                    <a:pt x="379422" y="762377"/>
                  </a:cubicBezTo>
                  <a:cubicBezTo>
                    <a:pt x="379556" y="762680"/>
                    <a:pt x="380229" y="764059"/>
                    <a:pt x="380566" y="764194"/>
                  </a:cubicBezTo>
                  <a:cubicBezTo>
                    <a:pt x="380936" y="764328"/>
                    <a:pt x="383595" y="766010"/>
                    <a:pt x="383965" y="766077"/>
                  </a:cubicBezTo>
                  <a:cubicBezTo>
                    <a:pt x="384335" y="766144"/>
                    <a:pt x="384975" y="765707"/>
                    <a:pt x="385850" y="766077"/>
                  </a:cubicBezTo>
                  <a:cubicBezTo>
                    <a:pt x="386725" y="766447"/>
                    <a:pt x="387869" y="766077"/>
                    <a:pt x="388475" y="766077"/>
                  </a:cubicBezTo>
                  <a:cubicBezTo>
                    <a:pt x="389047" y="766077"/>
                    <a:pt x="389283" y="765640"/>
                    <a:pt x="389989" y="765640"/>
                  </a:cubicBezTo>
                  <a:cubicBezTo>
                    <a:pt x="390696" y="765640"/>
                    <a:pt x="390932" y="765135"/>
                    <a:pt x="391504" y="765135"/>
                  </a:cubicBezTo>
                  <a:cubicBezTo>
                    <a:pt x="392076" y="765135"/>
                    <a:pt x="392446" y="764833"/>
                    <a:pt x="393186" y="764833"/>
                  </a:cubicBezTo>
                  <a:cubicBezTo>
                    <a:pt x="393893" y="764833"/>
                    <a:pt x="394768" y="764530"/>
                    <a:pt x="395273" y="764631"/>
                  </a:cubicBezTo>
                  <a:cubicBezTo>
                    <a:pt x="395778" y="764698"/>
                    <a:pt x="396417" y="765001"/>
                    <a:pt x="396855" y="765001"/>
                  </a:cubicBezTo>
                  <a:cubicBezTo>
                    <a:pt x="397292" y="765001"/>
                    <a:pt x="397090" y="765068"/>
                    <a:pt x="398100" y="764934"/>
                  </a:cubicBezTo>
                  <a:cubicBezTo>
                    <a:pt x="399110" y="764799"/>
                    <a:pt x="399547" y="764732"/>
                    <a:pt x="400490" y="764362"/>
                  </a:cubicBezTo>
                  <a:cubicBezTo>
                    <a:pt x="401432" y="763992"/>
                    <a:pt x="401869" y="763487"/>
                    <a:pt x="402576" y="763218"/>
                  </a:cubicBezTo>
                  <a:cubicBezTo>
                    <a:pt x="403317" y="762949"/>
                    <a:pt x="403014" y="762579"/>
                    <a:pt x="403889" y="762343"/>
                  </a:cubicBezTo>
                  <a:cubicBezTo>
                    <a:pt x="404764" y="762142"/>
                    <a:pt x="404023" y="761704"/>
                    <a:pt x="405773" y="761536"/>
                  </a:cubicBezTo>
                  <a:cubicBezTo>
                    <a:pt x="407523" y="761401"/>
                    <a:pt x="408903" y="760729"/>
                    <a:pt x="409475" y="760729"/>
                  </a:cubicBezTo>
                  <a:cubicBezTo>
                    <a:pt x="410047" y="760729"/>
                    <a:pt x="414692" y="760594"/>
                    <a:pt x="414692" y="760594"/>
                  </a:cubicBezTo>
                  <a:cubicBezTo>
                    <a:pt x="414692" y="760594"/>
                    <a:pt x="415870" y="760460"/>
                    <a:pt x="417014" y="760527"/>
                  </a:cubicBezTo>
                  <a:cubicBezTo>
                    <a:pt x="418158" y="760594"/>
                    <a:pt x="421086" y="760594"/>
                    <a:pt x="421288" y="760661"/>
                  </a:cubicBezTo>
                  <a:cubicBezTo>
                    <a:pt x="421490" y="760729"/>
                    <a:pt x="427077" y="764194"/>
                    <a:pt x="427077" y="764194"/>
                  </a:cubicBezTo>
                  <a:cubicBezTo>
                    <a:pt x="427077" y="764194"/>
                    <a:pt x="428894" y="764126"/>
                    <a:pt x="429163" y="764126"/>
                  </a:cubicBezTo>
                  <a:cubicBezTo>
                    <a:pt x="429466" y="764126"/>
                    <a:pt x="432865" y="766279"/>
                    <a:pt x="433067" y="766245"/>
                  </a:cubicBezTo>
                  <a:cubicBezTo>
                    <a:pt x="433269" y="766245"/>
                    <a:pt x="434885" y="768331"/>
                    <a:pt x="434885" y="768331"/>
                  </a:cubicBezTo>
                  <a:cubicBezTo>
                    <a:pt x="434885" y="768331"/>
                    <a:pt x="435760" y="769845"/>
                    <a:pt x="435961" y="770013"/>
                  </a:cubicBezTo>
                  <a:cubicBezTo>
                    <a:pt x="436163" y="770148"/>
                    <a:pt x="436601" y="771527"/>
                    <a:pt x="436601" y="771527"/>
                  </a:cubicBezTo>
                  <a:lnTo>
                    <a:pt x="437173" y="773041"/>
                  </a:lnTo>
                  <a:cubicBezTo>
                    <a:pt x="437173" y="773041"/>
                    <a:pt x="437308" y="773747"/>
                    <a:pt x="437308" y="774353"/>
                  </a:cubicBezTo>
                  <a:cubicBezTo>
                    <a:pt x="437308" y="774925"/>
                    <a:pt x="437510" y="776371"/>
                    <a:pt x="437812" y="776808"/>
                  </a:cubicBezTo>
                  <a:cubicBezTo>
                    <a:pt x="438115" y="777246"/>
                    <a:pt x="439394" y="780206"/>
                    <a:pt x="439394" y="780206"/>
                  </a:cubicBezTo>
                  <a:lnTo>
                    <a:pt x="440034" y="783974"/>
                  </a:lnTo>
                  <a:lnTo>
                    <a:pt x="440303" y="789188"/>
                  </a:lnTo>
                  <a:lnTo>
                    <a:pt x="439832" y="792653"/>
                  </a:lnTo>
                  <a:lnTo>
                    <a:pt x="439832" y="798069"/>
                  </a:lnTo>
                  <a:lnTo>
                    <a:pt x="440269" y="805671"/>
                  </a:lnTo>
                  <a:lnTo>
                    <a:pt x="441043" y="812096"/>
                  </a:lnTo>
                  <a:lnTo>
                    <a:pt x="441279" y="815359"/>
                  </a:lnTo>
                  <a:lnTo>
                    <a:pt x="444207" y="821011"/>
                  </a:lnTo>
                  <a:lnTo>
                    <a:pt x="445957" y="821885"/>
                  </a:lnTo>
                  <a:lnTo>
                    <a:pt x="447471" y="824375"/>
                  </a:lnTo>
                  <a:cubicBezTo>
                    <a:pt x="447471" y="824375"/>
                    <a:pt x="449524" y="828176"/>
                    <a:pt x="450096" y="828714"/>
                  </a:cubicBezTo>
                  <a:cubicBezTo>
                    <a:pt x="450635" y="829252"/>
                    <a:pt x="454101" y="830665"/>
                    <a:pt x="454539" y="830901"/>
                  </a:cubicBezTo>
                  <a:cubicBezTo>
                    <a:pt x="454976" y="831103"/>
                    <a:pt x="456390" y="832650"/>
                    <a:pt x="456592" y="833390"/>
                  </a:cubicBezTo>
                  <a:cubicBezTo>
                    <a:pt x="456794" y="834164"/>
                    <a:pt x="456794" y="836216"/>
                    <a:pt x="456794" y="836216"/>
                  </a:cubicBezTo>
                  <a:lnTo>
                    <a:pt x="457231" y="838604"/>
                  </a:lnTo>
                  <a:cubicBezTo>
                    <a:pt x="457231" y="838604"/>
                    <a:pt x="461909" y="839916"/>
                    <a:pt x="463222" y="841094"/>
                  </a:cubicBezTo>
                  <a:cubicBezTo>
                    <a:pt x="464534" y="842271"/>
                    <a:pt x="467227" y="843482"/>
                    <a:pt x="467227" y="843482"/>
                  </a:cubicBezTo>
                  <a:cubicBezTo>
                    <a:pt x="467227" y="843482"/>
                    <a:pt x="468102" y="842944"/>
                    <a:pt x="468539" y="843482"/>
                  </a:cubicBezTo>
                  <a:cubicBezTo>
                    <a:pt x="468977" y="844020"/>
                    <a:pt x="469414" y="844794"/>
                    <a:pt x="469852" y="845870"/>
                  </a:cubicBezTo>
                  <a:cubicBezTo>
                    <a:pt x="470289" y="846947"/>
                    <a:pt x="471265" y="849470"/>
                    <a:pt x="471265" y="849470"/>
                  </a:cubicBezTo>
                  <a:lnTo>
                    <a:pt x="476482" y="855323"/>
                  </a:lnTo>
                  <a:cubicBezTo>
                    <a:pt x="476482" y="855323"/>
                    <a:pt x="479645" y="859663"/>
                    <a:pt x="480285" y="860436"/>
                  </a:cubicBezTo>
                  <a:cubicBezTo>
                    <a:pt x="480924" y="861210"/>
                    <a:pt x="482472" y="863599"/>
                    <a:pt x="483448" y="864036"/>
                  </a:cubicBezTo>
                  <a:cubicBezTo>
                    <a:pt x="484424" y="864473"/>
                    <a:pt x="486275" y="865247"/>
                    <a:pt x="487891" y="865247"/>
                  </a:cubicBezTo>
                  <a:cubicBezTo>
                    <a:pt x="489506" y="865247"/>
                    <a:pt x="490617" y="864709"/>
                    <a:pt x="491256" y="865247"/>
                  </a:cubicBezTo>
                  <a:cubicBezTo>
                    <a:pt x="491895" y="865785"/>
                    <a:pt x="496371" y="867534"/>
                    <a:pt x="496371" y="867534"/>
                  </a:cubicBezTo>
                  <a:cubicBezTo>
                    <a:pt x="496371" y="867534"/>
                    <a:pt x="498424" y="867198"/>
                    <a:pt x="498996" y="866996"/>
                  </a:cubicBezTo>
                  <a:cubicBezTo>
                    <a:pt x="499535" y="866794"/>
                    <a:pt x="498996" y="866458"/>
                    <a:pt x="500073" y="866021"/>
                  </a:cubicBezTo>
                  <a:cubicBezTo>
                    <a:pt x="501150" y="865583"/>
                    <a:pt x="501386" y="865583"/>
                    <a:pt x="501824" y="865381"/>
                  </a:cubicBezTo>
                  <a:cubicBezTo>
                    <a:pt x="502261" y="865146"/>
                    <a:pt x="503237" y="864170"/>
                    <a:pt x="503237" y="864170"/>
                  </a:cubicBezTo>
                  <a:lnTo>
                    <a:pt x="504011" y="863397"/>
                  </a:lnTo>
                  <a:lnTo>
                    <a:pt x="505761" y="862085"/>
                  </a:lnTo>
                  <a:cubicBezTo>
                    <a:pt x="505761" y="862085"/>
                    <a:pt x="506737" y="861311"/>
                    <a:pt x="506838" y="861042"/>
                  </a:cubicBezTo>
                  <a:cubicBezTo>
                    <a:pt x="506939" y="860773"/>
                    <a:pt x="507545" y="860235"/>
                    <a:pt x="508083" y="860235"/>
                  </a:cubicBezTo>
                  <a:cubicBezTo>
                    <a:pt x="508622" y="860235"/>
                    <a:pt x="510540" y="860066"/>
                    <a:pt x="510843" y="859999"/>
                  </a:cubicBezTo>
                  <a:cubicBezTo>
                    <a:pt x="511179" y="859932"/>
                    <a:pt x="513232" y="859932"/>
                    <a:pt x="513434" y="859932"/>
                  </a:cubicBezTo>
                  <a:cubicBezTo>
                    <a:pt x="513670" y="859932"/>
                    <a:pt x="515218" y="860033"/>
                    <a:pt x="515386" y="860033"/>
                  </a:cubicBezTo>
                  <a:cubicBezTo>
                    <a:pt x="515555" y="860033"/>
                    <a:pt x="516194" y="860369"/>
                    <a:pt x="516362" y="860504"/>
                  </a:cubicBezTo>
                  <a:cubicBezTo>
                    <a:pt x="516531" y="860672"/>
                    <a:pt x="517170" y="861412"/>
                    <a:pt x="517506" y="861479"/>
                  </a:cubicBezTo>
                  <a:cubicBezTo>
                    <a:pt x="517843" y="861547"/>
                    <a:pt x="518550" y="862522"/>
                    <a:pt x="518718" y="862623"/>
                  </a:cubicBezTo>
                  <a:cubicBezTo>
                    <a:pt x="518886" y="862724"/>
                    <a:pt x="519761" y="863767"/>
                    <a:pt x="519930" y="864036"/>
                  </a:cubicBezTo>
                  <a:cubicBezTo>
                    <a:pt x="520098" y="864305"/>
                    <a:pt x="520704" y="865516"/>
                    <a:pt x="520704" y="865516"/>
                  </a:cubicBezTo>
                  <a:cubicBezTo>
                    <a:pt x="520704" y="865516"/>
                    <a:pt x="520872" y="867198"/>
                    <a:pt x="520872" y="867467"/>
                  </a:cubicBezTo>
                  <a:cubicBezTo>
                    <a:pt x="520872" y="867736"/>
                    <a:pt x="520805" y="868880"/>
                    <a:pt x="520805" y="868880"/>
                  </a:cubicBezTo>
                  <a:cubicBezTo>
                    <a:pt x="520805" y="868880"/>
                    <a:pt x="520468" y="870024"/>
                    <a:pt x="520434" y="870192"/>
                  </a:cubicBezTo>
                  <a:cubicBezTo>
                    <a:pt x="520367" y="870360"/>
                    <a:pt x="519660" y="871538"/>
                    <a:pt x="519660" y="871538"/>
                  </a:cubicBezTo>
                  <a:lnTo>
                    <a:pt x="518718" y="873152"/>
                  </a:lnTo>
                  <a:lnTo>
                    <a:pt x="517675" y="874195"/>
                  </a:lnTo>
                  <a:lnTo>
                    <a:pt x="517136" y="875103"/>
                  </a:lnTo>
                  <a:lnTo>
                    <a:pt x="512997" y="877660"/>
                  </a:lnTo>
                  <a:lnTo>
                    <a:pt x="511516" y="879510"/>
                  </a:lnTo>
                  <a:lnTo>
                    <a:pt x="510977" y="879947"/>
                  </a:lnTo>
                  <a:lnTo>
                    <a:pt x="510271" y="881360"/>
                  </a:lnTo>
                  <a:lnTo>
                    <a:pt x="509934" y="882605"/>
                  </a:lnTo>
                  <a:cubicBezTo>
                    <a:pt x="509934" y="882605"/>
                    <a:pt x="509564" y="884085"/>
                    <a:pt x="509564" y="884287"/>
                  </a:cubicBezTo>
                  <a:cubicBezTo>
                    <a:pt x="509564" y="884522"/>
                    <a:pt x="509396" y="885700"/>
                    <a:pt x="509396" y="886238"/>
                  </a:cubicBezTo>
                  <a:cubicBezTo>
                    <a:pt x="509396" y="886776"/>
                    <a:pt x="509396" y="888425"/>
                    <a:pt x="509396" y="888425"/>
                  </a:cubicBezTo>
                  <a:lnTo>
                    <a:pt x="509396" y="890174"/>
                  </a:lnTo>
                  <a:lnTo>
                    <a:pt x="509497" y="892899"/>
                  </a:lnTo>
                  <a:cubicBezTo>
                    <a:pt x="509497" y="892899"/>
                    <a:pt x="510574" y="894850"/>
                    <a:pt x="510708" y="895018"/>
                  </a:cubicBezTo>
                  <a:cubicBezTo>
                    <a:pt x="510809" y="895186"/>
                    <a:pt x="511617" y="896330"/>
                    <a:pt x="511785" y="896599"/>
                  </a:cubicBezTo>
                  <a:cubicBezTo>
                    <a:pt x="511954" y="896868"/>
                    <a:pt x="512593" y="898012"/>
                    <a:pt x="512997" y="898079"/>
                  </a:cubicBezTo>
                  <a:cubicBezTo>
                    <a:pt x="513367" y="898147"/>
                    <a:pt x="515016" y="898853"/>
                    <a:pt x="515555" y="899324"/>
                  </a:cubicBezTo>
                  <a:cubicBezTo>
                    <a:pt x="516093" y="899829"/>
                    <a:pt x="517305" y="900569"/>
                    <a:pt x="517742" y="900804"/>
                  </a:cubicBezTo>
                  <a:cubicBezTo>
                    <a:pt x="518180" y="901006"/>
                    <a:pt x="519189" y="901241"/>
                    <a:pt x="519425" y="901410"/>
                  </a:cubicBezTo>
                  <a:cubicBezTo>
                    <a:pt x="519660" y="901578"/>
                    <a:pt x="520838" y="902049"/>
                    <a:pt x="521040" y="902183"/>
                  </a:cubicBezTo>
                  <a:cubicBezTo>
                    <a:pt x="521242" y="902352"/>
                    <a:pt x="523261" y="903260"/>
                    <a:pt x="523598" y="903260"/>
                  </a:cubicBezTo>
                  <a:cubicBezTo>
                    <a:pt x="523935" y="903260"/>
                    <a:pt x="525920" y="903260"/>
                    <a:pt x="525920" y="903260"/>
                  </a:cubicBezTo>
                  <a:lnTo>
                    <a:pt x="528209" y="903260"/>
                  </a:lnTo>
                  <a:lnTo>
                    <a:pt x="529387" y="903260"/>
                  </a:lnTo>
                  <a:cubicBezTo>
                    <a:pt x="529387" y="903260"/>
                    <a:pt x="532752" y="903596"/>
                    <a:pt x="532920" y="903596"/>
                  </a:cubicBezTo>
                  <a:cubicBezTo>
                    <a:pt x="533089" y="903596"/>
                    <a:pt x="534401" y="903529"/>
                    <a:pt x="534771" y="903865"/>
                  </a:cubicBezTo>
                  <a:cubicBezTo>
                    <a:pt x="535142" y="904202"/>
                    <a:pt x="536353" y="904773"/>
                    <a:pt x="536353" y="904773"/>
                  </a:cubicBezTo>
                  <a:lnTo>
                    <a:pt x="539618" y="904134"/>
                  </a:lnTo>
                  <a:cubicBezTo>
                    <a:pt x="539618" y="904134"/>
                    <a:pt x="540930" y="904269"/>
                    <a:pt x="541368" y="904269"/>
                  </a:cubicBezTo>
                  <a:cubicBezTo>
                    <a:pt x="541805" y="904269"/>
                    <a:pt x="542613" y="904639"/>
                    <a:pt x="543252" y="904773"/>
                  </a:cubicBezTo>
                  <a:cubicBezTo>
                    <a:pt x="543892" y="904908"/>
                    <a:pt x="545574" y="906287"/>
                    <a:pt x="545642" y="906590"/>
                  </a:cubicBezTo>
                  <a:cubicBezTo>
                    <a:pt x="545709" y="906893"/>
                    <a:pt x="546349" y="908844"/>
                    <a:pt x="546651" y="909113"/>
                  </a:cubicBezTo>
                  <a:cubicBezTo>
                    <a:pt x="546954" y="909416"/>
                    <a:pt x="547291" y="910425"/>
                    <a:pt x="547224" y="910997"/>
                  </a:cubicBezTo>
                  <a:cubicBezTo>
                    <a:pt x="547156" y="911569"/>
                    <a:pt x="546214" y="914327"/>
                    <a:pt x="547022" y="914899"/>
                  </a:cubicBezTo>
                  <a:cubicBezTo>
                    <a:pt x="547829" y="915471"/>
                    <a:pt x="548974" y="916783"/>
                    <a:pt x="549411" y="916985"/>
                  </a:cubicBezTo>
                  <a:cubicBezTo>
                    <a:pt x="549849" y="917187"/>
                    <a:pt x="552743" y="916480"/>
                    <a:pt x="553820" y="916346"/>
                  </a:cubicBezTo>
                  <a:cubicBezTo>
                    <a:pt x="554897" y="916211"/>
                    <a:pt x="556411" y="915404"/>
                    <a:pt x="557017" y="915034"/>
                  </a:cubicBezTo>
                  <a:cubicBezTo>
                    <a:pt x="557589" y="914664"/>
                    <a:pt x="557454" y="914529"/>
                    <a:pt x="558094" y="913890"/>
                  </a:cubicBezTo>
                  <a:cubicBezTo>
                    <a:pt x="558733" y="913251"/>
                    <a:pt x="560180" y="912645"/>
                    <a:pt x="560180" y="912645"/>
                  </a:cubicBezTo>
                  <a:lnTo>
                    <a:pt x="561190" y="910627"/>
                  </a:lnTo>
                  <a:lnTo>
                    <a:pt x="561628" y="909618"/>
                  </a:lnTo>
                  <a:lnTo>
                    <a:pt x="564017" y="910122"/>
                  </a:lnTo>
                  <a:cubicBezTo>
                    <a:pt x="564017" y="910122"/>
                    <a:pt x="564488" y="910930"/>
                    <a:pt x="564724" y="911199"/>
                  </a:cubicBezTo>
                  <a:cubicBezTo>
                    <a:pt x="564926" y="911501"/>
                    <a:pt x="565060" y="914092"/>
                    <a:pt x="565060" y="914092"/>
                  </a:cubicBezTo>
                  <a:lnTo>
                    <a:pt x="565060" y="916278"/>
                  </a:lnTo>
                  <a:cubicBezTo>
                    <a:pt x="565060" y="916278"/>
                    <a:pt x="566003" y="918599"/>
                    <a:pt x="566003" y="919037"/>
                  </a:cubicBezTo>
                  <a:cubicBezTo>
                    <a:pt x="566003" y="919474"/>
                    <a:pt x="566137" y="922804"/>
                    <a:pt x="566137" y="923073"/>
                  </a:cubicBezTo>
                  <a:cubicBezTo>
                    <a:pt x="566137" y="923376"/>
                    <a:pt x="566272" y="924587"/>
                    <a:pt x="566272" y="924587"/>
                  </a:cubicBezTo>
                  <a:cubicBezTo>
                    <a:pt x="566272" y="924587"/>
                    <a:pt x="567147" y="927346"/>
                    <a:pt x="567080" y="928153"/>
                  </a:cubicBezTo>
                  <a:cubicBezTo>
                    <a:pt x="567012" y="928960"/>
                    <a:pt x="567383" y="931618"/>
                    <a:pt x="567887" y="931853"/>
                  </a:cubicBezTo>
                  <a:cubicBezTo>
                    <a:pt x="568392" y="932055"/>
                    <a:pt x="569637" y="934477"/>
                    <a:pt x="570344" y="934814"/>
                  </a:cubicBezTo>
                  <a:cubicBezTo>
                    <a:pt x="571085" y="935184"/>
                    <a:pt x="572027" y="935890"/>
                    <a:pt x="572229" y="935957"/>
                  </a:cubicBezTo>
                  <a:cubicBezTo>
                    <a:pt x="572431" y="936025"/>
                    <a:pt x="575493" y="939422"/>
                    <a:pt x="575493" y="939422"/>
                  </a:cubicBezTo>
                  <a:cubicBezTo>
                    <a:pt x="575493" y="939422"/>
                    <a:pt x="577513" y="941878"/>
                    <a:pt x="577816" y="942618"/>
                  </a:cubicBezTo>
                  <a:cubicBezTo>
                    <a:pt x="578118" y="943325"/>
                    <a:pt x="578522" y="947092"/>
                    <a:pt x="578522" y="947092"/>
                  </a:cubicBezTo>
                  <a:lnTo>
                    <a:pt x="579027" y="950860"/>
                  </a:lnTo>
                  <a:cubicBezTo>
                    <a:pt x="579027" y="950860"/>
                    <a:pt x="578960" y="951297"/>
                    <a:pt x="578960" y="953618"/>
                  </a:cubicBezTo>
                  <a:cubicBezTo>
                    <a:pt x="578960" y="955939"/>
                    <a:pt x="578960" y="959707"/>
                    <a:pt x="578960" y="959707"/>
                  </a:cubicBezTo>
                  <a:lnTo>
                    <a:pt x="579700" y="962466"/>
                  </a:lnTo>
                  <a:cubicBezTo>
                    <a:pt x="579700" y="962466"/>
                    <a:pt x="580272" y="963340"/>
                    <a:pt x="580441" y="964484"/>
                  </a:cubicBezTo>
                  <a:cubicBezTo>
                    <a:pt x="580575" y="965628"/>
                    <a:pt x="580306" y="968823"/>
                    <a:pt x="582325" y="969395"/>
                  </a:cubicBezTo>
                  <a:cubicBezTo>
                    <a:pt x="584345" y="969967"/>
                    <a:pt x="586801" y="969160"/>
                    <a:pt x="586801" y="969160"/>
                  </a:cubicBezTo>
                  <a:lnTo>
                    <a:pt x="589292" y="967108"/>
                  </a:lnTo>
                  <a:lnTo>
                    <a:pt x="589999" y="964181"/>
                  </a:lnTo>
                  <a:cubicBezTo>
                    <a:pt x="589999" y="964181"/>
                    <a:pt x="591143" y="960649"/>
                    <a:pt x="591244" y="960380"/>
                  </a:cubicBezTo>
                  <a:cubicBezTo>
                    <a:pt x="591345" y="960111"/>
                    <a:pt x="591614" y="957991"/>
                    <a:pt x="591614" y="957991"/>
                  </a:cubicBezTo>
                  <a:lnTo>
                    <a:pt x="591984" y="956579"/>
                  </a:lnTo>
                  <a:lnTo>
                    <a:pt x="592523" y="954728"/>
                  </a:lnTo>
                  <a:lnTo>
                    <a:pt x="593431" y="952979"/>
                  </a:lnTo>
                  <a:lnTo>
                    <a:pt x="593801" y="951667"/>
                  </a:lnTo>
                  <a:cubicBezTo>
                    <a:pt x="593801" y="951667"/>
                    <a:pt x="594138" y="950961"/>
                    <a:pt x="594239" y="950792"/>
                  </a:cubicBezTo>
                  <a:cubicBezTo>
                    <a:pt x="594340" y="950624"/>
                    <a:pt x="595753" y="948068"/>
                    <a:pt x="595753" y="948068"/>
                  </a:cubicBezTo>
                  <a:lnTo>
                    <a:pt x="596830" y="946554"/>
                  </a:lnTo>
                  <a:lnTo>
                    <a:pt x="598715" y="944603"/>
                  </a:lnTo>
                  <a:cubicBezTo>
                    <a:pt x="598715" y="944603"/>
                    <a:pt x="599489" y="943526"/>
                    <a:pt x="599624" y="943459"/>
                  </a:cubicBezTo>
                  <a:cubicBezTo>
                    <a:pt x="599792" y="943392"/>
                    <a:pt x="600162" y="942584"/>
                    <a:pt x="600330" y="942517"/>
                  </a:cubicBezTo>
                  <a:cubicBezTo>
                    <a:pt x="600499" y="942450"/>
                    <a:pt x="601306" y="941205"/>
                    <a:pt x="601306" y="941205"/>
                  </a:cubicBezTo>
                  <a:cubicBezTo>
                    <a:pt x="601306" y="941205"/>
                    <a:pt x="602552" y="940162"/>
                    <a:pt x="602720" y="940129"/>
                  </a:cubicBezTo>
                  <a:cubicBezTo>
                    <a:pt x="602888" y="940061"/>
                    <a:pt x="603797" y="939591"/>
                    <a:pt x="604032" y="939591"/>
                  </a:cubicBezTo>
                  <a:cubicBezTo>
                    <a:pt x="604234" y="939591"/>
                    <a:pt x="605076" y="939658"/>
                    <a:pt x="605278" y="939658"/>
                  </a:cubicBezTo>
                  <a:cubicBezTo>
                    <a:pt x="605480" y="939658"/>
                    <a:pt x="605648" y="939557"/>
                    <a:pt x="606186" y="940095"/>
                  </a:cubicBezTo>
                  <a:cubicBezTo>
                    <a:pt x="606725" y="940633"/>
                    <a:pt x="606994" y="940869"/>
                    <a:pt x="607095" y="942046"/>
                  </a:cubicBezTo>
                  <a:cubicBezTo>
                    <a:pt x="607196" y="943224"/>
                    <a:pt x="607533" y="945915"/>
                    <a:pt x="607533" y="945915"/>
                  </a:cubicBezTo>
                  <a:lnTo>
                    <a:pt x="607600" y="947496"/>
                  </a:lnTo>
                  <a:lnTo>
                    <a:pt x="607499" y="950422"/>
                  </a:lnTo>
                  <a:lnTo>
                    <a:pt x="607297" y="952172"/>
                  </a:lnTo>
                  <a:lnTo>
                    <a:pt x="606657" y="954661"/>
                  </a:lnTo>
                  <a:lnTo>
                    <a:pt x="606557" y="955973"/>
                  </a:lnTo>
                  <a:lnTo>
                    <a:pt x="606052" y="957285"/>
                  </a:lnTo>
                  <a:cubicBezTo>
                    <a:pt x="606052" y="957285"/>
                    <a:pt x="605850" y="958429"/>
                    <a:pt x="605850" y="958631"/>
                  </a:cubicBezTo>
                  <a:cubicBezTo>
                    <a:pt x="605850" y="958832"/>
                    <a:pt x="605379" y="959976"/>
                    <a:pt x="605379" y="959976"/>
                  </a:cubicBezTo>
                  <a:lnTo>
                    <a:pt x="604975" y="961860"/>
                  </a:lnTo>
                  <a:lnTo>
                    <a:pt x="604975" y="963172"/>
                  </a:lnTo>
                  <a:lnTo>
                    <a:pt x="605244" y="963777"/>
                  </a:lnTo>
                  <a:cubicBezTo>
                    <a:pt x="605244" y="963777"/>
                    <a:pt x="605345" y="965257"/>
                    <a:pt x="605581" y="965358"/>
                  </a:cubicBezTo>
                  <a:cubicBezTo>
                    <a:pt x="605783" y="965459"/>
                    <a:pt x="606220" y="966704"/>
                    <a:pt x="606456" y="966939"/>
                  </a:cubicBezTo>
                  <a:cubicBezTo>
                    <a:pt x="606691" y="967141"/>
                    <a:pt x="608408" y="968722"/>
                    <a:pt x="609451" y="968891"/>
                  </a:cubicBezTo>
                  <a:cubicBezTo>
                    <a:pt x="610494" y="969059"/>
                    <a:pt x="613254" y="969294"/>
                    <a:pt x="613254" y="969294"/>
                  </a:cubicBezTo>
                  <a:lnTo>
                    <a:pt x="614566" y="969294"/>
                  </a:lnTo>
                  <a:lnTo>
                    <a:pt x="618369" y="970169"/>
                  </a:lnTo>
                  <a:lnTo>
                    <a:pt x="619446" y="972894"/>
                  </a:lnTo>
                  <a:lnTo>
                    <a:pt x="619345" y="975282"/>
                  </a:lnTo>
                  <a:cubicBezTo>
                    <a:pt x="619345" y="975282"/>
                    <a:pt x="620220" y="976359"/>
                    <a:pt x="620658" y="976594"/>
                  </a:cubicBezTo>
                  <a:cubicBezTo>
                    <a:pt x="621095" y="976830"/>
                    <a:pt x="622509" y="976392"/>
                    <a:pt x="622946" y="976594"/>
                  </a:cubicBezTo>
                  <a:cubicBezTo>
                    <a:pt x="623384" y="976830"/>
                    <a:pt x="624595" y="977031"/>
                    <a:pt x="625235" y="976056"/>
                  </a:cubicBezTo>
                  <a:cubicBezTo>
                    <a:pt x="625874" y="975080"/>
                    <a:pt x="630451" y="973768"/>
                    <a:pt x="630451" y="973768"/>
                  </a:cubicBezTo>
                  <a:lnTo>
                    <a:pt x="632942" y="970842"/>
                  </a:lnTo>
                  <a:lnTo>
                    <a:pt x="634894" y="968453"/>
                  </a:lnTo>
                  <a:lnTo>
                    <a:pt x="638697" y="965728"/>
                  </a:lnTo>
                  <a:lnTo>
                    <a:pt x="639572" y="963239"/>
                  </a:lnTo>
                  <a:lnTo>
                    <a:pt x="640649" y="961725"/>
                  </a:lnTo>
                  <a:lnTo>
                    <a:pt x="641288" y="960413"/>
                  </a:lnTo>
                  <a:lnTo>
                    <a:pt x="643139" y="959001"/>
                  </a:lnTo>
                  <a:cubicBezTo>
                    <a:pt x="643139" y="959001"/>
                    <a:pt x="643577" y="959102"/>
                    <a:pt x="643913" y="959001"/>
                  </a:cubicBezTo>
                  <a:cubicBezTo>
                    <a:pt x="644250" y="958900"/>
                    <a:pt x="646841" y="958361"/>
                    <a:pt x="646841" y="958361"/>
                  </a:cubicBezTo>
                  <a:cubicBezTo>
                    <a:pt x="646841" y="958361"/>
                    <a:pt x="649029" y="958025"/>
                    <a:pt x="649668" y="958025"/>
                  </a:cubicBezTo>
                  <a:cubicBezTo>
                    <a:pt x="650307" y="958025"/>
                    <a:pt x="651957" y="958462"/>
                    <a:pt x="651957" y="958462"/>
                  </a:cubicBezTo>
                  <a:lnTo>
                    <a:pt x="652832" y="959976"/>
                  </a:lnTo>
                  <a:cubicBezTo>
                    <a:pt x="652832" y="959976"/>
                    <a:pt x="652731" y="962163"/>
                    <a:pt x="652832" y="962466"/>
                  </a:cubicBezTo>
                  <a:cubicBezTo>
                    <a:pt x="652933" y="962802"/>
                    <a:pt x="653168" y="963239"/>
                    <a:pt x="653606" y="963441"/>
                  </a:cubicBezTo>
                  <a:cubicBezTo>
                    <a:pt x="654043" y="963677"/>
                    <a:pt x="656197" y="963677"/>
                    <a:pt x="656971" y="963677"/>
                  </a:cubicBezTo>
                  <a:cubicBezTo>
                    <a:pt x="657745" y="963677"/>
                    <a:pt x="658620" y="962903"/>
                    <a:pt x="658620" y="962903"/>
                  </a:cubicBezTo>
                  <a:lnTo>
                    <a:pt x="659159" y="962264"/>
                  </a:lnTo>
                  <a:lnTo>
                    <a:pt x="661447" y="963340"/>
                  </a:lnTo>
                  <a:cubicBezTo>
                    <a:pt x="661447" y="963340"/>
                    <a:pt x="661986" y="964652"/>
                    <a:pt x="662221" y="964955"/>
                  </a:cubicBezTo>
                  <a:cubicBezTo>
                    <a:pt x="662423" y="965291"/>
                    <a:pt x="662423" y="965728"/>
                    <a:pt x="662760" y="966569"/>
                  </a:cubicBezTo>
                  <a:cubicBezTo>
                    <a:pt x="663096" y="967444"/>
                    <a:pt x="666226" y="968958"/>
                    <a:pt x="666226" y="968958"/>
                  </a:cubicBezTo>
                  <a:lnTo>
                    <a:pt x="667976" y="970034"/>
                  </a:lnTo>
                  <a:lnTo>
                    <a:pt x="671005" y="972187"/>
                  </a:lnTo>
                  <a:lnTo>
                    <a:pt x="674606" y="973499"/>
                  </a:lnTo>
                  <a:lnTo>
                    <a:pt x="678746" y="977200"/>
                  </a:lnTo>
                  <a:lnTo>
                    <a:pt x="680597" y="979487"/>
                  </a:lnTo>
                  <a:lnTo>
                    <a:pt x="682986" y="983389"/>
                  </a:lnTo>
                  <a:lnTo>
                    <a:pt x="686688" y="987628"/>
                  </a:lnTo>
                  <a:cubicBezTo>
                    <a:pt x="686688" y="987628"/>
                    <a:pt x="688304" y="991227"/>
                    <a:pt x="688640" y="991530"/>
                  </a:cubicBezTo>
                  <a:cubicBezTo>
                    <a:pt x="688977" y="991867"/>
                    <a:pt x="690929" y="994120"/>
                    <a:pt x="690929" y="994120"/>
                  </a:cubicBezTo>
                  <a:lnTo>
                    <a:pt x="691568" y="996072"/>
                  </a:lnTo>
                  <a:cubicBezTo>
                    <a:pt x="691568" y="996072"/>
                    <a:pt x="692881" y="996980"/>
                    <a:pt x="693217" y="997316"/>
                  </a:cubicBezTo>
                  <a:cubicBezTo>
                    <a:pt x="693554" y="997652"/>
                    <a:pt x="695506" y="998796"/>
                    <a:pt x="695506" y="998796"/>
                  </a:cubicBezTo>
                  <a:lnTo>
                    <a:pt x="696381" y="998796"/>
                  </a:lnTo>
                  <a:cubicBezTo>
                    <a:pt x="696381" y="998796"/>
                    <a:pt x="698434" y="999671"/>
                    <a:pt x="699107" y="999671"/>
                  </a:cubicBezTo>
                  <a:cubicBezTo>
                    <a:pt x="699746" y="999671"/>
                    <a:pt x="702573" y="998964"/>
                    <a:pt x="703011" y="999402"/>
                  </a:cubicBezTo>
                  <a:cubicBezTo>
                    <a:pt x="703448" y="999839"/>
                    <a:pt x="705501" y="1000546"/>
                    <a:pt x="705501" y="1000546"/>
                  </a:cubicBezTo>
                  <a:lnTo>
                    <a:pt x="708530" y="1000546"/>
                  </a:lnTo>
                  <a:cubicBezTo>
                    <a:pt x="708530" y="1000546"/>
                    <a:pt x="709943" y="999772"/>
                    <a:pt x="710919" y="1000209"/>
                  </a:cubicBezTo>
                  <a:cubicBezTo>
                    <a:pt x="711895" y="1000646"/>
                    <a:pt x="714386" y="1000546"/>
                    <a:pt x="715160" y="1000546"/>
                  </a:cubicBezTo>
                  <a:cubicBezTo>
                    <a:pt x="715934" y="1000546"/>
                    <a:pt x="718963" y="1000546"/>
                    <a:pt x="718963" y="1000546"/>
                  </a:cubicBezTo>
                  <a:lnTo>
                    <a:pt x="720578" y="1001757"/>
                  </a:lnTo>
                  <a:lnTo>
                    <a:pt x="723069" y="1002396"/>
                  </a:lnTo>
                  <a:cubicBezTo>
                    <a:pt x="723069" y="1002396"/>
                    <a:pt x="725896" y="1003472"/>
                    <a:pt x="726434" y="1003607"/>
                  </a:cubicBezTo>
                  <a:cubicBezTo>
                    <a:pt x="726973" y="1003708"/>
                    <a:pt x="728184" y="1003169"/>
                    <a:pt x="728487" y="1003607"/>
                  </a:cubicBezTo>
                  <a:cubicBezTo>
                    <a:pt x="728824" y="1004044"/>
                    <a:pt x="729699" y="1004380"/>
                    <a:pt x="730002" y="1004818"/>
                  </a:cubicBezTo>
                  <a:cubicBezTo>
                    <a:pt x="730338" y="1005255"/>
                    <a:pt x="730776" y="1005457"/>
                    <a:pt x="731415" y="1006332"/>
                  </a:cubicBezTo>
                  <a:cubicBezTo>
                    <a:pt x="732054" y="1007206"/>
                    <a:pt x="732728" y="1008081"/>
                    <a:pt x="733266" y="1008518"/>
                  </a:cubicBezTo>
                  <a:cubicBezTo>
                    <a:pt x="733805" y="1008956"/>
                    <a:pt x="735454" y="1010570"/>
                    <a:pt x="735756" y="1010906"/>
                  </a:cubicBezTo>
                  <a:cubicBezTo>
                    <a:pt x="736093" y="1011243"/>
                    <a:pt x="737809" y="1012521"/>
                    <a:pt x="737809" y="1012521"/>
                  </a:cubicBezTo>
                  <a:lnTo>
                    <a:pt x="741612" y="1014472"/>
                  </a:lnTo>
                  <a:lnTo>
                    <a:pt x="748444" y="1014472"/>
                  </a:lnTo>
                  <a:lnTo>
                    <a:pt x="751709" y="1013160"/>
                  </a:lnTo>
                  <a:lnTo>
                    <a:pt x="755512" y="1009797"/>
                  </a:lnTo>
                  <a:lnTo>
                    <a:pt x="758339" y="1006332"/>
                  </a:lnTo>
                  <a:lnTo>
                    <a:pt x="760964" y="1004414"/>
                  </a:lnTo>
                  <a:lnTo>
                    <a:pt x="763555" y="1002295"/>
                  </a:lnTo>
                  <a:lnTo>
                    <a:pt x="765844" y="1002295"/>
                  </a:lnTo>
                  <a:lnTo>
                    <a:pt x="769209" y="1003506"/>
                  </a:lnTo>
                  <a:cubicBezTo>
                    <a:pt x="769209" y="1003506"/>
                    <a:pt x="773450" y="1005558"/>
                    <a:pt x="773786" y="1005692"/>
                  </a:cubicBezTo>
                  <a:cubicBezTo>
                    <a:pt x="774123" y="1005793"/>
                    <a:pt x="776277" y="1007543"/>
                    <a:pt x="776277" y="1007543"/>
                  </a:cubicBezTo>
                  <a:lnTo>
                    <a:pt x="777690" y="1009830"/>
                  </a:lnTo>
                  <a:lnTo>
                    <a:pt x="781156" y="1012320"/>
                  </a:lnTo>
                  <a:cubicBezTo>
                    <a:pt x="781156" y="1012320"/>
                    <a:pt x="783445" y="1013396"/>
                    <a:pt x="784320" y="1013968"/>
                  </a:cubicBezTo>
                  <a:cubicBezTo>
                    <a:pt x="785195" y="1014506"/>
                    <a:pt x="787786" y="1015111"/>
                    <a:pt x="788224" y="1015313"/>
                  </a:cubicBezTo>
                  <a:cubicBezTo>
                    <a:pt x="788661" y="1015549"/>
                    <a:pt x="789873" y="1016255"/>
                    <a:pt x="791152" y="1016255"/>
                  </a:cubicBezTo>
                  <a:cubicBezTo>
                    <a:pt x="792464" y="1016255"/>
                    <a:pt x="795392" y="1016255"/>
                    <a:pt x="795392" y="1016255"/>
                  </a:cubicBezTo>
                  <a:cubicBezTo>
                    <a:pt x="795392" y="1016255"/>
                    <a:pt x="797243" y="1016592"/>
                    <a:pt x="797883" y="1016255"/>
                  </a:cubicBezTo>
                  <a:cubicBezTo>
                    <a:pt x="798522" y="1015919"/>
                    <a:pt x="800474" y="1015717"/>
                    <a:pt x="801484" y="1015482"/>
                  </a:cubicBezTo>
                  <a:cubicBezTo>
                    <a:pt x="802460" y="1015246"/>
                    <a:pt x="804748" y="1015044"/>
                    <a:pt x="804748" y="1015044"/>
                  </a:cubicBezTo>
                  <a:lnTo>
                    <a:pt x="806599" y="1014708"/>
                  </a:lnTo>
                  <a:lnTo>
                    <a:pt x="810200" y="1013530"/>
                  </a:lnTo>
                  <a:cubicBezTo>
                    <a:pt x="810200" y="1013530"/>
                    <a:pt x="811715" y="1011781"/>
                    <a:pt x="812152" y="1011344"/>
                  </a:cubicBezTo>
                  <a:cubicBezTo>
                    <a:pt x="812590" y="1010906"/>
                    <a:pt x="814340" y="1008316"/>
                    <a:pt x="814340" y="1008316"/>
                  </a:cubicBezTo>
                  <a:lnTo>
                    <a:pt x="816628" y="1005053"/>
                  </a:lnTo>
                  <a:lnTo>
                    <a:pt x="819994" y="1003842"/>
                  </a:lnTo>
                  <a:cubicBezTo>
                    <a:pt x="819994" y="1003842"/>
                    <a:pt x="822181" y="1002867"/>
                    <a:pt x="822619" y="1002867"/>
                  </a:cubicBezTo>
                  <a:cubicBezTo>
                    <a:pt x="823056" y="1002867"/>
                    <a:pt x="828273" y="1001992"/>
                    <a:pt x="828273" y="1001992"/>
                  </a:cubicBezTo>
                  <a:lnTo>
                    <a:pt x="833052" y="1001117"/>
                  </a:lnTo>
                  <a:lnTo>
                    <a:pt x="839480" y="1002194"/>
                  </a:lnTo>
                  <a:lnTo>
                    <a:pt x="842744" y="1001319"/>
                  </a:lnTo>
                  <a:lnTo>
                    <a:pt x="849273" y="1000007"/>
                  </a:lnTo>
                  <a:cubicBezTo>
                    <a:pt x="849273" y="1000007"/>
                    <a:pt x="852538" y="1001319"/>
                    <a:pt x="853076" y="1001757"/>
                  </a:cubicBezTo>
                  <a:cubicBezTo>
                    <a:pt x="853615" y="1002194"/>
                    <a:pt x="856778" y="1004683"/>
                    <a:pt x="856778" y="1004683"/>
                  </a:cubicBezTo>
                  <a:cubicBezTo>
                    <a:pt x="856778" y="1004683"/>
                    <a:pt x="858394" y="1006870"/>
                    <a:pt x="858966" y="1007307"/>
                  </a:cubicBezTo>
                  <a:cubicBezTo>
                    <a:pt x="859504" y="1007744"/>
                    <a:pt x="861995" y="1014136"/>
                    <a:pt x="861995" y="1014136"/>
                  </a:cubicBezTo>
                  <a:lnTo>
                    <a:pt x="862870" y="1016356"/>
                  </a:lnTo>
                  <a:lnTo>
                    <a:pt x="862971" y="1023387"/>
                  </a:lnTo>
                  <a:lnTo>
                    <a:pt x="862634" y="1027390"/>
                  </a:lnTo>
                  <a:cubicBezTo>
                    <a:pt x="862634" y="1027390"/>
                    <a:pt x="861322" y="1035632"/>
                    <a:pt x="860783" y="1036069"/>
                  </a:cubicBezTo>
                  <a:cubicBezTo>
                    <a:pt x="860245" y="1036506"/>
                    <a:pt x="858394" y="1037583"/>
                    <a:pt x="858394" y="1038020"/>
                  </a:cubicBezTo>
                  <a:cubicBezTo>
                    <a:pt x="858394" y="1038457"/>
                    <a:pt x="856475" y="1043268"/>
                    <a:pt x="856475" y="1043268"/>
                  </a:cubicBezTo>
                  <a:lnTo>
                    <a:pt x="853581" y="1048785"/>
                  </a:lnTo>
                  <a:lnTo>
                    <a:pt x="851259" y="1050971"/>
                  </a:lnTo>
                  <a:lnTo>
                    <a:pt x="848129" y="1059650"/>
                  </a:lnTo>
                  <a:lnTo>
                    <a:pt x="846749" y="1064730"/>
                  </a:lnTo>
                  <a:lnTo>
                    <a:pt x="846749" y="1074418"/>
                  </a:lnTo>
                  <a:cubicBezTo>
                    <a:pt x="846749" y="1074418"/>
                    <a:pt x="848062" y="1079330"/>
                    <a:pt x="848062" y="1079935"/>
                  </a:cubicBezTo>
                  <a:cubicBezTo>
                    <a:pt x="848062" y="1080507"/>
                    <a:pt x="850822" y="1085284"/>
                    <a:pt x="850956" y="1085721"/>
                  </a:cubicBezTo>
                  <a:cubicBezTo>
                    <a:pt x="851091" y="1086158"/>
                    <a:pt x="853413" y="1090498"/>
                    <a:pt x="853985" y="1091373"/>
                  </a:cubicBezTo>
                  <a:cubicBezTo>
                    <a:pt x="854557" y="1092247"/>
                    <a:pt x="857754" y="1096721"/>
                    <a:pt x="858327" y="1096889"/>
                  </a:cubicBezTo>
                  <a:cubicBezTo>
                    <a:pt x="858899" y="1097024"/>
                    <a:pt x="863105" y="1098639"/>
                    <a:pt x="863846" y="1099076"/>
                  </a:cubicBezTo>
                  <a:cubicBezTo>
                    <a:pt x="864586" y="1099513"/>
                    <a:pt x="866033" y="1098067"/>
                    <a:pt x="867750" y="1098201"/>
                  </a:cubicBezTo>
                  <a:cubicBezTo>
                    <a:pt x="869500" y="1098336"/>
                    <a:pt x="871519" y="1097192"/>
                    <a:pt x="872529" y="1096183"/>
                  </a:cubicBezTo>
                  <a:cubicBezTo>
                    <a:pt x="873538" y="1095174"/>
                    <a:pt x="875558" y="1093155"/>
                    <a:pt x="875558" y="1093155"/>
                  </a:cubicBezTo>
                  <a:cubicBezTo>
                    <a:pt x="875558" y="1093155"/>
                    <a:pt x="878149" y="1090128"/>
                    <a:pt x="878452" y="1089691"/>
                  </a:cubicBezTo>
                  <a:cubicBezTo>
                    <a:pt x="878755" y="1089253"/>
                    <a:pt x="881212" y="1085048"/>
                    <a:pt x="881212" y="1085048"/>
                  </a:cubicBezTo>
                  <a:cubicBezTo>
                    <a:pt x="881212" y="1085048"/>
                    <a:pt x="881514" y="1082021"/>
                    <a:pt x="881514" y="1081415"/>
                  </a:cubicBezTo>
                  <a:cubicBezTo>
                    <a:pt x="881514" y="1080843"/>
                    <a:pt x="881514" y="1074452"/>
                    <a:pt x="881514" y="1074452"/>
                  </a:cubicBezTo>
                  <a:cubicBezTo>
                    <a:pt x="881514" y="1074452"/>
                    <a:pt x="881380" y="1069810"/>
                    <a:pt x="881514" y="1069238"/>
                  </a:cubicBezTo>
                  <a:cubicBezTo>
                    <a:pt x="881649" y="1068666"/>
                    <a:pt x="882524" y="1063586"/>
                    <a:pt x="882524" y="1063586"/>
                  </a:cubicBezTo>
                  <a:cubicBezTo>
                    <a:pt x="882524" y="1063586"/>
                    <a:pt x="883837" y="1057632"/>
                    <a:pt x="884106" y="1057195"/>
                  </a:cubicBezTo>
                  <a:cubicBezTo>
                    <a:pt x="884375" y="1056757"/>
                    <a:pt x="887000" y="1053562"/>
                    <a:pt x="887000" y="1053562"/>
                  </a:cubicBezTo>
                  <a:lnTo>
                    <a:pt x="891645" y="1049929"/>
                  </a:lnTo>
                  <a:lnTo>
                    <a:pt x="894101" y="1047170"/>
                  </a:lnTo>
                  <a:lnTo>
                    <a:pt x="896558" y="1044109"/>
                  </a:lnTo>
                  <a:lnTo>
                    <a:pt x="898880" y="1042090"/>
                  </a:lnTo>
                  <a:lnTo>
                    <a:pt x="901909" y="1038760"/>
                  </a:lnTo>
                  <a:lnTo>
                    <a:pt x="906553" y="1036305"/>
                  </a:lnTo>
                  <a:lnTo>
                    <a:pt x="913958" y="1031090"/>
                  </a:lnTo>
                  <a:lnTo>
                    <a:pt x="917424" y="1028500"/>
                  </a:lnTo>
                  <a:cubicBezTo>
                    <a:pt x="917424" y="1028500"/>
                    <a:pt x="921059" y="1026044"/>
                    <a:pt x="921496" y="1025742"/>
                  </a:cubicBezTo>
                  <a:cubicBezTo>
                    <a:pt x="921934" y="1025439"/>
                    <a:pt x="925400" y="1022411"/>
                    <a:pt x="925838" y="1022411"/>
                  </a:cubicBezTo>
                  <a:cubicBezTo>
                    <a:pt x="926275" y="1022411"/>
                    <a:pt x="930616" y="1020090"/>
                    <a:pt x="930616" y="1020090"/>
                  </a:cubicBezTo>
                  <a:lnTo>
                    <a:pt x="934083" y="1016188"/>
                  </a:lnTo>
                  <a:lnTo>
                    <a:pt x="937112" y="1014170"/>
                  </a:lnTo>
                  <a:lnTo>
                    <a:pt x="940881" y="1012286"/>
                  </a:lnTo>
                  <a:lnTo>
                    <a:pt x="942900" y="1011848"/>
                  </a:lnTo>
                  <a:lnTo>
                    <a:pt x="946367" y="1010537"/>
                  </a:lnTo>
                  <a:lnTo>
                    <a:pt x="950708" y="1010099"/>
                  </a:lnTo>
                  <a:lnTo>
                    <a:pt x="955622" y="1009797"/>
                  </a:lnTo>
                  <a:lnTo>
                    <a:pt x="960973" y="1008922"/>
                  </a:lnTo>
                  <a:lnTo>
                    <a:pt x="966761" y="1009225"/>
                  </a:lnTo>
                  <a:lnTo>
                    <a:pt x="975007" y="1011680"/>
                  </a:lnTo>
                  <a:cubicBezTo>
                    <a:pt x="975007" y="1011680"/>
                    <a:pt x="979517" y="1013867"/>
                    <a:pt x="980089" y="1013867"/>
                  </a:cubicBezTo>
                  <a:cubicBezTo>
                    <a:pt x="980661" y="1013867"/>
                    <a:pt x="984430" y="1014741"/>
                    <a:pt x="985002" y="1014741"/>
                  </a:cubicBezTo>
                  <a:cubicBezTo>
                    <a:pt x="985574" y="1014741"/>
                    <a:pt x="989074" y="1015044"/>
                    <a:pt x="989074" y="1015044"/>
                  </a:cubicBezTo>
                  <a:lnTo>
                    <a:pt x="994729" y="1015347"/>
                  </a:lnTo>
                  <a:cubicBezTo>
                    <a:pt x="994729" y="1015347"/>
                    <a:pt x="997926" y="1016053"/>
                    <a:pt x="998363" y="1016222"/>
                  </a:cubicBezTo>
                  <a:cubicBezTo>
                    <a:pt x="998801" y="1016356"/>
                    <a:pt x="1000382" y="1017231"/>
                    <a:pt x="1000820" y="1017668"/>
                  </a:cubicBezTo>
                  <a:cubicBezTo>
                    <a:pt x="1001257" y="1018105"/>
                    <a:pt x="1003849" y="1020696"/>
                    <a:pt x="1003849" y="1020696"/>
                  </a:cubicBezTo>
                  <a:lnTo>
                    <a:pt x="1007181" y="1024161"/>
                  </a:lnTo>
                  <a:cubicBezTo>
                    <a:pt x="1007181" y="1024161"/>
                    <a:pt x="1007753" y="1026044"/>
                    <a:pt x="1008190" y="1026179"/>
                  </a:cubicBezTo>
                  <a:cubicBezTo>
                    <a:pt x="1008628" y="1026313"/>
                    <a:pt x="1013104" y="1029206"/>
                    <a:pt x="1013104" y="1029206"/>
                  </a:cubicBezTo>
                  <a:lnTo>
                    <a:pt x="1016436" y="1033411"/>
                  </a:lnTo>
                  <a:lnTo>
                    <a:pt x="1017883" y="1036305"/>
                  </a:lnTo>
                  <a:cubicBezTo>
                    <a:pt x="1017883" y="1036305"/>
                    <a:pt x="1021349" y="1037616"/>
                    <a:pt x="1022224" y="1037616"/>
                  </a:cubicBezTo>
                  <a:cubicBezTo>
                    <a:pt x="1023099" y="1037616"/>
                    <a:pt x="1027878" y="1038794"/>
                    <a:pt x="1028450" y="1038794"/>
                  </a:cubicBezTo>
                  <a:cubicBezTo>
                    <a:pt x="1029022" y="1038794"/>
                    <a:pt x="1033532" y="1038794"/>
                    <a:pt x="1033532" y="1038794"/>
                  </a:cubicBezTo>
                  <a:cubicBezTo>
                    <a:pt x="1033532" y="1038794"/>
                    <a:pt x="1035720" y="1038491"/>
                    <a:pt x="1036292" y="1038491"/>
                  </a:cubicBezTo>
                  <a:cubicBezTo>
                    <a:pt x="1036864" y="1038491"/>
                    <a:pt x="1039927" y="1038491"/>
                    <a:pt x="1040499" y="1038626"/>
                  </a:cubicBezTo>
                  <a:cubicBezTo>
                    <a:pt x="1041071" y="1038760"/>
                    <a:pt x="1044133" y="1039769"/>
                    <a:pt x="1044133" y="1039769"/>
                  </a:cubicBezTo>
                  <a:lnTo>
                    <a:pt x="1045143" y="1040510"/>
                  </a:lnTo>
                  <a:lnTo>
                    <a:pt x="1049047" y="1043100"/>
                  </a:lnTo>
                  <a:lnTo>
                    <a:pt x="1051941" y="1045118"/>
                  </a:lnTo>
                  <a:lnTo>
                    <a:pt x="1054129" y="1048886"/>
                  </a:lnTo>
                  <a:lnTo>
                    <a:pt x="1055576" y="1053225"/>
                  </a:lnTo>
                  <a:lnTo>
                    <a:pt x="1060792" y="1058742"/>
                  </a:lnTo>
                  <a:lnTo>
                    <a:pt x="1063384" y="1060626"/>
                  </a:lnTo>
                  <a:lnTo>
                    <a:pt x="1065841" y="1063519"/>
                  </a:lnTo>
                  <a:lnTo>
                    <a:pt x="1067725" y="1065403"/>
                  </a:lnTo>
                  <a:lnTo>
                    <a:pt x="1071495" y="1068430"/>
                  </a:lnTo>
                  <a:lnTo>
                    <a:pt x="1074120" y="1070180"/>
                  </a:lnTo>
                  <a:lnTo>
                    <a:pt x="1077014" y="1072198"/>
                  </a:lnTo>
                  <a:cubicBezTo>
                    <a:pt x="1077014" y="1072198"/>
                    <a:pt x="1080480" y="1073207"/>
                    <a:pt x="1081086" y="1073342"/>
                  </a:cubicBezTo>
                  <a:cubicBezTo>
                    <a:pt x="1081658" y="1073476"/>
                    <a:pt x="1082971" y="1074216"/>
                    <a:pt x="1084721" y="1073914"/>
                  </a:cubicBezTo>
                  <a:cubicBezTo>
                    <a:pt x="1086471" y="1073611"/>
                    <a:pt x="1085293" y="1074788"/>
                    <a:pt x="1086740" y="1072030"/>
                  </a:cubicBezTo>
                  <a:cubicBezTo>
                    <a:pt x="1088187" y="1069271"/>
                    <a:pt x="1087178" y="1068834"/>
                    <a:pt x="1087178" y="1068834"/>
                  </a:cubicBezTo>
                  <a:cubicBezTo>
                    <a:pt x="1087178" y="1068834"/>
                    <a:pt x="1086606" y="1068531"/>
                    <a:pt x="1088759" y="1067253"/>
                  </a:cubicBezTo>
                  <a:cubicBezTo>
                    <a:pt x="1090947" y="1065941"/>
                    <a:pt x="1090947" y="1065941"/>
                    <a:pt x="1090947" y="1065941"/>
                  </a:cubicBezTo>
                  <a:lnTo>
                    <a:pt x="1094851" y="1065504"/>
                  </a:lnTo>
                  <a:lnTo>
                    <a:pt x="1097038" y="1064932"/>
                  </a:lnTo>
                  <a:lnTo>
                    <a:pt x="1101514" y="1065369"/>
                  </a:lnTo>
                  <a:lnTo>
                    <a:pt x="1103837" y="1065235"/>
                  </a:lnTo>
                  <a:cubicBezTo>
                    <a:pt x="1103837" y="1065235"/>
                    <a:pt x="1106024" y="1064932"/>
                    <a:pt x="1106428" y="1064797"/>
                  </a:cubicBezTo>
                  <a:cubicBezTo>
                    <a:pt x="1106866" y="1064663"/>
                    <a:pt x="1108313" y="1063788"/>
                    <a:pt x="1108313" y="1063788"/>
                  </a:cubicBezTo>
                  <a:lnTo>
                    <a:pt x="1112789" y="1063216"/>
                  </a:lnTo>
                  <a:lnTo>
                    <a:pt x="1116087" y="1064225"/>
                  </a:lnTo>
                  <a:lnTo>
                    <a:pt x="1118443" y="1065672"/>
                  </a:lnTo>
                  <a:cubicBezTo>
                    <a:pt x="1118443" y="1065672"/>
                    <a:pt x="1120327" y="1068430"/>
                    <a:pt x="1120765" y="1068699"/>
                  </a:cubicBezTo>
                  <a:cubicBezTo>
                    <a:pt x="1121202" y="1069002"/>
                    <a:pt x="1123356" y="1072467"/>
                    <a:pt x="1123356" y="1072467"/>
                  </a:cubicBezTo>
                  <a:lnTo>
                    <a:pt x="1125948" y="1073914"/>
                  </a:lnTo>
                  <a:lnTo>
                    <a:pt x="1127967" y="1075663"/>
                  </a:lnTo>
                  <a:lnTo>
                    <a:pt x="1129414" y="1078253"/>
                  </a:lnTo>
                  <a:lnTo>
                    <a:pt x="1130996" y="1080002"/>
                  </a:lnTo>
                  <a:lnTo>
                    <a:pt x="1131736" y="1081752"/>
                  </a:lnTo>
                  <a:lnTo>
                    <a:pt x="1131736" y="1084813"/>
                  </a:lnTo>
                  <a:lnTo>
                    <a:pt x="1133486" y="1089455"/>
                  </a:lnTo>
                  <a:lnTo>
                    <a:pt x="1133486" y="1091776"/>
                  </a:lnTo>
                  <a:lnTo>
                    <a:pt x="1133486" y="1096990"/>
                  </a:lnTo>
                  <a:lnTo>
                    <a:pt x="1132780" y="1099883"/>
                  </a:lnTo>
                  <a:lnTo>
                    <a:pt x="1131030" y="1103079"/>
                  </a:lnTo>
                  <a:cubicBezTo>
                    <a:pt x="1131030" y="1103079"/>
                    <a:pt x="1130289" y="1105097"/>
                    <a:pt x="1130155" y="1105703"/>
                  </a:cubicBezTo>
                  <a:cubicBezTo>
                    <a:pt x="1130020" y="1106275"/>
                    <a:pt x="1129852" y="1110043"/>
                    <a:pt x="1130289" y="1110614"/>
                  </a:cubicBezTo>
                  <a:cubicBezTo>
                    <a:pt x="1130727" y="1111186"/>
                    <a:pt x="1131030" y="1111758"/>
                    <a:pt x="1131030" y="1112633"/>
                  </a:cubicBezTo>
                  <a:cubicBezTo>
                    <a:pt x="1131030" y="1113507"/>
                    <a:pt x="1130895" y="1115660"/>
                    <a:pt x="1130895" y="1115660"/>
                  </a:cubicBezTo>
                  <a:lnTo>
                    <a:pt x="1130592" y="1120000"/>
                  </a:lnTo>
                  <a:lnTo>
                    <a:pt x="1133486" y="1123330"/>
                  </a:lnTo>
                  <a:lnTo>
                    <a:pt x="1135674" y="1125214"/>
                  </a:lnTo>
                  <a:cubicBezTo>
                    <a:pt x="1135674" y="1125214"/>
                    <a:pt x="1137121" y="1124642"/>
                    <a:pt x="1137693" y="1125214"/>
                  </a:cubicBezTo>
                  <a:cubicBezTo>
                    <a:pt x="1138265" y="1125786"/>
                    <a:pt x="1141765" y="1126661"/>
                    <a:pt x="1142169" y="1126661"/>
                  </a:cubicBezTo>
                  <a:cubicBezTo>
                    <a:pt x="1142607" y="1126661"/>
                    <a:pt x="1146241" y="1126526"/>
                    <a:pt x="1147083" y="1126661"/>
                  </a:cubicBezTo>
                  <a:cubicBezTo>
                    <a:pt x="1147958" y="1126795"/>
                    <a:pt x="1148092" y="1126526"/>
                    <a:pt x="1149540" y="1126661"/>
                  </a:cubicBezTo>
                  <a:cubicBezTo>
                    <a:pt x="1150987" y="1126795"/>
                    <a:pt x="1153612" y="1126593"/>
                    <a:pt x="1154184" y="1126694"/>
                  </a:cubicBezTo>
                  <a:cubicBezTo>
                    <a:pt x="1154756" y="1126795"/>
                    <a:pt x="1155934" y="1125618"/>
                    <a:pt x="1157381" y="1126694"/>
                  </a:cubicBezTo>
                  <a:cubicBezTo>
                    <a:pt x="1158828" y="1127804"/>
                    <a:pt x="1162025" y="1130697"/>
                    <a:pt x="1162463" y="1130832"/>
                  </a:cubicBezTo>
                  <a:cubicBezTo>
                    <a:pt x="1162901" y="1130966"/>
                    <a:pt x="1164651" y="1130966"/>
                    <a:pt x="1165795" y="1132413"/>
                  </a:cubicBezTo>
                  <a:cubicBezTo>
                    <a:pt x="1166939" y="1133860"/>
                    <a:pt x="1169564" y="1137190"/>
                    <a:pt x="1170271" y="1137762"/>
                  </a:cubicBezTo>
                  <a:cubicBezTo>
                    <a:pt x="1170978" y="1138333"/>
                    <a:pt x="1172290" y="1141092"/>
                    <a:pt x="1172290" y="1141092"/>
                  </a:cubicBezTo>
                  <a:cubicBezTo>
                    <a:pt x="1172290" y="1141092"/>
                    <a:pt x="1171987" y="1141967"/>
                    <a:pt x="1172290" y="1143548"/>
                  </a:cubicBezTo>
                  <a:cubicBezTo>
                    <a:pt x="1172593" y="1145129"/>
                    <a:pt x="1173165" y="1147618"/>
                    <a:pt x="1173165" y="1147618"/>
                  </a:cubicBezTo>
                  <a:cubicBezTo>
                    <a:pt x="1173165" y="1147618"/>
                    <a:pt x="1172290" y="1150646"/>
                    <a:pt x="1172290" y="1151520"/>
                  </a:cubicBezTo>
                  <a:cubicBezTo>
                    <a:pt x="1172290" y="1152395"/>
                    <a:pt x="1170978" y="1153404"/>
                    <a:pt x="1170978" y="1153404"/>
                  </a:cubicBezTo>
                  <a:lnTo>
                    <a:pt x="1167949" y="1159325"/>
                  </a:lnTo>
                  <a:lnTo>
                    <a:pt x="1165929" y="1162218"/>
                  </a:lnTo>
                  <a:lnTo>
                    <a:pt x="1164920" y="1165111"/>
                  </a:lnTo>
                  <a:lnTo>
                    <a:pt x="1164348" y="1166860"/>
                  </a:lnTo>
                  <a:lnTo>
                    <a:pt x="1163607" y="1168575"/>
                  </a:lnTo>
                  <a:lnTo>
                    <a:pt x="1164348" y="1172646"/>
                  </a:lnTo>
                  <a:lnTo>
                    <a:pt x="1164785" y="1175674"/>
                  </a:lnTo>
                  <a:lnTo>
                    <a:pt x="1164785" y="1176817"/>
                  </a:lnTo>
                  <a:lnTo>
                    <a:pt x="1164348" y="1180720"/>
                  </a:lnTo>
                  <a:lnTo>
                    <a:pt x="1164785" y="1184790"/>
                  </a:lnTo>
                  <a:lnTo>
                    <a:pt x="1164785" y="1187246"/>
                  </a:lnTo>
                  <a:lnTo>
                    <a:pt x="1164213" y="1189129"/>
                  </a:lnTo>
                  <a:lnTo>
                    <a:pt x="1164078" y="1192325"/>
                  </a:lnTo>
                  <a:lnTo>
                    <a:pt x="1163944" y="1194781"/>
                  </a:lnTo>
                  <a:lnTo>
                    <a:pt x="1164516" y="1198246"/>
                  </a:lnTo>
                  <a:lnTo>
                    <a:pt x="1164651" y="1201711"/>
                  </a:lnTo>
                  <a:lnTo>
                    <a:pt x="1164718" y="1203292"/>
                  </a:lnTo>
                  <a:lnTo>
                    <a:pt x="1165862" y="1204570"/>
                  </a:lnTo>
                  <a:lnTo>
                    <a:pt x="1167175" y="1205478"/>
                  </a:lnTo>
                  <a:lnTo>
                    <a:pt x="1169127" y="1205478"/>
                  </a:lnTo>
                  <a:cubicBezTo>
                    <a:pt x="1169127" y="1205478"/>
                    <a:pt x="1174040" y="1206454"/>
                    <a:pt x="1174276" y="1206454"/>
                  </a:cubicBezTo>
                  <a:cubicBezTo>
                    <a:pt x="1174511" y="1206454"/>
                    <a:pt x="1178348" y="1207228"/>
                    <a:pt x="1178348" y="1207228"/>
                  </a:cubicBezTo>
                  <a:lnTo>
                    <a:pt x="1181309" y="1207228"/>
                  </a:lnTo>
                  <a:lnTo>
                    <a:pt x="1184776" y="1207228"/>
                  </a:lnTo>
                  <a:cubicBezTo>
                    <a:pt x="1184776" y="1207228"/>
                    <a:pt x="1187738" y="1207362"/>
                    <a:pt x="1188175" y="1207228"/>
                  </a:cubicBezTo>
                  <a:cubicBezTo>
                    <a:pt x="1188613" y="1207093"/>
                    <a:pt x="1189858" y="1207059"/>
                    <a:pt x="1190632" y="1207059"/>
                  </a:cubicBezTo>
                  <a:cubicBezTo>
                    <a:pt x="1191440" y="1207059"/>
                    <a:pt x="1195781" y="1207228"/>
                    <a:pt x="1195781" y="1207228"/>
                  </a:cubicBezTo>
                  <a:lnTo>
                    <a:pt x="1198675" y="1207228"/>
                  </a:lnTo>
                  <a:lnTo>
                    <a:pt x="1201637" y="1207228"/>
                  </a:lnTo>
                  <a:lnTo>
                    <a:pt x="1205608" y="1207228"/>
                  </a:lnTo>
                  <a:cubicBezTo>
                    <a:pt x="1205608" y="1207228"/>
                    <a:pt x="1209377" y="1207497"/>
                    <a:pt x="1209815" y="1207295"/>
                  </a:cubicBezTo>
                  <a:cubicBezTo>
                    <a:pt x="1210252" y="1207093"/>
                    <a:pt x="1215469" y="1208741"/>
                    <a:pt x="1215469" y="1208741"/>
                  </a:cubicBezTo>
                  <a:lnTo>
                    <a:pt x="1217152" y="1209683"/>
                  </a:lnTo>
                  <a:lnTo>
                    <a:pt x="1221358" y="1210255"/>
                  </a:lnTo>
                  <a:lnTo>
                    <a:pt x="1228762" y="1211903"/>
                  </a:lnTo>
                  <a:lnTo>
                    <a:pt x="1232599" y="1212711"/>
                  </a:lnTo>
                  <a:lnTo>
                    <a:pt x="1237243" y="1214292"/>
                  </a:lnTo>
                  <a:cubicBezTo>
                    <a:pt x="1237243" y="1214292"/>
                    <a:pt x="1244715" y="1216310"/>
                    <a:pt x="1244917" y="1216310"/>
                  </a:cubicBezTo>
                  <a:cubicBezTo>
                    <a:pt x="1245119" y="1216310"/>
                    <a:pt x="1252657" y="1219270"/>
                    <a:pt x="1252960" y="1219439"/>
                  </a:cubicBezTo>
                  <a:cubicBezTo>
                    <a:pt x="1253263" y="1219573"/>
                    <a:pt x="1258681" y="1220582"/>
                    <a:pt x="1258984" y="1220751"/>
                  </a:cubicBezTo>
                  <a:cubicBezTo>
                    <a:pt x="1259287" y="1220885"/>
                    <a:pt x="1267533" y="1220952"/>
                    <a:pt x="1269047" y="1221121"/>
                  </a:cubicBezTo>
                  <a:cubicBezTo>
                    <a:pt x="1270561" y="1221255"/>
                    <a:pt x="1275004" y="1221020"/>
                    <a:pt x="1277528" y="1221020"/>
                  </a:cubicBezTo>
                  <a:cubicBezTo>
                    <a:pt x="1280052" y="1221020"/>
                    <a:pt x="1285942" y="1221121"/>
                    <a:pt x="1286211" y="1221121"/>
                  </a:cubicBezTo>
                  <a:cubicBezTo>
                    <a:pt x="1286480" y="1221121"/>
                    <a:pt x="1297788" y="1221121"/>
                    <a:pt x="1297788" y="1221121"/>
                  </a:cubicBezTo>
                  <a:lnTo>
                    <a:pt x="1307077" y="1219674"/>
                  </a:lnTo>
                  <a:cubicBezTo>
                    <a:pt x="1307077" y="1219674"/>
                    <a:pt x="1315255" y="1219741"/>
                    <a:pt x="1315558" y="1219741"/>
                  </a:cubicBezTo>
                  <a:cubicBezTo>
                    <a:pt x="1315861" y="1219741"/>
                    <a:pt x="1323029" y="1219809"/>
                    <a:pt x="1324106" y="1219674"/>
                  </a:cubicBezTo>
                  <a:cubicBezTo>
                    <a:pt x="1325183" y="1219540"/>
                    <a:pt x="1330332" y="1218867"/>
                    <a:pt x="1330635" y="1218867"/>
                  </a:cubicBezTo>
                  <a:cubicBezTo>
                    <a:pt x="1330938" y="1218867"/>
                    <a:pt x="1336289" y="1217050"/>
                    <a:pt x="1336928" y="1216781"/>
                  </a:cubicBezTo>
                  <a:cubicBezTo>
                    <a:pt x="1337568" y="1216478"/>
                    <a:pt x="1338746" y="1213956"/>
                    <a:pt x="1338880" y="1213754"/>
                  </a:cubicBezTo>
                  <a:cubicBezTo>
                    <a:pt x="1339015" y="1213552"/>
                    <a:pt x="1342212" y="1210289"/>
                    <a:pt x="1342212" y="1210289"/>
                  </a:cubicBezTo>
                  <a:cubicBezTo>
                    <a:pt x="1342212" y="1210289"/>
                    <a:pt x="1344602" y="1206588"/>
                    <a:pt x="1344736" y="1206387"/>
                  </a:cubicBezTo>
                  <a:cubicBezTo>
                    <a:pt x="1344871" y="1206185"/>
                    <a:pt x="1346823" y="1203493"/>
                    <a:pt x="1346991" y="1203191"/>
                  </a:cubicBezTo>
                  <a:cubicBezTo>
                    <a:pt x="1347126" y="1202888"/>
                    <a:pt x="1347294" y="1201610"/>
                    <a:pt x="1347933" y="1201004"/>
                  </a:cubicBezTo>
                  <a:cubicBezTo>
                    <a:pt x="1348573" y="1200432"/>
                    <a:pt x="1351467" y="1197237"/>
                    <a:pt x="1351467" y="1197237"/>
                  </a:cubicBezTo>
                  <a:cubicBezTo>
                    <a:pt x="1351467" y="1197237"/>
                    <a:pt x="1352982" y="1194915"/>
                    <a:pt x="1353284" y="1194714"/>
                  </a:cubicBezTo>
                  <a:cubicBezTo>
                    <a:pt x="1353587" y="1194512"/>
                    <a:pt x="1357861" y="1191013"/>
                    <a:pt x="1357861" y="1191013"/>
                  </a:cubicBezTo>
                  <a:lnTo>
                    <a:pt x="1361059" y="1187885"/>
                  </a:lnTo>
                  <a:lnTo>
                    <a:pt x="1365636" y="1184857"/>
                  </a:lnTo>
                  <a:lnTo>
                    <a:pt x="1368967" y="1182233"/>
                  </a:lnTo>
                  <a:cubicBezTo>
                    <a:pt x="1368967" y="1182233"/>
                    <a:pt x="1372232" y="1179408"/>
                    <a:pt x="1372299" y="1179138"/>
                  </a:cubicBezTo>
                  <a:cubicBezTo>
                    <a:pt x="1372367" y="1178836"/>
                    <a:pt x="1374823" y="1176245"/>
                    <a:pt x="1374823" y="1176245"/>
                  </a:cubicBezTo>
                  <a:cubicBezTo>
                    <a:pt x="1374823" y="1176245"/>
                    <a:pt x="1377650" y="1173655"/>
                    <a:pt x="1377852" y="1173420"/>
                  </a:cubicBezTo>
                  <a:cubicBezTo>
                    <a:pt x="1378054" y="1173218"/>
                    <a:pt x="1383136" y="1168845"/>
                    <a:pt x="1383439" y="1168710"/>
                  </a:cubicBezTo>
                  <a:cubicBezTo>
                    <a:pt x="1383742" y="1168575"/>
                    <a:pt x="1388016" y="1164505"/>
                    <a:pt x="1388655" y="1164371"/>
                  </a:cubicBezTo>
                  <a:cubicBezTo>
                    <a:pt x="1389295" y="1164236"/>
                    <a:pt x="1391718" y="1162991"/>
                    <a:pt x="1392223" y="1162689"/>
                  </a:cubicBezTo>
                  <a:cubicBezTo>
                    <a:pt x="1392728" y="1162386"/>
                    <a:pt x="1399122" y="1162117"/>
                    <a:pt x="1399324" y="1161949"/>
                  </a:cubicBezTo>
                  <a:cubicBezTo>
                    <a:pt x="1399526" y="1161814"/>
                    <a:pt x="1402588" y="1161679"/>
                    <a:pt x="1403396" y="1161511"/>
                  </a:cubicBezTo>
                  <a:cubicBezTo>
                    <a:pt x="1404204" y="1161377"/>
                    <a:pt x="1408310" y="1161646"/>
                    <a:pt x="1408747" y="1161713"/>
                  </a:cubicBezTo>
                  <a:cubicBezTo>
                    <a:pt x="1409185" y="1161780"/>
                    <a:pt x="1412146" y="1161276"/>
                    <a:pt x="1412146" y="1161276"/>
                  </a:cubicBezTo>
                  <a:lnTo>
                    <a:pt x="1418440" y="1160468"/>
                  </a:lnTo>
                  <a:lnTo>
                    <a:pt x="1425238" y="1159829"/>
                  </a:lnTo>
                  <a:lnTo>
                    <a:pt x="1434594" y="1157441"/>
                  </a:lnTo>
                  <a:lnTo>
                    <a:pt x="1442132" y="1152664"/>
                  </a:lnTo>
                  <a:cubicBezTo>
                    <a:pt x="1442132" y="1152664"/>
                    <a:pt x="1445969" y="1151857"/>
                    <a:pt x="1446205" y="1151789"/>
                  </a:cubicBezTo>
                  <a:cubicBezTo>
                    <a:pt x="1446407" y="1151722"/>
                    <a:pt x="1451421" y="1149603"/>
                    <a:pt x="1452061" y="1149266"/>
                  </a:cubicBezTo>
                  <a:cubicBezTo>
                    <a:pt x="1452700" y="1148896"/>
                    <a:pt x="1454820" y="1147954"/>
                    <a:pt x="1454820" y="1147954"/>
                  </a:cubicBezTo>
                  <a:lnTo>
                    <a:pt x="1467138" y="1144422"/>
                  </a:lnTo>
                  <a:lnTo>
                    <a:pt x="1473869" y="1141395"/>
                  </a:lnTo>
                  <a:cubicBezTo>
                    <a:pt x="1473869" y="1141395"/>
                    <a:pt x="1479388" y="1140150"/>
                    <a:pt x="1479893" y="1140015"/>
                  </a:cubicBezTo>
                  <a:cubicBezTo>
                    <a:pt x="1480398" y="1139881"/>
                    <a:pt x="1487566" y="1139074"/>
                    <a:pt x="1487802" y="1139006"/>
                  </a:cubicBezTo>
                  <a:cubicBezTo>
                    <a:pt x="1488037" y="1138939"/>
                    <a:pt x="1494331" y="1137122"/>
                    <a:pt x="1494701" y="1136853"/>
                  </a:cubicBezTo>
                  <a:cubicBezTo>
                    <a:pt x="1495071" y="1136551"/>
                    <a:pt x="1498167" y="1133220"/>
                    <a:pt x="1498167" y="1133220"/>
                  </a:cubicBezTo>
                  <a:lnTo>
                    <a:pt x="1499682" y="1130630"/>
                  </a:lnTo>
                  <a:lnTo>
                    <a:pt x="1502509" y="1126560"/>
                  </a:lnTo>
                  <a:lnTo>
                    <a:pt x="1504898" y="1123162"/>
                  </a:lnTo>
                  <a:lnTo>
                    <a:pt x="1507591" y="1120706"/>
                  </a:lnTo>
                  <a:cubicBezTo>
                    <a:pt x="1507591" y="1120706"/>
                    <a:pt x="1510350" y="1118385"/>
                    <a:pt x="1510788" y="1118251"/>
                  </a:cubicBezTo>
                  <a:cubicBezTo>
                    <a:pt x="1511225" y="1118116"/>
                    <a:pt x="1514423" y="1115930"/>
                    <a:pt x="1514423" y="1115930"/>
                  </a:cubicBezTo>
                  <a:lnTo>
                    <a:pt x="1518326" y="1114248"/>
                  </a:lnTo>
                  <a:lnTo>
                    <a:pt x="1523980" y="1110345"/>
                  </a:lnTo>
                  <a:lnTo>
                    <a:pt x="1530005" y="1108596"/>
                  </a:lnTo>
                  <a:cubicBezTo>
                    <a:pt x="1530005" y="1108596"/>
                    <a:pt x="1534279" y="1104963"/>
                    <a:pt x="1534716" y="1104627"/>
                  </a:cubicBezTo>
                  <a:cubicBezTo>
                    <a:pt x="1535154" y="1104257"/>
                    <a:pt x="1538048" y="1103382"/>
                    <a:pt x="1538486" y="1103180"/>
                  </a:cubicBezTo>
                  <a:cubicBezTo>
                    <a:pt x="1538923" y="1102978"/>
                    <a:pt x="1542053" y="1100859"/>
                    <a:pt x="1542053" y="1100859"/>
                  </a:cubicBezTo>
                  <a:lnTo>
                    <a:pt x="1544880" y="1100119"/>
                  </a:lnTo>
                  <a:cubicBezTo>
                    <a:pt x="1544880" y="1100119"/>
                    <a:pt x="1546697" y="1099816"/>
                    <a:pt x="1547269" y="1099816"/>
                  </a:cubicBezTo>
                  <a:cubicBezTo>
                    <a:pt x="1547842" y="1099816"/>
                    <a:pt x="1550904" y="1099682"/>
                    <a:pt x="1550904" y="1099682"/>
                  </a:cubicBezTo>
                  <a:lnTo>
                    <a:pt x="1552991" y="1100119"/>
                  </a:lnTo>
                  <a:lnTo>
                    <a:pt x="1555750" y="1100758"/>
                  </a:lnTo>
                  <a:lnTo>
                    <a:pt x="1558510" y="1103214"/>
                  </a:lnTo>
                  <a:cubicBezTo>
                    <a:pt x="1558510" y="1103214"/>
                    <a:pt x="1561202" y="1105838"/>
                    <a:pt x="1561472" y="1106040"/>
                  </a:cubicBezTo>
                  <a:cubicBezTo>
                    <a:pt x="1561741" y="1106241"/>
                    <a:pt x="1564366" y="1108932"/>
                    <a:pt x="1564803" y="1109235"/>
                  </a:cubicBezTo>
                  <a:cubicBezTo>
                    <a:pt x="1565241" y="1109538"/>
                    <a:pt x="1566688" y="1110682"/>
                    <a:pt x="1567698" y="1111556"/>
                  </a:cubicBezTo>
                  <a:cubicBezTo>
                    <a:pt x="1568707" y="1112431"/>
                    <a:pt x="1570895" y="1113440"/>
                    <a:pt x="1571534" y="1113878"/>
                  </a:cubicBezTo>
                  <a:cubicBezTo>
                    <a:pt x="1572174" y="1114315"/>
                    <a:pt x="1573924" y="1115963"/>
                    <a:pt x="1574429" y="1116333"/>
                  </a:cubicBezTo>
                  <a:cubicBezTo>
                    <a:pt x="1574934" y="1116703"/>
                    <a:pt x="1576381" y="1117410"/>
                    <a:pt x="1576818" y="1117578"/>
                  </a:cubicBezTo>
                  <a:cubicBezTo>
                    <a:pt x="1577256" y="1117712"/>
                    <a:pt x="1578198" y="1118150"/>
                    <a:pt x="1579645" y="1118284"/>
                  </a:cubicBezTo>
                  <a:cubicBezTo>
                    <a:pt x="1581092" y="1118419"/>
                    <a:pt x="1584491" y="1117040"/>
                    <a:pt x="1584491" y="1117040"/>
                  </a:cubicBezTo>
                  <a:cubicBezTo>
                    <a:pt x="1584491" y="1117040"/>
                    <a:pt x="1586376" y="1115660"/>
                    <a:pt x="1586578" y="1115660"/>
                  </a:cubicBezTo>
                  <a:cubicBezTo>
                    <a:pt x="1586780" y="1115660"/>
                    <a:pt x="1590482" y="1113777"/>
                    <a:pt x="1590482" y="1113777"/>
                  </a:cubicBezTo>
                  <a:lnTo>
                    <a:pt x="1591559" y="1112196"/>
                  </a:lnTo>
                  <a:lnTo>
                    <a:pt x="1592804" y="1111556"/>
                  </a:lnTo>
                  <a:cubicBezTo>
                    <a:pt x="1592804" y="1111556"/>
                    <a:pt x="1594689" y="1111691"/>
                    <a:pt x="1594891" y="1111691"/>
                  </a:cubicBezTo>
                  <a:cubicBezTo>
                    <a:pt x="1595126" y="1111691"/>
                    <a:pt x="1596775" y="1111624"/>
                    <a:pt x="1596775" y="1111624"/>
                  </a:cubicBezTo>
                  <a:lnTo>
                    <a:pt x="1598660" y="1111758"/>
                  </a:lnTo>
                  <a:lnTo>
                    <a:pt x="1599266" y="1112936"/>
                  </a:lnTo>
                  <a:lnTo>
                    <a:pt x="1599535" y="1114752"/>
                  </a:lnTo>
                  <a:lnTo>
                    <a:pt x="1599535" y="1115997"/>
                  </a:lnTo>
                  <a:lnTo>
                    <a:pt x="1599535" y="1117746"/>
                  </a:lnTo>
                  <a:lnTo>
                    <a:pt x="1599535" y="1119495"/>
                  </a:lnTo>
                  <a:cubicBezTo>
                    <a:pt x="1599535" y="1119495"/>
                    <a:pt x="1599232" y="1120303"/>
                    <a:pt x="1599535" y="1120740"/>
                  </a:cubicBezTo>
                  <a:cubicBezTo>
                    <a:pt x="1599838" y="1121177"/>
                    <a:pt x="1599771" y="1121447"/>
                    <a:pt x="1600275" y="1121749"/>
                  </a:cubicBezTo>
                  <a:cubicBezTo>
                    <a:pt x="1600780" y="1122052"/>
                    <a:pt x="1600578" y="1122893"/>
                    <a:pt x="1602362" y="1123128"/>
                  </a:cubicBezTo>
                  <a:cubicBezTo>
                    <a:pt x="1604179" y="1123330"/>
                    <a:pt x="1605559" y="1123498"/>
                    <a:pt x="1606131" y="1123330"/>
                  </a:cubicBezTo>
                  <a:cubicBezTo>
                    <a:pt x="1606703" y="1123196"/>
                    <a:pt x="1607208" y="1122321"/>
                    <a:pt x="1608319" y="1122321"/>
                  </a:cubicBezTo>
                  <a:cubicBezTo>
                    <a:pt x="1609396" y="1122321"/>
                    <a:pt x="1609833" y="1121514"/>
                    <a:pt x="1610473" y="1122018"/>
                  </a:cubicBezTo>
                  <a:cubicBezTo>
                    <a:pt x="1611112" y="1122523"/>
                    <a:pt x="1611617" y="1123027"/>
                    <a:pt x="1612054" y="1123902"/>
                  </a:cubicBezTo>
                  <a:cubicBezTo>
                    <a:pt x="1612492" y="1124777"/>
                    <a:pt x="1612694" y="1125719"/>
                    <a:pt x="1613199" y="1126291"/>
                  </a:cubicBezTo>
                  <a:cubicBezTo>
                    <a:pt x="1613704" y="1126862"/>
                    <a:pt x="1615218" y="1128612"/>
                    <a:pt x="1615521" y="1128914"/>
                  </a:cubicBezTo>
                  <a:cubicBezTo>
                    <a:pt x="1615824" y="1129217"/>
                    <a:pt x="1617910" y="1131673"/>
                    <a:pt x="1617910" y="1131673"/>
                  </a:cubicBezTo>
                  <a:lnTo>
                    <a:pt x="1620367" y="1133691"/>
                  </a:lnTo>
                  <a:lnTo>
                    <a:pt x="1622252" y="1135878"/>
                  </a:lnTo>
                  <a:cubicBezTo>
                    <a:pt x="1622252" y="1135878"/>
                    <a:pt x="1625012" y="1139477"/>
                    <a:pt x="1625449" y="1139780"/>
                  </a:cubicBezTo>
                  <a:cubicBezTo>
                    <a:pt x="1625887" y="1140083"/>
                    <a:pt x="1628074" y="1141798"/>
                    <a:pt x="1628074" y="1141798"/>
                  </a:cubicBezTo>
                  <a:cubicBezTo>
                    <a:pt x="1628074" y="1141798"/>
                    <a:pt x="1628949" y="1142236"/>
                    <a:pt x="1630531" y="1142942"/>
                  </a:cubicBezTo>
                  <a:cubicBezTo>
                    <a:pt x="1632113" y="1143682"/>
                    <a:pt x="1634738" y="1145835"/>
                    <a:pt x="1634738" y="1145835"/>
                  </a:cubicBezTo>
                  <a:cubicBezTo>
                    <a:pt x="1634738" y="1145835"/>
                    <a:pt x="1637329" y="1148594"/>
                    <a:pt x="1638070" y="1148728"/>
                  </a:cubicBezTo>
                  <a:cubicBezTo>
                    <a:pt x="1638810" y="1148863"/>
                    <a:pt x="1642714" y="1151756"/>
                    <a:pt x="1642714" y="1151756"/>
                  </a:cubicBezTo>
                  <a:lnTo>
                    <a:pt x="1646483" y="1155658"/>
                  </a:lnTo>
                  <a:cubicBezTo>
                    <a:pt x="1646483" y="1155658"/>
                    <a:pt x="1648671" y="1155658"/>
                    <a:pt x="1648805" y="1156095"/>
                  </a:cubicBezTo>
                  <a:cubicBezTo>
                    <a:pt x="1648940" y="1156533"/>
                    <a:pt x="1650690" y="1156835"/>
                    <a:pt x="1650690" y="1156835"/>
                  </a:cubicBezTo>
                  <a:cubicBezTo>
                    <a:pt x="1650690" y="1156835"/>
                    <a:pt x="1654156" y="1157273"/>
                    <a:pt x="1654325" y="1157710"/>
                  </a:cubicBezTo>
                  <a:cubicBezTo>
                    <a:pt x="1654459" y="1158147"/>
                    <a:pt x="1654628" y="1158147"/>
                    <a:pt x="1655200" y="1158282"/>
                  </a:cubicBezTo>
                  <a:cubicBezTo>
                    <a:pt x="1655772" y="1158416"/>
                    <a:pt x="1660719" y="1158282"/>
                    <a:pt x="1660854" y="1159022"/>
                  </a:cubicBezTo>
                  <a:cubicBezTo>
                    <a:pt x="1660988" y="1159762"/>
                    <a:pt x="1662873" y="1160166"/>
                    <a:pt x="1663310" y="1160906"/>
                  </a:cubicBezTo>
                  <a:cubicBezTo>
                    <a:pt x="1663748" y="1161646"/>
                    <a:pt x="1666508" y="1164236"/>
                    <a:pt x="1666508" y="1164236"/>
                  </a:cubicBezTo>
                  <a:cubicBezTo>
                    <a:pt x="1666508" y="1164236"/>
                    <a:pt x="1667820" y="1165111"/>
                    <a:pt x="1668527" y="1165111"/>
                  </a:cubicBezTo>
                  <a:cubicBezTo>
                    <a:pt x="1669267" y="1165111"/>
                    <a:pt x="1669402" y="1166860"/>
                    <a:pt x="1669536" y="1167432"/>
                  </a:cubicBezTo>
                  <a:cubicBezTo>
                    <a:pt x="1669671" y="1168004"/>
                    <a:pt x="1669402" y="1169618"/>
                    <a:pt x="1669536" y="1170459"/>
                  </a:cubicBezTo>
                  <a:cubicBezTo>
                    <a:pt x="1669671" y="1171334"/>
                    <a:pt x="1669335" y="1172343"/>
                    <a:pt x="1669570" y="1173352"/>
                  </a:cubicBezTo>
                  <a:cubicBezTo>
                    <a:pt x="1669806" y="1174362"/>
                    <a:pt x="1668460" y="1175808"/>
                    <a:pt x="1669570" y="1176683"/>
                  </a:cubicBezTo>
                  <a:cubicBezTo>
                    <a:pt x="1670681" y="1177557"/>
                    <a:pt x="1670109" y="1178264"/>
                    <a:pt x="1671690" y="1178701"/>
                  </a:cubicBezTo>
                  <a:cubicBezTo>
                    <a:pt x="1673272" y="1179138"/>
                    <a:pt x="1673710" y="1179138"/>
                    <a:pt x="1675157" y="1178836"/>
                  </a:cubicBezTo>
                  <a:cubicBezTo>
                    <a:pt x="1676604" y="1178533"/>
                    <a:pt x="1675628" y="1178264"/>
                    <a:pt x="1677142" y="1177389"/>
                  </a:cubicBezTo>
                  <a:cubicBezTo>
                    <a:pt x="1678657" y="1176515"/>
                    <a:pt x="1678657" y="1176077"/>
                    <a:pt x="1679667" y="1175068"/>
                  </a:cubicBezTo>
                  <a:cubicBezTo>
                    <a:pt x="1680676" y="1174059"/>
                    <a:pt x="1681551" y="1172881"/>
                    <a:pt x="1681551" y="1172881"/>
                  </a:cubicBezTo>
                  <a:lnTo>
                    <a:pt x="1682696" y="1171738"/>
                  </a:lnTo>
                  <a:lnTo>
                    <a:pt x="1683570" y="1170560"/>
                  </a:lnTo>
                  <a:lnTo>
                    <a:pt x="1684883" y="1169248"/>
                  </a:lnTo>
                  <a:cubicBezTo>
                    <a:pt x="1684883" y="1169248"/>
                    <a:pt x="1685018" y="1168374"/>
                    <a:pt x="1685623" y="1168239"/>
                  </a:cubicBezTo>
                  <a:cubicBezTo>
                    <a:pt x="1686196" y="1168105"/>
                    <a:pt x="1685926" y="1168239"/>
                    <a:pt x="1687811" y="1167667"/>
                  </a:cubicBezTo>
                  <a:cubicBezTo>
                    <a:pt x="1689696" y="1167095"/>
                    <a:pt x="1689999" y="1166221"/>
                    <a:pt x="1692152" y="1166086"/>
                  </a:cubicBezTo>
                  <a:cubicBezTo>
                    <a:pt x="1694340" y="1165952"/>
                    <a:pt x="1695047" y="1165649"/>
                    <a:pt x="1695047" y="1165649"/>
                  </a:cubicBezTo>
                  <a:lnTo>
                    <a:pt x="1698513" y="1165212"/>
                  </a:lnTo>
                  <a:cubicBezTo>
                    <a:pt x="1698513" y="1165212"/>
                    <a:pt x="1701105" y="1164774"/>
                    <a:pt x="1701980" y="1164472"/>
                  </a:cubicBezTo>
                  <a:cubicBezTo>
                    <a:pt x="1702855" y="1164169"/>
                    <a:pt x="1704739" y="1165043"/>
                    <a:pt x="1705008" y="1164034"/>
                  </a:cubicBezTo>
                  <a:cubicBezTo>
                    <a:pt x="1705311" y="1163025"/>
                    <a:pt x="1707465" y="1162285"/>
                    <a:pt x="1707331" y="1160569"/>
                  </a:cubicBezTo>
                  <a:cubicBezTo>
                    <a:pt x="1707196" y="1158820"/>
                    <a:pt x="1707028" y="1157979"/>
                    <a:pt x="1706758" y="1157239"/>
                  </a:cubicBezTo>
                  <a:cubicBezTo>
                    <a:pt x="1706456" y="1156533"/>
                    <a:pt x="1705749" y="1155658"/>
                    <a:pt x="1705614" y="1154346"/>
                  </a:cubicBezTo>
                  <a:cubicBezTo>
                    <a:pt x="1705480" y="1153034"/>
                    <a:pt x="1705917" y="1153909"/>
                    <a:pt x="1705480" y="1153034"/>
                  </a:cubicBezTo>
                  <a:cubicBezTo>
                    <a:pt x="1705042" y="1152159"/>
                    <a:pt x="1705278" y="1151285"/>
                    <a:pt x="1705278" y="1150713"/>
                  </a:cubicBezTo>
                  <a:cubicBezTo>
                    <a:pt x="1705278" y="1150141"/>
                    <a:pt x="1705648" y="1148829"/>
                    <a:pt x="1705648" y="1148392"/>
                  </a:cubicBezTo>
                  <a:cubicBezTo>
                    <a:pt x="1705648" y="1147954"/>
                    <a:pt x="1705648" y="1145499"/>
                    <a:pt x="1705648" y="1145499"/>
                  </a:cubicBezTo>
                  <a:lnTo>
                    <a:pt x="1705648" y="1142034"/>
                  </a:lnTo>
                  <a:lnTo>
                    <a:pt x="1705648" y="1140285"/>
                  </a:lnTo>
                  <a:cubicBezTo>
                    <a:pt x="1705648" y="1140285"/>
                    <a:pt x="1705076" y="1138703"/>
                    <a:pt x="1705076" y="1137829"/>
                  </a:cubicBezTo>
                  <a:cubicBezTo>
                    <a:pt x="1705076" y="1136954"/>
                    <a:pt x="1705379" y="1135945"/>
                    <a:pt x="1705513" y="1135071"/>
                  </a:cubicBezTo>
                  <a:cubicBezTo>
                    <a:pt x="1705648" y="1134196"/>
                    <a:pt x="1705210" y="1134196"/>
                    <a:pt x="1705951" y="1133321"/>
                  </a:cubicBezTo>
                  <a:cubicBezTo>
                    <a:pt x="1706691" y="1132447"/>
                    <a:pt x="1706388" y="1132749"/>
                    <a:pt x="1707398" y="1132144"/>
                  </a:cubicBezTo>
                  <a:cubicBezTo>
                    <a:pt x="1708407" y="1131572"/>
                    <a:pt x="1707970" y="1132009"/>
                    <a:pt x="1709552" y="1131000"/>
                  </a:cubicBezTo>
                  <a:cubicBezTo>
                    <a:pt x="1711134" y="1129991"/>
                    <a:pt x="1711436" y="1129856"/>
                    <a:pt x="1711739" y="1129251"/>
                  </a:cubicBezTo>
                  <a:cubicBezTo>
                    <a:pt x="1712042" y="1128679"/>
                    <a:pt x="1713052" y="1126627"/>
                    <a:pt x="1713489" y="1126358"/>
                  </a:cubicBezTo>
                  <a:cubicBezTo>
                    <a:pt x="1713927" y="1126055"/>
                    <a:pt x="1714936" y="1124339"/>
                    <a:pt x="1715812" y="1123734"/>
                  </a:cubicBezTo>
                  <a:cubicBezTo>
                    <a:pt x="1716687" y="1123162"/>
                    <a:pt x="1717124" y="1123162"/>
                    <a:pt x="1717562" y="1122288"/>
                  </a:cubicBezTo>
                  <a:cubicBezTo>
                    <a:pt x="1717999" y="1121413"/>
                    <a:pt x="1719143" y="1119966"/>
                    <a:pt x="1719446" y="1119529"/>
                  </a:cubicBezTo>
                  <a:cubicBezTo>
                    <a:pt x="1719749" y="1119092"/>
                    <a:pt x="1720321" y="1118520"/>
                    <a:pt x="1720624" y="1118083"/>
                  </a:cubicBezTo>
                  <a:cubicBezTo>
                    <a:pt x="1720927" y="1117645"/>
                    <a:pt x="1721768" y="1116636"/>
                    <a:pt x="1721937" y="1116064"/>
                  </a:cubicBezTo>
                  <a:cubicBezTo>
                    <a:pt x="1722071" y="1115492"/>
                    <a:pt x="1721432" y="1115055"/>
                    <a:pt x="1722139" y="1114180"/>
                  </a:cubicBezTo>
                  <a:cubicBezTo>
                    <a:pt x="1722879" y="1113306"/>
                    <a:pt x="1723081" y="1112868"/>
                    <a:pt x="1723081" y="1112296"/>
                  </a:cubicBezTo>
                  <a:cubicBezTo>
                    <a:pt x="1723081" y="1111725"/>
                    <a:pt x="1723081" y="1110715"/>
                    <a:pt x="1723081" y="1110715"/>
                  </a:cubicBezTo>
                  <a:lnTo>
                    <a:pt x="1723081" y="1108966"/>
                  </a:lnTo>
                  <a:lnTo>
                    <a:pt x="1723889" y="1106140"/>
                  </a:lnTo>
                  <a:cubicBezTo>
                    <a:pt x="1723889" y="1106140"/>
                    <a:pt x="1724393" y="1103752"/>
                    <a:pt x="1724461" y="1103550"/>
                  </a:cubicBezTo>
                  <a:cubicBezTo>
                    <a:pt x="1724528" y="1103348"/>
                    <a:pt x="1725773" y="1101229"/>
                    <a:pt x="1725773" y="1101229"/>
                  </a:cubicBezTo>
                  <a:lnTo>
                    <a:pt x="1726413" y="1099412"/>
                  </a:lnTo>
                  <a:cubicBezTo>
                    <a:pt x="1726413" y="1099412"/>
                    <a:pt x="1727658" y="1098168"/>
                    <a:pt x="1727860" y="1098101"/>
                  </a:cubicBezTo>
                  <a:cubicBezTo>
                    <a:pt x="1728062" y="1098033"/>
                    <a:pt x="1729745" y="1097091"/>
                    <a:pt x="1729745" y="1097091"/>
                  </a:cubicBezTo>
                  <a:lnTo>
                    <a:pt x="1731697" y="1096452"/>
                  </a:lnTo>
                  <a:cubicBezTo>
                    <a:pt x="1731697" y="1096452"/>
                    <a:pt x="1733211" y="1095948"/>
                    <a:pt x="1733447" y="1095948"/>
                  </a:cubicBezTo>
                  <a:cubicBezTo>
                    <a:pt x="1733682" y="1095948"/>
                    <a:pt x="1734591" y="1096082"/>
                    <a:pt x="1734894" y="1096082"/>
                  </a:cubicBezTo>
                  <a:cubicBezTo>
                    <a:pt x="1735197" y="1096082"/>
                    <a:pt x="1736846" y="1096217"/>
                    <a:pt x="1737149" y="1096217"/>
                  </a:cubicBezTo>
                  <a:cubicBezTo>
                    <a:pt x="1737451" y="1096217"/>
                    <a:pt x="1739033" y="1096789"/>
                    <a:pt x="1739235" y="1096856"/>
                  </a:cubicBezTo>
                  <a:cubicBezTo>
                    <a:pt x="1739437" y="1096923"/>
                    <a:pt x="1740615" y="1098538"/>
                    <a:pt x="1740985" y="1098874"/>
                  </a:cubicBezTo>
                  <a:cubicBezTo>
                    <a:pt x="1741355" y="1099244"/>
                    <a:pt x="1742231" y="1101565"/>
                    <a:pt x="1742231" y="1101565"/>
                  </a:cubicBezTo>
                  <a:lnTo>
                    <a:pt x="1742231" y="1103752"/>
                  </a:lnTo>
                  <a:lnTo>
                    <a:pt x="1742971" y="1106140"/>
                  </a:lnTo>
                  <a:cubicBezTo>
                    <a:pt x="1742971" y="1106140"/>
                    <a:pt x="1743408" y="1107520"/>
                    <a:pt x="1743476" y="1107822"/>
                  </a:cubicBezTo>
                  <a:cubicBezTo>
                    <a:pt x="1743543" y="1108125"/>
                    <a:pt x="1744654" y="1110514"/>
                    <a:pt x="1744654" y="1110514"/>
                  </a:cubicBezTo>
                  <a:cubicBezTo>
                    <a:pt x="1744654" y="1110514"/>
                    <a:pt x="1745158" y="1112330"/>
                    <a:pt x="1745798" y="1112700"/>
                  </a:cubicBezTo>
                  <a:cubicBezTo>
                    <a:pt x="1746437" y="1113070"/>
                    <a:pt x="1747447" y="1114079"/>
                    <a:pt x="1747817" y="1114584"/>
                  </a:cubicBezTo>
                  <a:cubicBezTo>
                    <a:pt x="1748187" y="1115089"/>
                    <a:pt x="1749264" y="1115728"/>
                    <a:pt x="1750139" y="1115896"/>
                  </a:cubicBezTo>
                  <a:cubicBezTo>
                    <a:pt x="1751014" y="1116030"/>
                    <a:pt x="1749769" y="1116030"/>
                    <a:pt x="1752394" y="1115829"/>
                  </a:cubicBezTo>
                  <a:cubicBezTo>
                    <a:pt x="1755019" y="1115627"/>
                    <a:pt x="1756668" y="1114954"/>
                    <a:pt x="1756668" y="1114954"/>
                  </a:cubicBezTo>
                  <a:lnTo>
                    <a:pt x="1758755" y="1115761"/>
                  </a:lnTo>
                  <a:lnTo>
                    <a:pt x="1760404" y="1116199"/>
                  </a:lnTo>
                  <a:cubicBezTo>
                    <a:pt x="1760404" y="1116199"/>
                    <a:pt x="1762423" y="1116905"/>
                    <a:pt x="1763365" y="1117141"/>
                  </a:cubicBezTo>
                  <a:cubicBezTo>
                    <a:pt x="1764308" y="1117376"/>
                    <a:pt x="1766193" y="1119159"/>
                    <a:pt x="1766193" y="1119159"/>
                  </a:cubicBezTo>
                  <a:cubicBezTo>
                    <a:pt x="1766193" y="1119159"/>
                    <a:pt x="1766933" y="1120404"/>
                    <a:pt x="1767067" y="1120673"/>
                  </a:cubicBezTo>
                  <a:cubicBezTo>
                    <a:pt x="1767202" y="1120976"/>
                    <a:pt x="1766697" y="1122052"/>
                    <a:pt x="1767067" y="1122624"/>
                  </a:cubicBezTo>
                  <a:cubicBezTo>
                    <a:pt x="1767438" y="1123196"/>
                    <a:pt x="1767202" y="1122859"/>
                    <a:pt x="1767101" y="1124878"/>
                  </a:cubicBezTo>
                  <a:cubicBezTo>
                    <a:pt x="1767000" y="1126896"/>
                    <a:pt x="1766865" y="1128713"/>
                    <a:pt x="1766865" y="1128713"/>
                  </a:cubicBezTo>
                  <a:lnTo>
                    <a:pt x="1766293" y="1130731"/>
                  </a:lnTo>
                  <a:lnTo>
                    <a:pt x="1766563" y="1133489"/>
                  </a:lnTo>
                  <a:lnTo>
                    <a:pt x="1766563" y="1135071"/>
                  </a:lnTo>
                  <a:lnTo>
                    <a:pt x="1768144" y="1137526"/>
                  </a:lnTo>
                  <a:lnTo>
                    <a:pt x="1770029" y="1139847"/>
                  </a:lnTo>
                  <a:cubicBezTo>
                    <a:pt x="1770029" y="1139847"/>
                    <a:pt x="1772116" y="1139982"/>
                    <a:pt x="1772991" y="1140554"/>
                  </a:cubicBezTo>
                  <a:cubicBezTo>
                    <a:pt x="1773866" y="1141126"/>
                    <a:pt x="1775010" y="1141294"/>
                    <a:pt x="1776390" y="1141294"/>
                  </a:cubicBezTo>
                  <a:cubicBezTo>
                    <a:pt x="1777770" y="1141294"/>
                    <a:pt x="1779419" y="1141798"/>
                    <a:pt x="1779419" y="1141798"/>
                  </a:cubicBezTo>
                  <a:lnTo>
                    <a:pt x="1781808" y="1142875"/>
                  </a:lnTo>
                  <a:lnTo>
                    <a:pt x="1783626" y="1143884"/>
                  </a:lnTo>
                  <a:lnTo>
                    <a:pt x="1785645" y="1146138"/>
                  </a:lnTo>
                  <a:lnTo>
                    <a:pt x="1787159" y="1144961"/>
                  </a:lnTo>
                  <a:cubicBezTo>
                    <a:pt x="1787159" y="1144961"/>
                    <a:pt x="1789010" y="1143009"/>
                    <a:pt x="1789347" y="1143009"/>
                  </a:cubicBezTo>
                  <a:cubicBezTo>
                    <a:pt x="1789683" y="1143009"/>
                    <a:pt x="1791097" y="1141597"/>
                    <a:pt x="1791534" y="1141597"/>
                  </a:cubicBezTo>
                  <a:cubicBezTo>
                    <a:pt x="1791972" y="1141597"/>
                    <a:pt x="1793587" y="1140621"/>
                    <a:pt x="1793587" y="1140621"/>
                  </a:cubicBezTo>
                  <a:cubicBezTo>
                    <a:pt x="1793587" y="1140621"/>
                    <a:pt x="1795001" y="1139746"/>
                    <a:pt x="1795438" y="1139746"/>
                  </a:cubicBezTo>
                  <a:cubicBezTo>
                    <a:pt x="1795876" y="1139746"/>
                    <a:pt x="1798030" y="1138132"/>
                    <a:pt x="1798030" y="1138132"/>
                  </a:cubicBezTo>
                  <a:cubicBezTo>
                    <a:pt x="1798030" y="1138132"/>
                    <a:pt x="1799881" y="1136383"/>
                    <a:pt x="1800318" y="1136180"/>
                  </a:cubicBezTo>
                  <a:cubicBezTo>
                    <a:pt x="1800756" y="1135979"/>
                    <a:pt x="1802169" y="1135205"/>
                    <a:pt x="1802607" y="1134667"/>
                  </a:cubicBezTo>
                  <a:cubicBezTo>
                    <a:pt x="1803044" y="1134129"/>
                    <a:pt x="1804020" y="1132817"/>
                    <a:pt x="1804357" y="1132043"/>
                  </a:cubicBezTo>
                  <a:cubicBezTo>
                    <a:pt x="1804693" y="1131269"/>
                    <a:pt x="1804121" y="1127905"/>
                    <a:pt x="1804121" y="1127905"/>
                  </a:cubicBezTo>
                  <a:cubicBezTo>
                    <a:pt x="1804121" y="1127905"/>
                    <a:pt x="1804054" y="1125079"/>
                    <a:pt x="1803751" y="1124743"/>
                  </a:cubicBezTo>
                  <a:cubicBezTo>
                    <a:pt x="1803415" y="1124407"/>
                    <a:pt x="1801294" y="1122456"/>
                    <a:pt x="1801294" y="1121917"/>
                  </a:cubicBezTo>
                  <a:cubicBezTo>
                    <a:pt x="1801294" y="1121379"/>
                    <a:pt x="1801294" y="1119428"/>
                    <a:pt x="1801294" y="1119428"/>
                  </a:cubicBezTo>
                  <a:lnTo>
                    <a:pt x="1802708" y="1116703"/>
                  </a:lnTo>
                  <a:lnTo>
                    <a:pt x="1803684" y="1115526"/>
                  </a:lnTo>
                  <a:cubicBezTo>
                    <a:pt x="1803684" y="1115526"/>
                    <a:pt x="1806309" y="1114550"/>
                    <a:pt x="1806948" y="1114449"/>
                  </a:cubicBezTo>
                  <a:cubicBezTo>
                    <a:pt x="1807588" y="1114348"/>
                    <a:pt x="1809775" y="1114449"/>
                    <a:pt x="1809775" y="1114449"/>
                  </a:cubicBezTo>
                  <a:cubicBezTo>
                    <a:pt x="1809775" y="1114449"/>
                    <a:pt x="1810852" y="1114786"/>
                    <a:pt x="1811525" y="1114416"/>
                  </a:cubicBezTo>
                  <a:cubicBezTo>
                    <a:pt x="1812165" y="1114046"/>
                    <a:pt x="1813915" y="1115761"/>
                    <a:pt x="1813915" y="1115761"/>
                  </a:cubicBezTo>
                  <a:cubicBezTo>
                    <a:pt x="1813915" y="1115761"/>
                    <a:pt x="1814790" y="1117174"/>
                    <a:pt x="1814790" y="1117612"/>
                  </a:cubicBezTo>
                  <a:cubicBezTo>
                    <a:pt x="1814790" y="1118049"/>
                    <a:pt x="1815564" y="1119798"/>
                    <a:pt x="1815564" y="1119798"/>
                  </a:cubicBezTo>
                  <a:lnTo>
                    <a:pt x="1816977" y="1123700"/>
                  </a:lnTo>
                  <a:cubicBezTo>
                    <a:pt x="1816977" y="1123700"/>
                    <a:pt x="1817179" y="1125450"/>
                    <a:pt x="1817179" y="1125887"/>
                  </a:cubicBezTo>
                  <a:cubicBezTo>
                    <a:pt x="1817179" y="1126324"/>
                    <a:pt x="1816203" y="1128174"/>
                    <a:pt x="1816203" y="1128612"/>
                  </a:cubicBezTo>
                  <a:cubicBezTo>
                    <a:pt x="1816203" y="1129049"/>
                    <a:pt x="1816001" y="1130664"/>
                    <a:pt x="1816001" y="1130664"/>
                  </a:cubicBezTo>
                  <a:cubicBezTo>
                    <a:pt x="1816001" y="1130664"/>
                    <a:pt x="1816001" y="1132951"/>
                    <a:pt x="1816439" y="1133590"/>
                  </a:cubicBezTo>
                  <a:cubicBezTo>
                    <a:pt x="1816876" y="1134230"/>
                    <a:pt x="1816271" y="1136753"/>
                    <a:pt x="1816271" y="1136753"/>
                  </a:cubicBezTo>
                  <a:lnTo>
                    <a:pt x="1815227" y="1138502"/>
                  </a:lnTo>
                  <a:lnTo>
                    <a:pt x="1815227" y="1142101"/>
                  </a:lnTo>
                  <a:lnTo>
                    <a:pt x="1816001" y="1144153"/>
                  </a:lnTo>
                  <a:lnTo>
                    <a:pt x="1816540" y="1145902"/>
                  </a:lnTo>
                  <a:lnTo>
                    <a:pt x="1818155" y="1146878"/>
                  </a:lnTo>
                  <a:lnTo>
                    <a:pt x="1820208" y="1148291"/>
                  </a:lnTo>
                  <a:lnTo>
                    <a:pt x="1822597" y="1148392"/>
                  </a:lnTo>
                  <a:lnTo>
                    <a:pt x="1825862" y="1146542"/>
                  </a:lnTo>
                  <a:lnTo>
                    <a:pt x="1828252" y="1145129"/>
                  </a:lnTo>
                  <a:lnTo>
                    <a:pt x="1829126" y="1143615"/>
                  </a:lnTo>
                  <a:lnTo>
                    <a:pt x="1830338" y="1142101"/>
                  </a:lnTo>
                  <a:lnTo>
                    <a:pt x="1832290" y="1141226"/>
                  </a:lnTo>
                  <a:lnTo>
                    <a:pt x="1835218" y="1141226"/>
                  </a:lnTo>
                  <a:lnTo>
                    <a:pt x="1838819" y="1142875"/>
                  </a:lnTo>
                  <a:lnTo>
                    <a:pt x="1840670" y="1144187"/>
                  </a:lnTo>
                  <a:lnTo>
                    <a:pt x="1842184" y="1144826"/>
                  </a:lnTo>
                  <a:lnTo>
                    <a:pt x="1845012" y="1144927"/>
                  </a:lnTo>
                  <a:cubicBezTo>
                    <a:pt x="1845012" y="1144927"/>
                    <a:pt x="1847401" y="1142202"/>
                    <a:pt x="1847838" y="1142101"/>
                  </a:cubicBezTo>
                  <a:cubicBezTo>
                    <a:pt x="1848276" y="1142000"/>
                    <a:pt x="1849353" y="1139612"/>
                    <a:pt x="1849454" y="1139275"/>
                  </a:cubicBezTo>
                  <a:cubicBezTo>
                    <a:pt x="1849555" y="1138939"/>
                    <a:pt x="1851305" y="1133860"/>
                    <a:pt x="1851305" y="1133860"/>
                  </a:cubicBezTo>
                  <a:lnTo>
                    <a:pt x="1851742" y="1131807"/>
                  </a:lnTo>
                  <a:lnTo>
                    <a:pt x="1852079" y="1125180"/>
                  </a:lnTo>
                  <a:lnTo>
                    <a:pt x="1850867" y="1119327"/>
                  </a:lnTo>
                  <a:cubicBezTo>
                    <a:pt x="1850867" y="1119327"/>
                    <a:pt x="1849353" y="1116064"/>
                    <a:pt x="1849117" y="1115627"/>
                  </a:cubicBezTo>
                  <a:cubicBezTo>
                    <a:pt x="1848915" y="1115189"/>
                    <a:pt x="1847704" y="1112263"/>
                    <a:pt x="1847704" y="1112263"/>
                  </a:cubicBezTo>
                  <a:lnTo>
                    <a:pt x="1846290" y="1109000"/>
                  </a:lnTo>
                  <a:cubicBezTo>
                    <a:pt x="1846290" y="1109000"/>
                    <a:pt x="1846055" y="1107923"/>
                    <a:pt x="1846055" y="1106948"/>
                  </a:cubicBezTo>
                  <a:cubicBezTo>
                    <a:pt x="1846055" y="1105972"/>
                    <a:pt x="1845853" y="1103685"/>
                    <a:pt x="1845853" y="1102608"/>
                  </a:cubicBezTo>
                  <a:cubicBezTo>
                    <a:pt x="1845853" y="1101532"/>
                    <a:pt x="1845617" y="1098807"/>
                    <a:pt x="1845617" y="1098807"/>
                  </a:cubicBezTo>
                  <a:cubicBezTo>
                    <a:pt x="1845617" y="1098807"/>
                    <a:pt x="1845180" y="1096419"/>
                    <a:pt x="1845180" y="1095443"/>
                  </a:cubicBezTo>
                  <a:cubicBezTo>
                    <a:pt x="1845180" y="1094467"/>
                    <a:pt x="1845281" y="1092180"/>
                    <a:pt x="1845281" y="1091843"/>
                  </a:cubicBezTo>
                  <a:cubicBezTo>
                    <a:pt x="1845281" y="1091507"/>
                    <a:pt x="1845281" y="1090330"/>
                    <a:pt x="1845382" y="1089993"/>
                  </a:cubicBezTo>
                  <a:cubicBezTo>
                    <a:pt x="1845483" y="1089657"/>
                    <a:pt x="1847569" y="1087807"/>
                    <a:pt x="1847569" y="1087807"/>
                  </a:cubicBezTo>
                  <a:lnTo>
                    <a:pt x="1849420" y="1085519"/>
                  </a:lnTo>
                  <a:lnTo>
                    <a:pt x="1852146" y="1083232"/>
                  </a:lnTo>
                  <a:cubicBezTo>
                    <a:pt x="1852146" y="1083232"/>
                    <a:pt x="1852247" y="1080843"/>
                    <a:pt x="1852146" y="1080070"/>
                  </a:cubicBezTo>
                  <a:cubicBezTo>
                    <a:pt x="1852045" y="1079296"/>
                    <a:pt x="1851170" y="1077042"/>
                    <a:pt x="1851170" y="1077042"/>
                  </a:cubicBezTo>
                  <a:cubicBezTo>
                    <a:pt x="1851170" y="1077042"/>
                    <a:pt x="1848680" y="1074116"/>
                    <a:pt x="1848579" y="1073779"/>
                  </a:cubicBezTo>
                  <a:cubicBezTo>
                    <a:pt x="1848478" y="1073443"/>
                    <a:pt x="1848478" y="1071828"/>
                    <a:pt x="1848478" y="1071828"/>
                  </a:cubicBezTo>
                  <a:lnTo>
                    <a:pt x="1850531" y="1070213"/>
                  </a:lnTo>
                  <a:cubicBezTo>
                    <a:pt x="1850531" y="1070213"/>
                    <a:pt x="1851608" y="1067926"/>
                    <a:pt x="1851944" y="1067825"/>
                  </a:cubicBezTo>
                  <a:cubicBezTo>
                    <a:pt x="1852281" y="1067724"/>
                    <a:pt x="1852920" y="1066412"/>
                    <a:pt x="1852920" y="1065975"/>
                  </a:cubicBezTo>
                  <a:cubicBezTo>
                    <a:pt x="1852920" y="1065537"/>
                    <a:pt x="1853122" y="1063250"/>
                    <a:pt x="1853122" y="1062812"/>
                  </a:cubicBezTo>
                  <a:cubicBezTo>
                    <a:pt x="1853122" y="1062375"/>
                    <a:pt x="1852920" y="1059785"/>
                    <a:pt x="1852584" y="1059550"/>
                  </a:cubicBezTo>
                  <a:cubicBezTo>
                    <a:pt x="1852247" y="1059348"/>
                    <a:pt x="1850968" y="1056623"/>
                    <a:pt x="1850968" y="1056623"/>
                  </a:cubicBezTo>
                  <a:lnTo>
                    <a:pt x="1851170" y="1055311"/>
                  </a:lnTo>
                  <a:cubicBezTo>
                    <a:pt x="1851170" y="1055311"/>
                    <a:pt x="1851810" y="1054672"/>
                    <a:pt x="1852483" y="1054436"/>
                  </a:cubicBezTo>
                  <a:cubicBezTo>
                    <a:pt x="1853122" y="1054201"/>
                    <a:pt x="1855074" y="1052922"/>
                    <a:pt x="1855074" y="1052922"/>
                  </a:cubicBezTo>
                  <a:lnTo>
                    <a:pt x="1856151" y="1052283"/>
                  </a:lnTo>
                  <a:cubicBezTo>
                    <a:pt x="1856151" y="1052283"/>
                    <a:pt x="1858339" y="1051409"/>
                    <a:pt x="1858440" y="1052283"/>
                  </a:cubicBezTo>
                  <a:cubicBezTo>
                    <a:pt x="1858541" y="1053158"/>
                    <a:pt x="1858103" y="1053259"/>
                    <a:pt x="1859214" y="1054033"/>
                  </a:cubicBezTo>
                  <a:cubicBezTo>
                    <a:pt x="1860291" y="1054806"/>
                    <a:pt x="1860291" y="1054806"/>
                    <a:pt x="1860291" y="1054806"/>
                  </a:cubicBezTo>
                  <a:cubicBezTo>
                    <a:pt x="1860291" y="1054806"/>
                    <a:pt x="1861065" y="1055143"/>
                    <a:pt x="1861368" y="1054907"/>
                  </a:cubicBezTo>
                  <a:cubicBezTo>
                    <a:pt x="1861704" y="1054705"/>
                    <a:pt x="1862546" y="1051913"/>
                    <a:pt x="1862546" y="1051913"/>
                  </a:cubicBezTo>
                  <a:cubicBezTo>
                    <a:pt x="1863185" y="1051745"/>
                    <a:pt x="1866685" y="1051913"/>
                    <a:pt x="1866685" y="1051913"/>
                  </a:cubicBezTo>
                  <a:lnTo>
                    <a:pt x="1867459" y="1053494"/>
                  </a:lnTo>
                  <a:lnTo>
                    <a:pt x="1868435" y="1059247"/>
                  </a:lnTo>
                  <a:lnTo>
                    <a:pt x="1867897" y="1062409"/>
                  </a:lnTo>
                  <a:lnTo>
                    <a:pt x="1867459" y="1066008"/>
                  </a:lnTo>
                  <a:lnTo>
                    <a:pt x="1867358" y="1068498"/>
                  </a:lnTo>
                  <a:lnTo>
                    <a:pt x="1867358" y="1070886"/>
                  </a:lnTo>
                  <a:lnTo>
                    <a:pt x="1868233" y="1072837"/>
                  </a:lnTo>
                  <a:cubicBezTo>
                    <a:pt x="1868233" y="1072837"/>
                    <a:pt x="1869209" y="1073106"/>
                    <a:pt x="1869546" y="1073106"/>
                  </a:cubicBezTo>
                  <a:cubicBezTo>
                    <a:pt x="1869882" y="1073106"/>
                    <a:pt x="1870858" y="1073476"/>
                    <a:pt x="1870858" y="1073476"/>
                  </a:cubicBezTo>
                  <a:lnTo>
                    <a:pt x="1873450" y="1073476"/>
                  </a:lnTo>
                  <a:lnTo>
                    <a:pt x="1876176" y="1073140"/>
                  </a:lnTo>
                  <a:cubicBezTo>
                    <a:pt x="1876176" y="1073140"/>
                    <a:pt x="1878027" y="1071727"/>
                    <a:pt x="1878464" y="1071492"/>
                  </a:cubicBezTo>
                  <a:cubicBezTo>
                    <a:pt x="1878902" y="1071290"/>
                    <a:pt x="1879104" y="1070180"/>
                    <a:pt x="1879104" y="1070180"/>
                  </a:cubicBezTo>
                  <a:lnTo>
                    <a:pt x="1878128" y="1066580"/>
                  </a:lnTo>
                  <a:cubicBezTo>
                    <a:pt x="1878128" y="1066580"/>
                    <a:pt x="1877926" y="1064831"/>
                    <a:pt x="1877926" y="1064427"/>
                  </a:cubicBezTo>
                  <a:cubicBezTo>
                    <a:pt x="1877926" y="1063990"/>
                    <a:pt x="1877724" y="1061501"/>
                    <a:pt x="1877724" y="1061501"/>
                  </a:cubicBezTo>
                  <a:lnTo>
                    <a:pt x="1878599" y="1059112"/>
                  </a:lnTo>
                  <a:lnTo>
                    <a:pt x="1881762" y="1057800"/>
                  </a:lnTo>
                  <a:lnTo>
                    <a:pt x="1882402" y="1056724"/>
                  </a:lnTo>
                  <a:lnTo>
                    <a:pt x="1880450" y="1054134"/>
                  </a:lnTo>
                  <a:cubicBezTo>
                    <a:pt x="1880450" y="1054134"/>
                    <a:pt x="1881325" y="1052721"/>
                    <a:pt x="1881661" y="1052721"/>
                  </a:cubicBezTo>
                  <a:cubicBezTo>
                    <a:pt x="1881998" y="1052721"/>
                    <a:pt x="1884589" y="1052620"/>
                    <a:pt x="1884589" y="1052620"/>
                  </a:cubicBezTo>
                  <a:lnTo>
                    <a:pt x="1887080" y="1052519"/>
                  </a:lnTo>
                  <a:cubicBezTo>
                    <a:pt x="1887080" y="1052519"/>
                    <a:pt x="1887416" y="1050770"/>
                    <a:pt x="1887416" y="1050332"/>
                  </a:cubicBezTo>
                  <a:cubicBezTo>
                    <a:pt x="1887416" y="1049895"/>
                    <a:pt x="1887315" y="1047708"/>
                    <a:pt x="1887315" y="1047708"/>
                  </a:cubicBezTo>
                  <a:lnTo>
                    <a:pt x="1886676" y="1046396"/>
                  </a:lnTo>
                  <a:lnTo>
                    <a:pt x="1885060" y="1044983"/>
                  </a:lnTo>
                  <a:lnTo>
                    <a:pt x="1884623" y="1044109"/>
                  </a:lnTo>
                  <a:cubicBezTo>
                    <a:pt x="1884623" y="1044109"/>
                    <a:pt x="1885599" y="1042259"/>
                    <a:pt x="1885935" y="1042023"/>
                  </a:cubicBezTo>
                  <a:cubicBezTo>
                    <a:pt x="1886272" y="1041821"/>
                    <a:pt x="1887147" y="1041384"/>
                    <a:pt x="1887450" y="1041250"/>
                  </a:cubicBezTo>
                  <a:cubicBezTo>
                    <a:pt x="1887787" y="1041148"/>
                    <a:pt x="1886810" y="1039500"/>
                    <a:pt x="1886810" y="1039500"/>
                  </a:cubicBezTo>
                  <a:lnTo>
                    <a:pt x="1883109" y="1034824"/>
                  </a:lnTo>
                  <a:lnTo>
                    <a:pt x="1883109" y="1034286"/>
                  </a:lnTo>
                  <a:lnTo>
                    <a:pt x="1885700" y="1032638"/>
                  </a:lnTo>
                  <a:cubicBezTo>
                    <a:pt x="1885700" y="1032638"/>
                    <a:pt x="1887753" y="1030788"/>
                    <a:pt x="1889065" y="1030788"/>
                  </a:cubicBezTo>
                  <a:cubicBezTo>
                    <a:pt x="1890378" y="1030788"/>
                    <a:pt x="1891354" y="1030249"/>
                    <a:pt x="1892431" y="1030249"/>
                  </a:cubicBezTo>
                  <a:cubicBezTo>
                    <a:pt x="1893508" y="1030249"/>
                    <a:pt x="1896133" y="1030687"/>
                    <a:pt x="1896671" y="1030788"/>
                  </a:cubicBezTo>
                  <a:cubicBezTo>
                    <a:pt x="1897580" y="1031124"/>
                    <a:pt x="1899094" y="1031662"/>
                    <a:pt x="1899094" y="1031662"/>
                  </a:cubicBez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46" name="Freeform 912">
              <a:extLst>
                <a:ext uri="{FF2B5EF4-FFF2-40B4-BE49-F238E27FC236}">
                  <a16:creationId xmlns:a16="http://schemas.microsoft.com/office/drawing/2014/main" id="{B3A14B9C-560B-BE6B-CEDC-E9CD425567F9}"/>
                </a:ext>
              </a:extLst>
            </p:cNvPr>
            <p:cNvSpPr/>
            <p:nvPr/>
          </p:nvSpPr>
          <p:spPr>
            <a:xfrm>
              <a:off x="6097266" y="1897501"/>
              <a:ext cx="1051007" cy="784315"/>
            </a:xfrm>
            <a:custGeom>
              <a:avLst/>
              <a:gdLst>
                <a:gd name="connsiteX0" fmla="*/ 1673575 w 2017827"/>
                <a:gd name="connsiteY0" fmla="*/ 1173514 h 1505806"/>
                <a:gd name="connsiteX1" fmla="*/ 1674349 w 2017827"/>
                <a:gd name="connsiteY1" fmla="*/ 1170352 h 1505806"/>
                <a:gd name="connsiteX2" fmla="*/ 1674989 w 2017827"/>
                <a:gd name="connsiteY2" fmla="*/ 1168502 h 1505806"/>
                <a:gd name="connsiteX3" fmla="*/ 1675527 w 2017827"/>
                <a:gd name="connsiteY3" fmla="*/ 1166854 h 1505806"/>
                <a:gd name="connsiteX4" fmla="*/ 1676301 w 2017827"/>
                <a:gd name="connsiteY4" fmla="*/ 1162716 h 1505806"/>
                <a:gd name="connsiteX5" fmla="*/ 1676739 w 2017827"/>
                <a:gd name="connsiteY5" fmla="*/ 1159991 h 1505806"/>
                <a:gd name="connsiteX6" fmla="*/ 1676941 w 2017827"/>
                <a:gd name="connsiteY6" fmla="*/ 1157502 h 1505806"/>
                <a:gd name="connsiteX7" fmla="*/ 1677041 w 2017827"/>
                <a:gd name="connsiteY7" fmla="*/ 1155651 h 1505806"/>
                <a:gd name="connsiteX8" fmla="*/ 1677041 w 2017827"/>
                <a:gd name="connsiteY8" fmla="*/ 1153902 h 1505806"/>
                <a:gd name="connsiteX9" fmla="*/ 1676671 w 2017827"/>
                <a:gd name="connsiteY9" fmla="*/ 1150875 h 1505806"/>
                <a:gd name="connsiteX10" fmla="*/ 1676402 w 2017827"/>
                <a:gd name="connsiteY10" fmla="*/ 1149125 h 1505806"/>
                <a:gd name="connsiteX11" fmla="*/ 1674551 w 2017827"/>
                <a:gd name="connsiteY11" fmla="*/ 1147914 h 1505806"/>
                <a:gd name="connsiteX12" fmla="*/ 1673575 w 2017827"/>
                <a:gd name="connsiteY12" fmla="*/ 1146939 h 1505806"/>
                <a:gd name="connsiteX13" fmla="*/ 1669570 w 2017827"/>
                <a:gd name="connsiteY13" fmla="*/ 1144349 h 1505806"/>
                <a:gd name="connsiteX14" fmla="*/ 1668796 w 2017827"/>
                <a:gd name="connsiteY14" fmla="*/ 1143810 h 1505806"/>
                <a:gd name="connsiteX15" fmla="*/ 1668460 w 2017827"/>
                <a:gd name="connsiteY15" fmla="*/ 1140648 h 1505806"/>
                <a:gd name="connsiteX16" fmla="*/ 1667820 w 2017827"/>
                <a:gd name="connsiteY16" fmla="*/ 1136511 h 1505806"/>
                <a:gd name="connsiteX17" fmla="*/ 1666609 w 2017827"/>
                <a:gd name="connsiteY17" fmla="*/ 1133046 h 1505806"/>
                <a:gd name="connsiteX18" fmla="*/ 1666609 w 2017827"/>
                <a:gd name="connsiteY18" fmla="*/ 1129682 h 1505806"/>
                <a:gd name="connsiteX19" fmla="*/ 1670075 w 2017827"/>
                <a:gd name="connsiteY19" fmla="*/ 1126082 h 1505806"/>
                <a:gd name="connsiteX20" fmla="*/ 1670075 w 2017827"/>
                <a:gd name="connsiteY20" fmla="*/ 1119018 h 1505806"/>
                <a:gd name="connsiteX21" fmla="*/ 1670916 w 2017827"/>
                <a:gd name="connsiteY21" fmla="*/ 1110204 h 1505806"/>
                <a:gd name="connsiteX22" fmla="*/ 1671825 w 2017827"/>
                <a:gd name="connsiteY22" fmla="*/ 1106941 h 1505806"/>
                <a:gd name="connsiteX23" fmla="*/ 1671825 w 2017827"/>
                <a:gd name="connsiteY23" fmla="*/ 1104116 h 1505806"/>
                <a:gd name="connsiteX24" fmla="*/ 1671287 w 2017827"/>
                <a:gd name="connsiteY24" fmla="*/ 1102030 h 1505806"/>
                <a:gd name="connsiteX25" fmla="*/ 1670950 w 2017827"/>
                <a:gd name="connsiteY25" fmla="*/ 1100079 h 1505806"/>
                <a:gd name="connsiteX26" fmla="*/ 1670950 w 2017827"/>
                <a:gd name="connsiteY26" fmla="*/ 1098229 h 1505806"/>
                <a:gd name="connsiteX27" fmla="*/ 1672566 w 2017827"/>
                <a:gd name="connsiteY27" fmla="*/ 1095504 h 1505806"/>
                <a:gd name="connsiteX28" fmla="*/ 1675056 w 2017827"/>
                <a:gd name="connsiteY28" fmla="*/ 1091804 h 1505806"/>
                <a:gd name="connsiteX29" fmla="*/ 1676907 w 2017827"/>
                <a:gd name="connsiteY29" fmla="*/ 1088641 h 1505806"/>
                <a:gd name="connsiteX30" fmla="*/ 1680373 w 2017827"/>
                <a:gd name="connsiteY30" fmla="*/ 1086589 h 1505806"/>
                <a:gd name="connsiteX31" fmla="*/ 1683974 w 2017827"/>
                <a:gd name="connsiteY31" fmla="*/ 1081712 h 1505806"/>
                <a:gd name="connsiteX32" fmla="*/ 1686027 w 2017827"/>
                <a:gd name="connsiteY32" fmla="*/ 1079660 h 1505806"/>
                <a:gd name="connsiteX33" fmla="*/ 1688518 w 2017827"/>
                <a:gd name="connsiteY33" fmla="*/ 1076598 h 1505806"/>
                <a:gd name="connsiteX34" fmla="*/ 1689830 w 2017827"/>
                <a:gd name="connsiteY34" fmla="*/ 1073133 h 1505806"/>
                <a:gd name="connsiteX35" fmla="*/ 1689628 w 2017827"/>
                <a:gd name="connsiteY35" fmla="*/ 1070745 h 1505806"/>
                <a:gd name="connsiteX36" fmla="*/ 1688551 w 2017827"/>
                <a:gd name="connsiteY36" fmla="*/ 1066506 h 1505806"/>
                <a:gd name="connsiteX37" fmla="*/ 1689022 w 2017827"/>
                <a:gd name="connsiteY37" fmla="*/ 1043699 h 1505806"/>
                <a:gd name="connsiteX38" fmla="*/ 1689527 w 2017827"/>
                <a:gd name="connsiteY38" fmla="*/ 1041209 h 1505806"/>
                <a:gd name="connsiteX39" fmla="*/ 1689191 w 2017827"/>
                <a:gd name="connsiteY39" fmla="*/ 1039023 h 1505806"/>
                <a:gd name="connsiteX40" fmla="*/ 1689191 w 2017827"/>
                <a:gd name="connsiteY40" fmla="*/ 1037375 h 1505806"/>
                <a:gd name="connsiteX41" fmla="*/ 1689191 w 2017827"/>
                <a:gd name="connsiteY41" fmla="*/ 1033910 h 1505806"/>
                <a:gd name="connsiteX42" fmla="*/ 1689191 w 2017827"/>
                <a:gd name="connsiteY42" fmla="*/ 1032160 h 1505806"/>
                <a:gd name="connsiteX43" fmla="*/ 1691109 w 2017827"/>
                <a:gd name="connsiteY43" fmla="*/ 1032059 h 1505806"/>
                <a:gd name="connsiteX44" fmla="*/ 1693330 w 2017827"/>
                <a:gd name="connsiteY44" fmla="*/ 1032160 h 1505806"/>
                <a:gd name="connsiteX45" fmla="*/ 1696157 w 2017827"/>
                <a:gd name="connsiteY45" fmla="*/ 1032699 h 1505806"/>
                <a:gd name="connsiteX46" fmla="*/ 1698883 w 2017827"/>
                <a:gd name="connsiteY46" fmla="*/ 1033876 h 1505806"/>
                <a:gd name="connsiteX47" fmla="*/ 1703763 w 2017827"/>
                <a:gd name="connsiteY47" fmla="*/ 1035188 h 1505806"/>
                <a:gd name="connsiteX48" fmla="*/ 1709081 w 2017827"/>
                <a:gd name="connsiteY48" fmla="*/ 1035289 h 1505806"/>
                <a:gd name="connsiteX49" fmla="*/ 1715711 w 2017827"/>
                <a:gd name="connsiteY49" fmla="*/ 1038451 h 1505806"/>
                <a:gd name="connsiteX50" fmla="*/ 1719312 w 2017827"/>
                <a:gd name="connsiteY50" fmla="*/ 1039763 h 1505806"/>
                <a:gd name="connsiteX51" fmla="*/ 1722374 w 2017827"/>
                <a:gd name="connsiteY51" fmla="*/ 1040638 h 1505806"/>
                <a:gd name="connsiteX52" fmla="*/ 1726413 w 2017827"/>
                <a:gd name="connsiteY52" fmla="*/ 1040974 h 1505806"/>
                <a:gd name="connsiteX53" fmla="*/ 1729240 w 2017827"/>
                <a:gd name="connsiteY53" fmla="*/ 1040873 h 1505806"/>
                <a:gd name="connsiteX54" fmla="*/ 1732841 w 2017827"/>
                <a:gd name="connsiteY54" fmla="*/ 1040671 h 1505806"/>
                <a:gd name="connsiteX55" fmla="*/ 1735769 w 2017827"/>
                <a:gd name="connsiteY55" fmla="*/ 1039898 h 1505806"/>
                <a:gd name="connsiteX56" fmla="*/ 1738394 w 2017827"/>
                <a:gd name="connsiteY56" fmla="*/ 1038922 h 1505806"/>
                <a:gd name="connsiteX57" fmla="*/ 1739471 w 2017827"/>
                <a:gd name="connsiteY57" fmla="*/ 1038283 h 1505806"/>
                <a:gd name="connsiteX58" fmla="*/ 1741221 w 2017827"/>
                <a:gd name="connsiteY58" fmla="*/ 1037745 h 1505806"/>
                <a:gd name="connsiteX59" fmla="*/ 1743509 w 2017827"/>
                <a:gd name="connsiteY59" fmla="*/ 1037105 h 1505806"/>
                <a:gd name="connsiteX60" fmla="*/ 1745461 w 2017827"/>
                <a:gd name="connsiteY60" fmla="*/ 1036231 h 1505806"/>
                <a:gd name="connsiteX61" fmla="*/ 1747211 w 2017827"/>
                <a:gd name="connsiteY61" fmla="*/ 1035592 h 1505806"/>
                <a:gd name="connsiteX62" fmla="*/ 1749163 w 2017827"/>
                <a:gd name="connsiteY62" fmla="*/ 1034381 h 1505806"/>
                <a:gd name="connsiteX63" fmla="*/ 1750476 w 2017827"/>
                <a:gd name="connsiteY63" fmla="*/ 1033304 h 1505806"/>
                <a:gd name="connsiteX64" fmla="*/ 1751889 w 2017827"/>
                <a:gd name="connsiteY64" fmla="*/ 1032228 h 1505806"/>
                <a:gd name="connsiteX65" fmla="*/ 1753404 w 2017827"/>
                <a:gd name="connsiteY65" fmla="*/ 1031689 h 1505806"/>
                <a:gd name="connsiteX66" fmla="*/ 1754481 w 2017827"/>
                <a:gd name="connsiteY66" fmla="*/ 1031252 h 1505806"/>
                <a:gd name="connsiteX67" fmla="*/ 1756433 w 2017827"/>
                <a:gd name="connsiteY67" fmla="*/ 1030377 h 1505806"/>
                <a:gd name="connsiteX68" fmla="*/ 1758385 w 2017827"/>
                <a:gd name="connsiteY68" fmla="*/ 1028763 h 1505806"/>
                <a:gd name="connsiteX69" fmla="*/ 1759563 w 2017827"/>
                <a:gd name="connsiteY69" fmla="*/ 1027552 h 1505806"/>
                <a:gd name="connsiteX70" fmla="*/ 1760337 w 2017827"/>
                <a:gd name="connsiteY70" fmla="*/ 1027014 h 1505806"/>
                <a:gd name="connsiteX71" fmla="*/ 1761212 w 2017827"/>
                <a:gd name="connsiteY71" fmla="*/ 1026576 h 1505806"/>
                <a:gd name="connsiteX72" fmla="*/ 1762524 w 2017827"/>
                <a:gd name="connsiteY72" fmla="*/ 1025399 h 1505806"/>
                <a:gd name="connsiteX73" fmla="*/ 1764274 w 2017827"/>
                <a:gd name="connsiteY73" fmla="*/ 1024760 h 1505806"/>
                <a:gd name="connsiteX74" fmla="*/ 1766024 w 2017827"/>
                <a:gd name="connsiteY74" fmla="*/ 1023986 h 1505806"/>
                <a:gd name="connsiteX75" fmla="*/ 1767101 w 2017827"/>
                <a:gd name="connsiteY75" fmla="*/ 1022775 h 1505806"/>
                <a:gd name="connsiteX76" fmla="*/ 1767976 w 2017827"/>
                <a:gd name="connsiteY76" fmla="*/ 1021026 h 1505806"/>
                <a:gd name="connsiteX77" fmla="*/ 1770029 w 2017827"/>
                <a:gd name="connsiteY77" fmla="*/ 1017998 h 1505806"/>
                <a:gd name="connsiteX78" fmla="*/ 1771779 w 2017827"/>
                <a:gd name="connsiteY78" fmla="*/ 1015711 h 1505806"/>
                <a:gd name="connsiteX79" fmla="*/ 1772856 w 2017827"/>
                <a:gd name="connsiteY79" fmla="*/ 1012549 h 1505806"/>
                <a:gd name="connsiteX80" fmla="*/ 1775145 w 2017827"/>
                <a:gd name="connsiteY80" fmla="*/ 1008074 h 1505806"/>
                <a:gd name="connsiteX81" fmla="*/ 1780799 w 2017827"/>
                <a:gd name="connsiteY81" fmla="*/ 1002221 h 1505806"/>
                <a:gd name="connsiteX82" fmla="*/ 1785477 w 2017827"/>
                <a:gd name="connsiteY82" fmla="*/ 998958 h 1505806"/>
                <a:gd name="connsiteX83" fmla="*/ 1790357 w 2017827"/>
                <a:gd name="connsiteY83" fmla="*/ 990918 h 1505806"/>
                <a:gd name="connsiteX84" fmla="*/ 1797861 w 2017827"/>
                <a:gd name="connsiteY84" fmla="*/ 982441 h 1505806"/>
                <a:gd name="connsiteX85" fmla="*/ 1807857 w 2017827"/>
                <a:gd name="connsiteY85" fmla="*/ 975814 h 1505806"/>
                <a:gd name="connsiteX86" fmla="*/ 1817415 w 2017827"/>
                <a:gd name="connsiteY86" fmla="*/ 970163 h 1505806"/>
                <a:gd name="connsiteX87" fmla="*/ 1825795 w 2017827"/>
                <a:gd name="connsiteY87" fmla="*/ 963973 h 1505806"/>
                <a:gd name="connsiteX88" fmla="*/ 1831449 w 2017827"/>
                <a:gd name="connsiteY88" fmla="*/ 959297 h 1505806"/>
                <a:gd name="connsiteX89" fmla="*/ 1845483 w 2017827"/>
                <a:gd name="connsiteY89" fmla="*/ 949306 h 1505806"/>
                <a:gd name="connsiteX90" fmla="*/ 1853627 w 2017827"/>
                <a:gd name="connsiteY90" fmla="*/ 942141 h 1505806"/>
                <a:gd name="connsiteX91" fmla="*/ 1857329 w 2017827"/>
                <a:gd name="connsiteY91" fmla="*/ 939651 h 1505806"/>
                <a:gd name="connsiteX92" fmla="*/ 1861334 w 2017827"/>
                <a:gd name="connsiteY92" fmla="*/ 936287 h 1505806"/>
                <a:gd name="connsiteX93" fmla="*/ 1866651 w 2017827"/>
                <a:gd name="connsiteY93" fmla="*/ 933024 h 1505806"/>
                <a:gd name="connsiteX94" fmla="*/ 1872844 w 2017827"/>
                <a:gd name="connsiteY94" fmla="*/ 930098 h 1505806"/>
                <a:gd name="connsiteX95" fmla="*/ 1877959 w 2017827"/>
                <a:gd name="connsiteY95" fmla="*/ 928046 h 1505806"/>
                <a:gd name="connsiteX96" fmla="*/ 1882099 w 2017827"/>
                <a:gd name="connsiteY96" fmla="*/ 925018 h 1505806"/>
                <a:gd name="connsiteX97" fmla="*/ 1897210 w 2017827"/>
                <a:gd name="connsiteY97" fmla="*/ 922966 h 1505806"/>
                <a:gd name="connsiteX98" fmla="*/ 1915787 w 2017827"/>
                <a:gd name="connsiteY98" fmla="*/ 918055 h 1505806"/>
                <a:gd name="connsiteX99" fmla="*/ 1918816 w 2017827"/>
                <a:gd name="connsiteY99" fmla="*/ 917617 h 1505806"/>
                <a:gd name="connsiteX100" fmla="*/ 1925008 w 2017827"/>
                <a:gd name="connsiteY100" fmla="*/ 920006 h 1505806"/>
                <a:gd name="connsiteX101" fmla="*/ 1927936 w 2017827"/>
                <a:gd name="connsiteY101" fmla="*/ 919569 h 1505806"/>
                <a:gd name="connsiteX102" fmla="*/ 1931201 w 2017827"/>
                <a:gd name="connsiteY102" fmla="*/ 918257 h 1505806"/>
                <a:gd name="connsiteX103" fmla="*/ 1934364 w 2017827"/>
                <a:gd name="connsiteY103" fmla="*/ 917517 h 1505806"/>
                <a:gd name="connsiteX104" fmla="*/ 1938807 w 2017827"/>
                <a:gd name="connsiteY104" fmla="*/ 914893 h 1505806"/>
                <a:gd name="connsiteX105" fmla="*/ 1942273 w 2017827"/>
                <a:gd name="connsiteY105" fmla="*/ 914893 h 1505806"/>
                <a:gd name="connsiteX106" fmla="*/ 1946615 w 2017827"/>
                <a:gd name="connsiteY106" fmla="*/ 915666 h 1505806"/>
                <a:gd name="connsiteX107" fmla="*/ 1951629 w 2017827"/>
                <a:gd name="connsiteY107" fmla="*/ 917617 h 1505806"/>
                <a:gd name="connsiteX108" fmla="*/ 1956509 w 2017827"/>
                <a:gd name="connsiteY108" fmla="*/ 918828 h 1505806"/>
                <a:gd name="connsiteX109" fmla="*/ 1967279 w 2017827"/>
                <a:gd name="connsiteY109" fmla="*/ 922091 h 1505806"/>
                <a:gd name="connsiteX110" fmla="*/ 1976197 w 2017827"/>
                <a:gd name="connsiteY110" fmla="*/ 921553 h 1505806"/>
                <a:gd name="connsiteX111" fmla="*/ 1980337 w 2017827"/>
                <a:gd name="connsiteY111" fmla="*/ 915902 h 1505806"/>
                <a:gd name="connsiteX112" fmla="*/ 1983803 w 2017827"/>
                <a:gd name="connsiteY112" fmla="*/ 913413 h 1505806"/>
                <a:gd name="connsiteX113" fmla="*/ 1989659 w 2017827"/>
                <a:gd name="connsiteY113" fmla="*/ 910385 h 1505806"/>
                <a:gd name="connsiteX114" fmla="*/ 1992250 w 2017827"/>
                <a:gd name="connsiteY114" fmla="*/ 907357 h 1505806"/>
                <a:gd name="connsiteX115" fmla="*/ 1992048 w 2017827"/>
                <a:gd name="connsiteY115" fmla="*/ 904733 h 1505806"/>
                <a:gd name="connsiteX116" fmla="*/ 1987471 w 2017827"/>
                <a:gd name="connsiteY116" fmla="*/ 899519 h 1505806"/>
                <a:gd name="connsiteX117" fmla="*/ 1989659 w 2017827"/>
                <a:gd name="connsiteY117" fmla="*/ 888015 h 1505806"/>
                <a:gd name="connsiteX118" fmla="*/ 1992688 w 2017827"/>
                <a:gd name="connsiteY118" fmla="*/ 880076 h 1505806"/>
                <a:gd name="connsiteX119" fmla="*/ 1993563 w 2017827"/>
                <a:gd name="connsiteY119" fmla="*/ 869008 h 1505806"/>
                <a:gd name="connsiteX120" fmla="*/ 1992149 w 2017827"/>
                <a:gd name="connsiteY120" fmla="*/ 858344 h 1505806"/>
                <a:gd name="connsiteX121" fmla="*/ 1993226 w 2017827"/>
                <a:gd name="connsiteY121" fmla="*/ 851818 h 1505806"/>
                <a:gd name="connsiteX122" fmla="*/ 1993226 w 2017827"/>
                <a:gd name="connsiteY122" fmla="*/ 847681 h 1505806"/>
                <a:gd name="connsiteX123" fmla="*/ 1993866 w 2017827"/>
                <a:gd name="connsiteY123" fmla="*/ 842467 h 1505806"/>
                <a:gd name="connsiteX124" fmla="*/ 1996457 w 2017827"/>
                <a:gd name="connsiteY124" fmla="*/ 839203 h 1505806"/>
                <a:gd name="connsiteX125" fmla="*/ 2002212 w 2017827"/>
                <a:gd name="connsiteY125" fmla="*/ 835739 h 1505806"/>
                <a:gd name="connsiteX126" fmla="*/ 2008405 w 2017827"/>
                <a:gd name="connsiteY126" fmla="*/ 831500 h 1505806"/>
                <a:gd name="connsiteX127" fmla="*/ 2015674 w 2017827"/>
                <a:gd name="connsiteY127" fmla="*/ 830861 h 1505806"/>
                <a:gd name="connsiteX128" fmla="*/ 2017087 w 2017827"/>
                <a:gd name="connsiteY128" fmla="*/ 829179 h 1505806"/>
                <a:gd name="connsiteX129" fmla="*/ 2017828 w 2017827"/>
                <a:gd name="connsiteY129" fmla="*/ 827160 h 1505806"/>
                <a:gd name="connsiteX130" fmla="*/ 2017828 w 2017827"/>
                <a:gd name="connsiteY130" fmla="*/ 823696 h 1505806"/>
                <a:gd name="connsiteX131" fmla="*/ 2017828 w 2017827"/>
                <a:gd name="connsiteY131" fmla="*/ 816194 h 1505806"/>
                <a:gd name="connsiteX132" fmla="*/ 2016751 w 2017827"/>
                <a:gd name="connsiteY132" fmla="*/ 810643 h 1505806"/>
                <a:gd name="connsiteX133" fmla="*/ 2014900 w 2017827"/>
                <a:gd name="connsiteY133" fmla="*/ 807044 h 1505806"/>
                <a:gd name="connsiteX134" fmla="*/ 2012174 w 2017827"/>
                <a:gd name="connsiteY134" fmla="*/ 802805 h 1505806"/>
                <a:gd name="connsiteX135" fmla="*/ 2008371 w 2017827"/>
                <a:gd name="connsiteY135" fmla="*/ 798029 h 1505806"/>
                <a:gd name="connsiteX136" fmla="*/ 2005880 w 2017827"/>
                <a:gd name="connsiteY136" fmla="*/ 792377 h 1505806"/>
                <a:gd name="connsiteX137" fmla="*/ 2003491 w 2017827"/>
                <a:gd name="connsiteY137" fmla="*/ 789350 h 1505806"/>
                <a:gd name="connsiteX138" fmla="*/ 1997837 w 2017827"/>
                <a:gd name="connsiteY138" fmla="*/ 782487 h 1505806"/>
                <a:gd name="connsiteX139" fmla="*/ 1995347 w 2017827"/>
                <a:gd name="connsiteY139" fmla="*/ 777710 h 1505806"/>
                <a:gd name="connsiteX140" fmla="*/ 1990568 w 2017827"/>
                <a:gd name="connsiteY140" fmla="*/ 772933 h 1505806"/>
                <a:gd name="connsiteX141" fmla="*/ 1987842 w 2017827"/>
                <a:gd name="connsiteY141" fmla="*/ 769468 h 1505806"/>
                <a:gd name="connsiteX142" fmla="*/ 1982962 w 2017827"/>
                <a:gd name="connsiteY142" fmla="*/ 762606 h 1505806"/>
                <a:gd name="connsiteX143" fmla="*/ 1981346 w 2017827"/>
                <a:gd name="connsiteY143" fmla="*/ 755878 h 1505806"/>
                <a:gd name="connsiteX144" fmla="*/ 1981346 w 2017827"/>
                <a:gd name="connsiteY144" fmla="*/ 748040 h 1505806"/>
                <a:gd name="connsiteX145" fmla="*/ 1980370 w 2017827"/>
                <a:gd name="connsiteY145" fmla="*/ 735560 h 1505806"/>
                <a:gd name="connsiteX146" fmla="*/ 1978317 w 2017827"/>
                <a:gd name="connsiteY146" fmla="*/ 727419 h 1505806"/>
                <a:gd name="connsiteX147" fmla="*/ 1975591 w 2017827"/>
                <a:gd name="connsiteY147" fmla="*/ 719816 h 1505806"/>
                <a:gd name="connsiteX148" fmla="*/ 1974514 w 2017827"/>
                <a:gd name="connsiteY148" fmla="*/ 711137 h 1505806"/>
                <a:gd name="connsiteX149" fmla="*/ 1973538 w 2017827"/>
                <a:gd name="connsiteY149" fmla="*/ 702997 h 1505806"/>
                <a:gd name="connsiteX150" fmla="*/ 1974514 w 2017827"/>
                <a:gd name="connsiteY150" fmla="*/ 698993 h 1505806"/>
                <a:gd name="connsiteX151" fmla="*/ 1972461 w 2017827"/>
                <a:gd name="connsiteY151" fmla="*/ 690180 h 1505806"/>
                <a:gd name="connsiteX152" fmla="*/ 1971216 w 2017827"/>
                <a:gd name="connsiteY152" fmla="*/ 686580 h 1505806"/>
                <a:gd name="connsiteX153" fmla="*/ 1971149 w 2017827"/>
                <a:gd name="connsiteY153" fmla="*/ 680929 h 1505806"/>
                <a:gd name="connsiteX154" fmla="*/ 1971149 w 2017827"/>
                <a:gd name="connsiteY154" fmla="*/ 674941 h 1505806"/>
                <a:gd name="connsiteX155" fmla="*/ 1969735 w 2017827"/>
                <a:gd name="connsiteY155" fmla="*/ 673730 h 1505806"/>
                <a:gd name="connsiteX156" fmla="*/ 1966706 w 2017827"/>
                <a:gd name="connsiteY156" fmla="*/ 676455 h 1505806"/>
                <a:gd name="connsiteX157" fmla="*/ 1961591 w 2017827"/>
                <a:gd name="connsiteY157" fmla="*/ 676657 h 1505806"/>
                <a:gd name="connsiteX158" fmla="*/ 1958326 w 2017827"/>
                <a:gd name="connsiteY158" fmla="*/ 674268 h 1505806"/>
                <a:gd name="connsiteX159" fmla="*/ 1956812 w 2017827"/>
                <a:gd name="connsiteY159" fmla="*/ 671005 h 1505806"/>
                <a:gd name="connsiteX160" fmla="*/ 1956173 w 2017827"/>
                <a:gd name="connsiteY160" fmla="*/ 669592 h 1505806"/>
                <a:gd name="connsiteX161" fmla="*/ 1955399 w 2017827"/>
                <a:gd name="connsiteY161" fmla="*/ 667978 h 1505806"/>
                <a:gd name="connsiteX162" fmla="*/ 1954759 w 2017827"/>
                <a:gd name="connsiteY162" fmla="*/ 665354 h 1505806"/>
                <a:gd name="connsiteX163" fmla="*/ 1954120 w 2017827"/>
                <a:gd name="connsiteY163" fmla="*/ 661216 h 1505806"/>
                <a:gd name="connsiteX164" fmla="*/ 1954658 w 2017827"/>
                <a:gd name="connsiteY164" fmla="*/ 658592 h 1505806"/>
                <a:gd name="connsiteX165" fmla="*/ 1954860 w 2017827"/>
                <a:gd name="connsiteY165" fmla="*/ 657381 h 1505806"/>
                <a:gd name="connsiteX166" fmla="*/ 1956812 w 2017827"/>
                <a:gd name="connsiteY166" fmla="*/ 654555 h 1505806"/>
                <a:gd name="connsiteX167" fmla="*/ 1959841 w 2017827"/>
                <a:gd name="connsiteY167" fmla="*/ 652806 h 1505806"/>
                <a:gd name="connsiteX168" fmla="*/ 1963005 w 2017827"/>
                <a:gd name="connsiteY168" fmla="*/ 650956 h 1505806"/>
                <a:gd name="connsiteX169" fmla="*/ 1961591 w 2017827"/>
                <a:gd name="connsiteY169" fmla="*/ 647928 h 1505806"/>
                <a:gd name="connsiteX170" fmla="*/ 1959639 w 2017827"/>
                <a:gd name="connsiteY170" fmla="*/ 647188 h 1505806"/>
                <a:gd name="connsiteX171" fmla="*/ 1955937 w 2017827"/>
                <a:gd name="connsiteY171" fmla="*/ 647188 h 1505806"/>
                <a:gd name="connsiteX172" fmla="*/ 1944192 w 2017827"/>
                <a:gd name="connsiteY172" fmla="*/ 647525 h 1505806"/>
                <a:gd name="connsiteX173" fmla="*/ 1932547 w 2017827"/>
                <a:gd name="connsiteY173" fmla="*/ 646347 h 1505806"/>
                <a:gd name="connsiteX174" fmla="*/ 1926355 w 2017827"/>
                <a:gd name="connsiteY174" fmla="*/ 644699 h 1505806"/>
                <a:gd name="connsiteX175" fmla="*/ 1915484 w 2017827"/>
                <a:gd name="connsiteY175" fmla="*/ 637971 h 1505806"/>
                <a:gd name="connsiteX176" fmla="*/ 1908215 w 2017827"/>
                <a:gd name="connsiteY176" fmla="*/ 630133 h 1505806"/>
                <a:gd name="connsiteX177" fmla="*/ 1897984 w 2017827"/>
                <a:gd name="connsiteY177" fmla="*/ 619469 h 1505806"/>
                <a:gd name="connsiteX178" fmla="*/ 1892566 w 2017827"/>
                <a:gd name="connsiteY178" fmla="*/ 616105 h 1505806"/>
                <a:gd name="connsiteX179" fmla="*/ 1884421 w 2017827"/>
                <a:gd name="connsiteY179" fmla="*/ 607527 h 1505806"/>
                <a:gd name="connsiteX180" fmla="*/ 1879979 w 2017827"/>
                <a:gd name="connsiteY180" fmla="*/ 602414 h 1505806"/>
                <a:gd name="connsiteX181" fmla="*/ 1871599 w 2017827"/>
                <a:gd name="connsiteY181" fmla="*/ 596662 h 1505806"/>
                <a:gd name="connsiteX182" fmla="*/ 1864969 w 2017827"/>
                <a:gd name="connsiteY182" fmla="*/ 588723 h 1505806"/>
                <a:gd name="connsiteX183" fmla="*/ 1854872 w 2017827"/>
                <a:gd name="connsiteY183" fmla="*/ 576882 h 1505806"/>
                <a:gd name="connsiteX184" fmla="*/ 1847468 w 2017827"/>
                <a:gd name="connsiteY184" fmla="*/ 570355 h 1505806"/>
                <a:gd name="connsiteX185" fmla="*/ 1841612 w 2017827"/>
                <a:gd name="connsiteY185" fmla="*/ 562753 h 1505806"/>
                <a:gd name="connsiteX186" fmla="*/ 1837608 w 2017827"/>
                <a:gd name="connsiteY186" fmla="*/ 558615 h 1505806"/>
                <a:gd name="connsiteX187" fmla="*/ 1825122 w 2017827"/>
                <a:gd name="connsiteY187" fmla="*/ 552190 h 1505806"/>
                <a:gd name="connsiteX188" fmla="*/ 1820242 w 2017827"/>
                <a:gd name="connsiteY188" fmla="*/ 548389 h 1505806"/>
                <a:gd name="connsiteX189" fmla="*/ 1811862 w 2017827"/>
                <a:gd name="connsiteY189" fmla="*/ 546202 h 1505806"/>
                <a:gd name="connsiteX190" fmla="*/ 1796549 w 2017827"/>
                <a:gd name="connsiteY190" fmla="*/ 537523 h 1505806"/>
                <a:gd name="connsiteX191" fmla="*/ 1780361 w 2017827"/>
                <a:gd name="connsiteY191" fmla="*/ 535034 h 1505806"/>
                <a:gd name="connsiteX192" fmla="*/ 1765688 w 2017827"/>
                <a:gd name="connsiteY192" fmla="*/ 530459 h 1505806"/>
                <a:gd name="connsiteX193" fmla="*/ 1757207 w 2017827"/>
                <a:gd name="connsiteY193" fmla="*/ 529820 h 1505806"/>
                <a:gd name="connsiteX194" fmla="*/ 1746673 w 2017827"/>
                <a:gd name="connsiteY194" fmla="*/ 530257 h 1505806"/>
                <a:gd name="connsiteX195" fmla="*/ 1736240 w 2017827"/>
                <a:gd name="connsiteY195" fmla="*/ 530055 h 1505806"/>
                <a:gd name="connsiteX196" fmla="*/ 1725167 w 2017827"/>
                <a:gd name="connsiteY196" fmla="*/ 529517 h 1505806"/>
                <a:gd name="connsiteX197" fmla="*/ 1721028 w 2017827"/>
                <a:gd name="connsiteY197" fmla="*/ 529080 h 1505806"/>
                <a:gd name="connsiteX198" fmla="*/ 1717764 w 2017827"/>
                <a:gd name="connsiteY198" fmla="*/ 526691 h 1505806"/>
                <a:gd name="connsiteX199" fmla="*/ 1706792 w 2017827"/>
                <a:gd name="connsiteY199" fmla="*/ 522453 h 1505806"/>
                <a:gd name="connsiteX200" fmla="*/ 1702787 w 2017827"/>
                <a:gd name="connsiteY200" fmla="*/ 517575 h 1505806"/>
                <a:gd name="connsiteX201" fmla="*/ 1697907 w 2017827"/>
                <a:gd name="connsiteY201" fmla="*/ 517373 h 1505806"/>
                <a:gd name="connsiteX202" fmla="*/ 1693128 w 2017827"/>
                <a:gd name="connsiteY202" fmla="*/ 517138 h 1505806"/>
                <a:gd name="connsiteX203" fmla="*/ 1686936 w 2017827"/>
                <a:gd name="connsiteY203" fmla="*/ 516364 h 1505806"/>
                <a:gd name="connsiteX204" fmla="*/ 1679094 w 2017827"/>
                <a:gd name="connsiteY204" fmla="*/ 515927 h 1505806"/>
                <a:gd name="connsiteX205" fmla="*/ 1672902 w 2017827"/>
                <a:gd name="connsiteY205" fmla="*/ 515725 h 1505806"/>
                <a:gd name="connsiteX206" fmla="*/ 1667248 w 2017827"/>
                <a:gd name="connsiteY206" fmla="*/ 513975 h 1505806"/>
                <a:gd name="connsiteX207" fmla="*/ 1661493 w 2017827"/>
                <a:gd name="connsiteY207" fmla="*/ 510073 h 1505806"/>
                <a:gd name="connsiteX208" fmla="*/ 1657589 w 2017827"/>
                <a:gd name="connsiteY208" fmla="*/ 506171 h 1505806"/>
                <a:gd name="connsiteX209" fmla="*/ 1654661 w 2017827"/>
                <a:gd name="connsiteY209" fmla="*/ 502908 h 1505806"/>
                <a:gd name="connsiteX210" fmla="*/ 1648132 w 2017827"/>
                <a:gd name="connsiteY210" fmla="*/ 501596 h 1505806"/>
                <a:gd name="connsiteX211" fmla="*/ 1643791 w 2017827"/>
                <a:gd name="connsiteY211" fmla="*/ 499309 h 1505806"/>
                <a:gd name="connsiteX212" fmla="*/ 1639113 w 2017827"/>
                <a:gd name="connsiteY212" fmla="*/ 494868 h 1505806"/>
                <a:gd name="connsiteX213" fmla="*/ 1636185 w 2017827"/>
                <a:gd name="connsiteY213" fmla="*/ 493657 h 1505806"/>
                <a:gd name="connsiteX214" fmla="*/ 1630093 w 2017827"/>
                <a:gd name="connsiteY214" fmla="*/ 491908 h 1505806"/>
                <a:gd name="connsiteX215" fmla="*/ 1624338 w 2017827"/>
                <a:gd name="connsiteY215" fmla="*/ 490495 h 1505806"/>
                <a:gd name="connsiteX216" fmla="*/ 1620199 w 2017827"/>
                <a:gd name="connsiteY216" fmla="*/ 486896 h 1505806"/>
                <a:gd name="connsiteX217" fmla="*/ 1616934 w 2017827"/>
                <a:gd name="connsiteY217" fmla="*/ 483195 h 1505806"/>
                <a:gd name="connsiteX218" fmla="*/ 1615083 w 2017827"/>
                <a:gd name="connsiteY218" fmla="*/ 481984 h 1505806"/>
                <a:gd name="connsiteX219" fmla="*/ 1610843 w 2017827"/>
                <a:gd name="connsiteY219" fmla="*/ 477981 h 1505806"/>
                <a:gd name="connsiteX220" fmla="*/ 1607377 w 2017827"/>
                <a:gd name="connsiteY220" fmla="*/ 474180 h 1505806"/>
                <a:gd name="connsiteX221" fmla="*/ 1606838 w 2017827"/>
                <a:gd name="connsiteY221" fmla="*/ 470143 h 1505806"/>
                <a:gd name="connsiteX222" fmla="*/ 1604550 w 2017827"/>
                <a:gd name="connsiteY222" fmla="*/ 462440 h 1505806"/>
                <a:gd name="connsiteX223" fmla="*/ 1604213 w 2017827"/>
                <a:gd name="connsiteY223" fmla="*/ 455039 h 1505806"/>
                <a:gd name="connsiteX224" fmla="*/ 1604651 w 2017827"/>
                <a:gd name="connsiteY224" fmla="*/ 448075 h 1505806"/>
                <a:gd name="connsiteX225" fmla="*/ 1609328 w 2017827"/>
                <a:gd name="connsiteY225" fmla="*/ 439161 h 1505806"/>
                <a:gd name="connsiteX226" fmla="*/ 1613367 w 2017827"/>
                <a:gd name="connsiteY226" fmla="*/ 434149 h 1505806"/>
                <a:gd name="connsiteX227" fmla="*/ 1615117 w 2017827"/>
                <a:gd name="connsiteY227" fmla="*/ 428934 h 1505806"/>
                <a:gd name="connsiteX228" fmla="*/ 1618045 w 2017827"/>
                <a:gd name="connsiteY228" fmla="*/ 424359 h 1505806"/>
                <a:gd name="connsiteX229" fmla="*/ 1621848 w 2017827"/>
                <a:gd name="connsiteY229" fmla="*/ 417396 h 1505806"/>
                <a:gd name="connsiteX230" fmla="*/ 1626728 w 2017827"/>
                <a:gd name="connsiteY230" fmla="*/ 409995 h 1505806"/>
                <a:gd name="connsiteX231" fmla="*/ 1632382 w 2017827"/>
                <a:gd name="connsiteY231" fmla="*/ 406396 h 1505806"/>
                <a:gd name="connsiteX232" fmla="*/ 1638036 w 2017827"/>
                <a:gd name="connsiteY232" fmla="*/ 399433 h 1505806"/>
                <a:gd name="connsiteX233" fmla="*/ 1639651 w 2017827"/>
                <a:gd name="connsiteY233" fmla="*/ 396169 h 1505806"/>
                <a:gd name="connsiteX234" fmla="*/ 1639988 w 2017827"/>
                <a:gd name="connsiteY234" fmla="*/ 390417 h 1505806"/>
                <a:gd name="connsiteX235" fmla="*/ 1639012 w 2017827"/>
                <a:gd name="connsiteY235" fmla="*/ 385539 h 1505806"/>
                <a:gd name="connsiteX236" fmla="*/ 1637262 w 2017827"/>
                <a:gd name="connsiteY236" fmla="*/ 380325 h 1505806"/>
                <a:gd name="connsiteX237" fmla="*/ 1634872 w 2017827"/>
                <a:gd name="connsiteY237" fmla="*/ 375111 h 1505806"/>
                <a:gd name="connsiteX238" fmla="*/ 1634973 w 2017827"/>
                <a:gd name="connsiteY238" fmla="*/ 372386 h 1505806"/>
                <a:gd name="connsiteX239" fmla="*/ 1636723 w 2017827"/>
                <a:gd name="connsiteY239" fmla="*/ 367710 h 1505806"/>
                <a:gd name="connsiteX240" fmla="*/ 1638473 w 2017827"/>
                <a:gd name="connsiteY240" fmla="*/ 366062 h 1505806"/>
                <a:gd name="connsiteX241" fmla="*/ 1646517 w 2017827"/>
                <a:gd name="connsiteY241" fmla="*/ 358998 h 1505806"/>
                <a:gd name="connsiteX242" fmla="*/ 1648368 w 2017827"/>
                <a:gd name="connsiteY242" fmla="*/ 356710 h 1505806"/>
                <a:gd name="connsiteX243" fmla="*/ 1651296 w 2017827"/>
                <a:gd name="connsiteY243" fmla="*/ 346820 h 1505806"/>
                <a:gd name="connsiteX244" fmla="*/ 1651632 w 2017827"/>
                <a:gd name="connsiteY244" fmla="*/ 344331 h 1505806"/>
                <a:gd name="connsiteX245" fmla="*/ 1652507 w 2017827"/>
                <a:gd name="connsiteY245" fmla="*/ 334542 h 1505806"/>
                <a:gd name="connsiteX246" fmla="*/ 1652507 w 2017827"/>
                <a:gd name="connsiteY246" fmla="*/ 326401 h 1505806"/>
                <a:gd name="connsiteX247" fmla="*/ 1651531 w 2017827"/>
                <a:gd name="connsiteY247" fmla="*/ 319673 h 1505806"/>
                <a:gd name="connsiteX248" fmla="*/ 1650320 w 2017827"/>
                <a:gd name="connsiteY248" fmla="*/ 311196 h 1505806"/>
                <a:gd name="connsiteX249" fmla="*/ 1649680 w 2017827"/>
                <a:gd name="connsiteY249" fmla="*/ 304468 h 1505806"/>
                <a:gd name="connsiteX250" fmla="*/ 1645339 w 2017827"/>
                <a:gd name="connsiteY250" fmla="*/ 297740 h 1505806"/>
                <a:gd name="connsiteX251" fmla="*/ 1644363 w 2017827"/>
                <a:gd name="connsiteY251" fmla="*/ 294712 h 1505806"/>
                <a:gd name="connsiteX252" fmla="*/ 1644363 w 2017827"/>
                <a:gd name="connsiteY252" fmla="*/ 292324 h 1505806"/>
                <a:gd name="connsiteX253" fmla="*/ 1639921 w 2017827"/>
                <a:gd name="connsiteY253" fmla="*/ 288523 h 1505806"/>
                <a:gd name="connsiteX254" fmla="*/ 1638305 w 2017827"/>
                <a:gd name="connsiteY254" fmla="*/ 285596 h 1505806"/>
                <a:gd name="connsiteX255" fmla="*/ 1636454 w 2017827"/>
                <a:gd name="connsiteY255" fmla="*/ 283308 h 1505806"/>
                <a:gd name="connsiteX256" fmla="*/ 1634401 w 2017827"/>
                <a:gd name="connsiteY256" fmla="*/ 280584 h 1505806"/>
                <a:gd name="connsiteX257" fmla="*/ 1632752 w 2017827"/>
                <a:gd name="connsiteY257" fmla="*/ 277993 h 1505806"/>
                <a:gd name="connsiteX258" fmla="*/ 1630699 w 2017827"/>
                <a:gd name="connsiteY258" fmla="*/ 274966 h 1505806"/>
                <a:gd name="connsiteX259" fmla="*/ 1629521 w 2017827"/>
                <a:gd name="connsiteY259" fmla="*/ 272678 h 1505806"/>
                <a:gd name="connsiteX260" fmla="*/ 1628882 w 2017827"/>
                <a:gd name="connsiteY260" fmla="*/ 269214 h 1505806"/>
                <a:gd name="connsiteX261" fmla="*/ 1628007 w 2017827"/>
                <a:gd name="connsiteY261" fmla="*/ 265850 h 1505806"/>
                <a:gd name="connsiteX262" fmla="*/ 1628007 w 2017827"/>
                <a:gd name="connsiteY262" fmla="*/ 262486 h 1505806"/>
                <a:gd name="connsiteX263" fmla="*/ 1626997 w 2017827"/>
                <a:gd name="connsiteY263" fmla="*/ 259323 h 1505806"/>
                <a:gd name="connsiteX264" fmla="*/ 1626795 w 2017827"/>
                <a:gd name="connsiteY264" fmla="*/ 257271 h 1505806"/>
                <a:gd name="connsiteX265" fmla="*/ 1626795 w 2017827"/>
                <a:gd name="connsiteY265" fmla="*/ 253470 h 1505806"/>
                <a:gd name="connsiteX266" fmla="*/ 1626795 w 2017827"/>
                <a:gd name="connsiteY266" fmla="*/ 249871 h 1505806"/>
                <a:gd name="connsiteX267" fmla="*/ 1626795 w 2017827"/>
                <a:gd name="connsiteY267" fmla="*/ 243446 h 1505806"/>
                <a:gd name="connsiteX268" fmla="*/ 1625012 w 2017827"/>
                <a:gd name="connsiteY268" fmla="*/ 241057 h 1505806"/>
                <a:gd name="connsiteX269" fmla="*/ 1625180 w 2017827"/>
                <a:gd name="connsiteY269" fmla="*/ 237020 h 1505806"/>
                <a:gd name="connsiteX270" fmla="*/ 1625180 w 2017827"/>
                <a:gd name="connsiteY270" fmla="*/ 232883 h 1505806"/>
                <a:gd name="connsiteX271" fmla="*/ 1624406 w 2017827"/>
                <a:gd name="connsiteY271" fmla="*/ 228880 h 1505806"/>
                <a:gd name="connsiteX272" fmla="*/ 1624406 w 2017827"/>
                <a:gd name="connsiteY272" fmla="*/ 224843 h 1505806"/>
                <a:gd name="connsiteX273" fmla="*/ 1622555 w 2017827"/>
                <a:gd name="connsiteY273" fmla="*/ 220503 h 1505806"/>
                <a:gd name="connsiteX274" fmla="*/ 1620502 w 2017827"/>
                <a:gd name="connsiteY274" fmla="*/ 217038 h 1505806"/>
                <a:gd name="connsiteX275" fmla="*/ 1618987 w 2017827"/>
                <a:gd name="connsiteY275" fmla="*/ 214549 h 1505806"/>
                <a:gd name="connsiteX276" fmla="*/ 1615723 w 2017827"/>
                <a:gd name="connsiteY276" fmla="*/ 209436 h 1505806"/>
                <a:gd name="connsiteX277" fmla="*/ 1612896 w 2017827"/>
                <a:gd name="connsiteY277" fmla="*/ 207148 h 1505806"/>
                <a:gd name="connsiteX278" fmla="*/ 1610607 w 2017827"/>
                <a:gd name="connsiteY278" fmla="*/ 204962 h 1505806"/>
                <a:gd name="connsiteX279" fmla="*/ 1607006 w 2017827"/>
                <a:gd name="connsiteY279" fmla="*/ 197897 h 1505806"/>
                <a:gd name="connsiteX280" fmla="*/ 1605929 w 2017827"/>
                <a:gd name="connsiteY280" fmla="*/ 192582 h 1505806"/>
                <a:gd name="connsiteX281" fmla="*/ 1604617 w 2017827"/>
                <a:gd name="connsiteY281" fmla="*/ 189656 h 1505806"/>
                <a:gd name="connsiteX282" fmla="*/ 1602564 w 2017827"/>
                <a:gd name="connsiteY282" fmla="*/ 187705 h 1505806"/>
                <a:gd name="connsiteX283" fmla="*/ 1599636 w 2017827"/>
                <a:gd name="connsiteY283" fmla="*/ 186931 h 1505806"/>
                <a:gd name="connsiteX284" fmla="*/ 1596169 w 2017827"/>
                <a:gd name="connsiteY284" fmla="*/ 186494 h 1505806"/>
                <a:gd name="connsiteX285" fmla="*/ 1593780 w 2017827"/>
                <a:gd name="connsiteY285" fmla="*/ 186595 h 1505806"/>
                <a:gd name="connsiteX286" fmla="*/ 1591391 w 2017827"/>
                <a:gd name="connsiteY286" fmla="*/ 186393 h 1505806"/>
                <a:gd name="connsiteX287" fmla="*/ 1588025 w 2017827"/>
                <a:gd name="connsiteY287" fmla="*/ 185955 h 1505806"/>
                <a:gd name="connsiteX288" fmla="*/ 1585737 w 2017827"/>
                <a:gd name="connsiteY288" fmla="*/ 185417 h 1505806"/>
                <a:gd name="connsiteX289" fmla="*/ 1583448 w 2017827"/>
                <a:gd name="connsiteY289" fmla="*/ 184980 h 1505806"/>
                <a:gd name="connsiteX290" fmla="*/ 1580621 w 2017827"/>
                <a:gd name="connsiteY290" fmla="*/ 183231 h 1505806"/>
                <a:gd name="connsiteX291" fmla="*/ 1577155 w 2017827"/>
                <a:gd name="connsiteY291" fmla="*/ 178992 h 1505806"/>
                <a:gd name="connsiteX292" fmla="*/ 1575943 w 2017827"/>
                <a:gd name="connsiteY292" fmla="*/ 177142 h 1505806"/>
                <a:gd name="connsiteX293" fmla="*/ 1574799 w 2017827"/>
                <a:gd name="connsiteY293" fmla="*/ 173004 h 1505806"/>
                <a:gd name="connsiteX294" fmla="*/ 1574799 w 2017827"/>
                <a:gd name="connsiteY294" fmla="*/ 170414 h 1505806"/>
                <a:gd name="connsiteX295" fmla="*/ 1574765 w 2017827"/>
                <a:gd name="connsiteY295" fmla="*/ 168564 h 1505806"/>
                <a:gd name="connsiteX296" fmla="*/ 1574765 w 2017827"/>
                <a:gd name="connsiteY296" fmla="*/ 166074 h 1505806"/>
                <a:gd name="connsiteX297" fmla="*/ 1573890 w 2017827"/>
                <a:gd name="connsiteY297" fmla="*/ 163686 h 1505806"/>
                <a:gd name="connsiteX298" fmla="*/ 1571938 w 2017827"/>
                <a:gd name="connsiteY298" fmla="*/ 161398 h 1505806"/>
                <a:gd name="connsiteX299" fmla="*/ 1568135 w 2017827"/>
                <a:gd name="connsiteY299" fmla="*/ 159986 h 1505806"/>
                <a:gd name="connsiteX300" fmla="*/ 1566183 w 2017827"/>
                <a:gd name="connsiteY300" fmla="*/ 159885 h 1505806"/>
                <a:gd name="connsiteX301" fmla="*/ 1564568 w 2017827"/>
                <a:gd name="connsiteY301" fmla="*/ 159986 h 1505806"/>
                <a:gd name="connsiteX302" fmla="*/ 1563424 w 2017827"/>
                <a:gd name="connsiteY302" fmla="*/ 160356 h 1505806"/>
                <a:gd name="connsiteX303" fmla="*/ 1557231 w 2017827"/>
                <a:gd name="connsiteY303" fmla="*/ 160356 h 1505806"/>
                <a:gd name="connsiteX304" fmla="*/ 1551241 w 2017827"/>
                <a:gd name="connsiteY304" fmla="*/ 159716 h 1505806"/>
                <a:gd name="connsiteX305" fmla="*/ 1544274 w 2017827"/>
                <a:gd name="connsiteY305" fmla="*/ 156891 h 1505806"/>
                <a:gd name="connsiteX306" fmla="*/ 1541784 w 2017827"/>
                <a:gd name="connsiteY306" fmla="*/ 156891 h 1505806"/>
                <a:gd name="connsiteX307" fmla="*/ 1539058 w 2017827"/>
                <a:gd name="connsiteY307" fmla="*/ 155141 h 1505806"/>
                <a:gd name="connsiteX308" fmla="*/ 1537880 w 2017827"/>
                <a:gd name="connsiteY308" fmla="*/ 155141 h 1505806"/>
                <a:gd name="connsiteX309" fmla="*/ 1535591 w 2017827"/>
                <a:gd name="connsiteY309" fmla="*/ 155141 h 1505806"/>
                <a:gd name="connsiteX310" fmla="*/ 1534952 w 2017827"/>
                <a:gd name="connsiteY310" fmla="*/ 155141 h 1505806"/>
                <a:gd name="connsiteX311" fmla="*/ 1533202 w 2017827"/>
                <a:gd name="connsiteY311" fmla="*/ 155141 h 1505806"/>
                <a:gd name="connsiteX312" fmla="*/ 1531250 w 2017827"/>
                <a:gd name="connsiteY312" fmla="*/ 154704 h 1505806"/>
                <a:gd name="connsiteX313" fmla="*/ 1529500 w 2017827"/>
                <a:gd name="connsiteY313" fmla="*/ 154065 h 1505806"/>
                <a:gd name="connsiteX314" fmla="*/ 1528086 w 2017827"/>
                <a:gd name="connsiteY314" fmla="*/ 153628 h 1505806"/>
                <a:gd name="connsiteX315" fmla="*/ 1525259 w 2017827"/>
                <a:gd name="connsiteY315" fmla="*/ 151878 h 1505806"/>
                <a:gd name="connsiteX316" fmla="*/ 1523745 w 2017827"/>
                <a:gd name="connsiteY316" fmla="*/ 150567 h 1505806"/>
                <a:gd name="connsiteX317" fmla="*/ 1522769 w 2017827"/>
                <a:gd name="connsiteY317" fmla="*/ 149154 h 1505806"/>
                <a:gd name="connsiteX318" fmla="*/ 1521254 w 2017827"/>
                <a:gd name="connsiteY318" fmla="*/ 146664 h 1505806"/>
                <a:gd name="connsiteX319" fmla="*/ 1520043 w 2017827"/>
                <a:gd name="connsiteY319" fmla="*/ 145689 h 1505806"/>
                <a:gd name="connsiteX320" fmla="*/ 1518293 w 2017827"/>
                <a:gd name="connsiteY320" fmla="*/ 143401 h 1505806"/>
                <a:gd name="connsiteX321" fmla="*/ 1516341 w 2017827"/>
                <a:gd name="connsiteY321" fmla="*/ 141988 h 1505806"/>
                <a:gd name="connsiteX322" fmla="*/ 1513413 w 2017827"/>
                <a:gd name="connsiteY322" fmla="*/ 139398 h 1505806"/>
                <a:gd name="connsiteX323" fmla="*/ 1509812 w 2017827"/>
                <a:gd name="connsiteY323" fmla="*/ 137346 h 1505806"/>
                <a:gd name="connsiteX324" fmla="*/ 1506110 w 2017827"/>
                <a:gd name="connsiteY324" fmla="*/ 135294 h 1505806"/>
                <a:gd name="connsiteX325" fmla="*/ 1501331 w 2017827"/>
                <a:gd name="connsiteY325" fmla="*/ 131392 h 1505806"/>
                <a:gd name="connsiteX326" fmla="*/ 1499581 w 2017827"/>
                <a:gd name="connsiteY326" fmla="*/ 128129 h 1505806"/>
                <a:gd name="connsiteX327" fmla="*/ 1495340 w 2017827"/>
                <a:gd name="connsiteY327" fmla="*/ 123890 h 1505806"/>
                <a:gd name="connsiteX328" fmla="*/ 1494735 w 2017827"/>
                <a:gd name="connsiteY328" fmla="*/ 120728 h 1505806"/>
                <a:gd name="connsiteX329" fmla="*/ 1494701 w 2017827"/>
                <a:gd name="connsiteY329" fmla="*/ 116052 h 1505806"/>
                <a:gd name="connsiteX330" fmla="*/ 1494701 w 2017827"/>
                <a:gd name="connsiteY330" fmla="*/ 113126 h 1505806"/>
                <a:gd name="connsiteX331" fmla="*/ 1494701 w 2017827"/>
                <a:gd name="connsiteY331" fmla="*/ 109762 h 1505806"/>
                <a:gd name="connsiteX332" fmla="*/ 1493288 w 2017827"/>
                <a:gd name="connsiteY332" fmla="*/ 105960 h 1505806"/>
                <a:gd name="connsiteX333" fmla="*/ 1490124 w 2017827"/>
                <a:gd name="connsiteY333" fmla="*/ 103135 h 1505806"/>
                <a:gd name="connsiteX334" fmla="*/ 1484806 w 2017827"/>
                <a:gd name="connsiteY334" fmla="*/ 98694 h 1505806"/>
                <a:gd name="connsiteX335" fmla="*/ 1478715 w 2017827"/>
                <a:gd name="connsiteY335" fmla="*/ 93581 h 1505806"/>
                <a:gd name="connsiteX336" fmla="*/ 1472725 w 2017827"/>
                <a:gd name="connsiteY336" fmla="*/ 89006 h 1505806"/>
                <a:gd name="connsiteX337" fmla="*/ 1467946 w 2017827"/>
                <a:gd name="connsiteY337" fmla="*/ 84532 h 1505806"/>
                <a:gd name="connsiteX338" fmla="*/ 1465893 w 2017827"/>
                <a:gd name="connsiteY338" fmla="*/ 82783 h 1505806"/>
                <a:gd name="connsiteX339" fmla="*/ 1464008 w 2017827"/>
                <a:gd name="connsiteY339" fmla="*/ 79419 h 1505806"/>
                <a:gd name="connsiteX340" fmla="*/ 1463369 w 2017827"/>
                <a:gd name="connsiteY340" fmla="*/ 76055 h 1505806"/>
                <a:gd name="connsiteX341" fmla="*/ 1463806 w 2017827"/>
                <a:gd name="connsiteY341" fmla="*/ 72354 h 1505806"/>
                <a:gd name="connsiteX342" fmla="*/ 1463806 w 2017827"/>
                <a:gd name="connsiteY342" fmla="*/ 67477 h 1505806"/>
                <a:gd name="connsiteX343" fmla="*/ 1463335 w 2017827"/>
                <a:gd name="connsiteY343" fmla="*/ 63238 h 1505806"/>
                <a:gd name="connsiteX344" fmla="*/ 1461753 w 2017827"/>
                <a:gd name="connsiteY344" fmla="*/ 59235 h 1505806"/>
                <a:gd name="connsiteX345" fmla="*/ 1457614 w 2017827"/>
                <a:gd name="connsiteY345" fmla="*/ 54559 h 1505806"/>
                <a:gd name="connsiteX346" fmla="*/ 1454686 w 2017827"/>
                <a:gd name="connsiteY346" fmla="*/ 50960 h 1505806"/>
                <a:gd name="connsiteX347" fmla="*/ 1453171 w 2017827"/>
                <a:gd name="connsiteY347" fmla="*/ 47932 h 1505806"/>
                <a:gd name="connsiteX348" fmla="*/ 1447753 w 2017827"/>
                <a:gd name="connsiteY348" fmla="*/ 45880 h 1505806"/>
                <a:gd name="connsiteX349" fmla="*/ 1445027 w 2017827"/>
                <a:gd name="connsiteY349" fmla="*/ 42516 h 1505806"/>
                <a:gd name="connsiteX350" fmla="*/ 1444253 w 2017827"/>
                <a:gd name="connsiteY350" fmla="*/ 39589 h 1505806"/>
                <a:gd name="connsiteX351" fmla="*/ 1444253 w 2017827"/>
                <a:gd name="connsiteY351" fmla="*/ 37201 h 1505806"/>
                <a:gd name="connsiteX352" fmla="*/ 1449032 w 2017827"/>
                <a:gd name="connsiteY352" fmla="*/ 33736 h 1505806"/>
                <a:gd name="connsiteX353" fmla="*/ 1451219 w 2017827"/>
                <a:gd name="connsiteY353" fmla="*/ 32660 h 1505806"/>
                <a:gd name="connsiteX354" fmla="*/ 1454147 w 2017827"/>
                <a:gd name="connsiteY354" fmla="*/ 29598 h 1505806"/>
                <a:gd name="connsiteX355" fmla="*/ 1455561 w 2017827"/>
                <a:gd name="connsiteY355" fmla="*/ 28623 h 1505806"/>
                <a:gd name="connsiteX356" fmla="*/ 1457849 w 2017827"/>
                <a:gd name="connsiteY356" fmla="*/ 26133 h 1505806"/>
                <a:gd name="connsiteX357" fmla="*/ 1459801 w 2017827"/>
                <a:gd name="connsiteY357" fmla="*/ 23543 h 1505806"/>
                <a:gd name="connsiteX358" fmla="*/ 1461215 w 2017827"/>
                <a:gd name="connsiteY358" fmla="*/ 19506 h 1505806"/>
                <a:gd name="connsiteX359" fmla="*/ 1462965 w 2017827"/>
                <a:gd name="connsiteY359" fmla="*/ 16479 h 1505806"/>
                <a:gd name="connsiteX360" fmla="*/ 1462965 w 2017827"/>
                <a:gd name="connsiteY360" fmla="*/ 13014 h 1505806"/>
                <a:gd name="connsiteX361" fmla="*/ 1462426 w 2017827"/>
                <a:gd name="connsiteY361" fmla="*/ 9112 h 1505806"/>
                <a:gd name="connsiteX362" fmla="*/ 1459599 w 2017827"/>
                <a:gd name="connsiteY362" fmla="*/ 8237 h 1505806"/>
                <a:gd name="connsiteX363" fmla="*/ 1457412 w 2017827"/>
                <a:gd name="connsiteY363" fmla="*/ 6387 h 1505806"/>
                <a:gd name="connsiteX364" fmla="*/ 1451421 w 2017827"/>
                <a:gd name="connsiteY364" fmla="*/ 5411 h 1505806"/>
                <a:gd name="connsiteX365" fmla="*/ 1446407 w 2017827"/>
                <a:gd name="connsiteY365" fmla="*/ 4772 h 1505806"/>
                <a:gd name="connsiteX366" fmla="*/ 1442604 w 2017827"/>
                <a:gd name="connsiteY366" fmla="*/ 4133 h 1505806"/>
                <a:gd name="connsiteX367" fmla="*/ 1438363 w 2017827"/>
                <a:gd name="connsiteY367" fmla="*/ 5008 h 1505806"/>
                <a:gd name="connsiteX368" fmla="*/ 1436748 w 2017827"/>
                <a:gd name="connsiteY368" fmla="*/ 5445 h 1505806"/>
                <a:gd name="connsiteX369" fmla="*/ 1433147 w 2017827"/>
                <a:gd name="connsiteY369" fmla="*/ 7194 h 1505806"/>
                <a:gd name="connsiteX370" fmla="*/ 1429344 w 2017827"/>
                <a:gd name="connsiteY370" fmla="*/ 7733 h 1505806"/>
                <a:gd name="connsiteX371" fmla="*/ 1425440 w 2017827"/>
                <a:gd name="connsiteY371" fmla="*/ 7396 h 1505806"/>
                <a:gd name="connsiteX372" fmla="*/ 1416959 w 2017827"/>
                <a:gd name="connsiteY372" fmla="*/ 5647 h 1505806"/>
                <a:gd name="connsiteX373" fmla="*/ 1411641 w 2017827"/>
                <a:gd name="connsiteY373" fmla="*/ 5109 h 1505806"/>
                <a:gd name="connsiteX374" fmla="*/ 1407939 w 2017827"/>
                <a:gd name="connsiteY374" fmla="*/ 4032 h 1505806"/>
                <a:gd name="connsiteX375" fmla="*/ 1405651 w 2017827"/>
                <a:gd name="connsiteY375" fmla="*/ 2081 h 1505806"/>
                <a:gd name="connsiteX376" fmla="*/ 1400435 w 2017827"/>
                <a:gd name="connsiteY376" fmla="*/ 1106 h 1505806"/>
                <a:gd name="connsiteX377" fmla="*/ 1396632 w 2017827"/>
                <a:gd name="connsiteY377" fmla="*/ 29 h 1505806"/>
                <a:gd name="connsiteX378" fmla="*/ 1393030 w 2017827"/>
                <a:gd name="connsiteY378" fmla="*/ 29 h 1505806"/>
                <a:gd name="connsiteX379" fmla="*/ 1387175 w 2017827"/>
                <a:gd name="connsiteY379" fmla="*/ 1240 h 1505806"/>
                <a:gd name="connsiteX380" fmla="*/ 1382295 w 2017827"/>
                <a:gd name="connsiteY380" fmla="*/ 1240 h 1505806"/>
                <a:gd name="connsiteX381" fmla="*/ 1378155 w 2017827"/>
                <a:gd name="connsiteY381" fmla="*/ 2216 h 1505806"/>
                <a:gd name="connsiteX382" fmla="*/ 1375665 w 2017827"/>
                <a:gd name="connsiteY382" fmla="*/ 2754 h 1505806"/>
                <a:gd name="connsiteX383" fmla="*/ 1373477 w 2017827"/>
                <a:gd name="connsiteY383" fmla="*/ 4066 h 1505806"/>
                <a:gd name="connsiteX384" fmla="*/ 1371626 w 2017827"/>
                <a:gd name="connsiteY384" fmla="*/ 5714 h 1505806"/>
                <a:gd name="connsiteX385" fmla="*/ 1369573 w 2017827"/>
                <a:gd name="connsiteY385" fmla="*/ 8977 h 1505806"/>
                <a:gd name="connsiteX386" fmla="*/ 1368160 w 2017827"/>
                <a:gd name="connsiteY386" fmla="*/ 12577 h 1505806"/>
                <a:gd name="connsiteX387" fmla="*/ 1367285 w 2017827"/>
                <a:gd name="connsiteY387" fmla="*/ 15941 h 1505806"/>
                <a:gd name="connsiteX388" fmla="*/ 1367487 w 2017827"/>
                <a:gd name="connsiteY388" fmla="*/ 19540 h 1505806"/>
                <a:gd name="connsiteX389" fmla="*/ 1368900 w 2017827"/>
                <a:gd name="connsiteY389" fmla="*/ 24653 h 1505806"/>
                <a:gd name="connsiteX390" fmla="*/ 1369540 w 2017827"/>
                <a:gd name="connsiteY390" fmla="*/ 31381 h 1505806"/>
                <a:gd name="connsiteX391" fmla="*/ 1368025 w 2017827"/>
                <a:gd name="connsiteY391" fmla="*/ 36158 h 1505806"/>
                <a:gd name="connsiteX392" fmla="*/ 1366073 w 2017827"/>
                <a:gd name="connsiteY392" fmla="*/ 39858 h 1505806"/>
                <a:gd name="connsiteX393" fmla="*/ 1364121 w 2017827"/>
                <a:gd name="connsiteY393" fmla="*/ 42348 h 1505806"/>
                <a:gd name="connsiteX394" fmla="*/ 1360083 w 2017827"/>
                <a:gd name="connsiteY394" fmla="*/ 46048 h 1505806"/>
                <a:gd name="connsiteX395" fmla="*/ 1353655 w 2017827"/>
                <a:gd name="connsiteY395" fmla="*/ 48235 h 1505806"/>
                <a:gd name="connsiteX396" fmla="*/ 1349515 w 2017827"/>
                <a:gd name="connsiteY396" fmla="*/ 50085 h 1505806"/>
                <a:gd name="connsiteX397" fmla="*/ 1345510 w 2017827"/>
                <a:gd name="connsiteY397" fmla="*/ 52473 h 1505806"/>
                <a:gd name="connsiteX398" fmla="*/ 1341505 w 2017827"/>
                <a:gd name="connsiteY398" fmla="*/ 55501 h 1505806"/>
                <a:gd name="connsiteX399" fmla="*/ 1333798 w 2017827"/>
                <a:gd name="connsiteY399" fmla="*/ 57687 h 1505806"/>
                <a:gd name="connsiteX400" fmla="*/ 1320101 w 2017827"/>
                <a:gd name="connsiteY400" fmla="*/ 56476 h 1505806"/>
                <a:gd name="connsiteX401" fmla="*/ 1316062 w 2017827"/>
                <a:gd name="connsiteY401" fmla="*/ 56140 h 1505806"/>
                <a:gd name="connsiteX402" fmla="*/ 1308457 w 2017827"/>
                <a:gd name="connsiteY402" fmla="*/ 55501 h 1505806"/>
                <a:gd name="connsiteX403" fmla="*/ 1301726 w 2017827"/>
                <a:gd name="connsiteY403" fmla="*/ 54290 h 1505806"/>
                <a:gd name="connsiteX404" fmla="*/ 1295197 w 2017827"/>
                <a:gd name="connsiteY404" fmla="*/ 53853 h 1505806"/>
                <a:gd name="connsiteX405" fmla="*/ 1290317 w 2017827"/>
                <a:gd name="connsiteY405" fmla="*/ 52642 h 1505806"/>
                <a:gd name="connsiteX406" fmla="*/ 1285740 w 2017827"/>
                <a:gd name="connsiteY406" fmla="*/ 52642 h 1505806"/>
                <a:gd name="connsiteX407" fmla="*/ 1280961 w 2017827"/>
                <a:gd name="connsiteY407" fmla="*/ 56241 h 1505806"/>
                <a:gd name="connsiteX408" fmla="*/ 1277696 w 2017827"/>
                <a:gd name="connsiteY408" fmla="*/ 58428 h 1505806"/>
                <a:gd name="connsiteX409" fmla="*/ 1274230 w 2017827"/>
                <a:gd name="connsiteY409" fmla="*/ 63541 h 1505806"/>
                <a:gd name="connsiteX410" fmla="*/ 1273153 w 2017827"/>
                <a:gd name="connsiteY410" fmla="*/ 66467 h 1505806"/>
                <a:gd name="connsiteX411" fmla="*/ 1269249 w 2017827"/>
                <a:gd name="connsiteY411" fmla="*/ 71244 h 1505806"/>
                <a:gd name="connsiteX412" fmla="*/ 1264369 w 2017827"/>
                <a:gd name="connsiteY412" fmla="*/ 76458 h 1505806"/>
                <a:gd name="connsiteX413" fmla="*/ 1260129 w 2017827"/>
                <a:gd name="connsiteY413" fmla="*/ 82547 h 1505806"/>
                <a:gd name="connsiteX414" fmla="*/ 1256965 w 2017827"/>
                <a:gd name="connsiteY414" fmla="*/ 89275 h 1505806"/>
                <a:gd name="connsiteX415" fmla="*/ 1254374 w 2017827"/>
                <a:gd name="connsiteY415" fmla="*/ 92975 h 1505806"/>
                <a:gd name="connsiteX416" fmla="*/ 1253297 w 2017827"/>
                <a:gd name="connsiteY416" fmla="*/ 97214 h 1505806"/>
                <a:gd name="connsiteX417" fmla="*/ 1252657 w 2017827"/>
                <a:gd name="connsiteY417" fmla="*/ 101890 h 1505806"/>
                <a:gd name="connsiteX418" fmla="*/ 1251782 w 2017827"/>
                <a:gd name="connsiteY418" fmla="*/ 105052 h 1505806"/>
                <a:gd name="connsiteX419" fmla="*/ 1250907 w 2017827"/>
                <a:gd name="connsiteY419" fmla="*/ 111578 h 1505806"/>
                <a:gd name="connsiteX420" fmla="*/ 1250840 w 2017827"/>
                <a:gd name="connsiteY420" fmla="*/ 114505 h 1505806"/>
                <a:gd name="connsiteX421" fmla="*/ 1250840 w 2017827"/>
                <a:gd name="connsiteY421" fmla="*/ 122747 h 1505806"/>
                <a:gd name="connsiteX422" fmla="*/ 1249090 w 2017827"/>
                <a:gd name="connsiteY422" fmla="*/ 127086 h 1505806"/>
                <a:gd name="connsiteX423" fmla="*/ 1248114 w 2017827"/>
                <a:gd name="connsiteY423" fmla="*/ 145218 h 1505806"/>
                <a:gd name="connsiteX424" fmla="*/ 1248551 w 2017827"/>
                <a:gd name="connsiteY424" fmla="*/ 149658 h 1505806"/>
                <a:gd name="connsiteX425" fmla="*/ 1248484 w 2017827"/>
                <a:gd name="connsiteY425" fmla="*/ 153460 h 1505806"/>
                <a:gd name="connsiteX426" fmla="*/ 1248484 w 2017827"/>
                <a:gd name="connsiteY426" fmla="*/ 157597 h 1505806"/>
                <a:gd name="connsiteX427" fmla="*/ 1248417 w 2017827"/>
                <a:gd name="connsiteY427" fmla="*/ 163047 h 1505806"/>
                <a:gd name="connsiteX428" fmla="*/ 1248417 w 2017827"/>
                <a:gd name="connsiteY428" fmla="*/ 167521 h 1505806"/>
                <a:gd name="connsiteX429" fmla="*/ 1248417 w 2017827"/>
                <a:gd name="connsiteY429" fmla="*/ 171221 h 1505806"/>
                <a:gd name="connsiteX430" fmla="*/ 1247777 w 2017827"/>
                <a:gd name="connsiteY430" fmla="*/ 174047 h 1505806"/>
                <a:gd name="connsiteX431" fmla="*/ 1247777 w 2017827"/>
                <a:gd name="connsiteY431" fmla="*/ 175796 h 1505806"/>
                <a:gd name="connsiteX432" fmla="*/ 1246162 w 2017827"/>
                <a:gd name="connsiteY432" fmla="*/ 180035 h 1505806"/>
                <a:gd name="connsiteX433" fmla="*/ 1243234 w 2017827"/>
                <a:gd name="connsiteY433" fmla="*/ 186023 h 1505806"/>
                <a:gd name="connsiteX434" fmla="*/ 1241046 w 2017827"/>
                <a:gd name="connsiteY434" fmla="*/ 190699 h 1505806"/>
                <a:gd name="connsiteX435" fmla="*/ 1238859 w 2017827"/>
                <a:gd name="connsiteY435" fmla="*/ 193188 h 1505806"/>
                <a:gd name="connsiteX436" fmla="*/ 1233541 w 2017827"/>
                <a:gd name="connsiteY436" fmla="*/ 195139 h 1505806"/>
                <a:gd name="connsiteX437" fmla="*/ 1227551 w 2017827"/>
                <a:gd name="connsiteY437" fmla="*/ 196215 h 1505806"/>
                <a:gd name="connsiteX438" fmla="*/ 1217656 w 2017827"/>
                <a:gd name="connsiteY438" fmla="*/ 196552 h 1505806"/>
                <a:gd name="connsiteX439" fmla="*/ 1213416 w 2017827"/>
                <a:gd name="connsiteY439" fmla="*/ 196653 h 1505806"/>
                <a:gd name="connsiteX440" fmla="*/ 1207998 w 2017827"/>
                <a:gd name="connsiteY440" fmla="*/ 197628 h 1505806"/>
                <a:gd name="connsiteX441" fmla="*/ 1202344 w 2017827"/>
                <a:gd name="connsiteY441" fmla="*/ 196115 h 1505806"/>
                <a:gd name="connsiteX442" fmla="*/ 1197666 w 2017827"/>
                <a:gd name="connsiteY442" fmla="*/ 195341 h 1505806"/>
                <a:gd name="connsiteX443" fmla="*/ 1192988 w 2017827"/>
                <a:gd name="connsiteY443" fmla="*/ 195341 h 1505806"/>
                <a:gd name="connsiteX444" fmla="*/ 1189723 w 2017827"/>
                <a:gd name="connsiteY444" fmla="*/ 193053 h 1505806"/>
                <a:gd name="connsiteX445" fmla="*/ 1180266 w 2017827"/>
                <a:gd name="connsiteY445" fmla="*/ 189790 h 1505806"/>
                <a:gd name="connsiteX446" fmla="*/ 1176800 w 2017827"/>
                <a:gd name="connsiteY446" fmla="*/ 193154 h 1505806"/>
                <a:gd name="connsiteX447" fmla="*/ 1170708 w 2017827"/>
                <a:gd name="connsiteY447" fmla="*/ 195778 h 1505806"/>
                <a:gd name="connsiteX448" fmla="*/ 1166569 w 2017827"/>
                <a:gd name="connsiteY448" fmla="*/ 192313 h 1505806"/>
                <a:gd name="connsiteX449" fmla="*/ 1162530 w 2017827"/>
                <a:gd name="connsiteY449" fmla="*/ 188277 h 1505806"/>
                <a:gd name="connsiteX450" fmla="*/ 1159602 w 2017827"/>
                <a:gd name="connsiteY450" fmla="*/ 184374 h 1505806"/>
                <a:gd name="connsiteX451" fmla="*/ 1156876 w 2017827"/>
                <a:gd name="connsiteY451" fmla="*/ 183601 h 1505806"/>
                <a:gd name="connsiteX452" fmla="*/ 1147419 w 2017827"/>
                <a:gd name="connsiteY452" fmla="*/ 181851 h 1505806"/>
                <a:gd name="connsiteX453" fmla="*/ 1137861 w 2017827"/>
                <a:gd name="connsiteY453" fmla="*/ 180775 h 1505806"/>
                <a:gd name="connsiteX454" fmla="*/ 1125140 w 2017827"/>
                <a:gd name="connsiteY454" fmla="*/ 177949 h 1505806"/>
                <a:gd name="connsiteX455" fmla="*/ 1121102 w 2017827"/>
                <a:gd name="connsiteY455" fmla="*/ 177949 h 1505806"/>
                <a:gd name="connsiteX456" fmla="*/ 1115347 w 2017827"/>
                <a:gd name="connsiteY456" fmla="*/ 177041 h 1505806"/>
                <a:gd name="connsiteX457" fmla="*/ 1110029 w 2017827"/>
                <a:gd name="connsiteY457" fmla="*/ 176133 h 1505806"/>
                <a:gd name="connsiteX458" fmla="*/ 1106327 w 2017827"/>
                <a:gd name="connsiteY458" fmla="*/ 175056 h 1505806"/>
                <a:gd name="connsiteX459" fmla="*/ 1101447 w 2017827"/>
                <a:gd name="connsiteY459" fmla="*/ 173307 h 1505806"/>
                <a:gd name="connsiteX460" fmla="*/ 1098957 w 2017827"/>
                <a:gd name="connsiteY460" fmla="*/ 171255 h 1505806"/>
                <a:gd name="connsiteX461" fmla="*/ 1096466 w 2017827"/>
                <a:gd name="connsiteY461" fmla="*/ 169640 h 1505806"/>
                <a:gd name="connsiteX462" fmla="*/ 1092327 w 2017827"/>
                <a:gd name="connsiteY462" fmla="*/ 166377 h 1505806"/>
                <a:gd name="connsiteX463" fmla="*/ 1088726 w 2017827"/>
                <a:gd name="connsiteY463" fmla="*/ 163350 h 1505806"/>
                <a:gd name="connsiteX464" fmla="*/ 1085360 w 2017827"/>
                <a:gd name="connsiteY464" fmla="*/ 161600 h 1505806"/>
                <a:gd name="connsiteX465" fmla="*/ 1081355 w 2017827"/>
                <a:gd name="connsiteY465" fmla="*/ 159010 h 1505806"/>
                <a:gd name="connsiteX466" fmla="*/ 1078730 w 2017827"/>
                <a:gd name="connsiteY466" fmla="*/ 157362 h 1505806"/>
                <a:gd name="connsiteX467" fmla="*/ 1076442 w 2017827"/>
                <a:gd name="connsiteY467" fmla="*/ 155310 h 1505806"/>
                <a:gd name="connsiteX468" fmla="*/ 1072201 w 2017827"/>
                <a:gd name="connsiteY468" fmla="*/ 151845 h 1505806"/>
                <a:gd name="connsiteX469" fmla="*/ 1069812 w 2017827"/>
                <a:gd name="connsiteY469" fmla="*/ 150096 h 1505806"/>
                <a:gd name="connsiteX470" fmla="*/ 1066884 w 2017827"/>
                <a:gd name="connsiteY470" fmla="*/ 148245 h 1505806"/>
                <a:gd name="connsiteX471" fmla="*/ 1063081 w 2017827"/>
                <a:gd name="connsiteY471" fmla="*/ 145655 h 1505806"/>
                <a:gd name="connsiteX472" fmla="*/ 1059076 w 2017827"/>
                <a:gd name="connsiteY472" fmla="*/ 143267 h 1505806"/>
                <a:gd name="connsiteX473" fmla="*/ 1057764 w 2017827"/>
                <a:gd name="connsiteY473" fmla="*/ 143267 h 1505806"/>
                <a:gd name="connsiteX474" fmla="*/ 1054768 w 2017827"/>
                <a:gd name="connsiteY474" fmla="*/ 141753 h 1505806"/>
                <a:gd name="connsiteX475" fmla="*/ 1052985 w 2017827"/>
                <a:gd name="connsiteY475" fmla="*/ 141215 h 1505806"/>
                <a:gd name="connsiteX476" fmla="*/ 1051302 w 2017827"/>
                <a:gd name="connsiteY476" fmla="*/ 140777 h 1505806"/>
                <a:gd name="connsiteX477" fmla="*/ 1050932 w 2017827"/>
                <a:gd name="connsiteY477" fmla="*/ 140710 h 1505806"/>
                <a:gd name="connsiteX478" fmla="*/ 1049148 w 2017827"/>
                <a:gd name="connsiteY478" fmla="*/ 138759 h 1505806"/>
                <a:gd name="connsiteX479" fmla="*/ 1046321 w 2017827"/>
                <a:gd name="connsiteY479" fmla="*/ 136909 h 1505806"/>
                <a:gd name="connsiteX480" fmla="*/ 1044571 w 2017827"/>
                <a:gd name="connsiteY480" fmla="*/ 135967 h 1505806"/>
                <a:gd name="connsiteX481" fmla="*/ 1041037 w 2017827"/>
                <a:gd name="connsiteY481" fmla="*/ 136404 h 1505806"/>
                <a:gd name="connsiteX482" fmla="*/ 1039960 w 2017827"/>
                <a:gd name="connsiteY482" fmla="*/ 137043 h 1505806"/>
                <a:gd name="connsiteX483" fmla="*/ 1039388 w 2017827"/>
                <a:gd name="connsiteY483" fmla="*/ 137851 h 1505806"/>
                <a:gd name="connsiteX484" fmla="*/ 1039153 w 2017827"/>
                <a:gd name="connsiteY484" fmla="*/ 138994 h 1505806"/>
                <a:gd name="connsiteX485" fmla="*/ 1039388 w 2017827"/>
                <a:gd name="connsiteY485" fmla="*/ 140138 h 1505806"/>
                <a:gd name="connsiteX486" fmla="*/ 1039254 w 2017827"/>
                <a:gd name="connsiteY486" fmla="*/ 141349 h 1505806"/>
                <a:gd name="connsiteX487" fmla="*/ 1039254 w 2017827"/>
                <a:gd name="connsiteY487" fmla="*/ 142796 h 1505806"/>
                <a:gd name="connsiteX488" fmla="*/ 1037806 w 2017827"/>
                <a:gd name="connsiteY488" fmla="*/ 145420 h 1505806"/>
                <a:gd name="connsiteX489" fmla="*/ 1035484 w 2017827"/>
                <a:gd name="connsiteY489" fmla="*/ 147875 h 1505806"/>
                <a:gd name="connsiteX490" fmla="*/ 1033162 w 2017827"/>
                <a:gd name="connsiteY490" fmla="*/ 151643 h 1505806"/>
                <a:gd name="connsiteX491" fmla="*/ 1031277 w 2017827"/>
                <a:gd name="connsiteY491" fmla="*/ 153964 h 1505806"/>
                <a:gd name="connsiteX492" fmla="*/ 1029830 w 2017827"/>
                <a:gd name="connsiteY492" fmla="*/ 156151 h 1505806"/>
                <a:gd name="connsiteX493" fmla="*/ 1028080 w 2017827"/>
                <a:gd name="connsiteY493" fmla="*/ 159346 h 1505806"/>
                <a:gd name="connsiteX494" fmla="*/ 1024446 w 2017827"/>
                <a:gd name="connsiteY494" fmla="*/ 161802 h 1505806"/>
                <a:gd name="connsiteX495" fmla="*/ 1020239 w 2017827"/>
                <a:gd name="connsiteY495" fmla="*/ 165435 h 1505806"/>
                <a:gd name="connsiteX496" fmla="*/ 1014450 w 2017827"/>
                <a:gd name="connsiteY496" fmla="*/ 169775 h 1505806"/>
                <a:gd name="connsiteX497" fmla="*/ 1010815 w 2017827"/>
                <a:gd name="connsiteY497" fmla="*/ 174854 h 1505806"/>
                <a:gd name="connsiteX498" fmla="*/ 1008628 w 2017827"/>
                <a:gd name="connsiteY498" fmla="*/ 179362 h 1505806"/>
                <a:gd name="connsiteX499" fmla="*/ 1006743 w 2017827"/>
                <a:gd name="connsiteY499" fmla="*/ 185148 h 1505806"/>
                <a:gd name="connsiteX500" fmla="*/ 1003983 w 2017827"/>
                <a:gd name="connsiteY500" fmla="*/ 190665 h 1505806"/>
                <a:gd name="connsiteX501" fmla="*/ 1000080 w 2017827"/>
                <a:gd name="connsiteY501" fmla="*/ 197056 h 1505806"/>
                <a:gd name="connsiteX502" fmla="*/ 997185 w 2017827"/>
                <a:gd name="connsiteY502" fmla="*/ 203852 h 1505806"/>
                <a:gd name="connsiteX503" fmla="*/ 995435 w 2017827"/>
                <a:gd name="connsiteY503" fmla="*/ 207485 h 1505806"/>
                <a:gd name="connsiteX504" fmla="*/ 989781 w 2017827"/>
                <a:gd name="connsiteY504" fmla="*/ 212564 h 1505806"/>
                <a:gd name="connsiteX505" fmla="*/ 987459 w 2017827"/>
                <a:gd name="connsiteY505" fmla="*/ 217476 h 1505806"/>
                <a:gd name="connsiteX506" fmla="*/ 983555 w 2017827"/>
                <a:gd name="connsiteY506" fmla="*/ 222118 h 1505806"/>
                <a:gd name="connsiteX507" fmla="*/ 979214 w 2017827"/>
                <a:gd name="connsiteY507" fmla="*/ 229081 h 1505806"/>
                <a:gd name="connsiteX508" fmla="*/ 976319 w 2017827"/>
                <a:gd name="connsiteY508" fmla="*/ 231840 h 1505806"/>
                <a:gd name="connsiteX509" fmla="*/ 973863 w 2017827"/>
                <a:gd name="connsiteY509" fmla="*/ 235305 h 1505806"/>
                <a:gd name="connsiteX510" fmla="*/ 969521 w 2017827"/>
                <a:gd name="connsiteY510" fmla="*/ 238635 h 1505806"/>
                <a:gd name="connsiteX511" fmla="*/ 966055 w 2017827"/>
                <a:gd name="connsiteY511" fmla="*/ 242975 h 1505806"/>
                <a:gd name="connsiteX512" fmla="*/ 963867 w 2017827"/>
                <a:gd name="connsiteY512" fmla="*/ 246439 h 1505806"/>
                <a:gd name="connsiteX513" fmla="*/ 960098 w 2017827"/>
                <a:gd name="connsiteY513" fmla="*/ 249198 h 1505806"/>
                <a:gd name="connsiteX514" fmla="*/ 956631 w 2017827"/>
                <a:gd name="connsiteY514" fmla="*/ 252394 h 1505806"/>
                <a:gd name="connsiteX515" fmla="*/ 952896 w 2017827"/>
                <a:gd name="connsiteY515" fmla="*/ 257305 h 1505806"/>
                <a:gd name="connsiteX516" fmla="*/ 949093 w 2017827"/>
                <a:gd name="connsiteY516" fmla="*/ 261207 h 1505806"/>
                <a:gd name="connsiteX517" fmla="*/ 948790 w 2017827"/>
                <a:gd name="connsiteY517" fmla="*/ 265850 h 1505806"/>
                <a:gd name="connsiteX518" fmla="*/ 948655 w 2017827"/>
                <a:gd name="connsiteY518" fmla="*/ 270189 h 1505806"/>
                <a:gd name="connsiteX519" fmla="*/ 947511 w 2017827"/>
                <a:gd name="connsiteY519" fmla="*/ 276412 h 1505806"/>
                <a:gd name="connsiteX520" fmla="*/ 944920 w 2017827"/>
                <a:gd name="connsiteY520" fmla="*/ 279305 h 1505806"/>
                <a:gd name="connsiteX521" fmla="*/ 941723 w 2017827"/>
                <a:gd name="connsiteY521" fmla="*/ 282938 h 1505806"/>
                <a:gd name="connsiteX522" fmla="*/ 939838 w 2017827"/>
                <a:gd name="connsiteY522" fmla="*/ 286572 h 1505806"/>
                <a:gd name="connsiteX523" fmla="*/ 938391 w 2017827"/>
                <a:gd name="connsiteY523" fmla="*/ 288893 h 1505806"/>
                <a:gd name="connsiteX524" fmla="*/ 936944 w 2017827"/>
                <a:gd name="connsiteY524" fmla="*/ 291348 h 1505806"/>
                <a:gd name="connsiteX525" fmla="*/ 936506 w 2017827"/>
                <a:gd name="connsiteY525" fmla="*/ 295419 h 1505806"/>
                <a:gd name="connsiteX526" fmla="*/ 936506 w 2017827"/>
                <a:gd name="connsiteY526" fmla="*/ 298043 h 1505806"/>
                <a:gd name="connsiteX527" fmla="*/ 937314 w 2017827"/>
                <a:gd name="connsiteY527" fmla="*/ 301373 h 1505806"/>
                <a:gd name="connsiteX528" fmla="*/ 939131 w 2017827"/>
                <a:gd name="connsiteY528" fmla="*/ 304434 h 1505806"/>
                <a:gd name="connsiteX529" fmla="*/ 940881 w 2017827"/>
                <a:gd name="connsiteY529" fmla="*/ 305881 h 1505806"/>
                <a:gd name="connsiteX530" fmla="*/ 943338 w 2017827"/>
                <a:gd name="connsiteY530" fmla="*/ 308639 h 1505806"/>
                <a:gd name="connsiteX531" fmla="*/ 944045 w 2017827"/>
                <a:gd name="connsiteY531" fmla="*/ 311095 h 1505806"/>
                <a:gd name="connsiteX532" fmla="*/ 945795 w 2017827"/>
                <a:gd name="connsiteY532" fmla="*/ 314122 h 1505806"/>
                <a:gd name="connsiteX533" fmla="*/ 948992 w 2017827"/>
                <a:gd name="connsiteY533" fmla="*/ 318596 h 1505806"/>
                <a:gd name="connsiteX534" fmla="*/ 950304 w 2017827"/>
                <a:gd name="connsiteY534" fmla="*/ 320480 h 1505806"/>
                <a:gd name="connsiteX535" fmla="*/ 951752 w 2017827"/>
                <a:gd name="connsiteY535" fmla="*/ 323508 h 1505806"/>
                <a:gd name="connsiteX536" fmla="*/ 952761 w 2017827"/>
                <a:gd name="connsiteY536" fmla="*/ 330034 h 1505806"/>
                <a:gd name="connsiteX537" fmla="*/ 952761 w 2017827"/>
                <a:gd name="connsiteY537" fmla="*/ 333667 h 1505806"/>
                <a:gd name="connsiteX538" fmla="*/ 950439 w 2017827"/>
                <a:gd name="connsiteY538" fmla="*/ 334542 h 1505806"/>
                <a:gd name="connsiteX539" fmla="*/ 945795 w 2017827"/>
                <a:gd name="connsiteY539" fmla="*/ 335282 h 1505806"/>
                <a:gd name="connsiteX540" fmla="*/ 938121 w 2017827"/>
                <a:gd name="connsiteY540" fmla="*/ 335282 h 1505806"/>
                <a:gd name="connsiteX541" fmla="*/ 933780 w 2017827"/>
                <a:gd name="connsiteY541" fmla="*/ 334844 h 1505806"/>
                <a:gd name="connsiteX542" fmla="*/ 927991 w 2017827"/>
                <a:gd name="connsiteY542" fmla="*/ 332221 h 1505806"/>
                <a:gd name="connsiteX543" fmla="*/ 922775 w 2017827"/>
                <a:gd name="connsiteY543" fmla="*/ 330202 h 1505806"/>
                <a:gd name="connsiteX544" fmla="*/ 918871 w 2017827"/>
                <a:gd name="connsiteY544" fmla="*/ 329630 h 1505806"/>
                <a:gd name="connsiteX545" fmla="*/ 914967 w 2017827"/>
                <a:gd name="connsiteY545" fmla="*/ 327444 h 1505806"/>
                <a:gd name="connsiteX546" fmla="*/ 911063 w 2017827"/>
                <a:gd name="connsiteY546" fmla="*/ 324685 h 1505806"/>
                <a:gd name="connsiteX547" fmla="*/ 908304 w 2017827"/>
                <a:gd name="connsiteY547" fmla="*/ 323373 h 1505806"/>
                <a:gd name="connsiteX548" fmla="*/ 903962 w 2017827"/>
                <a:gd name="connsiteY548" fmla="*/ 318294 h 1505806"/>
                <a:gd name="connsiteX549" fmla="*/ 898173 w 2017827"/>
                <a:gd name="connsiteY549" fmla="*/ 312205 h 1505806"/>
                <a:gd name="connsiteX550" fmla="*/ 892250 w 2017827"/>
                <a:gd name="connsiteY550" fmla="*/ 311902 h 1505806"/>
                <a:gd name="connsiteX551" fmla="*/ 870644 w 2017827"/>
                <a:gd name="connsiteY551" fmla="*/ 311902 h 1505806"/>
                <a:gd name="connsiteX552" fmla="*/ 858192 w 2017827"/>
                <a:gd name="connsiteY552" fmla="*/ 311969 h 1505806"/>
                <a:gd name="connsiteX553" fmla="*/ 840086 w 2017827"/>
                <a:gd name="connsiteY553" fmla="*/ 311599 h 1505806"/>
                <a:gd name="connsiteX554" fmla="*/ 825311 w 2017827"/>
                <a:gd name="connsiteY554" fmla="*/ 309581 h 1505806"/>
                <a:gd name="connsiteX555" fmla="*/ 817066 w 2017827"/>
                <a:gd name="connsiteY555" fmla="*/ 309446 h 1505806"/>
                <a:gd name="connsiteX556" fmla="*/ 800407 w 2017827"/>
                <a:gd name="connsiteY556" fmla="*/ 309144 h 1505806"/>
                <a:gd name="connsiteX557" fmla="*/ 787652 w 2017827"/>
                <a:gd name="connsiteY557" fmla="*/ 310456 h 1505806"/>
                <a:gd name="connsiteX558" fmla="*/ 775906 w 2017827"/>
                <a:gd name="connsiteY558" fmla="*/ 310456 h 1505806"/>
                <a:gd name="connsiteX559" fmla="*/ 762714 w 2017827"/>
                <a:gd name="connsiteY559" fmla="*/ 309581 h 1505806"/>
                <a:gd name="connsiteX560" fmla="*/ 757060 w 2017827"/>
                <a:gd name="connsiteY560" fmla="*/ 306856 h 1505806"/>
                <a:gd name="connsiteX561" fmla="*/ 748949 w 2017827"/>
                <a:gd name="connsiteY561" fmla="*/ 307125 h 1505806"/>
                <a:gd name="connsiteX562" fmla="*/ 741545 w 2017827"/>
                <a:gd name="connsiteY562" fmla="*/ 307125 h 1505806"/>
                <a:gd name="connsiteX563" fmla="*/ 736194 w 2017827"/>
                <a:gd name="connsiteY563" fmla="*/ 310153 h 1505806"/>
                <a:gd name="connsiteX564" fmla="*/ 732290 w 2017827"/>
                <a:gd name="connsiteY564" fmla="*/ 314661 h 1505806"/>
                <a:gd name="connsiteX565" fmla="*/ 731415 w 2017827"/>
                <a:gd name="connsiteY565" fmla="*/ 317991 h 1505806"/>
                <a:gd name="connsiteX566" fmla="*/ 731415 w 2017827"/>
                <a:gd name="connsiteY566" fmla="*/ 323777 h 1505806"/>
                <a:gd name="connsiteX567" fmla="*/ 735184 w 2017827"/>
                <a:gd name="connsiteY567" fmla="*/ 327679 h 1505806"/>
                <a:gd name="connsiteX568" fmla="*/ 738954 w 2017827"/>
                <a:gd name="connsiteY568" fmla="*/ 329294 h 1505806"/>
                <a:gd name="connsiteX569" fmla="*/ 741983 w 2017827"/>
                <a:gd name="connsiteY569" fmla="*/ 330000 h 1505806"/>
                <a:gd name="connsiteX570" fmla="*/ 745617 w 2017827"/>
                <a:gd name="connsiteY570" fmla="*/ 331178 h 1505806"/>
                <a:gd name="connsiteX571" fmla="*/ 747637 w 2017827"/>
                <a:gd name="connsiteY571" fmla="*/ 331178 h 1505806"/>
                <a:gd name="connsiteX572" fmla="*/ 749521 w 2017827"/>
                <a:gd name="connsiteY572" fmla="*/ 334205 h 1505806"/>
                <a:gd name="connsiteX573" fmla="*/ 749084 w 2017827"/>
                <a:gd name="connsiteY573" fmla="*/ 336964 h 1505806"/>
                <a:gd name="connsiteX574" fmla="*/ 748646 w 2017827"/>
                <a:gd name="connsiteY574" fmla="*/ 341000 h 1505806"/>
                <a:gd name="connsiteX575" fmla="*/ 748343 w 2017827"/>
                <a:gd name="connsiteY575" fmla="*/ 344768 h 1505806"/>
                <a:gd name="connsiteX576" fmla="*/ 752685 w 2017827"/>
                <a:gd name="connsiteY576" fmla="*/ 348973 h 1505806"/>
                <a:gd name="connsiteX577" fmla="*/ 753829 w 2017827"/>
                <a:gd name="connsiteY577" fmla="*/ 355331 h 1505806"/>
                <a:gd name="connsiteX578" fmla="*/ 753829 w 2017827"/>
                <a:gd name="connsiteY578" fmla="*/ 361117 h 1505806"/>
                <a:gd name="connsiteX579" fmla="*/ 752516 w 2017827"/>
                <a:gd name="connsiteY579" fmla="*/ 367340 h 1505806"/>
                <a:gd name="connsiteX580" fmla="*/ 751675 w 2017827"/>
                <a:gd name="connsiteY580" fmla="*/ 372252 h 1505806"/>
                <a:gd name="connsiteX581" fmla="*/ 751641 w 2017827"/>
                <a:gd name="connsiteY581" fmla="*/ 378610 h 1505806"/>
                <a:gd name="connsiteX582" fmla="*/ 751641 w 2017827"/>
                <a:gd name="connsiteY582" fmla="*/ 382377 h 1505806"/>
                <a:gd name="connsiteX583" fmla="*/ 750194 w 2017827"/>
                <a:gd name="connsiteY583" fmla="*/ 388029 h 1505806"/>
                <a:gd name="connsiteX584" fmla="*/ 749353 w 2017827"/>
                <a:gd name="connsiteY584" fmla="*/ 397010 h 1505806"/>
                <a:gd name="connsiteX585" fmla="*/ 747468 w 2017827"/>
                <a:gd name="connsiteY585" fmla="*/ 402965 h 1505806"/>
                <a:gd name="connsiteX586" fmla="*/ 747165 w 2017827"/>
                <a:gd name="connsiteY586" fmla="*/ 409491 h 1505806"/>
                <a:gd name="connsiteX587" fmla="*/ 744540 w 2017827"/>
                <a:gd name="connsiteY587" fmla="*/ 413393 h 1505806"/>
                <a:gd name="connsiteX588" fmla="*/ 744103 w 2017827"/>
                <a:gd name="connsiteY588" fmla="*/ 422509 h 1505806"/>
                <a:gd name="connsiteX589" fmla="*/ 744406 w 2017827"/>
                <a:gd name="connsiteY589" fmla="*/ 427723 h 1505806"/>
                <a:gd name="connsiteX590" fmla="*/ 745415 w 2017827"/>
                <a:gd name="connsiteY590" fmla="*/ 434956 h 1505806"/>
                <a:gd name="connsiteX591" fmla="*/ 745718 w 2017827"/>
                <a:gd name="connsiteY591" fmla="*/ 439598 h 1505806"/>
                <a:gd name="connsiteX592" fmla="*/ 745281 w 2017827"/>
                <a:gd name="connsiteY592" fmla="*/ 444812 h 1505806"/>
                <a:gd name="connsiteX593" fmla="*/ 745281 w 2017827"/>
                <a:gd name="connsiteY593" fmla="*/ 448008 h 1505806"/>
                <a:gd name="connsiteX594" fmla="*/ 746526 w 2017827"/>
                <a:gd name="connsiteY594" fmla="*/ 452650 h 1505806"/>
                <a:gd name="connsiteX595" fmla="*/ 746896 w 2017827"/>
                <a:gd name="connsiteY595" fmla="*/ 458436 h 1505806"/>
                <a:gd name="connsiteX596" fmla="*/ 746459 w 2017827"/>
                <a:gd name="connsiteY596" fmla="*/ 465097 h 1505806"/>
                <a:gd name="connsiteX597" fmla="*/ 745146 w 2017827"/>
                <a:gd name="connsiteY597" fmla="*/ 470614 h 1505806"/>
                <a:gd name="connsiteX598" fmla="*/ 746459 w 2017827"/>
                <a:gd name="connsiteY598" fmla="*/ 474819 h 1505806"/>
                <a:gd name="connsiteX599" fmla="*/ 747031 w 2017827"/>
                <a:gd name="connsiteY599" fmla="*/ 478452 h 1505806"/>
                <a:gd name="connsiteX600" fmla="*/ 744002 w 2017827"/>
                <a:gd name="connsiteY600" fmla="*/ 484541 h 1505806"/>
                <a:gd name="connsiteX601" fmla="*/ 745449 w 2017827"/>
                <a:gd name="connsiteY601" fmla="*/ 486559 h 1505806"/>
                <a:gd name="connsiteX602" fmla="*/ 746593 w 2017827"/>
                <a:gd name="connsiteY602" fmla="*/ 489452 h 1505806"/>
                <a:gd name="connsiteX603" fmla="*/ 746896 w 2017827"/>
                <a:gd name="connsiteY603" fmla="*/ 491033 h 1505806"/>
                <a:gd name="connsiteX604" fmla="*/ 746459 w 2017827"/>
                <a:gd name="connsiteY604" fmla="*/ 495104 h 1505806"/>
                <a:gd name="connsiteX605" fmla="*/ 746762 w 2017827"/>
                <a:gd name="connsiteY605" fmla="*/ 500755 h 1505806"/>
                <a:gd name="connsiteX606" fmla="*/ 743295 w 2017827"/>
                <a:gd name="connsiteY606" fmla="*/ 506104 h 1505806"/>
                <a:gd name="connsiteX607" fmla="*/ 746055 w 2017827"/>
                <a:gd name="connsiteY607" fmla="*/ 510881 h 1505806"/>
                <a:gd name="connsiteX608" fmla="*/ 749252 w 2017827"/>
                <a:gd name="connsiteY608" fmla="*/ 514514 h 1505806"/>
                <a:gd name="connsiteX609" fmla="*/ 749252 w 2017827"/>
                <a:gd name="connsiteY609" fmla="*/ 518416 h 1505806"/>
                <a:gd name="connsiteX610" fmla="*/ 743295 w 2017827"/>
                <a:gd name="connsiteY610" fmla="*/ 518416 h 1505806"/>
                <a:gd name="connsiteX611" fmla="*/ 741276 w 2017827"/>
                <a:gd name="connsiteY611" fmla="*/ 520165 h 1505806"/>
                <a:gd name="connsiteX612" fmla="*/ 738516 w 2017827"/>
                <a:gd name="connsiteY612" fmla="*/ 521612 h 1505806"/>
                <a:gd name="connsiteX613" fmla="*/ 736497 w 2017827"/>
                <a:gd name="connsiteY613" fmla="*/ 521612 h 1505806"/>
                <a:gd name="connsiteX614" fmla="*/ 730978 w 2017827"/>
                <a:gd name="connsiteY614" fmla="*/ 523024 h 1505806"/>
                <a:gd name="connsiteX615" fmla="*/ 728958 w 2017827"/>
                <a:gd name="connsiteY615" fmla="*/ 523058 h 1505806"/>
                <a:gd name="connsiteX616" fmla="*/ 725626 w 2017827"/>
                <a:gd name="connsiteY616" fmla="*/ 523058 h 1505806"/>
                <a:gd name="connsiteX617" fmla="*/ 722598 w 2017827"/>
                <a:gd name="connsiteY617" fmla="*/ 523630 h 1505806"/>
                <a:gd name="connsiteX618" fmla="*/ 718963 w 2017827"/>
                <a:gd name="connsiteY618" fmla="*/ 524370 h 1505806"/>
                <a:gd name="connsiteX619" fmla="*/ 715631 w 2017827"/>
                <a:gd name="connsiteY619" fmla="*/ 526119 h 1505806"/>
                <a:gd name="connsiteX620" fmla="*/ 714319 w 2017827"/>
                <a:gd name="connsiteY620" fmla="*/ 527129 h 1505806"/>
                <a:gd name="connsiteX621" fmla="*/ 711862 w 2017827"/>
                <a:gd name="connsiteY621" fmla="*/ 529887 h 1505806"/>
                <a:gd name="connsiteX622" fmla="*/ 710280 w 2017827"/>
                <a:gd name="connsiteY622" fmla="*/ 532040 h 1505806"/>
                <a:gd name="connsiteX623" fmla="*/ 709977 w 2017827"/>
                <a:gd name="connsiteY623" fmla="*/ 533924 h 1505806"/>
                <a:gd name="connsiteX624" fmla="*/ 710280 w 2017827"/>
                <a:gd name="connsiteY624" fmla="*/ 535068 h 1505806"/>
                <a:gd name="connsiteX625" fmla="*/ 713746 w 2017827"/>
                <a:gd name="connsiteY625" fmla="*/ 539273 h 1505806"/>
                <a:gd name="connsiteX626" fmla="*/ 716506 w 2017827"/>
                <a:gd name="connsiteY626" fmla="*/ 540584 h 1505806"/>
                <a:gd name="connsiteX627" fmla="*/ 716506 w 2017827"/>
                <a:gd name="connsiteY627" fmla="*/ 541728 h 1505806"/>
                <a:gd name="connsiteX628" fmla="*/ 714756 w 2017827"/>
                <a:gd name="connsiteY628" fmla="*/ 543612 h 1505806"/>
                <a:gd name="connsiteX629" fmla="*/ 712434 w 2017827"/>
                <a:gd name="connsiteY629" fmla="*/ 545361 h 1505806"/>
                <a:gd name="connsiteX630" fmla="*/ 708799 w 2017827"/>
                <a:gd name="connsiteY630" fmla="*/ 545361 h 1505806"/>
                <a:gd name="connsiteX631" fmla="*/ 706208 w 2017827"/>
                <a:gd name="connsiteY631" fmla="*/ 546505 h 1505806"/>
                <a:gd name="connsiteX632" fmla="*/ 702876 w 2017827"/>
                <a:gd name="connsiteY632" fmla="*/ 546505 h 1505806"/>
                <a:gd name="connsiteX633" fmla="*/ 698265 w 2017827"/>
                <a:gd name="connsiteY633" fmla="*/ 547581 h 1505806"/>
                <a:gd name="connsiteX634" fmla="*/ 695337 w 2017827"/>
                <a:gd name="connsiteY634" fmla="*/ 549196 h 1505806"/>
                <a:gd name="connsiteX635" fmla="*/ 691433 w 2017827"/>
                <a:gd name="connsiteY635" fmla="*/ 550609 h 1505806"/>
                <a:gd name="connsiteX636" fmla="*/ 688808 w 2017827"/>
                <a:gd name="connsiteY636" fmla="*/ 551786 h 1505806"/>
                <a:gd name="connsiteX637" fmla="*/ 686183 w 2017827"/>
                <a:gd name="connsiteY637" fmla="*/ 553536 h 1505806"/>
                <a:gd name="connsiteX638" fmla="*/ 683457 w 2017827"/>
                <a:gd name="connsiteY638" fmla="*/ 555823 h 1505806"/>
                <a:gd name="connsiteX639" fmla="*/ 681707 w 2017827"/>
                <a:gd name="connsiteY639" fmla="*/ 557875 h 1505806"/>
                <a:gd name="connsiteX640" fmla="*/ 679082 w 2017827"/>
                <a:gd name="connsiteY640" fmla="*/ 562114 h 1505806"/>
                <a:gd name="connsiteX641" fmla="*/ 677770 w 2017827"/>
                <a:gd name="connsiteY641" fmla="*/ 564704 h 1505806"/>
                <a:gd name="connsiteX642" fmla="*/ 675582 w 2017827"/>
                <a:gd name="connsiteY642" fmla="*/ 568741 h 1505806"/>
                <a:gd name="connsiteX643" fmla="*/ 674505 w 2017827"/>
                <a:gd name="connsiteY643" fmla="*/ 571230 h 1505806"/>
                <a:gd name="connsiteX644" fmla="*/ 673967 w 2017827"/>
                <a:gd name="connsiteY644" fmla="*/ 575132 h 1505806"/>
                <a:gd name="connsiteX645" fmla="*/ 673967 w 2017827"/>
                <a:gd name="connsiteY645" fmla="*/ 580447 h 1505806"/>
                <a:gd name="connsiteX646" fmla="*/ 675279 w 2017827"/>
                <a:gd name="connsiteY646" fmla="*/ 585897 h 1505806"/>
                <a:gd name="connsiteX647" fmla="*/ 676726 w 2017827"/>
                <a:gd name="connsiteY647" fmla="*/ 589799 h 1505806"/>
                <a:gd name="connsiteX648" fmla="*/ 676693 w 2017827"/>
                <a:gd name="connsiteY648" fmla="*/ 593062 h 1505806"/>
                <a:gd name="connsiteX649" fmla="*/ 676693 w 2017827"/>
                <a:gd name="connsiteY649" fmla="*/ 596224 h 1505806"/>
                <a:gd name="connsiteX650" fmla="*/ 676154 w 2017827"/>
                <a:gd name="connsiteY650" fmla="*/ 599151 h 1505806"/>
                <a:gd name="connsiteX651" fmla="*/ 675279 w 2017827"/>
                <a:gd name="connsiteY651" fmla="*/ 601640 h 1505806"/>
                <a:gd name="connsiteX652" fmla="*/ 673967 w 2017827"/>
                <a:gd name="connsiteY652" fmla="*/ 602717 h 1505806"/>
                <a:gd name="connsiteX653" fmla="*/ 672116 w 2017827"/>
                <a:gd name="connsiteY653" fmla="*/ 605307 h 1505806"/>
                <a:gd name="connsiteX654" fmla="*/ 671140 w 2017827"/>
                <a:gd name="connsiteY654" fmla="*/ 606384 h 1505806"/>
                <a:gd name="connsiteX655" fmla="*/ 669861 w 2017827"/>
                <a:gd name="connsiteY655" fmla="*/ 607796 h 1505806"/>
                <a:gd name="connsiteX656" fmla="*/ 669726 w 2017827"/>
                <a:gd name="connsiteY656" fmla="*/ 609546 h 1505806"/>
                <a:gd name="connsiteX657" fmla="*/ 669726 w 2017827"/>
                <a:gd name="connsiteY657" fmla="*/ 612270 h 1505806"/>
                <a:gd name="connsiteX658" fmla="*/ 668750 w 2017827"/>
                <a:gd name="connsiteY658" fmla="*/ 614558 h 1505806"/>
                <a:gd name="connsiteX659" fmla="*/ 667438 w 2017827"/>
                <a:gd name="connsiteY659" fmla="*/ 616946 h 1505806"/>
                <a:gd name="connsiteX660" fmla="*/ 665048 w 2017827"/>
                <a:gd name="connsiteY660" fmla="*/ 619133 h 1505806"/>
                <a:gd name="connsiteX661" fmla="*/ 662120 w 2017827"/>
                <a:gd name="connsiteY661" fmla="*/ 622161 h 1505806"/>
                <a:gd name="connsiteX662" fmla="*/ 660067 w 2017827"/>
                <a:gd name="connsiteY662" fmla="*/ 623775 h 1505806"/>
                <a:gd name="connsiteX663" fmla="*/ 657139 w 2017827"/>
                <a:gd name="connsiteY663" fmla="*/ 625726 h 1505806"/>
                <a:gd name="connsiteX664" fmla="*/ 651485 w 2017827"/>
                <a:gd name="connsiteY664" fmla="*/ 626937 h 1505806"/>
                <a:gd name="connsiteX665" fmla="*/ 647581 w 2017827"/>
                <a:gd name="connsiteY665" fmla="*/ 625524 h 1505806"/>
                <a:gd name="connsiteX666" fmla="*/ 643678 w 2017827"/>
                <a:gd name="connsiteY666" fmla="*/ 625524 h 1505806"/>
                <a:gd name="connsiteX667" fmla="*/ 641288 w 2017827"/>
                <a:gd name="connsiteY667" fmla="*/ 625524 h 1505806"/>
                <a:gd name="connsiteX668" fmla="*/ 639774 w 2017827"/>
                <a:gd name="connsiteY668" fmla="*/ 628350 h 1505806"/>
                <a:gd name="connsiteX669" fmla="*/ 636072 w 2017827"/>
                <a:gd name="connsiteY669" fmla="*/ 629965 h 1505806"/>
                <a:gd name="connsiteX670" fmla="*/ 630653 w 2017827"/>
                <a:gd name="connsiteY670" fmla="*/ 630503 h 1505806"/>
                <a:gd name="connsiteX671" fmla="*/ 620860 w 2017827"/>
                <a:gd name="connsiteY671" fmla="*/ 631580 h 1505806"/>
                <a:gd name="connsiteX672" fmla="*/ 614566 w 2017827"/>
                <a:gd name="connsiteY672" fmla="*/ 635179 h 1505806"/>
                <a:gd name="connsiteX673" fmla="*/ 608710 w 2017827"/>
                <a:gd name="connsiteY673" fmla="*/ 636794 h 1505806"/>
                <a:gd name="connsiteX674" fmla="*/ 601306 w 2017827"/>
                <a:gd name="connsiteY674" fmla="*/ 638980 h 1505806"/>
                <a:gd name="connsiteX675" fmla="*/ 595888 w 2017827"/>
                <a:gd name="connsiteY675" fmla="*/ 640158 h 1505806"/>
                <a:gd name="connsiteX676" fmla="*/ 590335 w 2017827"/>
                <a:gd name="connsiteY676" fmla="*/ 641133 h 1505806"/>
                <a:gd name="connsiteX677" fmla="*/ 585220 w 2017827"/>
                <a:gd name="connsiteY677" fmla="*/ 641772 h 1505806"/>
                <a:gd name="connsiteX678" fmla="*/ 578590 w 2017827"/>
                <a:gd name="connsiteY678" fmla="*/ 642412 h 1505806"/>
                <a:gd name="connsiteX679" fmla="*/ 572835 w 2017827"/>
                <a:gd name="connsiteY679" fmla="*/ 642412 h 1505806"/>
                <a:gd name="connsiteX680" fmla="*/ 561964 w 2017827"/>
                <a:gd name="connsiteY680" fmla="*/ 643488 h 1505806"/>
                <a:gd name="connsiteX681" fmla="*/ 553147 w 2017827"/>
                <a:gd name="connsiteY681" fmla="*/ 648265 h 1505806"/>
                <a:gd name="connsiteX682" fmla="*/ 544228 w 2017827"/>
                <a:gd name="connsiteY682" fmla="*/ 651965 h 1505806"/>
                <a:gd name="connsiteX683" fmla="*/ 526526 w 2017827"/>
                <a:gd name="connsiteY683" fmla="*/ 651427 h 1505806"/>
                <a:gd name="connsiteX684" fmla="*/ 515756 w 2017827"/>
                <a:gd name="connsiteY684" fmla="*/ 652840 h 1505806"/>
                <a:gd name="connsiteX685" fmla="*/ 509564 w 2017827"/>
                <a:gd name="connsiteY685" fmla="*/ 654320 h 1505806"/>
                <a:gd name="connsiteX686" fmla="*/ 500982 w 2017827"/>
                <a:gd name="connsiteY686" fmla="*/ 658054 h 1505806"/>
                <a:gd name="connsiteX687" fmla="*/ 492939 w 2017827"/>
                <a:gd name="connsiteY687" fmla="*/ 658256 h 1505806"/>
                <a:gd name="connsiteX688" fmla="*/ 484794 w 2017827"/>
                <a:gd name="connsiteY688" fmla="*/ 657919 h 1505806"/>
                <a:gd name="connsiteX689" fmla="*/ 478501 w 2017827"/>
                <a:gd name="connsiteY689" fmla="*/ 655968 h 1505806"/>
                <a:gd name="connsiteX690" fmla="*/ 470457 w 2017827"/>
                <a:gd name="connsiteY690" fmla="*/ 654354 h 1505806"/>
                <a:gd name="connsiteX691" fmla="*/ 463390 w 2017827"/>
                <a:gd name="connsiteY691" fmla="*/ 657617 h 1505806"/>
                <a:gd name="connsiteX692" fmla="*/ 455986 w 2017827"/>
                <a:gd name="connsiteY692" fmla="*/ 659030 h 1505806"/>
                <a:gd name="connsiteX693" fmla="*/ 452284 w 2017827"/>
                <a:gd name="connsiteY693" fmla="*/ 661115 h 1505806"/>
                <a:gd name="connsiteX694" fmla="*/ 446967 w 2017827"/>
                <a:gd name="connsiteY694" fmla="*/ 661115 h 1505806"/>
                <a:gd name="connsiteX695" fmla="*/ 437072 w 2017827"/>
                <a:gd name="connsiteY695" fmla="*/ 661923 h 1505806"/>
                <a:gd name="connsiteX696" fmla="*/ 427178 w 2017827"/>
                <a:gd name="connsiteY696" fmla="*/ 663066 h 1505806"/>
                <a:gd name="connsiteX697" fmla="*/ 419908 w 2017827"/>
                <a:gd name="connsiteY697" fmla="*/ 663705 h 1505806"/>
                <a:gd name="connsiteX698" fmla="*/ 414490 w 2017827"/>
                <a:gd name="connsiteY698" fmla="*/ 666195 h 1505806"/>
                <a:gd name="connsiteX699" fmla="*/ 408937 w 2017827"/>
                <a:gd name="connsiteY699" fmla="*/ 667810 h 1505806"/>
                <a:gd name="connsiteX700" fmla="*/ 401331 w 2017827"/>
                <a:gd name="connsiteY700" fmla="*/ 670198 h 1505806"/>
                <a:gd name="connsiteX701" fmla="*/ 392076 w 2017827"/>
                <a:gd name="connsiteY701" fmla="*/ 670837 h 1505806"/>
                <a:gd name="connsiteX702" fmla="*/ 387095 w 2017827"/>
                <a:gd name="connsiteY702" fmla="*/ 670602 h 1505806"/>
                <a:gd name="connsiteX703" fmla="*/ 378412 w 2017827"/>
                <a:gd name="connsiteY703" fmla="*/ 668751 h 1505806"/>
                <a:gd name="connsiteX704" fmla="*/ 373633 w 2017827"/>
                <a:gd name="connsiteY704" fmla="*/ 667103 h 1505806"/>
                <a:gd name="connsiteX705" fmla="*/ 369931 w 2017827"/>
                <a:gd name="connsiteY705" fmla="*/ 666027 h 1505806"/>
                <a:gd name="connsiteX706" fmla="*/ 365926 w 2017827"/>
                <a:gd name="connsiteY706" fmla="*/ 663537 h 1505806"/>
                <a:gd name="connsiteX707" fmla="*/ 363739 w 2017827"/>
                <a:gd name="connsiteY707" fmla="*/ 663100 h 1505806"/>
                <a:gd name="connsiteX708" fmla="*/ 358421 w 2017827"/>
                <a:gd name="connsiteY708" fmla="*/ 662461 h 1505806"/>
                <a:gd name="connsiteX709" fmla="*/ 355056 w 2017827"/>
                <a:gd name="connsiteY709" fmla="*/ 663672 h 1505806"/>
                <a:gd name="connsiteX710" fmla="*/ 348426 w 2017827"/>
                <a:gd name="connsiteY710" fmla="*/ 665186 h 1505806"/>
                <a:gd name="connsiteX711" fmla="*/ 345060 w 2017827"/>
                <a:gd name="connsiteY711" fmla="*/ 667036 h 1505806"/>
                <a:gd name="connsiteX712" fmla="*/ 342133 w 2017827"/>
                <a:gd name="connsiteY712" fmla="*/ 669761 h 1505806"/>
                <a:gd name="connsiteX713" fmla="*/ 338330 w 2017827"/>
                <a:gd name="connsiteY713" fmla="*/ 674235 h 1505806"/>
                <a:gd name="connsiteX714" fmla="*/ 332238 w 2017827"/>
                <a:gd name="connsiteY714" fmla="*/ 677700 h 1505806"/>
                <a:gd name="connsiteX715" fmla="*/ 325406 w 2017827"/>
                <a:gd name="connsiteY715" fmla="*/ 684966 h 1505806"/>
                <a:gd name="connsiteX716" fmla="*/ 322243 w 2017827"/>
                <a:gd name="connsiteY716" fmla="*/ 687455 h 1505806"/>
                <a:gd name="connsiteX717" fmla="*/ 320728 w 2017827"/>
                <a:gd name="connsiteY717" fmla="*/ 690180 h 1505806"/>
                <a:gd name="connsiteX718" fmla="*/ 315949 w 2017827"/>
                <a:gd name="connsiteY718" fmla="*/ 696605 h 1505806"/>
                <a:gd name="connsiteX719" fmla="*/ 312920 w 2017827"/>
                <a:gd name="connsiteY719" fmla="*/ 700608 h 1505806"/>
                <a:gd name="connsiteX720" fmla="*/ 310194 w 2017827"/>
                <a:gd name="connsiteY720" fmla="*/ 702660 h 1505806"/>
                <a:gd name="connsiteX721" fmla="*/ 307906 w 2017827"/>
                <a:gd name="connsiteY721" fmla="*/ 703972 h 1505806"/>
                <a:gd name="connsiteX722" fmla="*/ 304742 w 2017827"/>
                <a:gd name="connsiteY722" fmla="*/ 707975 h 1505806"/>
                <a:gd name="connsiteX723" fmla="*/ 302992 w 2017827"/>
                <a:gd name="connsiteY723" fmla="*/ 710700 h 1505806"/>
                <a:gd name="connsiteX724" fmla="*/ 299627 w 2017827"/>
                <a:gd name="connsiteY724" fmla="*/ 714838 h 1505806"/>
                <a:gd name="connsiteX725" fmla="*/ 294511 w 2017827"/>
                <a:gd name="connsiteY725" fmla="*/ 718000 h 1505806"/>
                <a:gd name="connsiteX726" fmla="*/ 289295 w 2017827"/>
                <a:gd name="connsiteY726" fmla="*/ 717226 h 1505806"/>
                <a:gd name="connsiteX727" fmla="*/ 287006 w 2017827"/>
                <a:gd name="connsiteY727" fmla="*/ 714501 h 1505806"/>
                <a:gd name="connsiteX728" fmla="*/ 284617 w 2017827"/>
                <a:gd name="connsiteY728" fmla="*/ 713728 h 1505806"/>
                <a:gd name="connsiteX729" fmla="*/ 281352 w 2017827"/>
                <a:gd name="connsiteY729" fmla="*/ 712853 h 1505806"/>
                <a:gd name="connsiteX730" fmla="*/ 275799 w 2017827"/>
                <a:gd name="connsiteY730" fmla="*/ 710902 h 1505806"/>
                <a:gd name="connsiteX731" fmla="*/ 269708 w 2017827"/>
                <a:gd name="connsiteY731" fmla="*/ 709691 h 1505806"/>
                <a:gd name="connsiteX732" fmla="*/ 265265 w 2017827"/>
                <a:gd name="connsiteY732" fmla="*/ 709691 h 1505806"/>
                <a:gd name="connsiteX733" fmla="*/ 259813 w 2017827"/>
                <a:gd name="connsiteY733" fmla="*/ 709758 h 1505806"/>
                <a:gd name="connsiteX734" fmla="*/ 250457 w 2017827"/>
                <a:gd name="connsiteY734" fmla="*/ 710801 h 1505806"/>
                <a:gd name="connsiteX735" fmla="*/ 243626 w 2017827"/>
                <a:gd name="connsiteY735" fmla="*/ 710801 h 1505806"/>
                <a:gd name="connsiteX736" fmla="*/ 238510 w 2017827"/>
                <a:gd name="connsiteY736" fmla="*/ 709186 h 1505806"/>
                <a:gd name="connsiteX737" fmla="*/ 234471 w 2017827"/>
                <a:gd name="connsiteY737" fmla="*/ 704948 h 1505806"/>
                <a:gd name="connsiteX738" fmla="*/ 233933 w 2017827"/>
                <a:gd name="connsiteY738" fmla="*/ 702559 h 1505806"/>
                <a:gd name="connsiteX739" fmla="*/ 234270 w 2017827"/>
                <a:gd name="connsiteY739" fmla="*/ 698523 h 1505806"/>
                <a:gd name="connsiteX740" fmla="*/ 235246 w 2017827"/>
                <a:gd name="connsiteY740" fmla="*/ 691021 h 1505806"/>
                <a:gd name="connsiteX741" fmla="*/ 236558 w 2017827"/>
                <a:gd name="connsiteY741" fmla="*/ 688733 h 1505806"/>
                <a:gd name="connsiteX742" fmla="*/ 237871 w 2017827"/>
                <a:gd name="connsiteY742" fmla="*/ 685369 h 1505806"/>
                <a:gd name="connsiteX743" fmla="*/ 237770 w 2017827"/>
                <a:gd name="connsiteY743" fmla="*/ 682443 h 1505806"/>
                <a:gd name="connsiteX744" fmla="*/ 237332 w 2017827"/>
                <a:gd name="connsiteY744" fmla="*/ 677868 h 1505806"/>
                <a:gd name="connsiteX745" fmla="*/ 236255 w 2017827"/>
                <a:gd name="connsiteY745" fmla="*/ 673629 h 1505806"/>
                <a:gd name="connsiteX746" fmla="*/ 233327 w 2017827"/>
                <a:gd name="connsiteY746" fmla="*/ 670703 h 1505806"/>
                <a:gd name="connsiteX747" fmla="*/ 230298 w 2017827"/>
                <a:gd name="connsiteY747" fmla="*/ 668852 h 1505806"/>
                <a:gd name="connsiteX748" fmla="*/ 227370 w 2017827"/>
                <a:gd name="connsiteY748" fmla="*/ 667776 h 1505806"/>
                <a:gd name="connsiteX749" fmla="*/ 224644 w 2017827"/>
                <a:gd name="connsiteY749" fmla="*/ 667675 h 1505806"/>
                <a:gd name="connsiteX750" fmla="*/ 221615 w 2017827"/>
                <a:gd name="connsiteY750" fmla="*/ 668112 h 1505806"/>
                <a:gd name="connsiteX751" fmla="*/ 220303 w 2017827"/>
                <a:gd name="connsiteY751" fmla="*/ 670299 h 1505806"/>
                <a:gd name="connsiteX752" fmla="*/ 218115 w 2017827"/>
                <a:gd name="connsiteY752" fmla="*/ 672687 h 1505806"/>
                <a:gd name="connsiteX753" fmla="*/ 216163 w 2017827"/>
                <a:gd name="connsiteY753" fmla="*/ 673562 h 1505806"/>
                <a:gd name="connsiteX754" fmla="*/ 213000 w 2017827"/>
                <a:gd name="connsiteY754" fmla="*/ 674437 h 1505806"/>
                <a:gd name="connsiteX755" fmla="*/ 207884 w 2017827"/>
                <a:gd name="connsiteY755" fmla="*/ 674874 h 1505806"/>
                <a:gd name="connsiteX756" fmla="*/ 203004 w 2017827"/>
                <a:gd name="connsiteY756" fmla="*/ 674874 h 1505806"/>
                <a:gd name="connsiteX757" fmla="*/ 198865 w 2017827"/>
                <a:gd name="connsiteY757" fmla="*/ 674100 h 1505806"/>
                <a:gd name="connsiteX758" fmla="*/ 191697 w 2017827"/>
                <a:gd name="connsiteY758" fmla="*/ 676724 h 1505806"/>
                <a:gd name="connsiteX759" fmla="*/ 189509 w 2017827"/>
                <a:gd name="connsiteY759" fmla="*/ 676926 h 1505806"/>
                <a:gd name="connsiteX760" fmla="*/ 184831 w 2017827"/>
                <a:gd name="connsiteY760" fmla="*/ 673226 h 1505806"/>
                <a:gd name="connsiteX761" fmla="*/ 182105 w 2017827"/>
                <a:gd name="connsiteY761" fmla="*/ 670501 h 1505806"/>
                <a:gd name="connsiteX762" fmla="*/ 178639 w 2017827"/>
                <a:gd name="connsiteY762" fmla="*/ 667036 h 1505806"/>
                <a:gd name="connsiteX763" fmla="*/ 177225 w 2017827"/>
                <a:gd name="connsiteY763" fmla="*/ 664984 h 1505806"/>
                <a:gd name="connsiteX764" fmla="*/ 175172 w 2017827"/>
                <a:gd name="connsiteY764" fmla="*/ 662932 h 1505806"/>
                <a:gd name="connsiteX765" fmla="*/ 173119 w 2017827"/>
                <a:gd name="connsiteY765" fmla="*/ 660005 h 1505806"/>
                <a:gd name="connsiteX766" fmla="*/ 171706 w 2017827"/>
                <a:gd name="connsiteY766" fmla="*/ 659231 h 1505806"/>
                <a:gd name="connsiteX767" fmla="*/ 168980 w 2017827"/>
                <a:gd name="connsiteY767" fmla="*/ 658357 h 1505806"/>
                <a:gd name="connsiteX768" fmla="*/ 167364 w 2017827"/>
                <a:gd name="connsiteY768" fmla="*/ 658895 h 1505806"/>
                <a:gd name="connsiteX769" fmla="*/ 164436 w 2017827"/>
                <a:gd name="connsiteY769" fmla="*/ 661082 h 1505806"/>
                <a:gd name="connsiteX770" fmla="*/ 162585 w 2017827"/>
                <a:gd name="connsiteY770" fmla="*/ 663369 h 1505806"/>
                <a:gd name="connsiteX771" fmla="*/ 162148 w 2017827"/>
                <a:gd name="connsiteY771" fmla="*/ 666531 h 1505806"/>
                <a:gd name="connsiteX772" fmla="*/ 163124 w 2017827"/>
                <a:gd name="connsiteY772" fmla="*/ 670332 h 1505806"/>
                <a:gd name="connsiteX773" fmla="*/ 161946 w 2017827"/>
                <a:gd name="connsiteY773" fmla="*/ 674033 h 1505806"/>
                <a:gd name="connsiteX774" fmla="*/ 160633 w 2017827"/>
                <a:gd name="connsiteY774" fmla="*/ 675883 h 1505806"/>
                <a:gd name="connsiteX775" fmla="*/ 158042 w 2017827"/>
                <a:gd name="connsiteY775" fmla="*/ 676926 h 1505806"/>
                <a:gd name="connsiteX776" fmla="*/ 152624 w 2017827"/>
                <a:gd name="connsiteY776" fmla="*/ 676959 h 1505806"/>
                <a:gd name="connsiteX777" fmla="*/ 149023 w 2017827"/>
                <a:gd name="connsiteY777" fmla="*/ 676959 h 1505806"/>
                <a:gd name="connsiteX778" fmla="*/ 145220 w 2017827"/>
                <a:gd name="connsiteY778" fmla="*/ 676959 h 1505806"/>
                <a:gd name="connsiteX779" fmla="*/ 142056 w 2017827"/>
                <a:gd name="connsiteY779" fmla="*/ 677834 h 1505806"/>
                <a:gd name="connsiteX780" fmla="*/ 139027 w 2017827"/>
                <a:gd name="connsiteY780" fmla="*/ 679348 h 1505806"/>
                <a:gd name="connsiteX781" fmla="*/ 136638 w 2017827"/>
                <a:gd name="connsiteY781" fmla="*/ 680862 h 1505806"/>
                <a:gd name="connsiteX782" fmla="*/ 133037 w 2017827"/>
                <a:gd name="connsiteY782" fmla="*/ 683351 h 1505806"/>
                <a:gd name="connsiteX783" fmla="*/ 127921 w 2017827"/>
                <a:gd name="connsiteY783" fmla="*/ 684764 h 1505806"/>
                <a:gd name="connsiteX784" fmla="*/ 123883 w 2017827"/>
                <a:gd name="connsiteY784" fmla="*/ 685403 h 1505806"/>
                <a:gd name="connsiteX785" fmla="*/ 120955 w 2017827"/>
                <a:gd name="connsiteY785" fmla="*/ 686177 h 1505806"/>
                <a:gd name="connsiteX786" fmla="*/ 117051 w 2017827"/>
                <a:gd name="connsiteY786" fmla="*/ 686816 h 1505806"/>
                <a:gd name="connsiteX787" fmla="*/ 113046 w 2017827"/>
                <a:gd name="connsiteY787" fmla="*/ 686816 h 1505806"/>
                <a:gd name="connsiteX788" fmla="*/ 109243 w 2017827"/>
                <a:gd name="connsiteY788" fmla="*/ 686614 h 1505806"/>
                <a:gd name="connsiteX789" fmla="*/ 104666 w 2017827"/>
                <a:gd name="connsiteY789" fmla="*/ 684764 h 1505806"/>
                <a:gd name="connsiteX790" fmla="*/ 100863 w 2017827"/>
                <a:gd name="connsiteY790" fmla="*/ 683149 h 1505806"/>
                <a:gd name="connsiteX791" fmla="*/ 97161 w 2017827"/>
                <a:gd name="connsiteY791" fmla="*/ 683048 h 1505806"/>
                <a:gd name="connsiteX792" fmla="*/ 94132 w 2017827"/>
                <a:gd name="connsiteY792" fmla="*/ 681972 h 1505806"/>
                <a:gd name="connsiteX793" fmla="*/ 90766 w 2017827"/>
                <a:gd name="connsiteY793" fmla="*/ 681972 h 1505806"/>
                <a:gd name="connsiteX794" fmla="*/ 85550 w 2017827"/>
                <a:gd name="connsiteY794" fmla="*/ 684091 h 1505806"/>
                <a:gd name="connsiteX795" fmla="*/ 82184 w 2017827"/>
                <a:gd name="connsiteY795" fmla="*/ 685571 h 1505806"/>
                <a:gd name="connsiteX796" fmla="*/ 78146 w 2017827"/>
                <a:gd name="connsiteY796" fmla="*/ 688733 h 1505806"/>
                <a:gd name="connsiteX797" fmla="*/ 74780 w 2017827"/>
                <a:gd name="connsiteY797" fmla="*/ 691458 h 1505806"/>
                <a:gd name="connsiteX798" fmla="*/ 70877 w 2017827"/>
                <a:gd name="connsiteY798" fmla="*/ 694822 h 1505806"/>
                <a:gd name="connsiteX799" fmla="*/ 68252 w 2017827"/>
                <a:gd name="connsiteY799" fmla="*/ 697009 h 1505806"/>
                <a:gd name="connsiteX800" fmla="*/ 65088 w 2017827"/>
                <a:gd name="connsiteY800" fmla="*/ 700373 h 1505806"/>
                <a:gd name="connsiteX801" fmla="*/ 63674 w 2017827"/>
                <a:gd name="connsiteY801" fmla="*/ 702559 h 1505806"/>
                <a:gd name="connsiteX802" fmla="*/ 63035 w 2017827"/>
                <a:gd name="connsiteY802" fmla="*/ 705183 h 1505806"/>
                <a:gd name="connsiteX803" fmla="*/ 62261 w 2017827"/>
                <a:gd name="connsiteY803" fmla="*/ 708446 h 1505806"/>
                <a:gd name="connsiteX804" fmla="*/ 62160 w 2017827"/>
                <a:gd name="connsiteY804" fmla="*/ 712046 h 1505806"/>
                <a:gd name="connsiteX805" fmla="*/ 61521 w 2017827"/>
                <a:gd name="connsiteY805" fmla="*/ 714636 h 1505806"/>
                <a:gd name="connsiteX806" fmla="*/ 61420 w 2017827"/>
                <a:gd name="connsiteY806" fmla="*/ 718673 h 1505806"/>
                <a:gd name="connsiteX807" fmla="*/ 60545 w 2017827"/>
                <a:gd name="connsiteY807" fmla="*/ 722474 h 1505806"/>
                <a:gd name="connsiteX808" fmla="*/ 58795 w 2017827"/>
                <a:gd name="connsiteY808" fmla="*/ 725199 h 1505806"/>
                <a:gd name="connsiteX809" fmla="*/ 57482 w 2017827"/>
                <a:gd name="connsiteY809" fmla="*/ 727486 h 1505806"/>
                <a:gd name="connsiteX810" fmla="*/ 54891 w 2017827"/>
                <a:gd name="connsiteY810" fmla="*/ 729673 h 1505806"/>
                <a:gd name="connsiteX811" fmla="*/ 52703 w 2017827"/>
                <a:gd name="connsiteY811" fmla="*/ 731086 h 1505806"/>
                <a:gd name="connsiteX812" fmla="*/ 50078 w 2017827"/>
                <a:gd name="connsiteY812" fmla="*/ 732499 h 1505806"/>
                <a:gd name="connsiteX813" fmla="*/ 48025 w 2017827"/>
                <a:gd name="connsiteY813" fmla="*/ 734012 h 1505806"/>
                <a:gd name="connsiteX814" fmla="*/ 45299 w 2017827"/>
                <a:gd name="connsiteY814" fmla="*/ 735963 h 1505806"/>
                <a:gd name="connsiteX815" fmla="*/ 43448 w 2017827"/>
                <a:gd name="connsiteY815" fmla="*/ 737814 h 1505806"/>
                <a:gd name="connsiteX816" fmla="*/ 40520 w 2017827"/>
                <a:gd name="connsiteY816" fmla="*/ 737814 h 1505806"/>
                <a:gd name="connsiteX817" fmla="*/ 36717 w 2017827"/>
                <a:gd name="connsiteY817" fmla="*/ 739428 h 1505806"/>
                <a:gd name="connsiteX818" fmla="*/ 33453 w 2017827"/>
                <a:gd name="connsiteY818" fmla="*/ 739428 h 1505806"/>
                <a:gd name="connsiteX819" fmla="*/ 30962 w 2017827"/>
                <a:gd name="connsiteY819" fmla="*/ 740236 h 1505806"/>
                <a:gd name="connsiteX820" fmla="*/ 26621 w 2017827"/>
                <a:gd name="connsiteY820" fmla="*/ 740067 h 1505806"/>
                <a:gd name="connsiteX821" fmla="*/ 24332 w 2017827"/>
                <a:gd name="connsiteY821" fmla="*/ 740067 h 1505806"/>
                <a:gd name="connsiteX822" fmla="*/ 19318 w 2017827"/>
                <a:gd name="connsiteY822" fmla="*/ 740841 h 1505806"/>
                <a:gd name="connsiteX823" fmla="*/ 15077 w 2017827"/>
                <a:gd name="connsiteY823" fmla="*/ 742490 h 1505806"/>
                <a:gd name="connsiteX824" fmla="*/ 11173 w 2017827"/>
                <a:gd name="connsiteY824" fmla="*/ 743902 h 1505806"/>
                <a:gd name="connsiteX825" fmla="*/ 7034 w 2017827"/>
                <a:gd name="connsiteY825" fmla="*/ 746526 h 1505806"/>
                <a:gd name="connsiteX826" fmla="*/ 6159 w 2017827"/>
                <a:gd name="connsiteY826" fmla="*/ 748578 h 1505806"/>
                <a:gd name="connsiteX827" fmla="*/ 8784 w 2017827"/>
                <a:gd name="connsiteY827" fmla="*/ 751942 h 1505806"/>
                <a:gd name="connsiteX828" fmla="*/ 12486 w 2017827"/>
                <a:gd name="connsiteY828" fmla="*/ 755104 h 1505806"/>
                <a:gd name="connsiteX829" fmla="*/ 16188 w 2017827"/>
                <a:gd name="connsiteY829" fmla="*/ 759007 h 1505806"/>
                <a:gd name="connsiteX830" fmla="*/ 17601 w 2017827"/>
                <a:gd name="connsiteY830" fmla="*/ 761395 h 1505806"/>
                <a:gd name="connsiteX831" fmla="*/ 21202 w 2017827"/>
                <a:gd name="connsiteY831" fmla="*/ 765533 h 1505806"/>
                <a:gd name="connsiteX832" fmla="*/ 21976 w 2017827"/>
                <a:gd name="connsiteY832" fmla="*/ 769569 h 1505806"/>
                <a:gd name="connsiteX833" fmla="*/ 20563 w 2017827"/>
                <a:gd name="connsiteY833" fmla="*/ 778047 h 1505806"/>
                <a:gd name="connsiteX834" fmla="*/ 20226 w 2017827"/>
                <a:gd name="connsiteY834" fmla="*/ 782050 h 1505806"/>
                <a:gd name="connsiteX835" fmla="*/ 20226 w 2017827"/>
                <a:gd name="connsiteY835" fmla="*/ 784438 h 1505806"/>
                <a:gd name="connsiteX836" fmla="*/ 22111 w 2017827"/>
                <a:gd name="connsiteY836" fmla="*/ 786187 h 1505806"/>
                <a:gd name="connsiteX837" fmla="*/ 25645 w 2017827"/>
                <a:gd name="connsiteY837" fmla="*/ 789350 h 1505806"/>
                <a:gd name="connsiteX838" fmla="*/ 27159 w 2017827"/>
                <a:gd name="connsiteY838" fmla="*/ 791637 h 1505806"/>
                <a:gd name="connsiteX839" fmla="*/ 27260 w 2017827"/>
                <a:gd name="connsiteY839" fmla="*/ 794463 h 1505806"/>
                <a:gd name="connsiteX840" fmla="*/ 26183 w 2017827"/>
                <a:gd name="connsiteY840" fmla="*/ 796212 h 1505806"/>
                <a:gd name="connsiteX841" fmla="*/ 23794 w 2017827"/>
                <a:gd name="connsiteY841" fmla="*/ 797726 h 1505806"/>
                <a:gd name="connsiteX842" fmla="*/ 21842 w 2017827"/>
                <a:gd name="connsiteY842" fmla="*/ 798365 h 1505806"/>
                <a:gd name="connsiteX843" fmla="*/ 18039 w 2017827"/>
                <a:gd name="connsiteY843" fmla="*/ 798264 h 1505806"/>
                <a:gd name="connsiteX844" fmla="*/ 16188 w 2017827"/>
                <a:gd name="connsiteY844" fmla="*/ 797524 h 1505806"/>
                <a:gd name="connsiteX845" fmla="*/ 14135 w 2017827"/>
                <a:gd name="connsiteY845" fmla="*/ 796885 h 1505806"/>
                <a:gd name="connsiteX846" fmla="*/ 12284 w 2017827"/>
                <a:gd name="connsiteY846" fmla="*/ 796885 h 1505806"/>
                <a:gd name="connsiteX847" fmla="*/ 11846 w 2017827"/>
                <a:gd name="connsiteY847" fmla="*/ 798769 h 1505806"/>
                <a:gd name="connsiteX848" fmla="*/ 10971 w 2017827"/>
                <a:gd name="connsiteY848" fmla="*/ 801426 h 1505806"/>
                <a:gd name="connsiteX849" fmla="*/ 8582 w 2017827"/>
                <a:gd name="connsiteY849" fmla="*/ 803377 h 1505806"/>
                <a:gd name="connsiteX850" fmla="*/ 6630 w 2017827"/>
                <a:gd name="connsiteY850" fmla="*/ 804252 h 1505806"/>
                <a:gd name="connsiteX851" fmla="*/ 3164 w 2017827"/>
                <a:gd name="connsiteY851" fmla="*/ 805564 h 1505806"/>
                <a:gd name="connsiteX852" fmla="*/ 774 w 2017827"/>
                <a:gd name="connsiteY852" fmla="*/ 807313 h 1505806"/>
                <a:gd name="connsiteX853" fmla="*/ 0 w 2017827"/>
                <a:gd name="connsiteY853" fmla="*/ 809802 h 1505806"/>
                <a:gd name="connsiteX854" fmla="*/ 538 w 2017827"/>
                <a:gd name="connsiteY854" fmla="*/ 812628 h 1505806"/>
                <a:gd name="connsiteX855" fmla="*/ 1178 w 2017827"/>
                <a:gd name="connsiteY855" fmla="*/ 816968 h 1505806"/>
                <a:gd name="connsiteX856" fmla="*/ 2793 w 2017827"/>
                <a:gd name="connsiteY856" fmla="*/ 819457 h 1505806"/>
                <a:gd name="connsiteX857" fmla="*/ 5183 w 2017827"/>
                <a:gd name="connsiteY857" fmla="*/ 821206 h 1505806"/>
                <a:gd name="connsiteX858" fmla="*/ 8885 w 2017827"/>
                <a:gd name="connsiteY858" fmla="*/ 827497 h 1505806"/>
                <a:gd name="connsiteX859" fmla="*/ 9524 w 2017827"/>
                <a:gd name="connsiteY859" fmla="*/ 830524 h 1505806"/>
                <a:gd name="connsiteX860" fmla="*/ 13866 w 2017827"/>
                <a:gd name="connsiteY860" fmla="*/ 836176 h 1505806"/>
                <a:gd name="connsiteX861" fmla="*/ 15044 w 2017827"/>
                <a:gd name="connsiteY861" fmla="*/ 839977 h 1505806"/>
                <a:gd name="connsiteX862" fmla="*/ 17231 w 2017827"/>
                <a:gd name="connsiteY862" fmla="*/ 844014 h 1505806"/>
                <a:gd name="connsiteX863" fmla="*/ 19856 w 2017827"/>
                <a:gd name="connsiteY863" fmla="*/ 847378 h 1505806"/>
                <a:gd name="connsiteX864" fmla="*/ 20395 w 2017827"/>
                <a:gd name="connsiteY864" fmla="*/ 848152 h 1505806"/>
                <a:gd name="connsiteX865" fmla="*/ 23121 w 2017827"/>
                <a:gd name="connsiteY865" fmla="*/ 849026 h 1505806"/>
                <a:gd name="connsiteX866" fmla="*/ 26486 w 2017827"/>
                <a:gd name="connsiteY866" fmla="*/ 849228 h 1505806"/>
                <a:gd name="connsiteX867" fmla="*/ 29852 w 2017827"/>
                <a:gd name="connsiteY867" fmla="*/ 848690 h 1505806"/>
                <a:gd name="connsiteX868" fmla="*/ 32443 w 2017827"/>
                <a:gd name="connsiteY868" fmla="*/ 847378 h 1505806"/>
                <a:gd name="connsiteX869" fmla="*/ 32443 w 2017827"/>
                <a:gd name="connsiteY869" fmla="*/ 846941 h 1505806"/>
                <a:gd name="connsiteX870" fmla="*/ 34395 w 2017827"/>
                <a:gd name="connsiteY870" fmla="*/ 846167 h 1505806"/>
                <a:gd name="connsiteX871" fmla="*/ 35607 w 2017827"/>
                <a:gd name="connsiteY871" fmla="*/ 845292 h 1505806"/>
                <a:gd name="connsiteX872" fmla="*/ 37121 w 2017827"/>
                <a:gd name="connsiteY872" fmla="*/ 844216 h 1505806"/>
                <a:gd name="connsiteX873" fmla="*/ 39309 w 2017827"/>
                <a:gd name="connsiteY873" fmla="*/ 842803 h 1505806"/>
                <a:gd name="connsiteX874" fmla="*/ 41496 w 2017827"/>
                <a:gd name="connsiteY874" fmla="*/ 842366 h 1505806"/>
                <a:gd name="connsiteX875" fmla="*/ 44660 w 2017827"/>
                <a:gd name="connsiteY875" fmla="*/ 842029 h 1505806"/>
                <a:gd name="connsiteX876" fmla="*/ 47150 w 2017827"/>
                <a:gd name="connsiteY876" fmla="*/ 842029 h 1505806"/>
                <a:gd name="connsiteX877" fmla="*/ 50616 w 2017827"/>
                <a:gd name="connsiteY877" fmla="*/ 842029 h 1505806"/>
                <a:gd name="connsiteX878" fmla="*/ 53443 w 2017827"/>
                <a:gd name="connsiteY878" fmla="*/ 843711 h 1505806"/>
                <a:gd name="connsiteX879" fmla="*/ 54218 w 2017827"/>
                <a:gd name="connsiteY879" fmla="*/ 846705 h 1505806"/>
                <a:gd name="connsiteX880" fmla="*/ 59872 w 2017827"/>
                <a:gd name="connsiteY880" fmla="*/ 848993 h 1505806"/>
                <a:gd name="connsiteX881" fmla="*/ 62799 w 2017827"/>
                <a:gd name="connsiteY881" fmla="*/ 848993 h 1505806"/>
                <a:gd name="connsiteX882" fmla="*/ 64751 w 2017827"/>
                <a:gd name="connsiteY882" fmla="*/ 848993 h 1505806"/>
                <a:gd name="connsiteX883" fmla="*/ 66602 w 2017827"/>
                <a:gd name="connsiteY883" fmla="*/ 851549 h 1505806"/>
                <a:gd name="connsiteX884" fmla="*/ 68992 w 2017827"/>
                <a:gd name="connsiteY884" fmla="*/ 853870 h 1505806"/>
                <a:gd name="connsiteX885" fmla="*/ 72593 w 2017827"/>
                <a:gd name="connsiteY885" fmla="*/ 856158 h 1505806"/>
                <a:gd name="connsiteX886" fmla="*/ 76295 w 2017827"/>
                <a:gd name="connsiteY886" fmla="*/ 858109 h 1505806"/>
                <a:gd name="connsiteX887" fmla="*/ 81309 w 2017827"/>
                <a:gd name="connsiteY887" fmla="*/ 862011 h 1505806"/>
                <a:gd name="connsiteX888" fmla="*/ 84473 w 2017827"/>
                <a:gd name="connsiteY888" fmla="*/ 865712 h 1505806"/>
                <a:gd name="connsiteX889" fmla="*/ 86223 w 2017827"/>
                <a:gd name="connsiteY889" fmla="*/ 868638 h 1505806"/>
                <a:gd name="connsiteX890" fmla="*/ 86560 w 2017827"/>
                <a:gd name="connsiteY890" fmla="*/ 870690 h 1505806"/>
                <a:gd name="connsiteX891" fmla="*/ 86358 w 2017827"/>
                <a:gd name="connsiteY891" fmla="*/ 875904 h 1505806"/>
                <a:gd name="connsiteX892" fmla="*/ 86358 w 2017827"/>
                <a:gd name="connsiteY892" fmla="*/ 877956 h 1505806"/>
                <a:gd name="connsiteX893" fmla="*/ 86358 w 2017827"/>
                <a:gd name="connsiteY893" fmla="*/ 881085 h 1505806"/>
                <a:gd name="connsiteX894" fmla="*/ 86358 w 2017827"/>
                <a:gd name="connsiteY894" fmla="*/ 883910 h 1505806"/>
                <a:gd name="connsiteX895" fmla="*/ 86459 w 2017827"/>
                <a:gd name="connsiteY895" fmla="*/ 886938 h 1505806"/>
                <a:gd name="connsiteX896" fmla="*/ 85382 w 2017827"/>
                <a:gd name="connsiteY896" fmla="*/ 889125 h 1505806"/>
                <a:gd name="connsiteX897" fmla="*/ 83766 w 2017827"/>
                <a:gd name="connsiteY897" fmla="*/ 892152 h 1505806"/>
                <a:gd name="connsiteX898" fmla="*/ 82252 w 2017827"/>
                <a:gd name="connsiteY898" fmla="*/ 894204 h 1505806"/>
                <a:gd name="connsiteX899" fmla="*/ 81175 w 2017827"/>
                <a:gd name="connsiteY899" fmla="*/ 897232 h 1505806"/>
                <a:gd name="connsiteX900" fmla="*/ 80535 w 2017827"/>
                <a:gd name="connsiteY900" fmla="*/ 899519 h 1505806"/>
                <a:gd name="connsiteX901" fmla="*/ 80098 w 2017827"/>
                <a:gd name="connsiteY901" fmla="*/ 904296 h 1505806"/>
                <a:gd name="connsiteX902" fmla="*/ 79761 w 2017827"/>
                <a:gd name="connsiteY902" fmla="*/ 907122 h 1505806"/>
                <a:gd name="connsiteX903" fmla="*/ 79324 w 2017827"/>
                <a:gd name="connsiteY903" fmla="*/ 911125 h 1505806"/>
                <a:gd name="connsiteX904" fmla="*/ 78348 w 2017827"/>
                <a:gd name="connsiteY904" fmla="*/ 913951 h 1505806"/>
                <a:gd name="connsiteX905" fmla="*/ 77708 w 2017827"/>
                <a:gd name="connsiteY905" fmla="*/ 915801 h 1505806"/>
                <a:gd name="connsiteX906" fmla="*/ 77708 w 2017827"/>
                <a:gd name="connsiteY906" fmla="*/ 917853 h 1505806"/>
                <a:gd name="connsiteX907" fmla="*/ 77338 w 2017827"/>
                <a:gd name="connsiteY907" fmla="*/ 920578 h 1505806"/>
                <a:gd name="connsiteX908" fmla="*/ 76833 w 2017827"/>
                <a:gd name="connsiteY908" fmla="*/ 923504 h 1505806"/>
                <a:gd name="connsiteX909" fmla="*/ 76497 w 2017827"/>
                <a:gd name="connsiteY909" fmla="*/ 926330 h 1505806"/>
                <a:gd name="connsiteX910" fmla="*/ 75622 w 2017827"/>
                <a:gd name="connsiteY910" fmla="*/ 928517 h 1505806"/>
                <a:gd name="connsiteX911" fmla="*/ 75285 w 2017827"/>
                <a:gd name="connsiteY911" fmla="*/ 931342 h 1505806"/>
                <a:gd name="connsiteX912" fmla="*/ 75083 w 2017827"/>
                <a:gd name="connsiteY912" fmla="*/ 934505 h 1505806"/>
                <a:gd name="connsiteX913" fmla="*/ 75285 w 2017827"/>
                <a:gd name="connsiteY913" fmla="*/ 939382 h 1505806"/>
                <a:gd name="connsiteX914" fmla="*/ 75925 w 2017827"/>
                <a:gd name="connsiteY914" fmla="*/ 941872 h 1505806"/>
                <a:gd name="connsiteX915" fmla="*/ 75925 w 2017827"/>
                <a:gd name="connsiteY915" fmla="*/ 944596 h 1505806"/>
                <a:gd name="connsiteX916" fmla="*/ 80064 w 2017827"/>
                <a:gd name="connsiteY916" fmla="*/ 948297 h 1505806"/>
                <a:gd name="connsiteX917" fmla="*/ 82454 w 2017827"/>
                <a:gd name="connsiteY917" fmla="*/ 953074 h 1505806"/>
                <a:gd name="connsiteX918" fmla="*/ 82454 w 2017827"/>
                <a:gd name="connsiteY918" fmla="*/ 956236 h 1505806"/>
                <a:gd name="connsiteX919" fmla="*/ 82117 w 2017827"/>
                <a:gd name="connsiteY919" fmla="*/ 958086 h 1505806"/>
                <a:gd name="connsiteX920" fmla="*/ 80704 w 2017827"/>
                <a:gd name="connsiteY920" fmla="*/ 960138 h 1505806"/>
                <a:gd name="connsiteX921" fmla="*/ 78314 w 2017827"/>
                <a:gd name="connsiteY921" fmla="*/ 962089 h 1505806"/>
                <a:gd name="connsiteX922" fmla="*/ 77237 w 2017827"/>
                <a:gd name="connsiteY922" fmla="*/ 963065 h 1505806"/>
                <a:gd name="connsiteX923" fmla="*/ 75386 w 2017827"/>
                <a:gd name="connsiteY923" fmla="*/ 964578 h 1505806"/>
                <a:gd name="connsiteX924" fmla="*/ 73636 w 2017827"/>
                <a:gd name="connsiteY924" fmla="*/ 967202 h 1505806"/>
                <a:gd name="connsiteX925" fmla="*/ 72189 w 2017827"/>
                <a:gd name="connsiteY925" fmla="*/ 969389 h 1505806"/>
                <a:gd name="connsiteX926" fmla="*/ 70574 w 2017827"/>
                <a:gd name="connsiteY926" fmla="*/ 971239 h 1505806"/>
                <a:gd name="connsiteX927" fmla="*/ 69598 w 2017827"/>
                <a:gd name="connsiteY927" fmla="*/ 972450 h 1505806"/>
                <a:gd name="connsiteX928" fmla="*/ 69295 w 2017827"/>
                <a:gd name="connsiteY928" fmla="*/ 974939 h 1505806"/>
                <a:gd name="connsiteX929" fmla="*/ 69497 w 2017827"/>
                <a:gd name="connsiteY929" fmla="*/ 978404 h 1505806"/>
                <a:gd name="connsiteX930" fmla="*/ 70910 w 2017827"/>
                <a:gd name="connsiteY930" fmla="*/ 982407 h 1505806"/>
                <a:gd name="connsiteX931" fmla="*/ 72526 w 2017827"/>
                <a:gd name="connsiteY931" fmla="*/ 985132 h 1505806"/>
                <a:gd name="connsiteX932" fmla="*/ 72862 w 2017827"/>
                <a:gd name="connsiteY932" fmla="*/ 989270 h 1505806"/>
                <a:gd name="connsiteX933" fmla="*/ 74276 w 2017827"/>
                <a:gd name="connsiteY933" fmla="*/ 991658 h 1505806"/>
                <a:gd name="connsiteX934" fmla="*/ 74915 w 2017827"/>
                <a:gd name="connsiteY934" fmla="*/ 994585 h 1505806"/>
                <a:gd name="connsiteX935" fmla="*/ 75151 w 2017827"/>
                <a:gd name="connsiteY935" fmla="*/ 998184 h 1505806"/>
                <a:gd name="connsiteX936" fmla="*/ 75487 w 2017827"/>
                <a:gd name="connsiteY936" fmla="*/ 1003028 h 1505806"/>
                <a:gd name="connsiteX937" fmla="*/ 75050 w 2017827"/>
                <a:gd name="connsiteY937" fmla="*/ 1004912 h 1505806"/>
                <a:gd name="connsiteX938" fmla="*/ 72458 w 2017827"/>
                <a:gd name="connsiteY938" fmla="*/ 1007738 h 1505806"/>
                <a:gd name="connsiteX939" fmla="*/ 69732 w 2017827"/>
                <a:gd name="connsiteY939" fmla="*/ 1008814 h 1505806"/>
                <a:gd name="connsiteX940" fmla="*/ 67343 w 2017827"/>
                <a:gd name="connsiteY940" fmla="*/ 1010126 h 1505806"/>
                <a:gd name="connsiteX941" fmla="*/ 64617 w 2017827"/>
                <a:gd name="connsiteY941" fmla="*/ 1011102 h 1505806"/>
                <a:gd name="connsiteX942" fmla="*/ 61790 w 2017827"/>
                <a:gd name="connsiteY942" fmla="*/ 1011539 h 1505806"/>
                <a:gd name="connsiteX943" fmla="*/ 60477 w 2017827"/>
                <a:gd name="connsiteY943" fmla="*/ 1011977 h 1505806"/>
                <a:gd name="connsiteX944" fmla="*/ 57011 w 2017827"/>
                <a:gd name="connsiteY944" fmla="*/ 1012414 h 1505806"/>
                <a:gd name="connsiteX945" fmla="*/ 51996 w 2017827"/>
                <a:gd name="connsiteY945" fmla="*/ 1011977 h 1505806"/>
                <a:gd name="connsiteX946" fmla="*/ 48732 w 2017827"/>
                <a:gd name="connsiteY946" fmla="*/ 1011775 h 1505806"/>
                <a:gd name="connsiteX947" fmla="*/ 47217 w 2017827"/>
                <a:gd name="connsiteY947" fmla="*/ 1011438 h 1505806"/>
                <a:gd name="connsiteX948" fmla="*/ 43414 w 2017827"/>
                <a:gd name="connsiteY948" fmla="*/ 1010799 h 1505806"/>
                <a:gd name="connsiteX949" fmla="*/ 39712 w 2017827"/>
                <a:gd name="connsiteY949" fmla="*/ 1008512 h 1505806"/>
                <a:gd name="connsiteX950" fmla="*/ 37861 w 2017827"/>
                <a:gd name="connsiteY950" fmla="*/ 1006998 h 1505806"/>
                <a:gd name="connsiteX951" fmla="*/ 34698 w 2017827"/>
                <a:gd name="connsiteY951" fmla="*/ 1005148 h 1505806"/>
                <a:gd name="connsiteX952" fmla="*/ 31433 w 2017827"/>
                <a:gd name="connsiteY952" fmla="*/ 1003399 h 1505806"/>
                <a:gd name="connsiteX953" fmla="*/ 27630 w 2017827"/>
                <a:gd name="connsiteY953" fmla="*/ 1003399 h 1505806"/>
                <a:gd name="connsiteX954" fmla="*/ 23188 w 2017827"/>
                <a:gd name="connsiteY954" fmla="*/ 1004475 h 1505806"/>
                <a:gd name="connsiteX955" fmla="*/ 20899 w 2017827"/>
                <a:gd name="connsiteY955" fmla="*/ 1004475 h 1505806"/>
                <a:gd name="connsiteX956" fmla="*/ 19149 w 2017827"/>
                <a:gd name="connsiteY956" fmla="*/ 1005451 h 1505806"/>
                <a:gd name="connsiteX957" fmla="*/ 16962 w 2017827"/>
                <a:gd name="connsiteY957" fmla="*/ 1007402 h 1505806"/>
                <a:gd name="connsiteX958" fmla="*/ 13596 w 2017827"/>
                <a:gd name="connsiteY958" fmla="*/ 1009588 h 1505806"/>
                <a:gd name="connsiteX959" fmla="*/ 12520 w 2017827"/>
                <a:gd name="connsiteY959" fmla="*/ 1011640 h 1505806"/>
                <a:gd name="connsiteX960" fmla="*/ 12318 w 2017827"/>
                <a:gd name="connsiteY960" fmla="*/ 1015004 h 1505806"/>
                <a:gd name="connsiteX961" fmla="*/ 11745 w 2017827"/>
                <a:gd name="connsiteY961" fmla="*/ 1018805 h 1505806"/>
                <a:gd name="connsiteX962" fmla="*/ 11779 w 2017827"/>
                <a:gd name="connsiteY962" fmla="*/ 1023784 h 1505806"/>
                <a:gd name="connsiteX963" fmla="*/ 12755 w 2017827"/>
                <a:gd name="connsiteY963" fmla="*/ 1026173 h 1505806"/>
                <a:gd name="connsiteX964" fmla="*/ 17197 w 2017827"/>
                <a:gd name="connsiteY964" fmla="*/ 1027922 h 1505806"/>
                <a:gd name="connsiteX965" fmla="*/ 21101 w 2017827"/>
                <a:gd name="connsiteY965" fmla="*/ 1027922 h 1505806"/>
                <a:gd name="connsiteX966" fmla="*/ 25577 w 2017827"/>
                <a:gd name="connsiteY966" fmla="*/ 1026509 h 1505806"/>
                <a:gd name="connsiteX967" fmla="*/ 29380 w 2017827"/>
                <a:gd name="connsiteY967" fmla="*/ 1026173 h 1505806"/>
                <a:gd name="connsiteX968" fmla="*/ 33621 w 2017827"/>
                <a:gd name="connsiteY968" fmla="*/ 1029637 h 1505806"/>
                <a:gd name="connsiteX969" fmla="*/ 37525 w 2017827"/>
                <a:gd name="connsiteY969" fmla="*/ 1033338 h 1505806"/>
                <a:gd name="connsiteX970" fmla="*/ 40352 w 2017827"/>
                <a:gd name="connsiteY970" fmla="*/ 1042017 h 1505806"/>
                <a:gd name="connsiteX971" fmla="*/ 42842 w 2017827"/>
                <a:gd name="connsiteY971" fmla="*/ 1043632 h 1505806"/>
                <a:gd name="connsiteX972" fmla="*/ 49809 w 2017827"/>
                <a:gd name="connsiteY972" fmla="*/ 1044170 h 1505806"/>
                <a:gd name="connsiteX973" fmla="*/ 54689 w 2017827"/>
                <a:gd name="connsiteY973" fmla="*/ 1044170 h 1505806"/>
                <a:gd name="connsiteX974" fmla="*/ 58054 w 2017827"/>
                <a:gd name="connsiteY974" fmla="*/ 1044170 h 1505806"/>
                <a:gd name="connsiteX975" fmla="*/ 64886 w 2017827"/>
                <a:gd name="connsiteY975" fmla="*/ 1045784 h 1505806"/>
                <a:gd name="connsiteX976" fmla="*/ 68588 w 2017827"/>
                <a:gd name="connsiteY976" fmla="*/ 1047197 h 1505806"/>
                <a:gd name="connsiteX977" fmla="*/ 73704 w 2017827"/>
                <a:gd name="connsiteY977" fmla="*/ 1051335 h 1505806"/>
                <a:gd name="connsiteX978" fmla="*/ 73704 w 2017827"/>
                <a:gd name="connsiteY978" fmla="*/ 1053185 h 1505806"/>
                <a:gd name="connsiteX979" fmla="*/ 78482 w 2017827"/>
                <a:gd name="connsiteY979" fmla="*/ 1057525 h 1505806"/>
                <a:gd name="connsiteX980" fmla="*/ 81511 w 2017827"/>
                <a:gd name="connsiteY980" fmla="*/ 1060552 h 1505806"/>
                <a:gd name="connsiteX981" fmla="*/ 83564 w 2017827"/>
                <a:gd name="connsiteY981" fmla="*/ 1063277 h 1505806"/>
                <a:gd name="connsiteX982" fmla="*/ 85213 w 2017827"/>
                <a:gd name="connsiteY982" fmla="*/ 1065329 h 1505806"/>
                <a:gd name="connsiteX983" fmla="*/ 84776 w 2017827"/>
                <a:gd name="connsiteY983" fmla="*/ 1068693 h 1505806"/>
                <a:gd name="connsiteX984" fmla="*/ 83564 w 2017827"/>
                <a:gd name="connsiteY984" fmla="*/ 1074244 h 1505806"/>
                <a:gd name="connsiteX985" fmla="*/ 81949 w 2017827"/>
                <a:gd name="connsiteY985" fmla="*/ 1076195 h 1505806"/>
                <a:gd name="connsiteX986" fmla="*/ 79458 w 2017827"/>
                <a:gd name="connsiteY986" fmla="*/ 1077944 h 1505806"/>
                <a:gd name="connsiteX987" fmla="*/ 79458 w 2017827"/>
                <a:gd name="connsiteY987" fmla="*/ 1080972 h 1505806"/>
                <a:gd name="connsiteX988" fmla="*/ 81511 w 2017827"/>
                <a:gd name="connsiteY988" fmla="*/ 1083461 h 1505806"/>
                <a:gd name="connsiteX989" fmla="*/ 87805 w 2017827"/>
                <a:gd name="connsiteY989" fmla="*/ 1083461 h 1505806"/>
                <a:gd name="connsiteX990" fmla="*/ 94973 w 2017827"/>
                <a:gd name="connsiteY990" fmla="*/ 1085210 h 1505806"/>
                <a:gd name="connsiteX991" fmla="*/ 99012 w 2017827"/>
                <a:gd name="connsiteY991" fmla="*/ 1087397 h 1505806"/>
                <a:gd name="connsiteX992" fmla="*/ 103050 w 2017827"/>
                <a:gd name="connsiteY992" fmla="*/ 1090424 h 1505806"/>
                <a:gd name="connsiteX993" fmla="*/ 106517 w 2017827"/>
                <a:gd name="connsiteY993" fmla="*/ 1094326 h 1505806"/>
                <a:gd name="connsiteX994" fmla="*/ 109445 w 2017827"/>
                <a:gd name="connsiteY994" fmla="*/ 1097791 h 1505806"/>
                <a:gd name="connsiteX995" fmla="*/ 110320 w 2017827"/>
                <a:gd name="connsiteY995" fmla="*/ 1102030 h 1505806"/>
                <a:gd name="connsiteX996" fmla="*/ 112171 w 2017827"/>
                <a:gd name="connsiteY996" fmla="*/ 1106706 h 1505806"/>
                <a:gd name="connsiteX997" fmla="*/ 114224 w 2017827"/>
                <a:gd name="connsiteY997" fmla="*/ 1111920 h 1505806"/>
                <a:gd name="connsiteX998" fmla="*/ 116849 w 2017827"/>
                <a:gd name="connsiteY998" fmla="*/ 1120734 h 1505806"/>
                <a:gd name="connsiteX999" fmla="*/ 117825 w 2017827"/>
                <a:gd name="connsiteY999" fmla="*/ 1127798 h 1505806"/>
                <a:gd name="connsiteX1000" fmla="*/ 117623 w 2017827"/>
                <a:gd name="connsiteY1000" fmla="*/ 1132137 h 1505806"/>
                <a:gd name="connsiteX1001" fmla="*/ 116411 w 2017827"/>
                <a:gd name="connsiteY1001" fmla="*/ 1137150 h 1505806"/>
                <a:gd name="connsiteX1002" fmla="*/ 115099 w 2017827"/>
                <a:gd name="connsiteY1002" fmla="*/ 1141287 h 1505806"/>
                <a:gd name="connsiteX1003" fmla="*/ 112272 w 2017827"/>
                <a:gd name="connsiteY1003" fmla="*/ 1145862 h 1505806"/>
                <a:gd name="connsiteX1004" fmla="*/ 111935 w 2017827"/>
                <a:gd name="connsiteY1004" fmla="*/ 1149025 h 1505806"/>
                <a:gd name="connsiteX1005" fmla="*/ 111296 w 2017827"/>
                <a:gd name="connsiteY1005" fmla="*/ 1154340 h 1505806"/>
                <a:gd name="connsiteX1006" fmla="*/ 109781 w 2017827"/>
                <a:gd name="connsiteY1006" fmla="*/ 1159217 h 1505806"/>
                <a:gd name="connsiteX1007" fmla="*/ 105877 w 2017827"/>
                <a:gd name="connsiteY1007" fmla="*/ 1162682 h 1505806"/>
                <a:gd name="connsiteX1008" fmla="*/ 99786 w 2017827"/>
                <a:gd name="connsiteY1008" fmla="*/ 1169511 h 1505806"/>
                <a:gd name="connsiteX1009" fmla="*/ 99786 w 2017827"/>
                <a:gd name="connsiteY1009" fmla="*/ 1171260 h 1505806"/>
                <a:gd name="connsiteX1010" fmla="*/ 99786 w 2017827"/>
                <a:gd name="connsiteY1010" fmla="*/ 1175163 h 1505806"/>
                <a:gd name="connsiteX1011" fmla="*/ 101469 w 2017827"/>
                <a:gd name="connsiteY1011" fmla="*/ 1177786 h 1505806"/>
                <a:gd name="connsiteX1012" fmla="*/ 105339 w 2017827"/>
                <a:gd name="connsiteY1012" fmla="*/ 1179973 h 1505806"/>
                <a:gd name="connsiteX1013" fmla="*/ 110454 w 2017827"/>
                <a:gd name="connsiteY1013" fmla="*/ 1183438 h 1505806"/>
                <a:gd name="connsiteX1014" fmla="*/ 113382 w 2017827"/>
                <a:gd name="connsiteY1014" fmla="*/ 1187340 h 1505806"/>
                <a:gd name="connsiteX1015" fmla="*/ 113180 w 2017827"/>
                <a:gd name="connsiteY1015" fmla="*/ 1191242 h 1505806"/>
                <a:gd name="connsiteX1016" fmla="*/ 112305 w 2017827"/>
                <a:gd name="connsiteY1016" fmla="*/ 1195918 h 1505806"/>
                <a:gd name="connsiteX1017" fmla="*/ 112945 w 2017827"/>
                <a:gd name="connsiteY1017" fmla="*/ 1199820 h 1505806"/>
                <a:gd name="connsiteX1018" fmla="*/ 113921 w 2017827"/>
                <a:gd name="connsiteY1018" fmla="*/ 1202108 h 1505806"/>
                <a:gd name="connsiteX1019" fmla="*/ 114560 w 2017827"/>
                <a:gd name="connsiteY1019" fmla="*/ 1205135 h 1505806"/>
                <a:gd name="connsiteX1020" fmla="*/ 119238 w 2017827"/>
                <a:gd name="connsiteY1020" fmla="*/ 1205135 h 1505806"/>
                <a:gd name="connsiteX1021" fmla="*/ 124354 w 2017827"/>
                <a:gd name="connsiteY1021" fmla="*/ 1205405 h 1505806"/>
                <a:gd name="connsiteX1022" fmla="*/ 128258 w 2017827"/>
                <a:gd name="connsiteY1022" fmla="*/ 1205775 h 1505806"/>
                <a:gd name="connsiteX1023" fmla="*/ 131421 w 2017827"/>
                <a:gd name="connsiteY1023" fmla="*/ 1207288 h 1505806"/>
                <a:gd name="connsiteX1024" fmla="*/ 134787 w 2017827"/>
                <a:gd name="connsiteY1024" fmla="*/ 1208701 h 1505806"/>
                <a:gd name="connsiteX1025" fmla="*/ 136301 w 2017827"/>
                <a:gd name="connsiteY1025" fmla="*/ 1207625 h 1505806"/>
                <a:gd name="connsiteX1026" fmla="*/ 140642 w 2017827"/>
                <a:gd name="connsiteY1026" fmla="*/ 1205135 h 1505806"/>
                <a:gd name="connsiteX1027" fmla="*/ 145859 w 2017827"/>
                <a:gd name="connsiteY1027" fmla="*/ 1205135 h 1505806"/>
                <a:gd name="connsiteX1028" fmla="*/ 149325 w 2017827"/>
                <a:gd name="connsiteY1028" fmla="*/ 1205135 h 1505806"/>
                <a:gd name="connsiteX1029" fmla="*/ 151917 w 2017827"/>
                <a:gd name="connsiteY1029" fmla="*/ 1207154 h 1505806"/>
                <a:gd name="connsiteX1030" fmla="*/ 152354 w 2017827"/>
                <a:gd name="connsiteY1030" fmla="*/ 1210450 h 1505806"/>
                <a:gd name="connsiteX1031" fmla="*/ 151917 w 2017827"/>
                <a:gd name="connsiteY1031" fmla="*/ 1214050 h 1505806"/>
                <a:gd name="connsiteX1032" fmla="*/ 151479 w 2017827"/>
                <a:gd name="connsiteY1032" fmla="*/ 1218625 h 1505806"/>
                <a:gd name="connsiteX1033" fmla="*/ 150941 w 2017827"/>
                <a:gd name="connsiteY1033" fmla="*/ 1224276 h 1505806"/>
                <a:gd name="connsiteX1034" fmla="*/ 151479 w 2017827"/>
                <a:gd name="connsiteY1034" fmla="*/ 1228717 h 1505806"/>
                <a:gd name="connsiteX1035" fmla="*/ 154946 w 2017827"/>
                <a:gd name="connsiteY1035" fmla="*/ 1233494 h 1505806"/>
                <a:gd name="connsiteX1036" fmla="*/ 162653 w 2017827"/>
                <a:gd name="connsiteY1036" fmla="*/ 1240020 h 1505806"/>
                <a:gd name="connsiteX1037" fmla="*/ 169821 w 2017827"/>
                <a:gd name="connsiteY1037" fmla="*/ 1246647 h 1505806"/>
                <a:gd name="connsiteX1038" fmla="*/ 177864 w 2017827"/>
                <a:gd name="connsiteY1038" fmla="*/ 1251659 h 1505806"/>
                <a:gd name="connsiteX1039" fmla="*/ 190485 w 2017827"/>
                <a:gd name="connsiteY1039" fmla="*/ 1259060 h 1505806"/>
                <a:gd name="connsiteX1040" fmla="*/ 198528 w 2017827"/>
                <a:gd name="connsiteY1040" fmla="*/ 1266561 h 1505806"/>
                <a:gd name="connsiteX1041" fmla="*/ 208322 w 2017827"/>
                <a:gd name="connsiteY1041" fmla="*/ 1271675 h 1505806"/>
                <a:gd name="connsiteX1042" fmla="*/ 215288 w 2017827"/>
                <a:gd name="connsiteY1042" fmla="*/ 1275039 h 1505806"/>
                <a:gd name="connsiteX1043" fmla="*/ 221716 w 2017827"/>
                <a:gd name="connsiteY1043" fmla="*/ 1278739 h 1505806"/>
                <a:gd name="connsiteX1044" fmla="*/ 226832 w 2017827"/>
                <a:gd name="connsiteY1044" fmla="*/ 1282002 h 1505806"/>
                <a:gd name="connsiteX1045" fmla="*/ 230635 w 2017827"/>
                <a:gd name="connsiteY1045" fmla="*/ 1283280 h 1505806"/>
                <a:gd name="connsiteX1046" fmla="*/ 235649 w 2017827"/>
                <a:gd name="connsiteY1046" fmla="*/ 1283314 h 1505806"/>
                <a:gd name="connsiteX1047" fmla="*/ 239553 w 2017827"/>
                <a:gd name="connsiteY1047" fmla="*/ 1283314 h 1505806"/>
                <a:gd name="connsiteX1048" fmla="*/ 243895 w 2017827"/>
                <a:gd name="connsiteY1048" fmla="*/ 1283314 h 1505806"/>
                <a:gd name="connsiteX1049" fmla="*/ 246823 w 2017827"/>
                <a:gd name="connsiteY1049" fmla="*/ 1284727 h 1505806"/>
                <a:gd name="connsiteX1050" fmla="*/ 249010 w 2017827"/>
                <a:gd name="connsiteY1050" fmla="*/ 1287452 h 1505806"/>
                <a:gd name="connsiteX1051" fmla="*/ 249650 w 2017827"/>
                <a:gd name="connsiteY1051" fmla="*/ 1288629 h 1505806"/>
                <a:gd name="connsiteX1052" fmla="*/ 253688 w 2017827"/>
                <a:gd name="connsiteY1052" fmla="*/ 1288629 h 1505806"/>
                <a:gd name="connsiteX1053" fmla="*/ 257390 w 2017827"/>
                <a:gd name="connsiteY1053" fmla="*/ 1288629 h 1505806"/>
                <a:gd name="connsiteX1054" fmla="*/ 261530 w 2017827"/>
                <a:gd name="connsiteY1054" fmla="*/ 1290277 h 1505806"/>
                <a:gd name="connsiteX1055" fmla="*/ 269371 w 2017827"/>
                <a:gd name="connsiteY1055" fmla="*/ 1295592 h 1505806"/>
                <a:gd name="connsiteX1056" fmla="*/ 270516 w 2017827"/>
                <a:gd name="connsiteY1056" fmla="*/ 1295592 h 1505806"/>
                <a:gd name="connsiteX1057" fmla="*/ 268496 w 2017827"/>
                <a:gd name="connsiteY1057" fmla="*/ 1299797 h 1505806"/>
                <a:gd name="connsiteX1058" fmla="*/ 266746 w 2017827"/>
                <a:gd name="connsiteY1058" fmla="*/ 1301378 h 1505806"/>
                <a:gd name="connsiteX1059" fmla="*/ 262674 w 2017827"/>
                <a:gd name="connsiteY1059" fmla="*/ 1305449 h 1505806"/>
                <a:gd name="connsiteX1060" fmla="*/ 259477 w 2017827"/>
                <a:gd name="connsiteY1060" fmla="*/ 1305449 h 1505806"/>
                <a:gd name="connsiteX1061" fmla="*/ 257155 w 2017827"/>
                <a:gd name="connsiteY1061" fmla="*/ 1309486 h 1505806"/>
                <a:gd name="connsiteX1062" fmla="*/ 254530 w 2017827"/>
                <a:gd name="connsiteY1062" fmla="*/ 1312109 h 1505806"/>
                <a:gd name="connsiteX1063" fmla="*/ 254530 w 2017827"/>
                <a:gd name="connsiteY1063" fmla="*/ 1315574 h 1505806"/>
                <a:gd name="connsiteX1064" fmla="*/ 254530 w 2017827"/>
                <a:gd name="connsiteY1064" fmla="*/ 1320789 h 1505806"/>
                <a:gd name="connsiteX1065" fmla="*/ 254530 w 2017827"/>
                <a:gd name="connsiteY1065" fmla="*/ 1323984 h 1505806"/>
                <a:gd name="connsiteX1066" fmla="*/ 257458 w 2017827"/>
                <a:gd name="connsiteY1066" fmla="*/ 1328896 h 1505806"/>
                <a:gd name="connsiteX1067" fmla="*/ 259174 w 2017827"/>
                <a:gd name="connsiteY1067" fmla="*/ 1330645 h 1505806"/>
                <a:gd name="connsiteX1068" fmla="*/ 261799 w 2017827"/>
                <a:gd name="connsiteY1068" fmla="*/ 1336431 h 1505806"/>
                <a:gd name="connsiteX1069" fmla="*/ 261496 w 2017827"/>
                <a:gd name="connsiteY1069" fmla="*/ 1340501 h 1505806"/>
                <a:gd name="connsiteX1070" fmla="*/ 261799 w 2017827"/>
                <a:gd name="connsiteY1070" fmla="*/ 1343394 h 1505806"/>
                <a:gd name="connsiteX1071" fmla="*/ 262943 w 2017827"/>
                <a:gd name="connsiteY1071" fmla="*/ 1348911 h 1505806"/>
                <a:gd name="connsiteX1072" fmla="*/ 262371 w 2017827"/>
                <a:gd name="connsiteY1072" fmla="*/ 1352982 h 1505806"/>
                <a:gd name="connsiteX1073" fmla="*/ 262068 w 2017827"/>
                <a:gd name="connsiteY1073" fmla="*/ 1355471 h 1505806"/>
                <a:gd name="connsiteX1074" fmla="*/ 260049 w 2017827"/>
                <a:gd name="connsiteY1074" fmla="*/ 1357893 h 1505806"/>
                <a:gd name="connsiteX1075" fmla="*/ 257458 w 2017827"/>
                <a:gd name="connsiteY1075" fmla="*/ 1361358 h 1505806"/>
                <a:gd name="connsiteX1076" fmla="*/ 257458 w 2017827"/>
                <a:gd name="connsiteY1076" fmla="*/ 1363982 h 1505806"/>
                <a:gd name="connsiteX1077" fmla="*/ 260655 w 2017827"/>
                <a:gd name="connsiteY1077" fmla="*/ 1369499 h 1505806"/>
                <a:gd name="connsiteX1078" fmla="*/ 261799 w 2017827"/>
                <a:gd name="connsiteY1078" fmla="*/ 1372123 h 1505806"/>
                <a:gd name="connsiteX1079" fmla="*/ 265265 w 2017827"/>
                <a:gd name="connsiteY1079" fmla="*/ 1378480 h 1505806"/>
                <a:gd name="connsiteX1080" fmla="*/ 267285 w 2017827"/>
                <a:gd name="connsiteY1080" fmla="*/ 1382248 h 1505806"/>
                <a:gd name="connsiteX1081" fmla="*/ 273376 w 2017827"/>
                <a:gd name="connsiteY1081" fmla="*/ 1388606 h 1505806"/>
                <a:gd name="connsiteX1082" fmla="*/ 278896 w 2017827"/>
                <a:gd name="connsiteY1082" fmla="*/ 1391230 h 1505806"/>
                <a:gd name="connsiteX1083" fmla="*/ 284684 w 2017827"/>
                <a:gd name="connsiteY1083" fmla="*/ 1394426 h 1505806"/>
                <a:gd name="connsiteX1084" fmla="*/ 293670 w 2017827"/>
                <a:gd name="connsiteY1084" fmla="*/ 1402533 h 1505806"/>
                <a:gd name="connsiteX1085" fmla="*/ 301209 w 2017827"/>
                <a:gd name="connsiteY1085" fmla="*/ 1408050 h 1505806"/>
                <a:gd name="connsiteX1086" fmla="*/ 304675 w 2017827"/>
                <a:gd name="connsiteY1086" fmla="*/ 1411515 h 1505806"/>
                <a:gd name="connsiteX1087" fmla="*/ 308141 w 2017827"/>
                <a:gd name="connsiteY1087" fmla="*/ 1416426 h 1505806"/>
                <a:gd name="connsiteX1088" fmla="*/ 313930 w 2017827"/>
                <a:gd name="connsiteY1088" fmla="*/ 1421943 h 1505806"/>
                <a:gd name="connsiteX1089" fmla="*/ 317127 w 2017827"/>
                <a:gd name="connsiteY1089" fmla="*/ 1425139 h 1505806"/>
                <a:gd name="connsiteX1090" fmla="*/ 317127 w 2017827"/>
                <a:gd name="connsiteY1090" fmla="*/ 1428604 h 1505806"/>
                <a:gd name="connsiteX1091" fmla="*/ 317800 w 2017827"/>
                <a:gd name="connsiteY1091" fmla="*/ 1429310 h 1505806"/>
                <a:gd name="connsiteX1092" fmla="*/ 317868 w 2017827"/>
                <a:gd name="connsiteY1092" fmla="*/ 1428705 h 1505806"/>
                <a:gd name="connsiteX1093" fmla="*/ 322882 w 2017827"/>
                <a:gd name="connsiteY1093" fmla="*/ 1428805 h 1505806"/>
                <a:gd name="connsiteX1094" fmla="*/ 327998 w 2017827"/>
                <a:gd name="connsiteY1094" fmla="*/ 1427729 h 1505806"/>
                <a:gd name="connsiteX1095" fmla="*/ 334964 w 2017827"/>
                <a:gd name="connsiteY1095" fmla="*/ 1427527 h 1505806"/>
                <a:gd name="connsiteX1096" fmla="*/ 339003 w 2017827"/>
                <a:gd name="connsiteY1096" fmla="*/ 1427426 h 1505806"/>
                <a:gd name="connsiteX1097" fmla="*/ 344219 w 2017827"/>
                <a:gd name="connsiteY1097" fmla="*/ 1427763 h 1505806"/>
                <a:gd name="connsiteX1098" fmla="*/ 347585 w 2017827"/>
                <a:gd name="connsiteY1098" fmla="*/ 1426249 h 1505806"/>
                <a:gd name="connsiteX1099" fmla="*/ 350412 w 2017827"/>
                <a:gd name="connsiteY1099" fmla="*/ 1424197 h 1505806"/>
                <a:gd name="connsiteX1100" fmla="*/ 355291 w 2017827"/>
                <a:gd name="connsiteY1100" fmla="*/ 1421472 h 1505806"/>
                <a:gd name="connsiteX1101" fmla="*/ 359734 w 2017827"/>
                <a:gd name="connsiteY1101" fmla="*/ 1417334 h 1505806"/>
                <a:gd name="connsiteX1102" fmla="*/ 362998 w 2017827"/>
                <a:gd name="connsiteY1102" fmla="*/ 1417334 h 1505806"/>
                <a:gd name="connsiteX1103" fmla="*/ 367676 w 2017827"/>
                <a:gd name="connsiteY1103" fmla="*/ 1416460 h 1505806"/>
                <a:gd name="connsiteX1104" fmla="*/ 371277 w 2017827"/>
                <a:gd name="connsiteY1104" fmla="*/ 1417334 h 1505806"/>
                <a:gd name="connsiteX1105" fmla="*/ 375518 w 2017827"/>
                <a:gd name="connsiteY1105" fmla="*/ 1417435 h 1505806"/>
                <a:gd name="connsiteX1106" fmla="*/ 388239 w 2017827"/>
                <a:gd name="connsiteY1106" fmla="*/ 1416729 h 1505806"/>
                <a:gd name="connsiteX1107" fmla="*/ 394331 w 2017827"/>
                <a:gd name="connsiteY1107" fmla="*/ 1416729 h 1505806"/>
                <a:gd name="connsiteX1108" fmla="*/ 397797 w 2017827"/>
                <a:gd name="connsiteY1108" fmla="*/ 1411885 h 1505806"/>
                <a:gd name="connsiteX1109" fmla="*/ 400961 w 2017827"/>
                <a:gd name="connsiteY1109" fmla="*/ 1408723 h 1505806"/>
                <a:gd name="connsiteX1110" fmla="*/ 404966 w 2017827"/>
                <a:gd name="connsiteY1110" fmla="*/ 1405123 h 1505806"/>
                <a:gd name="connsiteX1111" fmla="*/ 409745 w 2017827"/>
                <a:gd name="connsiteY1111" fmla="*/ 1405123 h 1505806"/>
                <a:gd name="connsiteX1112" fmla="*/ 413110 w 2017827"/>
                <a:gd name="connsiteY1112" fmla="*/ 1404417 h 1505806"/>
                <a:gd name="connsiteX1113" fmla="*/ 421052 w 2017827"/>
                <a:gd name="connsiteY1113" fmla="*/ 1404047 h 1505806"/>
                <a:gd name="connsiteX1114" fmla="*/ 425394 w 2017827"/>
                <a:gd name="connsiteY1114" fmla="*/ 1400683 h 1505806"/>
                <a:gd name="connsiteX1115" fmla="*/ 427245 w 2017827"/>
                <a:gd name="connsiteY1115" fmla="*/ 1398059 h 1505806"/>
                <a:gd name="connsiteX1116" fmla="*/ 431485 w 2017827"/>
                <a:gd name="connsiteY1116" fmla="*/ 1393719 h 1505806"/>
                <a:gd name="connsiteX1117" fmla="*/ 434312 w 2017827"/>
                <a:gd name="connsiteY1117" fmla="*/ 1392407 h 1505806"/>
                <a:gd name="connsiteX1118" fmla="*/ 439192 w 2017827"/>
                <a:gd name="connsiteY1118" fmla="*/ 1389783 h 1505806"/>
                <a:gd name="connsiteX1119" fmla="*/ 440505 w 2017827"/>
                <a:gd name="connsiteY1119" fmla="*/ 1386083 h 1505806"/>
                <a:gd name="connsiteX1120" fmla="*/ 442356 w 2017827"/>
                <a:gd name="connsiteY1120" fmla="*/ 1384670 h 1505806"/>
                <a:gd name="connsiteX1121" fmla="*/ 444981 w 2017827"/>
                <a:gd name="connsiteY1121" fmla="*/ 1383594 h 1505806"/>
                <a:gd name="connsiteX1122" fmla="*/ 448885 w 2017827"/>
                <a:gd name="connsiteY1122" fmla="*/ 1381643 h 1505806"/>
                <a:gd name="connsiteX1123" fmla="*/ 450938 w 2017827"/>
                <a:gd name="connsiteY1123" fmla="*/ 1380432 h 1505806"/>
                <a:gd name="connsiteX1124" fmla="*/ 454539 w 2017827"/>
                <a:gd name="connsiteY1124" fmla="*/ 1377606 h 1505806"/>
                <a:gd name="connsiteX1125" fmla="*/ 455313 w 2017827"/>
                <a:gd name="connsiteY1125" fmla="*/ 1376395 h 1505806"/>
                <a:gd name="connsiteX1126" fmla="*/ 455649 w 2017827"/>
                <a:gd name="connsiteY1126" fmla="*/ 1374208 h 1505806"/>
                <a:gd name="connsiteX1127" fmla="*/ 454539 w 2017827"/>
                <a:gd name="connsiteY1127" fmla="*/ 1371181 h 1505806"/>
                <a:gd name="connsiteX1128" fmla="*/ 454539 w 2017827"/>
                <a:gd name="connsiteY1128" fmla="*/ 1367379 h 1505806"/>
                <a:gd name="connsiteX1129" fmla="*/ 454976 w 2017827"/>
                <a:gd name="connsiteY1129" fmla="*/ 1364991 h 1505806"/>
                <a:gd name="connsiteX1130" fmla="*/ 457029 w 2017827"/>
                <a:gd name="connsiteY1130" fmla="*/ 1361963 h 1505806"/>
                <a:gd name="connsiteX1131" fmla="*/ 459520 w 2017827"/>
                <a:gd name="connsiteY1131" fmla="*/ 1360450 h 1505806"/>
                <a:gd name="connsiteX1132" fmla="*/ 463121 w 2017827"/>
                <a:gd name="connsiteY1132" fmla="*/ 1359676 h 1505806"/>
                <a:gd name="connsiteX1133" fmla="*/ 466486 w 2017827"/>
                <a:gd name="connsiteY1133" fmla="*/ 1358599 h 1505806"/>
                <a:gd name="connsiteX1134" fmla="*/ 470525 w 2017827"/>
                <a:gd name="connsiteY1134" fmla="*/ 1357086 h 1505806"/>
                <a:gd name="connsiteX1135" fmla="*/ 473554 w 2017827"/>
                <a:gd name="connsiteY1135" fmla="*/ 1356547 h 1505806"/>
                <a:gd name="connsiteX1136" fmla="*/ 476717 w 2017827"/>
                <a:gd name="connsiteY1136" fmla="*/ 1355673 h 1505806"/>
                <a:gd name="connsiteX1137" fmla="*/ 479746 w 2017827"/>
                <a:gd name="connsiteY1137" fmla="*/ 1356446 h 1505806"/>
                <a:gd name="connsiteX1138" fmla="*/ 482136 w 2017827"/>
                <a:gd name="connsiteY1138" fmla="*/ 1356446 h 1505806"/>
                <a:gd name="connsiteX1139" fmla="*/ 484963 w 2017827"/>
                <a:gd name="connsiteY1139" fmla="*/ 1357052 h 1505806"/>
                <a:gd name="connsiteX1140" fmla="*/ 485737 w 2017827"/>
                <a:gd name="connsiteY1140" fmla="*/ 1358734 h 1505806"/>
                <a:gd name="connsiteX1141" fmla="*/ 486275 w 2017827"/>
                <a:gd name="connsiteY1141" fmla="*/ 1360786 h 1505806"/>
                <a:gd name="connsiteX1142" fmla="*/ 489001 w 2017827"/>
                <a:gd name="connsiteY1142" fmla="*/ 1363612 h 1505806"/>
                <a:gd name="connsiteX1143" fmla="*/ 492602 w 2017827"/>
                <a:gd name="connsiteY1143" fmla="*/ 1365899 h 1505806"/>
                <a:gd name="connsiteX1144" fmla="*/ 496843 w 2017827"/>
                <a:gd name="connsiteY1144" fmla="*/ 1369162 h 1505806"/>
                <a:gd name="connsiteX1145" fmla="*/ 501184 w 2017827"/>
                <a:gd name="connsiteY1145" fmla="*/ 1372762 h 1505806"/>
                <a:gd name="connsiteX1146" fmla="*/ 506300 w 2017827"/>
                <a:gd name="connsiteY1146" fmla="*/ 1376126 h 1505806"/>
                <a:gd name="connsiteX1147" fmla="*/ 509328 w 2017827"/>
                <a:gd name="connsiteY1147" fmla="*/ 1379052 h 1505806"/>
                <a:gd name="connsiteX1148" fmla="*/ 516295 w 2017827"/>
                <a:gd name="connsiteY1148" fmla="*/ 1384267 h 1505806"/>
                <a:gd name="connsiteX1149" fmla="*/ 518482 w 2017827"/>
                <a:gd name="connsiteY1149" fmla="*/ 1384267 h 1505806"/>
                <a:gd name="connsiteX1150" fmla="*/ 521747 w 2017827"/>
                <a:gd name="connsiteY1150" fmla="*/ 1383728 h 1505806"/>
                <a:gd name="connsiteX1151" fmla="*/ 522959 w 2017827"/>
                <a:gd name="connsiteY1151" fmla="*/ 1383089 h 1505806"/>
                <a:gd name="connsiteX1152" fmla="*/ 525887 w 2017827"/>
                <a:gd name="connsiteY1152" fmla="*/ 1382114 h 1505806"/>
                <a:gd name="connsiteX1153" fmla="*/ 526526 w 2017827"/>
                <a:gd name="connsiteY1153" fmla="*/ 1381340 h 1505806"/>
                <a:gd name="connsiteX1154" fmla="*/ 525853 w 2017827"/>
                <a:gd name="connsiteY1154" fmla="*/ 1378178 h 1505806"/>
                <a:gd name="connsiteX1155" fmla="*/ 525853 w 2017827"/>
                <a:gd name="connsiteY1155" fmla="*/ 1376866 h 1505806"/>
                <a:gd name="connsiteX1156" fmla="*/ 526728 w 2017827"/>
                <a:gd name="connsiteY1156" fmla="*/ 1375016 h 1505806"/>
                <a:gd name="connsiteX1157" fmla="*/ 529353 w 2017827"/>
                <a:gd name="connsiteY1157" fmla="*/ 1374780 h 1505806"/>
                <a:gd name="connsiteX1158" fmla="*/ 532516 w 2017827"/>
                <a:gd name="connsiteY1158" fmla="*/ 1377269 h 1505806"/>
                <a:gd name="connsiteX1159" fmla="*/ 535680 w 2017827"/>
                <a:gd name="connsiteY1159" fmla="*/ 1379994 h 1505806"/>
                <a:gd name="connsiteX1160" fmla="*/ 536319 w 2017827"/>
                <a:gd name="connsiteY1160" fmla="*/ 1381306 h 1505806"/>
                <a:gd name="connsiteX1161" fmla="*/ 542949 w 2017827"/>
                <a:gd name="connsiteY1161" fmla="*/ 1384468 h 1505806"/>
                <a:gd name="connsiteX1162" fmla="*/ 547964 w 2017827"/>
                <a:gd name="connsiteY1162" fmla="*/ 1385982 h 1505806"/>
                <a:gd name="connsiteX1163" fmla="*/ 551127 w 2017827"/>
                <a:gd name="connsiteY1163" fmla="*/ 1386318 h 1505806"/>
                <a:gd name="connsiteX1164" fmla="*/ 557757 w 2017827"/>
                <a:gd name="connsiteY1164" fmla="*/ 1388370 h 1505806"/>
                <a:gd name="connsiteX1165" fmla="*/ 561661 w 2017827"/>
                <a:gd name="connsiteY1165" fmla="*/ 1390658 h 1505806"/>
                <a:gd name="connsiteX1166" fmla="*/ 564387 w 2017827"/>
                <a:gd name="connsiteY1166" fmla="*/ 1394358 h 1505806"/>
                <a:gd name="connsiteX1167" fmla="*/ 565902 w 2017827"/>
                <a:gd name="connsiteY1167" fmla="*/ 1397285 h 1505806"/>
                <a:gd name="connsiteX1168" fmla="*/ 565902 w 2017827"/>
                <a:gd name="connsiteY1168" fmla="*/ 1401322 h 1505806"/>
                <a:gd name="connsiteX1169" fmla="*/ 571320 w 2017827"/>
                <a:gd name="connsiteY1169" fmla="*/ 1404147 h 1505806"/>
                <a:gd name="connsiteX1170" fmla="*/ 579027 w 2017827"/>
                <a:gd name="connsiteY1170" fmla="*/ 1404686 h 1505806"/>
                <a:gd name="connsiteX1171" fmla="*/ 583167 w 2017827"/>
                <a:gd name="connsiteY1171" fmla="*/ 1406872 h 1505806"/>
                <a:gd name="connsiteX1172" fmla="*/ 587609 w 2017827"/>
                <a:gd name="connsiteY1172" fmla="*/ 1406771 h 1505806"/>
                <a:gd name="connsiteX1173" fmla="*/ 591614 w 2017827"/>
                <a:gd name="connsiteY1173" fmla="*/ 1406670 h 1505806"/>
                <a:gd name="connsiteX1174" fmla="*/ 595854 w 2017827"/>
                <a:gd name="connsiteY1174" fmla="*/ 1406435 h 1505806"/>
                <a:gd name="connsiteX1175" fmla="*/ 599859 w 2017827"/>
                <a:gd name="connsiteY1175" fmla="*/ 1405998 h 1505806"/>
                <a:gd name="connsiteX1176" fmla="*/ 605951 w 2017827"/>
                <a:gd name="connsiteY1176" fmla="*/ 1405796 h 1505806"/>
                <a:gd name="connsiteX1177" fmla="*/ 610528 w 2017827"/>
                <a:gd name="connsiteY1177" fmla="*/ 1404484 h 1505806"/>
                <a:gd name="connsiteX1178" fmla="*/ 613018 w 2017827"/>
                <a:gd name="connsiteY1178" fmla="*/ 1403172 h 1505806"/>
                <a:gd name="connsiteX1179" fmla="*/ 614331 w 2017827"/>
                <a:gd name="connsiteY1179" fmla="*/ 1400884 h 1505806"/>
                <a:gd name="connsiteX1180" fmla="*/ 616821 w 2017827"/>
                <a:gd name="connsiteY1180" fmla="*/ 1397521 h 1505806"/>
                <a:gd name="connsiteX1181" fmla="*/ 618874 w 2017827"/>
                <a:gd name="connsiteY1181" fmla="*/ 1395233 h 1505806"/>
                <a:gd name="connsiteX1182" fmla="*/ 623451 w 2017827"/>
                <a:gd name="connsiteY1182" fmla="*/ 1393383 h 1505806"/>
                <a:gd name="connsiteX1183" fmla="*/ 625201 w 2017827"/>
                <a:gd name="connsiteY1183" fmla="*/ 1391533 h 1505806"/>
                <a:gd name="connsiteX1184" fmla="*/ 628028 w 2017827"/>
                <a:gd name="connsiteY1184" fmla="*/ 1391095 h 1505806"/>
                <a:gd name="connsiteX1185" fmla="*/ 632471 w 2017827"/>
                <a:gd name="connsiteY1185" fmla="*/ 1390322 h 1505806"/>
                <a:gd name="connsiteX1186" fmla="*/ 635197 w 2017827"/>
                <a:gd name="connsiteY1186" fmla="*/ 1389548 h 1505806"/>
                <a:gd name="connsiteX1187" fmla="*/ 637048 w 2017827"/>
                <a:gd name="connsiteY1187" fmla="*/ 1388572 h 1505806"/>
                <a:gd name="connsiteX1188" fmla="*/ 638663 w 2017827"/>
                <a:gd name="connsiteY1188" fmla="*/ 1388135 h 1505806"/>
                <a:gd name="connsiteX1189" fmla="*/ 641591 w 2017827"/>
                <a:gd name="connsiteY1189" fmla="*/ 1386924 h 1505806"/>
                <a:gd name="connsiteX1190" fmla="*/ 643105 w 2017827"/>
                <a:gd name="connsiteY1190" fmla="*/ 1386049 h 1505806"/>
                <a:gd name="connsiteX1191" fmla="*/ 644081 w 2017827"/>
                <a:gd name="connsiteY1191" fmla="*/ 1384838 h 1505806"/>
                <a:gd name="connsiteX1192" fmla="*/ 646572 w 2017827"/>
                <a:gd name="connsiteY1192" fmla="*/ 1382652 h 1505806"/>
                <a:gd name="connsiteX1193" fmla="*/ 647346 w 2017827"/>
                <a:gd name="connsiteY1193" fmla="*/ 1381777 h 1505806"/>
                <a:gd name="connsiteX1194" fmla="*/ 647110 w 2017827"/>
                <a:gd name="connsiteY1194" fmla="*/ 1380701 h 1505806"/>
                <a:gd name="connsiteX1195" fmla="*/ 644081 w 2017827"/>
                <a:gd name="connsiteY1195" fmla="*/ 1378110 h 1505806"/>
                <a:gd name="connsiteX1196" fmla="*/ 644081 w 2017827"/>
                <a:gd name="connsiteY1196" fmla="*/ 1376698 h 1505806"/>
                <a:gd name="connsiteX1197" fmla="*/ 645932 w 2017827"/>
                <a:gd name="connsiteY1197" fmla="*/ 1374410 h 1505806"/>
                <a:gd name="connsiteX1198" fmla="*/ 649399 w 2017827"/>
                <a:gd name="connsiteY1198" fmla="*/ 1374511 h 1505806"/>
                <a:gd name="connsiteX1199" fmla="*/ 653875 w 2017827"/>
                <a:gd name="connsiteY1199" fmla="*/ 1374511 h 1505806"/>
                <a:gd name="connsiteX1200" fmla="*/ 658654 w 2017827"/>
                <a:gd name="connsiteY1200" fmla="*/ 1374511 h 1505806"/>
                <a:gd name="connsiteX1201" fmla="*/ 663769 w 2017827"/>
                <a:gd name="connsiteY1201" fmla="*/ 1375049 h 1505806"/>
                <a:gd name="connsiteX1202" fmla="*/ 667471 w 2017827"/>
                <a:gd name="connsiteY1202" fmla="*/ 1376462 h 1505806"/>
                <a:gd name="connsiteX1203" fmla="*/ 669760 w 2017827"/>
                <a:gd name="connsiteY1203" fmla="*/ 1378211 h 1505806"/>
                <a:gd name="connsiteX1204" fmla="*/ 672587 w 2017827"/>
                <a:gd name="connsiteY1204" fmla="*/ 1380062 h 1505806"/>
                <a:gd name="connsiteX1205" fmla="*/ 673361 w 2017827"/>
                <a:gd name="connsiteY1205" fmla="*/ 1381138 h 1505806"/>
                <a:gd name="connsiteX1206" fmla="*/ 675986 w 2017827"/>
                <a:gd name="connsiteY1206" fmla="*/ 1384502 h 1505806"/>
                <a:gd name="connsiteX1207" fmla="*/ 679890 w 2017827"/>
                <a:gd name="connsiteY1207" fmla="*/ 1387126 h 1505806"/>
                <a:gd name="connsiteX1208" fmla="*/ 684568 w 2017827"/>
                <a:gd name="connsiteY1208" fmla="*/ 1388202 h 1505806"/>
                <a:gd name="connsiteX1209" fmla="*/ 687496 w 2017827"/>
                <a:gd name="connsiteY1209" fmla="*/ 1387866 h 1505806"/>
                <a:gd name="connsiteX1210" fmla="*/ 688472 w 2017827"/>
                <a:gd name="connsiteY1210" fmla="*/ 1386016 h 1505806"/>
                <a:gd name="connsiteX1211" fmla="*/ 689784 w 2017827"/>
                <a:gd name="connsiteY1211" fmla="*/ 1383829 h 1505806"/>
                <a:gd name="connsiteX1212" fmla="*/ 692275 w 2017827"/>
                <a:gd name="connsiteY1212" fmla="*/ 1382517 h 1505806"/>
                <a:gd name="connsiteX1213" fmla="*/ 695203 w 2017827"/>
                <a:gd name="connsiteY1213" fmla="*/ 1382517 h 1505806"/>
                <a:gd name="connsiteX1214" fmla="*/ 697794 w 2017827"/>
                <a:gd name="connsiteY1214" fmla="*/ 1383930 h 1505806"/>
                <a:gd name="connsiteX1215" fmla="*/ 702472 w 2017827"/>
                <a:gd name="connsiteY1215" fmla="*/ 1387529 h 1505806"/>
                <a:gd name="connsiteX1216" fmla="*/ 704862 w 2017827"/>
                <a:gd name="connsiteY1216" fmla="*/ 1389279 h 1505806"/>
                <a:gd name="connsiteX1217" fmla="*/ 705501 w 2017827"/>
                <a:gd name="connsiteY1217" fmla="*/ 1391465 h 1505806"/>
                <a:gd name="connsiteX1218" fmla="*/ 704963 w 2017827"/>
                <a:gd name="connsiteY1218" fmla="*/ 1395805 h 1505806"/>
                <a:gd name="connsiteX1219" fmla="*/ 704525 w 2017827"/>
                <a:gd name="connsiteY1219" fmla="*/ 1401120 h 1505806"/>
                <a:gd name="connsiteX1220" fmla="*/ 703213 w 2017827"/>
                <a:gd name="connsiteY1220" fmla="*/ 1404147 h 1505806"/>
                <a:gd name="connsiteX1221" fmla="*/ 703213 w 2017827"/>
                <a:gd name="connsiteY1221" fmla="*/ 1408184 h 1505806"/>
                <a:gd name="connsiteX1222" fmla="*/ 705501 w 2017827"/>
                <a:gd name="connsiteY1222" fmla="*/ 1411885 h 1505806"/>
                <a:gd name="connsiteX1223" fmla="*/ 706915 w 2017827"/>
                <a:gd name="connsiteY1223" fmla="*/ 1415686 h 1505806"/>
                <a:gd name="connsiteX1224" fmla="*/ 707554 w 2017827"/>
                <a:gd name="connsiteY1224" fmla="*/ 1418411 h 1505806"/>
                <a:gd name="connsiteX1225" fmla="*/ 709068 w 2017827"/>
                <a:gd name="connsiteY1225" fmla="*/ 1420261 h 1505806"/>
                <a:gd name="connsiteX1226" fmla="*/ 711256 w 2017827"/>
                <a:gd name="connsiteY1226" fmla="*/ 1421674 h 1505806"/>
                <a:gd name="connsiteX1227" fmla="*/ 713309 w 2017827"/>
                <a:gd name="connsiteY1227" fmla="*/ 1423524 h 1505806"/>
                <a:gd name="connsiteX1228" fmla="*/ 718525 w 2017827"/>
                <a:gd name="connsiteY1228" fmla="*/ 1425374 h 1505806"/>
                <a:gd name="connsiteX1229" fmla="*/ 722295 w 2017827"/>
                <a:gd name="connsiteY1229" fmla="*/ 1426787 h 1505806"/>
                <a:gd name="connsiteX1230" fmla="*/ 730439 w 2017827"/>
                <a:gd name="connsiteY1230" fmla="*/ 1427325 h 1505806"/>
                <a:gd name="connsiteX1231" fmla="*/ 734141 w 2017827"/>
                <a:gd name="connsiteY1231" fmla="*/ 1427426 h 1505806"/>
                <a:gd name="connsiteX1232" fmla="*/ 737069 w 2017827"/>
                <a:gd name="connsiteY1232" fmla="*/ 1427864 h 1505806"/>
                <a:gd name="connsiteX1233" fmla="*/ 741310 w 2017827"/>
                <a:gd name="connsiteY1233" fmla="*/ 1428637 h 1505806"/>
                <a:gd name="connsiteX1234" fmla="*/ 745011 w 2017827"/>
                <a:gd name="connsiteY1234" fmla="*/ 1431126 h 1505806"/>
                <a:gd name="connsiteX1235" fmla="*/ 746627 w 2017827"/>
                <a:gd name="connsiteY1235" fmla="*/ 1435466 h 1505806"/>
                <a:gd name="connsiteX1236" fmla="*/ 746627 w 2017827"/>
                <a:gd name="connsiteY1236" fmla="*/ 1438191 h 1505806"/>
                <a:gd name="connsiteX1237" fmla="*/ 753627 w 2017827"/>
                <a:gd name="connsiteY1237" fmla="*/ 1440142 h 1505806"/>
                <a:gd name="connsiteX1238" fmla="*/ 759113 w 2017827"/>
                <a:gd name="connsiteY1238" fmla="*/ 1440781 h 1505806"/>
                <a:gd name="connsiteX1239" fmla="*/ 768772 w 2017827"/>
                <a:gd name="connsiteY1239" fmla="*/ 1441319 h 1505806"/>
                <a:gd name="connsiteX1240" fmla="*/ 779205 w 2017827"/>
                <a:gd name="connsiteY1240" fmla="*/ 1441757 h 1505806"/>
                <a:gd name="connsiteX1241" fmla="*/ 783546 w 2017827"/>
                <a:gd name="connsiteY1241" fmla="*/ 1441521 h 1505806"/>
                <a:gd name="connsiteX1242" fmla="*/ 788224 w 2017827"/>
                <a:gd name="connsiteY1242" fmla="*/ 1441622 h 1505806"/>
                <a:gd name="connsiteX1243" fmla="*/ 793003 w 2017827"/>
                <a:gd name="connsiteY1243" fmla="*/ 1443035 h 1505806"/>
                <a:gd name="connsiteX1244" fmla="*/ 795931 w 2017827"/>
                <a:gd name="connsiteY1244" fmla="*/ 1444784 h 1505806"/>
                <a:gd name="connsiteX1245" fmla="*/ 798118 w 2017827"/>
                <a:gd name="connsiteY1245" fmla="*/ 1446533 h 1505806"/>
                <a:gd name="connsiteX1246" fmla="*/ 802460 w 2017827"/>
                <a:gd name="connsiteY1246" fmla="*/ 1448720 h 1505806"/>
                <a:gd name="connsiteX1247" fmla="*/ 805926 w 2017827"/>
                <a:gd name="connsiteY1247" fmla="*/ 1449494 h 1505806"/>
                <a:gd name="connsiteX1248" fmla="*/ 809965 w 2017827"/>
                <a:gd name="connsiteY1248" fmla="*/ 1449393 h 1505806"/>
                <a:gd name="connsiteX1249" fmla="*/ 813330 w 2017827"/>
                <a:gd name="connsiteY1249" fmla="*/ 1448955 h 1505806"/>
                <a:gd name="connsiteX1250" fmla="*/ 817907 w 2017827"/>
                <a:gd name="connsiteY1250" fmla="*/ 1448182 h 1505806"/>
                <a:gd name="connsiteX1251" fmla="*/ 821710 w 2017827"/>
                <a:gd name="connsiteY1251" fmla="*/ 1447744 h 1505806"/>
                <a:gd name="connsiteX1252" fmla="*/ 827129 w 2017827"/>
                <a:gd name="connsiteY1252" fmla="*/ 1446769 h 1505806"/>
                <a:gd name="connsiteX1253" fmla="*/ 832345 w 2017827"/>
                <a:gd name="connsiteY1253" fmla="*/ 1446769 h 1505806"/>
                <a:gd name="connsiteX1254" fmla="*/ 838100 w 2017827"/>
                <a:gd name="connsiteY1254" fmla="*/ 1447744 h 1505806"/>
                <a:gd name="connsiteX1255" fmla="*/ 841802 w 2017827"/>
                <a:gd name="connsiteY1255" fmla="*/ 1447408 h 1505806"/>
                <a:gd name="connsiteX1256" fmla="*/ 841802 w 2017827"/>
                <a:gd name="connsiteY1256" fmla="*/ 1445659 h 1505806"/>
                <a:gd name="connsiteX1257" fmla="*/ 839749 w 2017827"/>
                <a:gd name="connsiteY1257" fmla="*/ 1442631 h 1505806"/>
                <a:gd name="connsiteX1258" fmla="*/ 837562 w 2017827"/>
                <a:gd name="connsiteY1258" fmla="*/ 1440445 h 1505806"/>
                <a:gd name="connsiteX1259" fmla="*/ 839749 w 2017827"/>
                <a:gd name="connsiteY1259" fmla="*/ 1437518 h 1505806"/>
                <a:gd name="connsiteX1260" fmla="*/ 845067 w 2017827"/>
                <a:gd name="connsiteY1260" fmla="*/ 1437182 h 1505806"/>
                <a:gd name="connsiteX1261" fmla="*/ 852033 w 2017827"/>
                <a:gd name="connsiteY1261" fmla="*/ 1438157 h 1505806"/>
                <a:gd name="connsiteX1262" fmla="*/ 860952 w 2017827"/>
                <a:gd name="connsiteY1262" fmla="*/ 1439267 h 1505806"/>
                <a:gd name="connsiteX1263" fmla="*/ 870846 w 2017827"/>
                <a:gd name="connsiteY1263" fmla="*/ 1436542 h 1505806"/>
                <a:gd name="connsiteX1264" fmla="*/ 878788 w 2017827"/>
                <a:gd name="connsiteY1264" fmla="*/ 1436004 h 1505806"/>
                <a:gd name="connsiteX1265" fmla="*/ 886832 w 2017827"/>
                <a:gd name="connsiteY1265" fmla="*/ 1431866 h 1505806"/>
                <a:gd name="connsiteX1266" fmla="*/ 890433 w 2017827"/>
                <a:gd name="connsiteY1266" fmla="*/ 1431665 h 1505806"/>
                <a:gd name="connsiteX1267" fmla="*/ 897063 w 2017827"/>
                <a:gd name="connsiteY1267" fmla="*/ 1432001 h 1505806"/>
                <a:gd name="connsiteX1268" fmla="*/ 897938 w 2017827"/>
                <a:gd name="connsiteY1268" fmla="*/ 1432203 h 1505806"/>
                <a:gd name="connsiteX1269" fmla="*/ 902515 w 2017827"/>
                <a:gd name="connsiteY1269" fmla="*/ 1433279 h 1505806"/>
                <a:gd name="connsiteX1270" fmla="*/ 905880 w 2017827"/>
                <a:gd name="connsiteY1270" fmla="*/ 1432842 h 1505806"/>
                <a:gd name="connsiteX1271" fmla="*/ 907294 w 2017827"/>
                <a:gd name="connsiteY1271" fmla="*/ 1430218 h 1505806"/>
                <a:gd name="connsiteX1272" fmla="*/ 908068 w 2017827"/>
                <a:gd name="connsiteY1272" fmla="*/ 1426753 h 1505806"/>
                <a:gd name="connsiteX1273" fmla="*/ 909481 w 2017827"/>
                <a:gd name="connsiteY1273" fmla="*/ 1424163 h 1505806"/>
                <a:gd name="connsiteX1274" fmla="*/ 911433 w 2017827"/>
                <a:gd name="connsiteY1274" fmla="*/ 1422851 h 1505806"/>
                <a:gd name="connsiteX1275" fmla="*/ 916313 w 2017827"/>
                <a:gd name="connsiteY1275" fmla="*/ 1425677 h 1505806"/>
                <a:gd name="connsiteX1276" fmla="*/ 918063 w 2017827"/>
                <a:gd name="connsiteY1276" fmla="*/ 1428402 h 1505806"/>
                <a:gd name="connsiteX1277" fmla="*/ 920352 w 2017827"/>
                <a:gd name="connsiteY1277" fmla="*/ 1431866 h 1505806"/>
                <a:gd name="connsiteX1278" fmla="*/ 922539 w 2017827"/>
                <a:gd name="connsiteY1278" fmla="*/ 1434692 h 1505806"/>
                <a:gd name="connsiteX1279" fmla="*/ 925366 w 2017827"/>
                <a:gd name="connsiteY1279" fmla="*/ 1436879 h 1505806"/>
                <a:gd name="connsiteX1280" fmla="*/ 929405 w 2017827"/>
                <a:gd name="connsiteY1280" fmla="*/ 1440680 h 1505806"/>
                <a:gd name="connsiteX1281" fmla="*/ 931895 w 2017827"/>
                <a:gd name="connsiteY1281" fmla="*/ 1441555 h 1505806"/>
                <a:gd name="connsiteX1282" fmla="*/ 936775 w 2017827"/>
                <a:gd name="connsiteY1282" fmla="*/ 1441555 h 1505806"/>
                <a:gd name="connsiteX1283" fmla="*/ 941016 w 2017827"/>
                <a:gd name="connsiteY1283" fmla="*/ 1442059 h 1505806"/>
                <a:gd name="connsiteX1284" fmla="*/ 942227 w 2017827"/>
                <a:gd name="connsiteY1284" fmla="*/ 1443977 h 1505806"/>
                <a:gd name="connsiteX1285" fmla="*/ 939299 w 2017827"/>
                <a:gd name="connsiteY1285" fmla="*/ 1447004 h 1505806"/>
                <a:gd name="connsiteX1286" fmla="*/ 935833 w 2017827"/>
                <a:gd name="connsiteY1286" fmla="*/ 1448955 h 1505806"/>
                <a:gd name="connsiteX1287" fmla="*/ 934857 w 2017827"/>
                <a:gd name="connsiteY1287" fmla="*/ 1450133 h 1505806"/>
                <a:gd name="connsiteX1288" fmla="*/ 937583 w 2017827"/>
                <a:gd name="connsiteY1288" fmla="*/ 1451781 h 1505806"/>
                <a:gd name="connsiteX1289" fmla="*/ 940511 w 2017827"/>
                <a:gd name="connsiteY1289" fmla="*/ 1452219 h 1505806"/>
                <a:gd name="connsiteX1290" fmla="*/ 944112 w 2017827"/>
                <a:gd name="connsiteY1290" fmla="*/ 1452319 h 1505806"/>
                <a:gd name="connsiteX1291" fmla="*/ 945626 w 2017827"/>
                <a:gd name="connsiteY1291" fmla="*/ 1451108 h 1505806"/>
                <a:gd name="connsiteX1292" fmla="*/ 947814 w 2017827"/>
                <a:gd name="connsiteY1292" fmla="*/ 1448384 h 1505806"/>
                <a:gd name="connsiteX1293" fmla="*/ 948891 w 2017827"/>
                <a:gd name="connsiteY1293" fmla="*/ 1445659 h 1505806"/>
                <a:gd name="connsiteX1294" fmla="*/ 958449 w 2017827"/>
                <a:gd name="connsiteY1294" fmla="*/ 1442631 h 1505806"/>
                <a:gd name="connsiteX1295" fmla="*/ 964103 w 2017827"/>
                <a:gd name="connsiteY1295" fmla="*/ 1442093 h 1505806"/>
                <a:gd name="connsiteX1296" fmla="*/ 970497 w 2017827"/>
                <a:gd name="connsiteY1296" fmla="*/ 1441656 h 1505806"/>
                <a:gd name="connsiteX1297" fmla="*/ 977228 w 2017827"/>
                <a:gd name="connsiteY1297" fmla="*/ 1441555 h 1505806"/>
                <a:gd name="connsiteX1298" fmla="*/ 982646 w 2017827"/>
                <a:gd name="connsiteY1298" fmla="*/ 1441555 h 1505806"/>
                <a:gd name="connsiteX1299" fmla="*/ 985238 w 2017827"/>
                <a:gd name="connsiteY1299" fmla="*/ 1441218 h 1505806"/>
                <a:gd name="connsiteX1300" fmla="*/ 988502 w 2017827"/>
                <a:gd name="connsiteY1300" fmla="*/ 1439705 h 1505806"/>
                <a:gd name="connsiteX1301" fmla="*/ 992103 w 2017827"/>
                <a:gd name="connsiteY1301" fmla="*/ 1437518 h 1505806"/>
                <a:gd name="connsiteX1302" fmla="*/ 995368 w 2017827"/>
                <a:gd name="connsiteY1302" fmla="*/ 1433380 h 1505806"/>
                <a:gd name="connsiteX1303" fmla="*/ 997219 w 2017827"/>
                <a:gd name="connsiteY1303" fmla="*/ 1431093 h 1505806"/>
                <a:gd name="connsiteX1304" fmla="*/ 999272 w 2017827"/>
                <a:gd name="connsiteY1304" fmla="*/ 1427393 h 1505806"/>
                <a:gd name="connsiteX1305" fmla="*/ 1001123 w 2017827"/>
                <a:gd name="connsiteY1305" fmla="*/ 1423928 h 1505806"/>
                <a:gd name="connsiteX1306" fmla="*/ 1004387 w 2017827"/>
                <a:gd name="connsiteY1306" fmla="*/ 1421102 h 1505806"/>
                <a:gd name="connsiteX1307" fmla="*/ 1007113 w 2017827"/>
                <a:gd name="connsiteY1307" fmla="*/ 1415551 h 1505806"/>
                <a:gd name="connsiteX1308" fmla="*/ 1009503 w 2017827"/>
                <a:gd name="connsiteY1308" fmla="*/ 1411414 h 1505806"/>
                <a:gd name="connsiteX1309" fmla="*/ 1013979 w 2017827"/>
                <a:gd name="connsiteY1309" fmla="*/ 1409664 h 1505806"/>
                <a:gd name="connsiteX1310" fmla="*/ 1018859 w 2017827"/>
                <a:gd name="connsiteY1310" fmla="*/ 1410203 h 1505806"/>
                <a:gd name="connsiteX1311" fmla="*/ 1025489 w 2017827"/>
                <a:gd name="connsiteY1311" fmla="*/ 1410203 h 1505806"/>
                <a:gd name="connsiteX1312" fmla="*/ 1029729 w 2017827"/>
                <a:gd name="connsiteY1312" fmla="*/ 1409126 h 1505806"/>
                <a:gd name="connsiteX1313" fmla="*/ 1033970 w 2017827"/>
                <a:gd name="connsiteY1313" fmla="*/ 1406738 h 1505806"/>
                <a:gd name="connsiteX1314" fmla="*/ 1038412 w 2017827"/>
                <a:gd name="connsiteY1314" fmla="*/ 1404450 h 1505806"/>
                <a:gd name="connsiteX1315" fmla="*/ 1043090 w 2017827"/>
                <a:gd name="connsiteY1315" fmla="*/ 1403239 h 1505806"/>
                <a:gd name="connsiteX1316" fmla="*/ 1045917 w 2017827"/>
                <a:gd name="connsiteY1316" fmla="*/ 1404988 h 1505806"/>
                <a:gd name="connsiteX1317" fmla="*/ 1048643 w 2017827"/>
                <a:gd name="connsiteY1317" fmla="*/ 1409328 h 1505806"/>
                <a:gd name="connsiteX1318" fmla="*/ 1052211 w 2017827"/>
                <a:gd name="connsiteY1318" fmla="*/ 1408689 h 1505806"/>
                <a:gd name="connsiteX1319" fmla="*/ 1056922 w 2017827"/>
                <a:gd name="connsiteY1319" fmla="*/ 1405930 h 1505806"/>
                <a:gd name="connsiteX1320" fmla="*/ 1062004 w 2017827"/>
                <a:gd name="connsiteY1320" fmla="*/ 1403912 h 1505806"/>
                <a:gd name="connsiteX1321" fmla="*/ 1070115 w 2017827"/>
                <a:gd name="connsiteY1321" fmla="*/ 1403273 h 1505806"/>
                <a:gd name="connsiteX1322" fmla="*/ 1073447 w 2017827"/>
                <a:gd name="connsiteY1322" fmla="*/ 1407175 h 1505806"/>
                <a:gd name="connsiteX1323" fmla="*/ 1079403 w 2017827"/>
                <a:gd name="connsiteY1323" fmla="*/ 1408487 h 1505806"/>
                <a:gd name="connsiteX1324" fmla="*/ 1084990 w 2017827"/>
                <a:gd name="connsiteY1324" fmla="*/ 1409564 h 1505806"/>
                <a:gd name="connsiteX1325" fmla="*/ 1093606 w 2017827"/>
                <a:gd name="connsiteY1325" fmla="*/ 1407915 h 1505806"/>
                <a:gd name="connsiteX1326" fmla="*/ 1100067 w 2017827"/>
                <a:gd name="connsiteY1326" fmla="*/ 1406906 h 1505806"/>
                <a:gd name="connsiteX1327" fmla="*/ 1103971 w 2017827"/>
                <a:gd name="connsiteY1327" fmla="*/ 1406771 h 1505806"/>
                <a:gd name="connsiteX1328" fmla="*/ 1108986 w 2017827"/>
                <a:gd name="connsiteY1328" fmla="*/ 1405459 h 1505806"/>
                <a:gd name="connsiteX1329" fmla="*/ 1114842 w 2017827"/>
                <a:gd name="connsiteY1329" fmla="*/ 1403441 h 1505806"/>
                <a:gd name="connsiteX1330" fmla="*/ 1117029 w 2017827"/>
                <a:gd name="connsiteY1330" fmla="*/ 1402735 h 1505806"/>
                <a:gd name="connsiteX1331" fmla="*/ 1119789 w 2017827"/>
                <a:gd name="connsiteY1331" fmla="*/ 1398092 h 1505806"/>
                <a:gd name="connsiteX1332" fmla="*/ 1123928 w 2017827"/>
                <a:gd name="connsiteY1332" fmla="*/ 1398092 h 1505806"/>
                <a:gd name="connsiteX1333" fmla="*/ 1127630 w 2017827"/>
                <a:gd name="connsiteY1333" fmla="*/ 1398967 h 1505806"/>
                <a:gd name="connsiteX1334" fmla="*/ 1127630 w 2017827"/>
                <a:gd name="connsiteY1334" fmla="*/ 1401086 h 1505806"/>
                <a:gd name="connsiteX1335" fmla="*/ 1127227 w 2017827"/>
                <a:gd name="connsiteY1335" fmla="*/ 1402735 h 1505806"/>
                <a:gd name="connsiteX1336" fmla="*/ 1132275 w 2017827"/>
                <a:gd name="connsiteY1336" fmla="*/ 1407209 h 1505806"/>
                <a:gd name="connsiteX1337" fmla="*/ 1136246 w 2017827"/>
                <a:gd name="connsiteY1337" fmla="*/ 1405829 h 1505806"/>
                <a:gd name="connsiteX1338" fmla="*/ 1146107 w 2017827"/>
                <a:gd name="connsiteY1338" fmla="*/ 1408723 h 1505806"/>
                <a:gd name="connsiteX1339" fmla="*/ 1155900 w 2017827"/>
                <a:gd name="connsiteY1339" fmla="*/ 1413634 h 1505806"/>
                <a:gd name="connsiteX1340" fmla="*/ 1160982 w 2017827"/>
                <a:gd name="connsiteY1340" fmla="*/ 1415148 h 1505806"/>
                <a:gd name="connsiteX1341" fmla="*/ 1165021 w 2017827"/>
                <a:gd name="connsiteY1341" fmla="*/ 1411952 h 1505806"/>
                <a:gd name="connsiteX1342" fmla="*/ 1178920 w 2017827"/>
                <a:gd name="connsiteY1342" fmla="*/ 1411952 h 1505806"/>
                <a:gd name="connsiteX1343" fmla="*/ 1194267 w 2017827"/>
                <a:gd name="connsiteY1343" fmla="*/ 1411952 h 1505806"/>
                <a:gd name="connsiteX1344" fmla="*/ 1203252 w 2017827"/>
                <a:gd name="connsiteY1344" fmla="*/ 1413701 h 1505806"/>
                <a:gd name="connsiteX1345" fmla="*/ 1213113 w 2017827"/>
                <a:gd name="connsiteY1345" fmla="*/ 1413701 h 1505806"/>
                <a:gd name="connsiteX1346" fmla="*/ 1217185 w 2017827"/>
                <a:gd name="connsiteY1346" fmla="*/ 1415451 h 1505806"/>
                <a:gd name="connsiteX1347" fmla="*/ 1222402 w 2017827"/>
                <a:gd name="connsiteY1347" fmla="*/ 1415451 h 1505806"/>
                <a:gd name="connsiteX1348" fmla="*/ 1230512 w 2017827"/>
                <a:gd name="connsiteY1348" fmla="*/ 1417031 h 1505806"/>
                <a:gd name="connsiteX1349" fmla="*/ 1232532 w 2017827"/>
                <a:gd name="connsiteY1349" fmla="*/ 1422683 h 1505806"/>
                <a:gd name="connsiteX1350" fmla="*/ 1230512 w 2017827"/>
                <a:gd name="connsiteY1350" fmla="*/ 1425879 h 1505806"/>
                <a:gd name="connsiteX1351" fmla="*/ 1237748 w 2017827"/>
                <a:gd name="connsiteY1351" fmla="*/ 1431665 h 1505806"/>
                <a:gd name="connsiteX1352" fmla="*/ 1243537 w 2017827"/>
                <a:gd name="connsiteY1352" fmla="*/ 1439772 h 1505806"/>
                <a:gd name="connsiteX1353" fmla="*/ 1248181 w 2017827"/>
                <a:gd name="connsiteY1353" fmla="*/ 1437148 h 1505806"/>
                <a:gd name="connsiteX1354" fmla="*/ 1252825 w 2017827"/>
                <a:gd name="connsiteY1354" fmla="*/ 1433952 h 1505806"/>
                <a:gd name="connsiteX1355" fmla="*/ 1258042 w 2017827"/>
                <a:gd name="connsiteY1355" fmla="*/ 1435701 h 1505806"/>
                <a:gd name="connsiteX1356" fmla="*/ 1261508 w 2017827"/>
                <a:gd name="connsiteY1356" fmla="*/ 1439166 h 1505806"/>
                <a:gd name="connsiteX1357" fmla="*/ 1269922 w 2017827"/>
                <a:gd name="connsiteY1357" fmla="*/ 1445558 h 1505806"/>
                <a:gd name="connsiteX1358" fmla="*/ 1273691 w 2017827"/>
                <a:gd name="connsiteY1358" fmla="*/ 1447576 h 1505806"/>
                <a:gd name="connsiteX1359" fmla="*/ 1276956 w 2017827"/>
                <a:gd name="connsiteY1359" fmla="*/ 1455414 h 1505806"/>
                <a:gd name="connsiteX1360" fmla="*/ 1283249 w 2017827"/>
                <a:gd name="connsiteY1360" fmla="*/ 1453665 h 1505806"/>
                <a:gd name="connsiteX1361" fmla="*/ 1287591 w 2017827"/>
                <a:gd name="connsiteY1361" fmla="*/ 1453665 h 1505806"/>
                <a:gd name="connsiteX1362" fmla="*/ 1293682 w 2017827"/>
                <a:gd name="connsiteY1362" fmla="*/ 1457870 h 1505806"/>
                <a:gd name="connsiteX1363" fmla="*/ 1298899 w 2017827"/>
                <a:gd name="connsiteY1363" fmla="*/ 1459182 h 1505806"/>
                <a:gd name="connsiteX1364" fmla="*/ 1305865 w 2017827"/>
                <a:gd name="connsiteY1364" fmla="*/ 1472806 h 1505806"/>
                <a:gd name="connsiteX1365" fmla="*/ 1310509 w 2017827"/>
                <a:gd name="connsiteY1365" fmla="*/ 1472806 h 1505806"/>
                <a:gd name="connsiteX1366" fmla="*/ 1315423 w 2017827"/>
                <a:gd name="connsiteY1366" fmla="*/ 1476674 h 1505806"/>
                <a:gd name="connsiteX1367" fmla="*/ 1315995 w 2017827"/>
                <a:gd name="connsiteY1367" fmla="*/ 1477347 h 1505806"/>
                <a:gd name="connsiteX1368" fmla="*/ 1312630 w 2017827"/>
                <a:gd name="connsiteY1368" fmla="*/ 1478760 h 1505806"/>
                <a:gd name="connsiteX1369" fmla="*/ 1316264 w 2017827"/>
                <a:gd name="connsiteY1369" fmla="*/ 1477246 h 1505806"/>
                <a:gd name="connsiteX1370" fmla="*/ 1318082 w 2017827"/>
                <a:gd name="connsiteY1370" fmla="*/ 1478054 h 1505806"/>
                <a:gd name="connsiteX1371" fmla="*/ 1321548 w 2017827"/>
                <a:gd name="connsiteY1371" fmla="*/ 1478054 h 1505806"/>
                <a:gd name="connsiteX1372" fmla="*/ 1327404 w 2017827"/>
                <a:gd name="connsiteY1372" fmla="*/ 1477515 h 1505806"/>
                <a:gd name="connsiteX1373" fmla="*/ 1331039 w 2017827"/>
                <a:gd name="connsiteY1373" fmla="*/ 1477179 h 1505806"/>
                <a:gd name="connsiteX1374" fmla="*/ 1334505 w 2017827"/>
                <a:gd name="connsiteY1374" fmla="*/ 1477314 h 1505806"/>
                <a:gd name="connsiteX1375" fmla="*/ 1337399 w 2017827"/>
                <a:gd name="connsiteY1375" fmla="*/ 1478996 h 1505806"/>
                <a:gd name="connsiteX1376" fmla="*/ 1338847 w 2017827"/>
                <a:gd name="connsiteY1376" fmla="*/ 1480879 h 1505806"/>
                <a:gd name="connsiteX1377" fmla="*/ 1343491 w 2017827"/>
                <a:gd name="connsiteY1377" fmla="*/ 1483705 h 1505806"/>
                <a:gd name="connsiteX1378" fmla="*/ 1348404 w 2017827"/>
                <a:gd name="connsiteY1378" fmla="*/ 1483503 h 1505806"/>
                <a:gd name="connsiteX1379" fmla="*/ 1349852 w 2017827"/>
                <a:gd name="connsiteY1379" fmla="*/ 1479433 h 1505806"/>
                <a:gd name="connsiteX1380" fmla="*/ 1352039 w 2017827"/>
                <a:gd name="connsiteY1380" fmla="*/ 1478256 h 1505806"/>
                <a:gd name="connsiteX1381" fmla="*/ 1355674 w 2017827"/>
                <a:gd name="connsiteY1381" fmla="*/ 1477549 h 1505806"/>
                <a:gd name="connsiteX1382" fmla="*/ 1355236 w 2017827"/>
                <a:gd name="connsiteY1382" fmla="*/ 1472402 h 1505806"/>
                <a:gd name="connsiteX1383" fmla="*/ 1357424 w 2017827"/>
                <a:gd name="connsiteY1383" fmla="*/ 1469274 h 1505806"/>
                <a:gd name="connsiteX1384" fmla="*/ 1359813 w 2017827"/>
                <a:gd name="connsiteY1384" fmla="*/ 1467625 h 1505806"/>
                <a:gd name="connsiteX1385" fmla="*/ 1364155 w 2017827"/>
                <a:gd name="connsiteY1385" fmla="*/ 1467625 h 1505806"/>
                <a:gd name="connsiteX1386" fmla="*/ 1367924 w 2017827"/>
                <a:gd name="connsiteY1386" fmla="*/ 1471090 h 1505806"/>
                <a:gd name="connsiteX1387" fmla="*/ 1372266 w 2017827"/>
                <a:gd name="connsiteY1387" fmla="*/ 1477179 h 1505806"/>
                <a:gd name="connsiteX1388" fmla="*/ 1376910 w 2017827"/>
                <a:gd name="connsiteY1388" fmla="*/ 1480072 h 1505806"/>
                <a:gd name="connsiteX1389" fmla="*/ 1382699 w 2017827"/>
                <a:gd name="connsiteY1389" fmla="*/ 1484714 h 1505806"/>
                <a:gd name="connsiteX1390" fmla="*/ 1391987 w 2017827"/>
                <a:gd name="connsiteY1390" fmla="*/ 1486464 h 1505806"/>
                <a:gd name="connsiteX1391" fmla="*/ 1404439 w 2017827"/>
                <a:gd name="connsiteY1391" fmla="*/ 1487338 h 1505806"/>
                <a:gd name="connsiteX1392" fmla="*/ 1409084 w 2017827"/>
                <a:gd name="connsiteY1392" fmla="*/ 1489929 h 1505806"/>
                <a:gd name="connsiteX1393" fmla="*/ 1417767 w 2017827"/>
                <a:gd name="connsiteY1393" fmla="*/ 1491375 h 1505806"/>
                <a:gd name="connsiteX1394" fmla="*/ 1420392 w 2017827"/>
                <a:gd name="connsiteY1394" fmla="*/ 1491947 h 1505806"/>
                <a:gd name="connsiteX1395" fmla="*/ 1421267 w 2017827"/>
                <a:gd name="connsiteY1395" fmla="*/ 1496858 h 1505806"/>
                <a:gd name="connsiteX1396" fmla="*/ 1426786 w 2017827"/>
                <a:gd name="connsiteY1396" fmla="*/ 1501770 h 1505806"/>
                <a:gd name="connsiteX1397" fmla="*/ 1432877 w 2017827"/>
                <a:gd name="connsiteY1397" fmla="*/ 1503216 h 1505806"/>
                <a:gd name="connsiteX1398" fmla="*/ 1436344 w 2017827"/>
                <a:gd name="connsiteY1398" fmla="*/ 1505807 h 1505806"/>
                <a:gd name="connsiteX1399" fmla="*/ 1439238 w 2017827"/>
                <a:gd name="connsiteY1399" fmla="*/ 1505807 h 1505806"/>
                <a:gd name="connsiteX1400" fmla="*/ 1443310 w 2017827"/>
                <a:gd name="connsiteY1400" fmla="*/ 1500592 h 1505806"/>
                <a:gd name="connsiteX1401" fmla="*/ 1447383 w 2017827"/>
                <a:gd name="connsiteY1401" fmla="*/ 1500592 h 1505806"/>
                <a:gd name="connsiteX1402" fmla="*/ 1449402 w 2017827"/>
                <a:gd name="connsiteY1402" fmla="*/ 1497262 h 1505806"/>
                <a:gd name="connsiteX1403" fmla="*/ 1452868 w 2017827"/>
                <a:gd name="connsiteY1403" fmla="*/ 1490736 h 1505806"/>
                <a:gd name="connsiteX1404" fmla="*/ 1453743 w 2017827"/>
                <a:gd name="connsiteY1404" fmla="*/ 1485825 h 1505806"/>
                <a:gd name="connsiteX1405" fmla="*/ 1453171 w 2017827"/>
                <a:gd name="connsiteY1405" fmla="*/ 1481182 h 1505806"/>
                <a:gd name="connsiteX1406" fmla="*/ 1451724 w 2017827"/>
                <a:gd name="connsiteY1406" fmla="*/ 1477112 h 1505806"/>
                <a:gd name="connsiteX1407" fmla="*/ 1452027 w 2017827"/>
                <a:gd name="connsiteY1407" fmla="*/ 1471595 h 1505806"/>
                <a:gd name="connsiteX1408" fmla="*/ 1451152 w 2017827"/>
                <a:gd name="connsiteY1408" fmla="*/ 1464934 h 1505806"/>
                <a:gd name="connsiteX1409" fmla="*/ 1451152 w 2017827"/>
                <a:gd name="connsiteY1409" fmla="*/ 1460797 h 1505806"/>
                <a:gd name="connsiteX1410" fmla="*/ 1450782 w 2017827"/>
                <a:gd name="connsiteY1410" fmla="*/ 1457433 h 1505806"/>
                <a:gd name="connsiteX1411" fmla="*/ 1448998 w 2017827"/>
                <a:gd name="connsiteY1411" fmla="*/ 1453968 h 1505806"/>
                <a:gd name="connsiteX1412" fmla="*/ 1444320 w 2017827"/>
                <a:gd name="connsiteY1412" fmla="*/ 1450267 h 1505806"/>
                <a:gd name="connsiteX1413" fmla="*/ 1441729 w 2017827"/>
                <a:gd name="connsiteY1413" fmla="*/ 1449191 h 1505806"/>
                <a:gd name="connsiteX1414" fmla="*/ 1438464 w 2017827"/>
                <a:gd name="connsiteY1414" fmla="*/ 1447879 h 1505806"/>
                <a:gd name="connsiteX1415" fmla="*/ 1434560 w 2017827"/>
                <a:gd name="connsiteY1415" fmla="*/ 1445827 h 1505806"/>
                <a:gd name="connsiteX1416" fmla="*/ 1429344 w 2017827"/>
                <a:gd name="connsiteY1416" fmla="*/ 1444750 h 1505806"/>
                <a:gd name="connsiteX1417" fmla="*/ 1428570 w 2017827"/>
                <a:gd name="connsiteY1417" fmla="*/ 1440613 h 1505806"/>
                <a:gd name="connsiteX1418" fmla="*/ 1428570 w 2017827"/>
                <a:gd name="connsiteY1418" fmla="*/ 1437148 h 1505806"/>
                <a:gd name="connsiteX1419" fmla="*/ 1429175 w 2017827"/>
                <a:gd name="connsiteY1419" fmla="*/ 1433448 h 1505806"/>
                <a:gd name="connsiteX1420" fmla="*/ 1429882 w 2017827"/>
                <a:gd name="connsiteY1420" fmla="*/ 1430958 h 1505806"/>
                <a:gd name="connsiteX1421" fmla="*/ 1430522 w 2017827"/>
                <a:gd name="connsiteY1421" fmla="*/ 1429983 h 1505806"/>
                <a:gd name="connsiteX1422" fmla="*/ 1432137 w 2017827"/>
                <a:gd name="connsiteY1422" fmla="*/ 1426821 h 1505806"/>
                <a:gd name="connsiteX1423" fmla="*/ 1432238 w 2017827"/>
                <a:gd name="connsiteY1423" fmla="*/ 1425206 h 1505806"/>
                <a:gd name="connsiteX1424" fmla="*/ 1428873 w 2017827"/>
                <a:gd name="connsiteY1424" fmla="*/ 1422380 h 1505806"/>
                <a:gd name="connsiteX1425" fmla="*/ 1428772 w 2017827"/>
                <a:gd name="connsiteY1425" fmla="*/ 1419353 h 1505806"/>
                <a:gd name="connsiteX1426" fmla="*/ 1428233 w 2017827"/>
                <a:gd name="connsiteY1426" fmla="*/ 1417603 h 1505806"/>
                <a:gd name="connsiteX1427" fmla="*/ 1429748 w 2017827"/>
                <a:gd name="connsiteY1427" fmla="*/ 1415417 h 1505806"/>
                <a:gd name="connsiteX1428" fmla="*/ 1433786 w 2017827"/>
                <a:gd name="connsiteY1428" fmla="*/ 1413802 h 1505806"/>
                <a:gd name="connsiteX1429" fmla="*/ 1435536 w 2017827"/>
                <a:gd name="connsiteY1429" fmla="*/ 1412389 h 1505806"/>
                <a:gd name="connsiteX1430" fmla="*/ 1440753 w 2017827"/>
                <a:gd name="connsiteY1430" fmla="*/ 1409799 h 1505806"/>
                <a:gd name="connsiteX1431" fmla="*/ 1443916 w 2017827"/>
                <a:gd name="connsiteY1431" fmla="*/ 1407949 h 1505806"/>
                <a:gd name="connsiteX1432" fmla="*/ 1445969 w 2017827"/>
                <a:gd name="connsiteY1432" fmla="*/ 1406704 h 1505806"/>
                <a:gd name="connsiteX1433" fmla="*/ 1450311 w 2017827"/>
                <a:gd name="connsiteY1433" fmla="*/ 1406637 h 1505806"/>
                <a:gd name="connsiteX1434" fmla="*/ 1458893 w 2017827"/>
                <a:gd name="connsiteY1434" fmla="*/ 1406637 h 1505806"/>
                <a:gd name="connsiteX1435" fmla="*/ 1463133 w 2017827"/>
                <a:gd name="connsiteY1435" fmla="*/ 1405661 h 1505806"/>
                <a:gd name="connsiteX1436" fmla="*/ 1467138 w 2017827"/>
                <a:gd name="connsiteY1436" fmla="*/ 1403710 h 1505806"/>
                <a:gd name="connsiteX1437" fmla="*/ 1468989 w 2017827"/>
                <a:gd name="connsiteY1437" fmla="*/ 1401221 h 1505806"/>
                <a:gd name="connsiteX1438" fmla="*/ 1471479 w 2017827"/>
                <a:gd name="connsiteY1438" fmla="*/ 1399808 h 1505806"/>
                <a:gd name="connsiteX1439" fmla="*/ 1472893 w 2017827"/>
                <a:gd name="connsiteY1439" fmla="*/ 1398059 h 1505806"/>
                <a:gd name="connsiteX1440" fmla="*/ 1476359 w 2017827"/>
                <a:gd name="connsiteY1440" fmla="*/ 1398059 h 1505806"/>
                <a:gd name="connsiteX1441" fmla="*/ 1479826 w 2017827"/>
                <a:gd name="connsiteY1441" fmla="*/ 1399808 h 1505806"/>
                <a:gd name="connsiteX1442" fmla="*/ 1483292 w 2017827"/>
                <a:gd name="connsiteY1442" fmla="*/ 1399808 h 1505806"/>
                <a:gd name="connsiteX1443" fmla="*/ 1485042 w 2017827"/>
                <a:gd name="connsiteY1443" fmla="*/ 1399808 h 1505806"/>
                <a:gd name="connsiteX1444" fmla="*/ 1486792 w 2017827"/>
                <a:gd name="connsiteY1444" fmla="*/ 1398362 h 1505806"/>
                <a:gd name="connsiteX1445" fmla="*/ 1488105 w 2017827"/>
                <a:gd name="connsiteY1445" fmla="*/ 1396780 h 1505806"/>
                <a:gd name="connsiteX1446" fmla="*/ 1489989 w 2017827"/>
                <a:gd name="connsiteY1446" fmla="*/ 1392004 h 1505806"/>
                <a:gd name="connsiteX1447" fmla="*/ 1491134 w 2017827"/>
                <a:gd name="connsiteY1447" fmla="*/ 1388539 h 1505806"/>
                <a:gd name="connsiteX1448" fmla="*/ 1491134 w 2017827"/>
                <a:gd name="connsiteY1448" fmla="*/ 1384906 h 1505806"/>
                <a:gd name="connsiteX1449" fmla="*/ 1486119 w 2017827"/>
                <a:gd name="connsiteY1449" fmla="*/ 1378548 h 1505806"/>
                <a:gd name="connsiteX1450" fmla="*/ 1481273 w 2017827"/>
                <a:gd name="connsiteY1450" fmla="*/ 1372324 h 1505806"/>
                <a:gd name="connsiteX1451" fmla="*/ 1479691 w 2017827"/>
                <a:gd name="connsiteY1451" fmla="*/ 1365933 h 1505806"/>
                <a:gd name="connsiteX1452" fmla="*/ 1477234 w 2017827"/>
                <a:gd name="connsiteY1452" fmla="*/ 1355202 h 1505806"/>
                <a:gd name="connsiteX1453" fmla="*/ 1477537 w 2017827"/>
                <a:gd name="connsiteY1453" fmla="*/ 1350694 h 1505806"/>
                <a:gd name="connsiteX1454" fmla="*/ 1474205 w 2017827"/>
                <a:gd name="connsiteY1454" fmla="*/ 1349954 h 1505806"/>
                <a:gd name="connsiteX1455" fmla="*/ 1470739 w 2017827"/>
                <a:gd name="connsiteY1455" fmla="*/ 1347498 h 1505806"/>
                <a:gd name="connsiteX1456" fmla="*/ 1463772 w 2017827"/>
                <a:gd name="connsiteY1456" fmla="*/ 1342284 h 1505806"/>
                <a:gd name="connsiteX1457" fmla="*/ 1457816 w 2017827"/>
                <a:gd name="connsiteY1457" fmla="*/ 1340098 h 1505806"/>
                <a:gd name="connsiteX1458" fmla="*/ 1458085 w 2017827"/>
                <a:gd name="connsiteY1458" fmla="*/ 1334614 h 1505806"/>
                <a:gd name="connsiteX1459" fmla="*/ 1458085 w 2017827"/>
                <a:gd name="connsiteY1459" fmla="*/ 1329097 h 1505806"/>
                <a:gd name="connsiteX1460" fmla="*/ 1457580 w 2017827"/>
                <a:gd name="connsiteY1460" fmla="*/ 1323883 h 1505806"/>
                <a:gd name="connsiteX1461" fmla="*/ 1453171 w 2017827"/>
                <a:gd name="connsiteY1461" fmla="*/ 1324758 h 1505806"/>
                <a:gd name="connsiteX1462" fmla="*/ 1444185 w 2017827"/>
                <a:gd name="connsiteY1462" fmla="*/ 1318400 h 1505806"/>
                <a:gd name="connsiteX1463" fmla="*/ 1439541 w 2017827"/>
                <a:gd name="connsiteY1463" fmla="*/ 1312311 h 1505806"/>
                <a:gd name="connsiteX1464" fmla="*/ 1431430 w 2017827"/>
                <a:gd name="connsiteY1464" fmla="*/ 1307669 h 1505806"/>
                <a:gd name="connsiteX1465" fmla="*/ 1422747 w 2017827"/>
                <a:gd name="connsiteY1465" fmla="*/ 1300134 h 1505806"/>
                <a:gd name="connsiteX1466" fmla="*/ 1423892 w 2017827"/>
                <a:gd name="connsiteY1466" fmla="*/ 1294348 h 1505806"/>
                <a:gd name="connsiteX1467" fmla="*/ 1424767 w 2017827"/>
                <a:gd name="connsiteY1467" fmla="*/ 1286812 h 1505806"/>
                <a:gd name="connsiteX1468" fmla="*/ 1430555 w 2017827"/>
                <a:gd name="connsiteY1468" fmla="*/ 1283919 h 1505806"/>
                <a:gd name="connsiteX1469" fmla="*/ 1432575 w 2017827"/>
                <a:gd name="connsiteY1469" fmla="*/ 1275812 h 1505806"/>
                <a:gd name="connsiteX1470" fmla="*/ 1430252 w 2017827"/>
                <a:gd name="connsiteY1470" fmla="*/ 1271742 h 1505806"/>
                <a:gd name="connsiteX1471" fmla="*/ 1425608 w 2017827"/>
                <a:gd name="connsiteY1471" fmla="*/ 1262188 h 1505806"/>
                <a:gd name="connsiteX1472" fmla="*/ 1418642 w 2017827"/>
                <a:gd name="connsiteY1472" fmla="*/ 1249439 h 1505806"/>
                <a:gd name="connsiteX1473" fmla="*/ 1412853 w 2017827"/>
                <a:gd name="connsiteY1473" fmla="*/ 1237261 h 1505806"/>
                <a:gd name="connsiteX1474" fmla="*/ 1412853 w 2017827"/>
                <a:gd name="connsiteY1474" fmla="*/ 1229154 h 1505806"/>
                <a:gd name="connsiteX1475" fmla="*/ 1417194 w 2017827"/>
                <a:gd name="connsiteY1475" fmla="*/ 1225958 h 1505806"/>
                <a:gd name="connsiteX1476" fmla="*/ 1427930 w 2017827"/>
                <a:gd name="connsiteY1476" fmla="*/ 1225958 h 1505806"/>
                <a:gd name="connsiteX1477" fmla="*/ 1432002 w 2017827"/>
                <a:gd name="connsiteY1477" fmla="*/ 1223503 h 1505806"/>
                <a:gd name="connsiteX1478" fmla="*/ 1436344 w 2017827"/>
                <a:gd name="connsiteY1478" fmla="*/ 1219600 h 1505806"/>
                <a:gd name="connsiteX1479" fmla="*/ 1445330 w 2017827"/>
                <a:gd name="connsiteY1479" fmla="*/ 1213814 h 1505806"/>
                <a:gd name="connsiteX1480" fmla="*/ 1450243 w 2017827"/>
                <a:gd name="connsiteY1480" fmla="*/ 1207154 h 1505806"/>
                <a:gd name="connsiteX1481" fmla="*/ 1454585 w 2017827"/>
                <a:gd name="connsiteY1481" fmla="*/ 1204833 h 1505806"/>
                <a:gd name="connsiteX1482" fmla="*/ 1463873 w 2017827"/>
                <a:gd name="connsiteY1482" fmla="*/ 1203958 h 1505806"/>
                <a:gd name="connsiteX1483" fmla="*/ 1471715 w 2017827"/>
                <a:gd name="connsiteY1483" fmla="*/ 1208600 h 1505806"/>
                <a:gd name="connsiteX1484" fmla="*/ 1483292 w 2017827"/>
                <a:gd name="connsiteY1484" fmla="*/ 1212065 h 1505806"/>
                <a:gd name="connsiteX1485" fmla="*/ 1499817 w 2017827"/>
                <a:gd name="connsiteY1485" fmla="*/ 1212065 h 1505806"/>
                <a:gd name="connsiteX1486" fmla="*/ 1515466 w 2017827"/>
                <a:gd name="connsiteY1486" fmla="*/ 1209609 h 1505806"/>
                <a:gd name="connsiteX1487" fmla="*/ 1530240 w 2017827"/>
                <a:gd name="connsiteY1487" fmla="*/ 1206582 h 1505806"/>
                <a:gd name="connsiteX1488" fmla="*/ 1548784 w 2017827"/>
                <a:gd name="connsiteY1488" fmla="*/ 1203117 h 1505806"/>
                <a:gd name="connsiteX1489" fmla="*/ 1558073 w 2017827"/>
                <a:gd name="connsiteY1489" fmla="*/ 1201671 h 1505806"/>
                <a:gd name="connsiteX1490" fmla="*/ 1565039 w 2017827"/>
                <a:gd name="connsiteY1490" fmla="*/ 1201671 h 1505806"/>
                <a:gd name="connsiteX1491" fmla="*/ 1574025 w 2017827"/>
                <a:gd name="connsiteY1491" fmla="*/ 1201671 h 1505806"/>
                <a:gd name="connsiteX1492" fmla="*/ 1579241 w 2017827"/>
                <a:gd name="connsiteY1492" fmla="*/ 1198912 h 1505806"/>
                <a:gd name="connsiteX1493" fmla="*/ 1582708 w 2017827"/>
                <a:gd name="connsiteY1493" fmla="*/ 1194404 h 1505806"/>
                <a:gd name="connsiteX1494" fmla="*/ 1592838 w 2017827"/>
                <a:gd name="connsiteY1494" fmla="*/ 1194404 h 1505806"/>
                <a:gd name="connsiteX1495" fmla="*/ 1600646 w 2017827"/>
                <a:gd name="connsiteY1495" fmla="*/ 1192386 h 1505806"/>
                <a:gd name="connsiteX1496" fmla="*/ 1607881 w 2017827"/>
                <a:gd name="connsiteY1496" fmla="*/ 1189762 h 1505806"/>
                <a:gd name="connsiteX1497" fmla="*/ 1611651 w 2017827"/>
                <a:gd name="connsiteY1497" fmla="*/ 1194404 h 1505806"/>
                <a:gd name="connsiteX1498" fmla="*/ 1617742 w 2017827"/>
                <a:gd name="connsiteY1498" fmla="*/ 1192958 h 1505806"/>
                <a:gd name="connsiteX1499" fmla="*/ 1626156 w 2017827"/>
                <a:gd name="connsiteY1499" fmla="*/ 1185994 h 1505806"/>
                <a:gd name="connsiteX1500" fmla="*/ 1637464 w 2017827"/>
                <a:gd name="connsiteY1500" fmla="*/ 1181352 h 1505806"/>
                <a:gd name="connsiteX1501" fmla="*/ 1641536 w 2017827"/>
                <a:gd name="connsiteY1501" fmla="*/ 1185994 h 1505806"/>
                <a:gd name="connsiteX1502" fmla="*/ 1649377 w 2017827"/>
                <a:gd name="connsiteY1502" fmla="*/ 1185994 h 1505806"/>
                <a:gd name="connsiteX1503" fmla="*/ 1652575 w 2017827"/>
                <a:gd name="connsiteY1503" fmla="*/ 1184413 h 1505806"/>
                <a:gd name="connsiteX1504" fmla="*/ 1670243 w 2017827"/>
                <a:gd name="connsiteY1504" fmla="*/ 1181655 h 1505806"/>
                <a:gd name="connsiteX1505" fmla="*/ 1670243 w 2017827"/>
                <a:gd name="connsiteY1505" fmla="*/ 1177147 h 1505806"/>
                <a:gd name="connsiteX1506" fmla="*/ 1673609 w 2017827"/>
                <a:gd name="connsiteY1506" fmla="*/ 1174422 h 1505806"/>
                <a:gd name="connsiteX1507" fmla="*/ 1673676 w 2017827"/>
                <a:gd name="connsiteY1507" fmla="*/ 1174422 h 1505806"/>
                <a:gd name="connsiteX1508" fmla="*/ 1673575 w 2017827"/>
                <a:gd name="connsiteY1508" fmla="*/ 1173514 h 1505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</a:cxnLst>
              <a:rect l="l" t="t" r="r" b="b"/>
              <a:pathLst>
                <a:path w="2017827" h="1505806">
                  <a:moveTo>
                    <a:pt x="1673575" y="1173514"/>
                  </a:moveTo>
                  <a:cubicBezTo>
                    <a:pt x="1673575" y="1173514"/>
                    <a:pt x="1674114" y="1170789"/>
                    <a:pt x="1674349" y="1170352"/>
                  </a:cubicBezTo>
                  <a:cubicBezTo>
                    <a:pt x="1674551" y="1169915"/>
                    <a:pt x="1674887" y="1168939"/>
                    <a:pt x="1674989" y="1168502"/>
                  </a:cubicBezTo>
                  <a:cubicBezTo>
                    <a:pt x="1675090" y="1168065"/>
                    <a:pt x="1675527" y="1167526"/>
                    <a:pt x="1675527" y="1166854"/>
                  </a:cubicBezTo>
                  <a:cubicBezTo>
                    <a:pt x="1675527" y="1166214"/>
                    <a:pt x="1676301" y="1163153"/>
                    <a:pt x="1676301" y="1162716"/>
                  </a:cubicBezTo>
                  <a:cubicBezTo>
                    <a:pt x="1676301" y="1162278"/>
                    <a:pt x="1676739" y="1159991"/>
                    <a:pt x="1676739" y="1159991"/>
                  </a:cubicBezTo>
                  <a:cubicBezTo>
                    <a:pt x="1676739" y="1159991"/>
                    <a:pt x="1676941" y="1157939"/>
                    <a:pt x="1676941" y="1157502"/>
                  </a:cubicBezTo>
                  <a:cubicBezTo>
                    <a:pt x="1676941" y="1157064"/>
                    <a:pt x="1677041" y="1155651"/>
                    <a:pt x="1677041" y="1155651"/>
                  </a:cubicBezTo>
                  <a:lnTo>
                    <a:pt x="1677041" y="1153902"/>
                  </a:lnTo>
                  <a:cubicBezTo>
                    <a:pt x="1677041" y="1153902"/>
                    <a:pt x="1676772" y="1151615"/>
                    <a:pt x="1676671" y="1150875"/>
                  </a:cubicBezTo>
                  <a:cubicBezTo>
                    <a:pt x="1676570" y="1150101"/>
                    <a:pt x="1676402" y="1149125"/>
                    <a:pt x="1676402" y="1149125"/>
                  </a:cubicBezTo>
                  <a:lnTo>
                    <a:pt x="1674551" y="1147914"/>
                  </a:lnTo>
                  <a:lnTo>
                    <a:pt x="1673575" y="1146939"/>
                  </a:lnTo>
                  <a:lnTo>
                    <a:pt x="1669570" y="1144349"/>
                  </a:lnTo>
                  <a:lnTo>
                    <a:pt x="1668796" y="1143810"/>
                  </a:lnTo>
                  <a:lnTo>
                    <a:pt x="1668460" y="1140648"/>
                  </a:lnTo>
                  <a:lnTo>
                    <a:pt x="1667820" y="1136511"/>
                  </a:lnTo>
                  <a:lnTo>
                    <a:pt x="1666609" y="1133046"/>
                  </a:lnTo>
                  <a:lnTo>
                    <a:pt x="1666609" y="1129682"/>
                  </a:lnTo>
                  <a:lnTo>
                    <a:pt x="1670075" y="1126082"/>
                  </a:lnTo>
                  <a:lnTo>
                    <a:pt x="1670075" y="1119018"/>
                  </a:lnTo>
                  <a:lnTo>
                    <a:pt x="1670916" y="1110204"/>
                  </a:lnTo>
                  <a:lnTo>
                    <a:pt x="1671825" y="1106941"/>
                  </a:lnTo>
                  <a:lnTo>
                    <a:pt x="1671825" y="1104116"/>
                  </a:lnTo>
                  <a:cubicBezTo>
                    <a:pt x="1671825" y="1104116"/>
                    <a:pt x="1671623" y="1102501"/>
                    <a:pt x="1671287" y="1102030"/>
                  </a:cubicBezTo>
                  <a:cubicBezTo>
                    <a:pt x="1670950" y="1101593"/>
                    <a:pt x="1670647" y="1100819"/>
                    <a:pt x="1670950" y="1100079"/>
                  </a:cubicBezTo>
                  <a:cubicBezTo>
                    <a:pt x="1671287" y="1099305"/>
                    <a:pt x="1670950" y="1098229"/>
                    <a:pt x="1670950" y="1098229"/>
                  </a:cubicBezTo>
                  <a:lnTo>
                    <a:pt x="1672566" y="1095504"/>
                  </a:lnTo>
                  <a:lnTo>
                    <a:pt x="1675056" y="1091804"/>
                  </a:lnTo>
                  <a:cubicBezTo>
                    <a:pt x="1675056" y="1091804"/>
                    <a:pt x="1676368" y="1089314"/>
                    <a:pt x="1676907" y="1088641"/>
                  </a:cubicBezTo>
                  <a:cubicBezTo>
                    <a:pt x="1677445" y="1088002"/>
                    <a:pt x="1680373" y="1086589"/>
                    <a:pt x="1680373" y="1086589"/>
                  </a:cubicBezTo>
                  <a:cubicBezTo>
                    <a:pt x="1680373" y="1086589"/>
                    <a:pt x="1682998" y="1083663"/>
                    <a:pt x="1683974" y="1081712"/>
                  </a:cubicBezTo>
                  <a:cubicBezTo>
                    <a:pt x="1684950" y="1079760"/>
                    <a:pt x="1684614" y="1080938"/>
                    <a:pt x="1686027" y="1079660"/>
                  </a:cubicBezTo>
                  <a:cubicBezTo>
                    <a:pt x="1687441" y="1078348"/>
                    <a:pt x="1687643" y="1077809"/>
                    <a:pt x="1688518" y="1076598"/>
                  </a:cubicBezTo>
                  <a:cubicBezTo>
                    <a:pt x="1689393" y="1075421"/>
                    <a:pt x="1689729" y="1073571"/>
                    <a:pt x="1689830" y="1073133"/>
                  </a:cubicBezTo>
                  <a:cubicBezTo>
                    <a:pt x="1689931" y="1072696"/>
                    <a:pt x="1689628" y="1070745"/>
                    <a:pt x="1689628" y="1070745"/>
                  </a:cubicBezTo>
                  <a:lnTo>
                    <a:pt x="1688551" y="1066506"/>
                  </a:lnTo>
                  <a:lnTo>
                    <a:pt x="1689022" y="1043699"/>
                  </a:lnTo>
                  <a:cubicBezTo>
                    <a:pt x="1689022" y="1043699"/>
                    <a:pt x="1689527" y="1041647"/>
                    <a:pt x="1689527" y="1041209"/>
                  </a:cubicBezTo>
                  <a:cubicBezTo>
                    <a:pt x="1689527" y="1040772"/>
                    <a:pt x="1689628" y="1039595"/>
                    <a:pt x="1689191" y="1039023"/>
                  </a:cubicBezTo>
                  <a:cubicBezTo>
                    <a:pt x="1688753" y="1038485"/>
                    <a:pt x="1689191" y="1037375"/>
                    <a:pt x="1689191" y="1037375"/>
                  </a:cubicBezTo>
                  <a:lnTo>
                    <a:pt x="1689191" y="1033910"/>
                  </a:lnTo>
                  <a:lnTo>
                    <a:pt x="1689191" y="1032160"/>
                  </a:lnTo>
                  <a:lnTo>
                    <a:pt x="1691109" y="1032059"/>
                  </a:lnTo>
                  <a:lnTo>
                    <a:pt x="1693330" y="1032160"/>
                  </a:lnTo>
                  <a:cubicBezTo>
                    <a:pt x="1693330" y="1032160"/>
                    <a:pt x="1695720" y="1032699"/>
                    <a:pt x="1696157" y="1032699"/>
                  </a:cubicBezTo>
                  <a:cubicBezTo>
                    <a:pt x="1696595" y="1032699"/>
                    <a:pt x="1698883" y="1033876"/>
                    <a:pt x="1698883" y="1033876"/>
                  </a:cubicBezTo>
                  <a:cubicBezTo>
                    <a:pt x="1698883" y="1033876"/>
                    <a:pt x="1703326" y="1034953"/>
                    <a:pt x="1703763" y="1035188"/>
                  </a:cubicBezTo>
                  <a:cubicBezTo>
                    <a:pt x="1704201" y="1035423"/>
                    <a:pt x="1708206" y="1035289"/>
                    <a:pt x="1709081" y="1035289"/>
                  </a:cubicBezTo>
                  <a:cubicBezTo>
                    <a:pt x="1709956" y="1035289"/>
                    <a:pt x="1715071" y="1038451"/>
                    <a:pt x="1715711" y="1038451"/>
                  </a:cubicBezTo>
                  <a:cubicBezTo>
                    <a:pt x="1716350" y="1038451"/>
                    <a:pt x="1718975" y="1039628"/>
                    <a:pt x="1719312" y="1039763"/>
                  </a:cubicBezTo>
                  <a:cubicBezTo>
                    <a:pt x="1719648" y="1039864"/>
                    <a:pt x="1720826" y="1040537"/>
                    <a:pt x="1722374" y="1040638"/>
                  </a:cubicBezTo>
                  <a:cubicBezTo>
                    <a:pt x="1723889" y="1040739"/>
                    <a:pt x="1723889" y="1040974"/>
                    <a:pt x="1726413" y="1040974"/>
                  </a:cubicBezTo>
                  <a:cubicBezTo>
                    <a:pt x="1728903" y="1040974"/>
                    <a:pt x="1728903" y="1041075"/>
                    <a:pt x="1729240" y="1040873"/>
                  </a:cubicBezTo>
                  <a:cubicBezTo>
                    <a:pt x="1729576" y="1040638"/>
                    <a:pt x="1731528" y="1040772"/>
                    <a:pt x="1732841" y="1040671"/>
                  </a:cubicBezTo>
                  <a:cubicBezTo>
                    <a:pt x="1734153" y="1040570"/>
                    <a:pt x="1734692" y="1040133"/>
                    <a:pt x="1735769" y="1039898"/>
                  </a:cubicBezTo>
                  <a:cubicBezTo>
                    <a:pt x="1736846" y="1039696"/>
                    <a:pt x="1737956" y="1039258"/>
                    <a:pt x="1738394" y="1038922"/>
                  </a:cubicBezTo>
                  <a:cubicBezTo>
                    <a:pt x="1738831" y="1038586"/>
                    <a:pt x="1739471" y="1038283"/>
                    <a:pt x="1739471" y="1038283"/>
                  </a:cubicBezTo>
                  <a:lnTo>
                    <a:pt x="1741221" y="1037745"/>
                  </a:lnTo>
                  <a:cubicBezTo>
                    <a:pt x="1741221" y="1037745"/>
                    <a:pt x="1742399" y="1037307"/>
                    <a:pt x="1743509" y="1037105"/>
                  </a:cubicBezTo>
                  <a:cubicBezTo>
                    <a:pt x="1744586" y="1036904"/>
                    <a:pt x="1744923" y="1036668"/>
                    <a:pt x="1745461" y="1036231"/>
                  </a:cubicBezTo>
                  <a:cubicBezTo>
                    <a:pt x="1746000" y="1035794"/>
                    <a:pt x="1746538" y="1035794"/>
                    <a:pt x="1747211" y="1035592"/>
                  </a:cubicBezTo>
                  <a:cubicBezTo>
                    <a:pt x="1747851" y="1035390"/>
                    <a:pt x="1748827" y="1034717"/>
                    <a:pt x="1749163" y="1034381"/>
                  </a:cubicBezTo>
                  <a:cubicBezTo>
                    <a:pt x="1749500" y="1034044"/>
                    <a:pt x="1750476" y="1033304"/>
                    <a:pt x="1750476" y="1033304"/>
                  </a:cubicBezTo>
                  <a:lnTo>
                    <a:pt x="1751889" y="1032228"/>
                  </a:lnTo>
                  <a:lnTo>
                    <a:pt x="1753404" y="1031689"/>
                  </a:lnTo>
                  <a:lnTo>
                    <a:pt x="1754481" y="1031252"/>
                  </a:lnTo>
                  <a:cubicBezTo>
                    <a:pt x="1754481" y="1031252"/>
                    <a:pt x="1755995" y="1030815"/>
                    <a:pt x="1756433" y="1030377"/>
                  </a:cubicBezTo>
                  <a:cubicBezTo>
                    <a:pt x="1756870" y="1029940"/>
                    <a:pt x="1757745" y="1029200"/>
                    <a:pt x="1758385" y="1028763"/>
                  </a:cubicBezTo>
                  <a:cubicBezTo>
                    <a:pt x="1759024" y="1028326"/>
                    <a:pt x="1759563" y="1027552"/>
                    <a:pt x="1759563" y="1027552"/>
                  </a:cubicBezTo>
                  <a:lnTo>
                    <a:pt x="1760337" y="1027014"/>
                  </a:lnTo>
                  <a:lnTo>
                    <a:pt x="1761212" y="1026576"/>
                  </a:lnTo>
                  <a:lnTo>
                    <a:pt x="1762524" y="1025399"/>
                  </a:lnTo>
                  <a:cubicBezTo>
                    <a:pt x="1762524" y="1025399"/>
                    <a:pt x="1763837" y="1024760"/>
                    <a:pt x="1764274" y="1024760"/>
                  </a:cubicBezTo>
                  <a:cubicBezTo>
                    <a:pt x="1764712" y="1024760"/>
                    <a:pt x="1766024" y="1023986"/>
                    <a:pt x="1766024" y="1023986"/>
                  </a:cubicBezTo>
                  <a:lnTo>
                    <a:pt x="1767101" y="1022775"/>
                  </a:lnTo>
                  <a:lnTo>
                    <a:pt x="1767976" y="1021026"/>
                  </a:lnTo>
                  <a:cubicBezTo>
                    <a:pt x="1767976" y="1021026"/>
                    <a:pt x="1769928" y="1018402"/>
                    <a:pt x="1770029" y="1017998"/>
                  </a:cubicBezTo>
                  <a:cubicBezTo>
                    <a:pt x="1770130" y="1017561"/>
                    <a:pt x="1771442" y="1016249"/>
                    <a:pt x="1771779" y="1015711"/>
                  </a:cubicBezTo>
                  <a:cubicBezTo>
                    <a:pt x="1772116" y="1015172"/>
                    <a:pt x="1772553" y="1013423"/>
                    <a:pt x="1772856" y="1012549"/>
                  </a:cubicBezTo>
                  <a:cubicBezTo>
                    <a:pt x="1773193" y="1011674"/>
                    <a:pt x="1775145" y="1008074"/>
                    <a:pt x="1775145" y="1008074"/>
                  </a:cubicBezTo>
                  <a:cubicBezTo>
                    <a:pt x="1775145" y="1008074"/>
                    <a:pt x="1779486" y="1002961"/>
                    <a:pt x="1780799" y="1002221"/>
                  </a:cubicBezTo>
                  <a:cubicBezTo>
                    <a:pt x="1782111" y="1001447"/>
                    <a:pt x="1785477" y="998958"/>
                    <a:pt x="1785477" y="998958"/>
                  </a:cubicBezTo>
                  <a:lnTo>
                    <a:pt x="1790357" y="990918"/>
                  </a:lnTo>
                  <a:lnTo>
                    <a:pt x="1797861" y="982441"/>
                  </a:lnTo>
                  <a:lnTo>
                    <a:pt x="1807857" y="975814"/>
                  </a:lnTo>
                  <a:cubicBezTo>
                    <a:pt x="1807857" y="975814"/>
                    <a:pt x="1817112" y="970398"/>
                    <a:pt x="1817415" y="970163"/>
                  </a:cubicBezTo>
                  <a:cubicBezTo>
                    <a:pt x="1817751" y="969927"/>
                    <a:pt x="1825795" y="963973"/>
                    <a:pt x="1825795" y="963973"/>
                  </a:cubicBezTo>
                  <a:lnTo>
                    <a:pt x="1831449" y="959297"/>
                  </a:lnTo>
                  <a:lnTo>
                    <a:pt x="1845483" y="949306"/>
                  </a:lnTo>
                  <a:lnTo>
                    <a:pt x="1853627" y="942141"/>
                  </a:lnTo>
                  <a:cubicBezTo>
                    <a:pt x="1853627" y="942141"/>
                    <a:pt x="1856892" y="939752"/>
                    <a:pt x="1857329" y="939651"/>
                  </a:cubicBezTo>
                  <a:cubicBezTo>
                    <a:pt x="1857767" y="939550"/>
                    <a:pt x="1860796" y="936725"/>
                    <a:pt x="1861334" y="936287"/>
                  </a:cubicBezTo>
                  <a:cubicBezTo>
                    <a:pt x="1861873" y="935850"/>
                    <a:pt x="1865473" y="934000"/>
                    <a:pt x="1866651" y="933024"/>
                  </a:cubicBezTo>
                  <a:cubicBezTo>
                    <a:pt x="1867863" y="932049"/>
                    <a:pt x="1871868" y="930737"/>
                    <a:pt x="1872844" y="930098"/>
                  </a:cubicBezTo>
                  <a:cubicBezTo>
                    <a:pt x="1873820" y="929425"/>
                    <a:pt x="1877959" y="928046"/>
                    <a:pt x="1877959" y="928046"/>
                  </a:cubicBezTo>
                  <a:lnTo>
                    <a:pt x="1882099" y="925018"/>
                  </a:lnTo>
                  <a:lnTo>
                    <a:pt x="1897210" y="922966"/>
                  </a:lnTo>
                  <a:lnTo>
                    <a:pt x="1915787" y="918055"/>
                  </a:lnTo>
                  <a:lnTo>
                    <a:pt x="1918816" y="917617"/>
                  </a:lnTo>
                  <a:cubicBezTo>
                    <a:pt x="1918816" y="917617"/>
                    <a:pt x="1922619" y="918694"/>
                    <a:pt x="1925008" y="920006"/>
                  </a:cubicBezTo>
                  <a:cubicBezTo>
                    <a:pt x="1927398" y="921318"/>
                    <a:pt x="1927196" y="919669"/>
                    <a:pt x="1927936" y="919569"/>
                  </a:cubicBezTo>
                  <a:cubicBezTo>
                    <a:pt x="1928710" y="919468"/>
                    <a:pt x="1930864" y="918257"/>
                    <a:pt x="1931201" y="918257"/>
                  </a:cubicBezTo>
                  <a:cubicBezTo>
                    <a:pt x="1931537" y="918257"/>
                    <a:pt x="1934364" y="917517"/>
                    <a:pt x="1934364" y="917517"/>
                  </a:cubicBezTo>
                  <a:cubicBezTo>
                    <a:pt x="1934364" y="917517"/>
                    <a:pt x="1938369" y="914893"/>
                    <a:pt x="1938807" y="914893"/>
                  </a:cubicBezTo>
                  <a:cubicBezTo>
                    <a:pt x="1939244" y="914893"/>
                    <a:pt x="1942273" y="914893"/>
                    <a:pt x="1942273" y="914893"/>
                  </a:cubicBezTo>
                  <a:cubicBezTo>
                    <a:pt x="1942273" y="914893"/>
                    <a:pt x="1944999" y="915666"/>
                    <a:pt x="1946615" y="915666"/>
                  </a:cubicBezTo>
                  <a:cubicBezTo>
                    <a:pt x="1948230" y="915666"/>
                    <a:pt x="1951192" y="917617"/>
                    <a:pt x="1951629" y="917617"/>
                  </a:cubicBezTo>
                  <a:cubicBezTo>
                    <a:pt x="1952067" y="917617"/>
                    <a:pt x="1956072" y="918694"/>
                    <a:pt x="1956509" y="918828"/>
                  </a:cubicBezTo>
                  <a:cubicBezTo>
                    <a:pt x="1956947" y="918929"/>
                    <a:pt x="1966841" y="922091"/>
                    <a:pt x="1967279" y="922091"/>
                  </a:cubicBezTo>
                  <a:cubicBezTo>
                    <a:pt x="1967716" y="922091"/>
                    <a:pt x="1975961" y="921991"/>
                    <a:pt x="1976197" y="921553"/>
                  </a:cubicBezTo>
                  <a:cubicBezTo>
                    <a:pt x="1976399" y="921116"/>
                    <a:pt x="1980337" y="915902"/>
                    <a:pt x="1980337" y="915902"/>
                  </a:cubicBezTo>
                  <a:cubicBezTo>
                    <a:pt x="1980337" y="915902"/>
                    <a:pt x="1983702" y="913715"/>
                    <a:pt x="1983803" y="913413"/>
                  </a:cubicBezTo>
                  <a:cubicBezTo>
                    <a:pt x="1983904" y="913076"/>
                    <a:pt x="1989659" y="910385"/>
                    <a:pt x="1989659" y="910385"/>
                  </a:cubicBezTo>
                  <a:cubicBezTo>
                    <a:pt x="1989659" y="910385"/>
                    <a:pt x="1991947" y="907896"/>
                    <a:pt x="1992250" y="907357"/>
                  </a:cubicBezTo>
                  <a:cubicBezTo>
                    <a:pt x="1992587" y="906819"/>
                    <a:pt x="1992048" y="904733"/>
                    <a:pt x="1992048" y="904733"/>
                  </a:cubicBezTo>
                  <a:lnTo>
                    <a:pt x="1987471" y="899519"/>
                  </a:lnTo>
                  <a:lnTo>
                    <a:pt x="1989659" y="888015"/>
                  </a:lnTo>
                  <a:lnTo>
                    <a:pt x="1992688" y="880076"/>
                  </a:lnTo>
                  <a:lnTo>
                    <a:pt x="1993563" y="869008"/>
                  </a:lnTo>
                  <a:lnTo>
                    <a:pt x="1992149" y="858344"/>
                  </a:lnTo>
                  <a:cubicBezTo>
                    <a:pt x="1992149" y="858344"/>
                    <a:pt x="1993125" y="852155"/>
                    <a:pt x="1993226" y="851818"/>
                  </a:cubicBezTo>
                  <a:cubicBezTo>
                    <a:pt x="1993327" y="851482"/>
                    <a:pt x="1993226" y="848017"/>
                    <a:pt x="1993226" y="847681"/>
                  </a:cubicBezTo>
                  <a:cubicBezTo>
                    <a:pt x="1993226" y="847344"/>
                    <a:pt x="1993664" y="843005"/>
                    <a:pt x="1993866" y="842467"/>
                  </a:cubicBezTo>
                  <a:cubicBezTo>
                    <a:pt x="1994068" y="841928"/>
                    <a:pt x="1996053" y="839876"/>
                    <a:pt x="1996457" y="839203"/>
                  </a:cubicBezTo>
                  <a:cubicBezTo>
                    <a:pt x="1996895" y="838564"/>
                    <a:pt x="2000058" y="837252"/>
                    <a:pt x="2002212" y="835739"/>
                  </a:cubicBezTo>
                  <a:cubicBezTo>
                    <a:pt x="2004400" y="834225"/>
                    <a:pt x="2008068" y="831735"/>
                    <a:pt x="2008405" y="831500"/>
                  </a:cubicBezTo>
                  <a:cubicBezTo>
                    <a:pt x="2008741" y="831264"/>
                    <a:pt x="2015674" y="830861"/>
                    <a:pt x="2015674" y="830861"/>
                  </a:cubicBezTo>
                  <a:lnTo>
                    <a:pt x="2017087" y="829179"/>
                  </a:lnTo>
                  <a:lnTo>
                    <a:pt x="2017828" y="827160"/>
                  </a:lnTo>
                  <a:lnTo>
                    <a:pt x="2017828" y="823696"/>
                  </a:lnTo>
                  <a:cubicBezTo>
                    <a:pt x="2017828" y="823696"/>
                    <a:pt x="2017828" y="816631"/>
                    <a:pt x="2017828" y="816194"/>
                  </a:cubicBezTo>
                  <a:cubicBezTo>
                    <a:pt x="2017828" y="815757"/>
                    <a:pt x="2017188" y="811955"/>
                    <a:pt x="2016751" y="810643"/>
                  </a:cubicBezTo>
                  <a:cubicBezTo>
                    <a:pt x="2016313" y="809331"/>
                    <a:pt x="2015337" y="807380"/>
                    <a:pt x="2014900" y="807044"/>
                  </a:cubicBezTo>
                  <a:cubicBezTo>
                    <a:pt x="2014462" y="806708"/>
                    <a:pt x="2012409" y="803344"/>
                    <a:pt x="2012174" y="802805"/>
                  </a:cubicBezTo>
                  <a:cubicBezTo>
                    <a:pt x="2011972" y="802267"/>
                    <a:pt x="2008371" y="798029"/>
                    <a:pt x="2008371" y="798029"/>
                  </a:cubicBezTo>
                  <a:cubicBezTo>
                    <a:pt x="2008371" y="798029"/>
                    <a:pt x="2005880" y="792814"/>
                    <a:pt x="2005880" y="792377"/>
                  </a:cubicBezTo>
                  <a:cubicBezTo>
                    <a:pt x="2005880" y="791940"/>
                    <a:pt x="2003491" y="789350"/>
                    <a:pt x="2003491" y="789350"/>
                  </a:cubicBezTo>
                  <a:lnTo>
                    <a:pt x="1997837" y="782487"/>
                  </a:lnTo>
                  <a:cubicBezTo>
                    <a:pt x="1997837" y="782487"/>
                    <a:pt x="1995650" y="778248"/>
                    <a:pt x="1995347" y="777710"/>
                  </a:cubicBezTo>
                  <a:cubicBezTo>
                    <a:pt x="1995010" y="777172"/>
                    <a:pt x="1990568" y="772933"/>
                    <a:pt x="1990568" y="772933"/>
                  </a:cubicBezTo>
                  <a:cubicBezTo>
                    <a:pt x="1990568" y="772933"/>
                    <a:pt x="1988077" y="769771"/>
                    <a:pt x="1987842" y="769468"/>
                  </a:cubicBezTo>
                  <a:cubicBezTo>
                    <a:pt x="1987640" y="769132"/>
                    <a:pt x="1982962" y="762606"/>
                    <a:pt x="1982962" y="762606"/>
                  </a:cubicBezTo>
                  <a:lnTo>
                    <a:pt x="1981346" y="755878"/>
                  </a:lnTo>
                  <a:lnTo>
                    <a:pt x="1981346" y="748040"/>
                  </a:lnTo>
                  <a:lnTo>
                    <a:pt x="1980370" y="735560"/>
                  </a:lnTo>
                  <a:lnTo>
                    <a:pt x="1978317" y="727419"/>
                  </a:lnTo>
                  <a:lnTo>
                    <a:pt x="1975591" y="719816"/>
                  </a:lnTo>
                  <a:lnTo>
                    <a:pt x="1974514" y="711137"/>
                  </a:lnTo>
                  <a:lnTo>
                    <a:pt x="1973538" y="702997"/>
                  </a:lnTo>
                  <a:lnTo>
                    <a:pt x="1974514" y="698993"/>
                  </a:lnTo>
                  <a:cubicBezTo>
                    <a:pt x="1974514" y="698993"/>
                    <a:pt x="1972764" y="690516"/>
                    <a:pt x="1972461" y="690180"/>
                  </a:cubicBezTo>
                  <a:cubicBezTo>
                    <a:pt x="1972125" y="689844"/>
                    <a:pt x="1971687" y="687455"/>
                    <a:pt x="1971216" y="686580"/>
                  </a:cubicBezTo>
                  <a:cubicBezTo>
                    <a:pt x="1970745" y="685706"/>
                    <a:pt x="1971384" y="682005"/>
                    <a:pt x="1971149" y="680929"/>
                  </a:cubicBezTo>
                  <a:cubicBezTo>
                    <a:pt x="1970913" y="679853"/>
                    <a:pt x="1971351" y="676051"/>
                    <a:pt x="1971149" y="674941"/>
                  </a:cubicBezTo>
                  <a:cubicBezTo>
                    <a:pt x="1970913" y="673865"/>
                    <a:pt x="1970173" y="673865"/>
                    <a:pt x="1969735" y="673730"/>
                  </a:cubicBezTo>
                  <a:cubicBezTo>
                    <a:pt x="1969298" y="673629"/>
                    <a:pt x="1967144" y="675681"/>
                    <a:pt x="1966706" y="676455"/>
                  </a:cubicBezTo>
                  <a:cubicBezTo>
                    <a:pt x="1966269" y="677229"/>
                    <a:pt x="1962028" y="676892"/>
                    <a:pt x="1961591" y="676657"/>
                  </a:cubicBezTo>
                  <a:cubicBezTo>
                    <a:pt x="1961154" y="676455"/>
                    <a:pt x="1958326" y="674268"/>
                    <a:pt x="1958326" y="674268"/>
                  </a:cubicBezTo>
                  <a:cubicBezTo>
                    <a:pt x="1958326" y="674268"/>
                    <a:pt x="1956913" y="671544"/>
                    <a:pt x="1956812" y="671005"/>
                  </a:cubicBezTo>
                  <a:cubicBezTo>
                    <a:pt x="1956711" y="670467"/>
                    <a:pt x="1956173" y="669592"/>
                    <a:pt x="1956173" y="669592"/>
                  </a:cubicBezTo>
                  <a:lnTo>
                    <a:pt x="1955399" y="667978"/>
                  </a:lnTo>
                  <a:cubicBezTo>
                    <a:pt x="1955399" y="667978"/>
                    <a:pt x="1954759" y="665791"/>
                    <a:pt x="1954759" y="665354"/>
                  </a:cubicBezTo>
                  <a:cubicBezTo>
                    <a:pt x="1954759" y="664917"/>
                    <a:pt x="1954120" y="661216"/>
                    <a:pt x="1954120" y="661216"/>
                  </a:cubicBezTo>
                  <a:lnTo>
                    <a:pt x="1954658" y="658592"/>
                  </a:lnTo>
                  <a:lnTo>
                    <a:pt x="1954860" y="657381"/>
                  </a:lnTo>
                  <a:lnTo>
                    <a:pt x="1956812" y="654555"/>
                  </a:lnTo>
                  <a:lnTo>
                    <a:pt x="1959841" y="652806"/>
                  </a:lnTo>
                  <a:cubicBezTo>
                    <a:pt x="1959841" y="652806"/>
                    <a:pt x="1962129" y="653782"/>
                    <a:pt x="1963005" y="650956"/>
                  </a:cubicBezTo>
                  <a:cubicBezTo>
                    <a:pt x="1963880" y="648130"/>
                    <a:pt x="1961591" y="647928"/>
                    <a:pt x="1961591" y="647928"/>
                  </a:cubicBezTo>
                  <a:lnTo>
                    <a:pt x="1959639" y="647188"/>
                  </a:lnTo>
                  <a:lnTo>
                    <a:pt x="1955937" y="647188"/>
                  </a:lnTo>
                  <a:lnTo>
                    <a:pt x="1944192" y="647525"/>
                  </a:lnTo>
                  <a:cubicBezTo>
                    <a:pt x="1944192" y="647525"/>
                    <a:pt x="1933523" y="646112"/>
                    <a:pt x="1932547" y="646347"/>
                  </a:cubicBezTo>
                  <a:cubicBezTo>
                    <a:pt x="1931571" y="646549"/>
                    <a:pt x="1926355" y="644699"/>
                    <a:pt x="1926355" y="644699"/>
                  </a:cubicBezTo>
                  <a:lnTo>
                    <a:pt x="1915484" y="637971"/>
                  </a:lnTo>
                  <a:lnTo>
                    <a:pt x="1908215" y="630133"/>
                  </a:lnTo>
                  <a:lnTo>
                    <a:pt x="1897984" y="619469"/>
                  </a:lnTo>
                  <a:lnTo>
                    <a:pt x="1892566" y="616105"/>
                  </a:lnTo>
                  <a:lnTo>
                    <a:pt x="1884421" y="607527"/>
                  </a:lnTo>
                  <a:lnTo>
                    <a:pt x="1879979" y="602414"/>
                  </a:lnTo>
                  <a:lnTo>
                    <a:pt x="1871599" y="596662"/>
                  </a:lnTo>
                  <a:lnTo>
                    <a:pt x="1864969" y="588723"/>
                  </a:lnTo>
                  <a:lnTo>
                    <a:pt x="1854872" y="576882"/>
                  </a:lnTo>
                  <a:lnTo>
                    <a:pt x="1847468" y="570355"/>
                  </a:lnTo>
                  <a:lnTo>
                    <a:pt x="1841612" y="562753"/>
                  </a:lnTo>
                  <a:lnTo>
                    <a:pt x="1837608" y="558615"/>
                  </a:lnTo>
                  <a:lnTo>
                    <a:pt x="1825122" y="552190"/>
                  </a:lnTo>
                  <a:lnTo>
                    <a:pt x="1820242" y="548389"/>
                  </a:lnTo>
                  <a:lnTo>
                    <a:pt x="1811862" y="546202"/>
                  </a:lnTo>
                  <a:lnTo>
                    <a:pt x="1796549" y="537523"/>
                  </a:lnTo>
                  <a:lnTo>
                    <a:pt x="1780361" y="535034"/>
                  </a:lnTo>
                  <a:lnTo>
                    <a:pt x="1765688" y="530459"/>
                  </a:lnTo>
                  <a:cubicBezTo>
                    <a:pt x="1765688" y="530459"/>
                    <a:pt x="1759495" y="529820"/>
                    <a:pt x="1757207" y="529820"/>
                  </a:cubicBezTo>
                  <a:cubicBezTo>
                    <a:pt x="1754918" y="529820"/>
                    <a:pt x="1748524" y="530022"/>
                    <a:pt x="1746673" y="530257"/>
                  </a:cubicBezTo>
                  <a:cubicBezTo>
                    <a:pt x="1744822" y="530459"/>
                    <a:pt x="1739168" y="530257"/>
                    <a:pt x="1736240" y="530055"/>
                  </a:cubicBezTo>
                  <a:cubicBezTo>
                    <a:pt x="1733312" y="529853"/>
                    <a:pt x="1726884" y="529853"/>
                    <a:pt x="1725167" y="529517"/>
                  </a:cubicBezTo>
                  <a:cubicBezTo>
                    <a:pt x="1723418" y="529181"/>
                    <a:pt x="1721466" y="529181"/>
                    <a:pt x="1721028" y="529080"/>
                  </a:cubicBezTo>
                  <a:cubicBezTo>
                    <a:pt x="1720590" y="528979"/>
                    <a:pt x="1717764" y="526691"/>
                    <a:pt x="1717764" y="526691"/>
                  </a:cubicBezTo>
                  <a:lnTo>
                    <a:pt x="1706792" y="522453"/>
                  </a:lnTo>
                  <a:lnTo>
                    <a:pt x="1702787" y="517575"/>
                  </a:lnTo>
                  <a:cubicBezTo>
                    <a:pt x="1702787" y="517575"/>
                    <a:pt x="1698749" y="517474"/>
                    <a:pt x="1697907" y="517373"/>
                  </a:cubicBezTo>
                  <a:cubicBezTo>
                    <a:pt x="1697032" y="517272"/>
                    <a:pt x="1694643" y="517373"/>
                    <a:pt x="1693128" y="517138"/>
                  </a:cubicBezTo>
                  <a:cubicBezTo>
                    <a:pt x="1691614" y="516936"/>
                    <a:pt x="1688248" y="516599"/>
                    <a:pt x="1686936" y="516364"/>
                  </a:cubicBezTo>
                  <a:cubicBezTo>
                    <a:pt x="1685623" y="516162"/>
                    <a:pt x="1680508" y="516162"/>
                    <a:pt x="1679094" y="515927"/>
                  </a:cubicBezTo>
                  <a:cubicBezTo>
                    <a:pt x="1677681" y="515725"/>
                    <a:pt x="1672902" y="515725"/>
                    <a:pt x="1672902" y="515725"/>
                  </a:cubicBezTo>
                  <a:lnTo>
                    <a:pt x="1667248" y="513975"/>
                  </a:lnTo>
                  <a:cubicBezTo>
                    <a:pt x="1667248" y="513975"/>
                    <a:pt x="1661695" y="510376"/>
                    <a:pt x="1661493" y="510073"/>
                  </a:cubicBezTo>
                  <a:cubicBezTo>
                    <a:pt x="1661257" y="509737"/>
                    <a:pt x="1657589" y="506171"/>
                    <a:pt x="1657589" y="506171"/>
                  </a:cubicBezTo>
                  <a:cubicBezTo>
                    <a:pt x="1657589" y="506171"/>
                    <a:pt x="1655839" y="503144"/>
                    <a:pt x="1654661" y="502908"/>
                  </a:cubicBezTo>
                  <a:cubicBezTo>
                    <a:pt x="1653450" y="502706"/>
                    <a:pt x="1648570" y="501596"/>
                    <a:pt x="1648132" y="501596"/>
                  </a:cubicBezTo>
                  <a:cubicBezTo>
                    <a:pt x="1647695" y="501596"/>
                    <a:pt x="1643791" y="499309"/>
                    <a:pt x="1643791" y="499309"/>
                  </a:cubicBezTo>
                  <a:cubicBezTo>
                    <a:pt x="1643791" y="499309"/>
                    <a:pt x="1639887" y="495171"/>
                    <a:pt x="1639113" y="494868"/>
                  </a:cubicBezTo>
                  <a:cubicBezTo>
                    <a:pt x="1638339" y="494532"/>
                    <a:pt x="1636521" y="493893"/>
                    <a:pt x="1636185" y="493657"/>
                  </a:cubicBezTo>
                  <a:cubicBezTo>
                    <a:pt x="1635848" y="493455"/>
                    <a:pt x="1630093" y="491908"/>
                    <a:pt x="1630093" y="491908"/>
                  </a:cubicBezTo>
                  <a:lnTo>
                    <a:pt x="1624338" y="490495"/>
                  </a:lnTo>
                  <a:lnTo>
                    <a:pt x="1620199" y="486896"/>
                  </a:lnTo>
                  <a:lnTo>
                    <a:pt x="1616934" y="483195"/>
                  </a:lnTo>
                  <a:cubicBezTo>
                    <a:pt x="1616934" y="483195"/>
                    <a:pt x="1615420" y="481984"/>
                    <a:pt x="1615083" y="481984"/>
                  </a:cubicBezTo>
                  <a:cubicBezTo>
                    <a:pt x="1614747" y="481984"/>
                    <a:pt x="1610843" y="477981"/>
                    <a:pt x="1610843" y="477981"/>
                  </a:cubicBezTo>
                  <a:lnTo>
                    <a:pt x="1607377" y="474180"/>
                  </a:lnTo>
                  <a:lnTo>
                    <a:pt x="1606838" y="470143"/>
                  </a:lnTo>
                  <a:lnTo>
                    <a:pt x="1604550" y="462440"/>
                  </a:lnTo>
                  <a:lnTo>
                    <a:pt x="1604213" y="455039"/>
                  </a:lnTo>
                  <a:lnTo>
                    <a:pt x="1604651" y="448075"/>
                  </a:lnTo>
                  <a:lnTo>
                    <a:pt x="1609328" y="439161"/>
                  </a:lnTo>
                  <a:lnTo>
                    <a:pt x="1613367" y="434149"/>
                  </a:lnTo>
                  <a:cubicBezTo>
                    <a:pt x="1613367" y="434149"/>
                    <a:pt x="1614982" y="429473"/>
                    <a:pt x="1615117" y="428934"/>
                  </a:cubicBezTo>
                  <a:cubicBezTo>
                    <a:pt x="1615218" y="428396"/>
                    <a:pt x="1618045" y="424359"/>
                    <a:pt x="1618045" y="424359"/>
                  </a:cubicBezTo>
                  <a:lnTo>
                    <a:pt x="1621848" y="417396"/>
                  </a:lnTo>
                  <a:cubicBezTo>
                    <a:pt x="1621848" y="417396"/>
                    <a:pt x="1626290" y="410870"/>
                    <a:pt x="1626728" y="409995"/>
                  </a:cubicBezTo>
                  <a:cubicBezTo>
                    <a:pt x="1627165" y="409121"/>
                    <a:pt x="1629454" y="407708"/>
                    <a:pt x="1632382" y="406396"/>
                  </a:cubicBezTo>
                  <a:cubicBezTo>
                    <a:pt x="1635310" y="405084"/>
                    <a:pt x="1637396" y="400206"/>
                    <a:pt x="1638036" y="399433"/>
                  </a:cubicBezTo>
                  <a:cubicBezTo>
                    <a:pt x="1638675" y="398659"/>
                    <a:pt x="1639449" y="396607"/>
                    <a:pt x="1639651" y="396169"/>
                  </a:cubicBezTo>
                  <a:cubicBezTo>
                    <a:pt x="1639853" y="395732"/>
                    <a:pt x="1639988" y="392166"/>
                    <a:pt x="1639988" y="390417"/>
                  </a:cubicBezTo>
                  <a:cubicBezTo>
                    <a:pt x="1639988" y="388668"/>
                    <a:pt x="1639348" y="386178"/>
                    <a:pt x="1639012" y="385539"/>
                  </a:cubicBezTo>
                  <a:cubicBezTo>
                    <a:pt x="1638675" y="384900"/>
                    <a:pt x="1637497" y="381099"/>
                    <a:pt x="1637262" y="380325"/>
                  </a:cubicBezTo>
                  <a:cubicBezTo>
                    <a:pt x="1637060" y="379551"/>
                    <a:pt x="1634872" y="375548"/>
                    <a:pt x="1634872" y="375111"/>
                  </a:cubicBezTo>
                  <a:cubicBezTo>
                    <a:pt x="1634872" y="374674"/>
                    <a:pt x="1634771" y="373496"/>
                    <a:pt x="1634973" y="372386"/>
                  </a:cubicBezTo>
                  <a:cubicBezTo>
                    <a:pt x="1635175" y="371310"/>
                    <a:pt x="1636488" y="368047"/>
                    <a:pt x="1636723" y="367710"/>
                  </a:cubicBezTo>
                  <a:cubicBezTo>
                    <a:pt x="1636925" y="367374"/>
                    <a:pt x="1638473" y="366062"/>
                    <a:pt x="1638473" y="366062"/>
                  </a:cubicBezTo>
                  <a:cubicBezTo>
                    <a:pt x="1638473" y="366062"/>
                    <a:pt x="1645440" y="359771"/>
                    <a:pt x="1646517" y="358998"/>
                  </a:cubicBezTo>
                  <a:cubicBezTo>
                    <a:pt x="1647594" y="358224"/>
                    <a:pt x="1648368" y="356710"/>
                    <a:pt x="1648368" y="356710"/>
                  </a:cubicBezTo>
                  <a:cubicBezTo>
                    <a:pt x="1648368" y="356710"/>
                    <a:pt x="1651296" y="347257"/>
                    <a:pt x="1651296" y="346820"/>
                  </a:cubicBezTo>
                  <a:cubicBezTo>
                    <a:pt x="1651296" y="346383"/>
                    <a:pt x="1651632" y="344331"/>
                    <a:pt x="1651632" y="344331"/>
                  </a:cubicBezTo>
                  <a:lnTo>
                    <a:pt x="1652507" y="334542"/>
                  </a:lnTo>
                  <a:cubicBezTo>
                    <a:pt x="1652507" y="334542"/>
                    <a:pt x="1652709" y="327276"/>
                    <a:pt x="1652507" y="326401"/>
                  </a:cubicBezTo>
                  <a:cubicBezTo>
                    <a:pt x="1652272" y="325526"/>
                    <a:pt x="1651969" y="320312"/>
                    <a:pt x="1651531" y="319673"/>
                  </a:cubicBezTo>
                  <a:cubicBezTo>
                    <a:pt x="1651094" y="319034"/>
                    <a:pt x="1650454" y="311869"/>
                    <a:pt x="1650320" y="311196"/>
                  </a:cubicBezTo>
                  <a:cubicBezTo>
                    <a:pt x="1650219" y="310557"/>
                    <a:pt x="1649680" y="304468"/>
                    <a:pt x="1649680" y="304468"/>
                  </a:cubicBezTo>
                  <a:lnTo>
                    <a:pt x="1645339" y="297740"/>
                  </a:lnTo>
                  <a:cubicBezTo>
                    <a:pt x="1645339" y="297740"/>
                    <a:pt x="1645002" y="295688"/>
                    <a:pt x="1644363" y="294712"/>
                  </a:cubicBezTo>
                  <a:cubicBezTo>
                    <a:pt x="1643724" y="293737"/>
                    <a:pt x="1644363" y="292324"/>
                    <a:pt x="1644363" y="292324"/>
                  </a:cubicBezTo>
                  <a:cubicBezTo>
                    <a:pt x="1644363" y="292324"/>
                    <a:pt x="1641435" y="290474"/>
                    <a:pt x="1639921" y="288523"/>
                  </a:cubicBezTo>
                  <a:cubicBezTo>
                    <a:pt x="1638406" y="286572"/>
                    <a:pt x="1638406" y="286033"/>
                    <a:pt x="1638305" y="285596"/>
                  </a:cubicBezTo>
                  <a:cubicBezTo>
                    <a:pt x="1638204" y="285159"/>
                    <a:pt x="1637093" y="284520"/>
                    <a:pt x="1636454" y="283308"/>
                  </a:cubicBezTo>
                  <a:cubicBezTo>
                    <a:pt x="1635815" y="282097"/>
                    <a:pt x="1635478" y="281694"/>
                    <a:pt x="1634401" y="280584"/>
                  </a:cubicBezTo>
                  <a:cubicBezTo>
                    <a:pt x="1633324" y="279507"/>
                    <a:pt x="1633190" y="278969"/>
                    <a:pt x="1632752" y="277993"/>
                  </a:cubicBezTo>
                  <a:cubicBezTo>
                    <a:pt x="1632315" y="277018"/>
                    <a:pt x="1631002" y="275706"/>
                    <a:pt x="1630699" y="274966"/>
                  </a:cubicBezTo>
                  <a:cubicBezTo>
                    <a:pt x="1630363" y="274192"/>
                    <a:pt x="1629622" y="273217"/>
                    <a:pt x="1629521" y="272678"/>
                  </a:cubicBezTo>
                  <a:cubicBezTo>
                    <a:pt x="1629420" y="272140"/>
                    <a:pt x="1628983" y="269954"/>
                    <a:pt x="1628882" y="269214"/>
                  </a:cubicBezTo>
                  <a:cubicBezTo>
                    <a:pt x="1628781" y="268440"/>
                    <a:pt x="1628646" y="267027"/>
                    <a:pt x="1628007" y="265850"/>
                  </a:cubicBezTo>
                  <a:cubicBezTo>
                    <a:pt x="1627367" y="264639"/>
                    <a:pt x="1628007" y="263461"/>
                    <a:pt x="1628007" y="262486"/>
                  </a:cubicBezTo>
                  <a:cubicBezTo>
                    <a:pt x="1628007" y="261510"/>
                    <a:pt x="1627132" y="260736"/>
                    <a:pt x="1626997" y="259323"/>
                  </a:cubicBezTo>
                  <a:cubicBezTo>
                    <a:pt x="1626863" y="257911"/>
                    <a:pt x="1626795" y="257911"/>
                    <a:pt x="1626795" y="257271"/>
                  </a:cubicBezTo>
                  <a:cubicBezTo>
                    <a:pt x="1626795" y="256632"/>
                    <a:pt x="1627233" y="253807"/>
                    <a:pt x="1626795" y="253470"/>
                  </a:cubicBezTo>
                  <a:cubicBezTo>
                    <a:pt x="1626358" y="253134"/>
                    <a:pt x="1626795" y="249871"/>
                    <a:pt x="1626795" y="249871"/>
                  </a:cubicBezTo>
                  <a:lnTo>
                    <a:pt x="1626795" y="243446"/>
                  </a:lnTo>
                  <a:cubicBezTo>
                    <a:pt x="1626795" y="243446"/>
                    <a:pt x="1625180" y="242033"/>
                    <a:pt x="1625012" y="241057"/>
                  </a:cubicBezTo>
                  <a:cubicBezTo>
                    <a:pt x="1624843" y="240082"/>
                    <a:pt x="1625079" y="238030"/>
                    <a:pt x="1625180" y="237020"/>
                  </a:cubicBezTo>
                  <a:cubicBezTo>
                    <a:pt x="1625281" y="236045"/>
                    <a:pt x="1625180" y="233858"/>
                    <a:pt x="1625180" y="232883"/>
                  </a:cubicBezTo>
                  <a:cubicBezTo>
                    <a:pt x="1625180" y="231907"/>
                    <a:pt x="1624944" y="230696"/>
                    <a:pt x="1624406" y="228880"/>
                  </a:cubicBezTo>
                  <a:cubicBezTo>
                    <a:pt x="1623867" y="227029"/>
                    <a:pt x="1624608" y="225617"/>
                    <a:pt x="1624406" y="224843"/>
                  </a:cubicBezTo>
                  <a:cubicBezTo>
                    <a:pt x="1624170" y="224069"/>
                    <a:pt x="1622790" y="220941"/>
                    <a:pt x="1622555" y="220503"/>
                  </a:cubicBezTo>
                  <a:cubicBezTo>
                    <a:pt x="1622353" y="220066"/>
                    <a:pt x="1620939" y="218014"/>
                    <a:pt x="1620502" y="217038"/>
                  </a:cubicBezTo>
                  <a:cubicBezTo>
                    <a:pt x="1620064" y="216063"/>
                    <a:pt x="1619425" y="215188"/>
                    <a:pt x="1618987" y="214549"/>
                  </a:cubicBezTo>
                  <a:cubicBezTo>
                    <a:pt x="1618550" y="213910"/>
                    <a:pt x="1616396" y="209974"/>
                    <a:pt x="1615723" y="209436"/>
                  </a:cubicBezTo>
                  <a:cubicBezTo>
                    <a:pt x="1615083" y="208898"/>
                    <a:pt x="1612896" y="207148"/>
                    <a:pt x="1612896" y="207148"/>
                  </a:cubicBezTo>
                  <a:lnTo>
                    <a:pt x="1610607" y="204962"/>
                  </a:lnTo>
                  <a:cubicBezTo>
                    <a:pt x="1610607" y="204962"/>
                    <a:pt x="1607679" y="198974"/>
                    <a:pt x="1607006" y="197897"/>
                  </a:cubicBezTo>
                  <a:cubicBezTo>
                    <a:pt x="1606367" y="196821"/>
                    <a:pt x="1606670" y="194298"/>
                    <a:pt x="1605929" y="192582"/>
                  </a:cubicBezTo>
                  <a:cubicBezTo>
                    <a:pt x="1605155" y="190833"/>
                    <a:pt x="1605054" y="190295"/>
                    <a:pt x="1604617" y="189656"/>
                  </a:cubicBezTo>
                  <a:cubicBezTo>
                    <a:pt x="1604179" y="189017"/>
                    <a:pt x="1603203" y="188344"/>
                    <a:pt x="1602564" y="187705"/>
                  </a:cubicBezTo>
                  <a:cubicBezTo>
                    <a:pt x="1601924" y="187065"/>
                    <a:pt x="1600713" y="187604"/>
                    <a:pt x="1599636" y="186931"/>
                  </a:cubicBezTo>
                  <a:cubicBezTo>
                    <a:pt x="1598559" y="186292"/>
                    <a:pt x="1597145" y="186595"/>
                    <a:pt x="1596169" y="186494"/>
                  </a:cubicBezTo>
                  <a:cubicBezTo>
                    <a:pt x="1595194" y="186393"/>
                    <a:pt x="1594218" y="186595"/>
                    <a:pt x="1593780" y="186595"/>
                  </a:cubicBezTo>
                  <a:cubicBezTo>
                    <a:pt x="1593343" y="186595"/>
                    <a:pt x="1591828" y="186494"/>
                    <a:pt x="1591391" y="186393"/>
                  </a:cubicBezTo>
                  <a:cubicBezTo>
                    <a:pt x="1590953" y="186292"/>
                    <a:pt x="1588799" y="186191"/>
                    <a:pt x="1588025" y="185955"/>
                  </a:cubicBezTo>
                  <a:cubicBezTo>
                    <a:pt x="1587251" y="185754"/>
                    <a:pt x="1586073" y="185754"/>
                    <a:pt x="1585737" y="185417"/>
                  </a:cubicBezTo>
                  <a:cubicBezTo>
                    <a:pt x="1585400" y="185081"/>
                    <a:pt x="1583448" y="184980"/>
                    <a:pt x="1583448" y="184980"/>
                  </a:cubicBezTo>
                  <a:lnTo>
                    <a:pt x="1580621" y="183231"/>
                  </a:lnTo>
                  <a:cubicBezTo>
                    <a:pt x="1580621" y="183231"/>
                    <a:pt x="1579309" y="181818"/>
                    <a:pt x="1577155" y="178992"/>
                  </a:cubicBezTo>
                  <a:cubicBezTo>
                    <a:pt x="1574967" y="176166"/>
                    <a:pt x="1576515" y="178016"/>
                    <a:pt x="1575943" y="177142"/>
                  </a:cubicBezTo>
                  <a:cubicBezTo>
                    <a:pt x="1575405" y="176267"/>
                    <a:pt x="1575068" y="173677"/>
                    <a:pt x="1574799" y="173004"/>
                  </a:cubicBezTo>
                  <a:cubicBezTo>
                    <a:pt x="1574530" y="172365"/>
                    <a:pt x="1574866" y="171356"/>
                    <a:pt x="1574799" y="170414"/>
                  </a:cubicBezTo>
                  <a:cubicBezTo>
                    <a:pt x="1574732" y="169438"/>
                    <a:pt x="1574866" y="169539"/>
                    <a:pt x="1574765" y="168564"/>
                  </a:cubicBezTo>
                  <a:cubicBezTo>
                    <a:pt x="1574664" y="167588"/>
                    <a:pt x="1574866" y="166814"/>
                    <a:pt x="1574765" y="166074"/>
                  </a:cubicBezTo>
                  <a:cubicBezTo>
                    <a:pt x="1574664" y="165301"/>
                    <a:pt x="1574126" y="164224"/>
                    <a:pt x="1573890" y="163686"/>
                  </a:cubicBezTo>
                  <a:cubicBezTo>
                    <a:pt x="1573655" y="163148"/>
                    <a:pt x="1572578" y="162071"/>
                    <a:pt x="1571938" y="161398"/>
                  </a:cubicBezTo>
                  <a:cubicBezTo>
                    <a:pt x="1571299" y="160759"/>
                    <a:pt x="1568909" y="160187"/>
                    <a:pt x="1568135" y="159986"/>
                  </a:cubicBezTo>
                  <a:cubicBezTo>
                    <a:pt x="1567361" y="159784"/>
                    <a:pt x="1566183" y="159885"/>
                    <a:pt x="1566183" y="159885"/>
                  </a:cubicBezTo>
                  <a:lnTo>
                    <a:pt x="1564568" y="159986"/>
                  </a:lnTo>
                  <a:lnTo>
                    <a:pt x="1563424" y="160356"/>
                  </a:lnTo>
                  <a:lnTo>
                    <a:pt x="1557231" y="160356"/>
                  </a:lnTo>
                  <a:lnTo>
                    <a:pt x="1551241" y="159716"/>
                  </a:lnTo>
                  <a:lnTo>
                    <a:pt x="1544274" y="156891"/>
                  </a:lnTo>
                  <a:lnTo>
                    <a:pt x="1541784" y="156891"/>
                  </a:lnTo>
                  <a:lnTo>
                    <a:pt x="1539058" y="155141"/>
                  </a:lnTo>
                  <a:lnTo>
                    <a:pt x="1537880" y="155141"/>
                  </a:lnTo>
                  <a:lnTo>
                    <a:pt x="1535591" y="155141"/>
                  </a:lnTo>
                  <a:lnTo>
                    <a:pt x="1534952" y="155141"/>
                  </a:lnTo>
                  <a:lnTo>
                    <a:pt x="1533202" y="155141"/>
                  </a:lnTo>
                  <a:cubicBezTo>
                    <a:pt x="1533202" y="155141"/>
                    <a:pt x="1531687" y="154805"/>
                    <a:pt x="1531250" y="154704"/>
                  </a:cubicBezTo>
                  <a:cubicBezTo>
                    <a:pt x="1530812" y="154603"/>
                    <a:pt x="1529500" y="154065"/>
                    <a:pt x="1529500" y="154065"/>
                  </a:cubicBezTo>
                  <a:cubicBezTo>
                    <a:pt x="1529500" y="154065"/>
                    <a:pt x="1528423" y="153729"/>
                    <a:pt x="1528086" y="153628"/>
                  </a:cubicBezTo>
                  <a:cubicBezTo>
                    <a:pt x="1527750" y="153527"/>
                    <a:pt x="1525259" y="151878"/>
                    <a:pt x="1525259" y="151878"/>
                  </a:cubicBezTo>
                  <a:lnTo>
                    <a:pt x="1523745" y="150567"/>
                  </a:lnTo>
                  <a:lnTo>
                    <a:pt x="1522769" y="149154"/>
                  </a:lnTo>
                  <a:lnTo>
                    <a:pt x="1521254" y="146664"/>
                  </a:lnTo>
                  <a:lnTo>
                    <a:pt x="1520043" y="145689"/>
                  </a:lnTo>
                  <a:cubicBezTo>
                    <a:pt x="1520043" y="145689"/>
                    <a:pt x="1518629" y="143839"/>
                    <a:pt x="1518293" y="143401"/>
                  </a:cubicBezTo>
                  <a:cubicBezTo>
                    <a:pt x="1517956" y="142964"/>
                    <a:pt x="1516778" y="142089"/>
                    <a:pt x="1516341" y="141988"/>
                  </a:cubicBezTo>
                  <a:cubicBezTo>
                    <a:pt x="1515903" y="141887"/>
                    <a:pt x="1513951" y="140037"/>
                    <a:pt x="1513413" y="139398"/>
                  </a:cubicBezTo>
                  <a:cubicBezTo>
                    <a:pt x="1512874" y="138759"/>
                    <a:pt x="1510586" y="137783"/>
                    <a:pt x="1509812" y="137346"/>
                  </a:cubicBezTo>
                  <a:cubicBezTo>
                    <a:pt x="1509038" y="136909"/>
                    <a:pt x="1506547" y="135597"/>
                    <a:pt x="1506110" y="135294"/>
                  </a:cubicBezTo>
                  <a:cubicBezTo>
                    <a:pt x="1505672" y="134958"/>
                    <a:pt x="1501970" y="131930"/>
                    <a:pt x="1501331" y="131392"/>
                  </a:cubicBezTo>
                  <a:cubicBezTo>
                    <a:pt x="1500691" y="130854"/>
                    <a:pt x="1499581" y="128129"/>
                    <a:pt x="1499581" y="128129"/>
                  </a:cubicBezTo>
                  <a:lnTo>
                    <a:pt x="1495340" y="123890"/>
                  </a:lnTo>
                  <a:lnTo>
                    <a:pt x="1494735" y="120728"/>
                  </a:lnTo>
                  <a:cubicBezTo>
                    <a:pt x="1494735" y="120728"/>
                    <a:pt x="1495138" y="117129"/>
                    <a:pt x="1494701" y="116052"/>
                  </a:cubicBezTo>
                  <a:cubicBezTo>
                    <a:pt x="1494263" y="114976"/>
                    <a:pt x="1494937" y="113563"/>
                    <a:pt x="1494701" y="113126"/>
                  </a:cubicBezTo>
                  <a:cubicBezTo>
                    <a:pt x="1494499" y="112688"/>
                    <a:pt x="1494701" y="109762"/>
                    <a:pt x="1494701" y="109762"/>
                  </a:cubicBezTo>
                  <a:cubicBezTo>
                    <a:pt x="1494701" y="109762"/>
                    <a:pt x="1493489" y="106297"/>
                    <a:pt x="1493288" y="105960"/>
                  </a:cubicBezTo>
                  <a:cubicBezTo>
                    <a:pt x="1493086" y="105624"/>
                    <a:pt x="1490124" y="103135"/>
                    <a:pt x="1490124" y="103135"/>
                  </a:cubicBezTo>
                  <a:lnTo>
                    <a:pt x="1484806" y="98694"/>
                  </a:lnTo>
                  <a:lnTo>
                    <a:pt x="1478715" y="93581"/>
                  </a:lnTo>
                  <a:lnTo>
                    <a:pt x="1472725" y="89006"/>
                  </a:lnTo>
                  <a:lnTo>
                    <a:pt x="1467946" y="84532"/>
                  </a:lnTo>
                  <a:cubicBezTo>
                    <a:pt x="1467946" y="84532"/>
                    <a:pt x="1466532" y="83119"/>
                    <a:pt x="1465893" y="82783"/>
                  </a:cubicBezTo>
                  <a:cubicBezTo>
                    <a:pt x="1465253" y="82446"/>
                    <a:pt x="1464479" y="79755"/>
                    <a:pt x="1464008" y="79419"/>
                  </a:cubicBezTo>
                  <a:cubicBezTo>
                    <a:pt x="1463537" y="79082"/>
                    <a:pt x="1463503" y="76492"/>
                    <a:pt x="1463369" y="76055"/>
                  </a:cubicBezTo>
                  <a:cubicBezTo>
                    <a:pt x="1463268" y="75617"/>
                    <a:pt x="1463369" y="73330"/>
                    <a:pt x="1463806" y="72354"/>
                  </a:cubicBezTo>
                  <a:cubicBezTo>
                    <a:pt x="1464244" y="71379"/>
                    <a:pt x="1463806" y="68318"/>
                    <a:pt x="1463806" y="67477"/>
                  </a:cubicBezTo>
                  <a:cubicBezTo>
                    <a:pt x="1463806" y="66602"/>
                    <a:pt x="1463335" y="63238"/>
                    <a:pt x="1463335" y="63238"/>
                  </a:cubicBezTo>
                  <a:lnTo>
                    <a:pt x="1461753" y="59235"/>
                  </a:lnTo>
                  <a:lnTo>
                    <a:pt x="1457614" y="54559"/>
                  </a:lnTo>
                  <a:lnTo>
                    <a:pt x="1454686" y="50960"/>
                  </a:lnTo>
                  <a:lnTo>
                    <a:pt x="1453171" y="47932"/>
                  </a:lnTo>
                  <a:cubicBezTo>
                    <a:pt x="1453171" y="47932"/>
                    <a:pt x="1450142" y="47730"/>
                    <a:pt x="1447753" y="45880"/>
                  </a:cubicBezTo>
                  <a:cubicBezTo>
                    <a:pt x="1445363" y="44030"/>
                    <a:pt x="1445027" y="42516"/>
                    <a:pt x="1445027" y="42516"/>
                  </a:cubicBezTo>
                  <a:lnTo>
                    <a:pt x="1444253" y="39589"/>
                  </a:lnTo>
                  <a:lnTo>
                    <a:pt x="1444253" y="37201"/>
                  </a:lnTo>
                  <a:cubicBezTo>
                    <a:pt x="1444253" y="37201"/>
                    <a:pt x="1448594" y="33837"/>
                    <a:pt x="1449032" y="33736"/>
                  </a:cubicBezTo>
                  <a:cubicBezTo>
                    <a:pt x="1449469" y="33635"/>
                    <a:pt x="1451219" y="32660"/>
                    <a:pt x="1451219" y="32660"/>
                  </a:cubicBezTo>
                  <a:cubicBezTo>
                    <a:pt x="1451219" y="32660"/>
                    <a:pt x="1453844" y="30036"/>
                    <a:pt x="1454147" y="29598"/>
                  </a:cubicBezTo>
                  <a:cubicBezTo>
                    <a:pt x="1454484" y="29161"/>
                    <a:pt x="1455561" y="28623"/>
                    <a:pt x="1455561" y="28623"/>
                  </a:cubicBezTo>
                  <a:cubicBezTo>
                    <a:pt x="1455561" y="28623"/>
                    <a:pt x="1457412" y="26335"/>
                    <a:pt x="1457849" y="26133"/>
                  </a:cubicBezTo>
                  <a:cubicBezTo>
                    <a:pt x="1458287" y="25932"/>
                    <a:pt x="1459263" y="24519"/>
                    <a:pt x="1459801" y="23543"/>
                  </a:cubicBezTo>
                  <a:cubicBezTo>
                    <a:pt x="1460340" y="22568"/>
                    <a:pt x="1460676" y="20381"/>
                    <a:pt x="1461215" y="19506"/>
                  </a:cubicBezTo>
                  <a:cubicBezTo>
                    <a:pt x="1461753" y="18632"/>
                    <a:pt x="1462090" y="17454"/>
                    <a:pt x="1462965" y="16479"/>
                  </a:cubicBezTo>
                  <a:cubicBezTo>
                    <a:pt x="1463840" y="15503"/>
                    <a:pt x="1462965" y="13451"/>
                    <a:pt x="1462965" y="13014"/>
                  </a:cubicBezTo>
                  <a:cubicBezTo>
                    <a:pt x="1462965" y="12577"/>
                    <a:pt x="1462426" y="9112"/>
                    <a:pt x="1462426" y="9112"/>
                  </a:cubicBezTo>
                  <a:lnTo>
                    <a:pt x="1459599" y="8237"/>
                  </a:lnTo>
                  <a:cubicBezTo>
                    <a:pt x="1459599" y="8237"/>
                    <a:pt x="1457748" y="6387"/>
                    <a:pt x="1457412" y="6387"/>
                  </a:cubicBezTo>
                  <a:cubicBezTo>
                    <a:pt x="1457075" y="6387"/>
                    <a:pt x="1451421" y="5411"/>
                    <a:pt x="1451421" y="5411"/>
                  </a:cubicBezTo>
                  <a:cubicBezTo>
                    <a:pt x="1451421" y="5411"/>
                    <a:pt x="1446743" y="4772"/>
                    <a:pt x="1446407" y="4772"/>
                  </a:cubicBezTo>
                  <a:cubicBezTo>
                    <a:pt x="1446070" y="4772"/>
                    <a:pt x="1442940" y="4133"/>
                    <a:pt x="1442604" y="4133"/>
                  </a:cubicBezTo>
                  <a:cubicBezTo>
                    <a:pt x="1442267" y="4133"/>
                    <a:pt x="1438700" y="4907"/>
                    <a:pt x="1438363" y="5008"/>
                  </a:cubicBezTo>
                  <a:cubicBezTo>
                    <a:pt x="1438027" y="5109"/>
                    <a:pt x="1436748" y="5445"/>
                    <a:pt x="1436748" y="5445"/>
                  </a:cubicBezTo>
                  <a:cubicBezTo>
                    <a:pt x="1436748" y="5445"/>
                    <a:pt x="1434695" y="6522"/>
                    <a:pt x="1433147" y="7194"/>
                  </a:cubicBezTo>
                  <a:cubicBezTo>
                    <a:pt x="1431632" y="7834"/>
                    <a:pt x="1431733" y="7194"/>
                    <a:pt x="1429344" y="7733"/>
                  </a:cubicBezTo>
                  <a:cubicBezTo>
                    <a:pt x="1426954" y="8271"/>
                    <a:pt x="1425743" y="7396"/>
                    <a:pt x="1425440" y="7396"/>
                  </a:cubicBezTo>
                  <a:cubicBezTo>
                    <a:pt x="1425103" y="7396"/>
                    <a:pt x="1418372" y="5647"/>
                    <a:pt x="1416959" y="5647"/>
                  </a:cubicBezTo>
                  <a:cubicBezTo>
                    <a:pt x="1415545" y="5647"/>
                    <a:pt x="1412079" y="5109"/>
                    <a:pt x="1411641" y="5109"/>
                  </a:cubicBezTo>
                  <a:cubicBezTo>
                    <a:pt x="1411204" y="5109"/>
                    <a:pt x="1407939" y="4032"/>
                    <a:pt x="1407939" y="4032"/>
                  </a:cubicBezTo>
                  <a:cubicBezTo>
                    <a:pt x="1407939" y="4032"/>
                    <a:pt x="1406324" y="2283"/>
                    <a:pt x="1405651" y="2081"/>
                  </a:cubicBezTo>
                  <a:cubicBezTo>
                    <a:pt x="1405012" y="1879"/>
                    <a:pt x="1401612" y="1442"/>
                    <a:pt x="1400435" y="1106"/>
                  </a:cubicBezTo>
                  <a:cubicBezTo>
                    <a:pt x="1399257" y="769"/>
                    <a:pt x="1397069" y="-105"/>
                    <a:pt x="1396632" y="29"/>
                  </a:cubicBezTo>
                  <a:cubicBezTo>
                    <a:pt x="1396194" y="130"/>
                    <a:pt x="1393367" y="-72"/>
                    <a:pt x="1393030" y="29"/>
                  </a:cubicBezTo>
                  <a:cubicBezTo>
                    <a:pt x="1392694" y="130"/>
                    <a:pt x="1389564" y="1005"/>
                    <a:pt x="1387175" y="1240"/>
                  </a:cubicBezTo>
                  <a:cubicBezTo>
                    <a:pt x="1384785" y="1442"/>
                    <a:pt x="1382833" y="1240"/>
                    <a:pt x="1382295" y="1240"/>
                  </a:cubicBezTo>
                  <a:cubicBezTo>
                    <a:pt x="1381756" y="1240"/>
                    <a:pt x="1378828" y="2115"/>
                    <a:pt x="1378155" y="2216"/>
                  </a:cubicBezTo>
                  <a:cubicBezTo>
                    <a:pt x="1377516" y="2317"/>
                    <a:pt x="1376102" y="2653"/>
                    <a:pt x="1375665" y="2754"/>
                  </a:cubicBezTo>
                  <a:cubicBezTo>
                    <a:pt x="1375227" y="2855"/>
                    <a:pt x="1373814" y="3965"/>
                    <a:pt x="1373477" y="4066"/>
                  </a:cubicBezTo>
                  <a:cubicBezTo>
                    <a:pt x="1373141" y="4167"/>
                    <a:pt x="1371626" y="5714"/>
                    <a:pt x="1371626" y="5714"/>
                  </a:cubicBezTo>
                  <a:cubicBezTo>
                    <a:pt x="1371626" y="5714"/>
                    <a:pt x="1369876" y="8540"/>
                    <a:pt x="1369573" y="8977"/>
                  </a:cubicBezTo>
                  <a:cubicBezTo>
                    <a:pt x="1369270" y="9415"/>
                    <a:pt x="1368597" y="11467"/>
                    <a:pt x="1368160" y="12577"/>
                  </a:cubicBezTo>
                  <a:cubicBezTo>
                    <a:pt x="1367722" y="13653"/>
                    <a:pt x="1367285" y="15503"/>
                    <a:pt x="1367285" y="15941"/>
                  </a:cubicBezTo>
                  <a:cubicBezTo>
                    <a:pt x="1367285" y="16378"/>
                    <a:pt x="1367487" y="19103"/>
                    <a:pt x="1367487" y="19540"/>
                  </a:cubicBezTo>
                  <a:cubicBezTo>
                    <a:pt x="1367487" y="19977"/>
                    <a:pt x="1368900" y="24653"/>
                    <a:pt x="1368900" y="24653"/>
                  </a:cubicBezTo>
                  <a:cubicBezTo>
                    <a:pt x="1368900" y="24653"/>
                    <a:pt x="1369674" y="30944"/>
                    <a:pt x="1369540" y="31381"/>
                  </a:cubicBezTo>
                  <a:cubicBezTo>
                    <a:pt x="1369439" y="31819"/>
                    <a:pt x="1368564" y="34846"/>
                    <a:pt x="1368025" y="36158"/>
                  </a:cubicBezTo>
                  <a:cubicBezTo>
                    <a:pt x="1367487" y="37470"/>
                    <a:pt x="1366948" y="38547"/>
                    <a:pt x="1366073" y="39858"/>
                  </a:cubicBezTo>
                  <a:cubicBezTo>
                    <a:pt x="1365198" y="41170"/>
                    <a:pt x="1364996" y="41810"/>
                    <a:pt x="1364121" y="42348"/>
                  </a:cubicBezTo>
                  <a:cubicBezTo>
                    <a:pt x="1363246" y="42886"/>
                    <a:pt x="1360958" y="45813"/>
                    <a:pt x="1360083" y="46048"/>
                  </a:cubicBezTo>
                  <a:cubicBezTo>
                    <a:pt x="1359208" y="46250"/>
                    <a:pt x="1355405" y="47797"/>
                    <a:pt x="1353655" y="48235"/>
                  </a:cubicBezTo>
                  <a:cubicBezTo>
                    <a:pt x="1351905" y="48672"/>
                    <a:pt x="1350188" y="49984"/>
                    <a:pt x="1349515" y="50085"/>
                  </a:cubicBezTo>
                  <a:cubicBezTo>
                    <a:pt x="1348876" y="50186"/>
                    <a:pt x="1346049" y="52372"/>
                    <a:pt x="1345510" y="52473"/>
                  </a:cubicBezTo>
                  <a:cubicBezTo>
                    <a:pt x="1344972" y="52608"/>
                    <a:pt x="1341707" y="55064"/>
                    <a:pt x="1341505" y="55501"/>
                  </a:cubicBezTo>
                  <a:cubicBezTo>
                    <a:pt x="1341303" y="55938"/>
                    <a:pt x="1334640" y="57687"/>
                    <a:pt x="1333798" y="57687"/>
                  </a:cubicBezTo>
                  <a:cubicBezTo>
                    <a:pt x="1332957" y="57687"/>
                    <a:pt x="1330433" y="57687"/>
                    <a:pt x="1320101" y="56476"/>
                  </a:cubicBezTo>
                  <a:cubicBezTo>
                    <a:pt x="1309769" y="55299"/>
                    <a:pt x="1316736" y="56140"/>
                    <a:pt x="1316062" y="56140"/>
                  </a:cubicBezTo>
                  <a:cubicBezTo>
                    <a:pt x="1315423" y="56140"/>
                    <a:pt x="1311485" y="55905"/>
                    <a:pt x="1308457" y="55501"/>
                  </a:cubicBezTo>
                  <a:cubicBezTo>
                    <a:pt x="1305428" y="55064"/>
                    <a:pt x="1303442" y="54525"/>
                    <a:pt x="1301726" y="54290"/>
                  </a:cubicBezTo>
                  <a:cubicBezTo>
                    <a:pt x="1299976" y="54088"/>
                    <a:pt x="1297149" y="54088"/>
                    <a:pt x="1295197" y="53853"/>
                  </a:cubicBezTo>
                  <a:cubicBezTo>
                    <a:pt x="1293245" y="53617"/>
                    <a:pt x="1291394" y="52978"/>
                    <a:pt x="1290317" y="52642"/>
                  </a:cubicBezTo>
                  <a:cubicBezTo>
                    <a:pt x="1289240" y="52305"/>
                    <a:pt x="1287725" y="52440"/>
                    <a:pt x="1285740" y="52642"/>
                  </a:cubicBezTo>
                  <a:cubicBezTo>
                    <a:pt x="1283788" y="52877"/>
                    <a:pt x="1282374" y="55131"/>
                    <a:pt x="1280961" y="56241"/>
                  </a:cubicBezTo>
                  <a:cubicBezTo>
                    <a:pt x="1279547" y="57317"/>
                    <a:pt x="1277696" y="58428"/>
                    <a:pt x="1277696" y="58428"/>
                  </a:cubicBezTo>
                  <a:cubicBezTo>
                    <a:pt x="1277696" y="58428"/>
                    <a:pt x="1275206" y="62464"/>
                    <a:pt x="1274230" y="63541"/>
                  </a:cubicBezTo>
                  <a:cubicBezTo>
                    <a:pt x="1273254" y="64617"/>
                    <a:pt x="1273153" y="66467"/>
                    <a:pt x="1273153" y="66467"/>
                  </a:cubicBezTo>
                  <a:cubicBezTo>
                    <a:pt x="1273153" y="66467"/>
                    <a:pt x="1269787" y="70706"/>
                    <a:pt x="1269249" y="71244"/>
                  </a:cubicBezTo>
                  <a:cubicBezTo>
                    <a:pt x="1268710" y="71782"/>
                    <a:pt x="1264369" y="76458"/>
                    <a:pt x="1264369" y="76458"/>
                  </a:cubicBezTo>
                  <a:lnTo>
                    <a:pt x="1260129" y="82547"/>
                  </a:lnTo>
                  <a:cubicBezTo>
                    <a:pt x="1260129" y="82547"/>
                    <a:pt x="1257100" y="88972"/>
                    <a:pt x="1256965" y="89275"/>
                  </a:cubicBezTo>
                  <a:cubicBezTo>
                    <a:pt x="1256864" y="89611"/>
                    <a:pt x="1254374" y="92975"/>
                    <a:pt x="1254374" y="92975"/>
                  </a:cubicBezTo>
                  <a:lnTo>
                    <a:pt x="1253297" y="97214"/>
                  </a:lnTo>
                  <a:cubicBezTo>
                    <a:pt x="1253297" y="97214"/>
                    <a:pt x="1252657" y="101015"/>
                    <a:pt x="1252657" y="101890"/>
                  </a:cubicBezTo>
                  <a:cubicBezTo>
                    <a:pt x="1252657" y="102765"/>
                    <a:pt x="1251782" y="105052"/>
                    <a:pt x="1251782" y="105052"/>
                  </a:cubicBezTo>
                  <a:cubicBezTo>
                    <a:pt x="1251782" y="105052"/>
                    <a:pt x="1251143" y="111343"/>
                    <a:pt x="1250907" y="111578"/>
                  </a:cubicBezTo>
                  <a:cubicBezTo>
                    <a:pt x="1250672" y="111780"/>
                    <a:pt x="1250840" y="114505"/>
                    <a:pt x="1250840" y="114505"/>
                  </a:cubicBezTo>
                  <a:cubicBezTo>
                    <a:pt x="1250840" y="114505"/>
                    <a:pt x="1251042" y="122444"/>
                    <a:pt x="1250840" y="122747"/>
                  </a:cubicBezTo>
                  <a:cubicBezTo>
                    <a:pt x="1250638" y="123083"/>
                    <a:pt x="1249224" y="126750"/>
                    <a:pt x="1249090" y="127086"/>
                  </a:cubicBezTo>
                  <a:cubicBezTo>
                    <a:pt x="1248989" y="127422"/>
                    <a:pt x="1247912" y="144915"/>
                    <a:pt x="1248114" y="145218"/>
                  </a:cubicBezTo>
                  <a:cubicBezTo>
                    <a:pt x="1248316" y="145554"/>
                    <a:pt x="1248450" y="148144"/>
                    <a:pt x="1248551" y="149658"/>
                  </a:cubicBezTo>
                  <a:cubicBezTo>
                    <a:pt x="1248686" y="151172"/>
                    <a:pt x="1248518" y="152047"/>
                    <a:pt x="1248484" y="153460"/>
                  </a:cubicBezTo>
                  <a:cubicBezTo>
                    <a:pt x="1248450" y="154872"/>
                    <a:pt x="1248619" y="155949"/>
                    <a:pt x="1248484" y="157597"/>
                  </a:cubicBezTo>
                  <a:cubicBezTo>
                    <a:pt x="1248316" y="159212"/>
                    <a:pt x="1248652" y="161735"/>
                    <a:pt x="1248417" y="163047"/>
                  </a:cubicBezTo>
                  <a:cubicBezTo>
                    <a:pt x="1248215" y="164359"/>
                    <a:pt x="1248652" y="165099"/>
                    <a:pt x="1248417" y="167521"/>
                  </a:cubicBezTo>
                  <a:cubicBezTo>
                    <a:pt x="1248215" y="169909"/>
                    <a:pt x="1248417" y="169808"/>
                    <a:pt x="1248417" y="171221"/>
                  </a:cubicBezTo>
                  <a:cubicBezTo>
                    <a:pt x="1248417" y="172634"/>
                    <a:pt x="1248215" y="172533"/>
                    <a:pt x="1247777" y="174047"/>
                  </a:cubicBezTo>
                  <a:cubicBezTo>
                    <a:pt x="1247340" y="175561"/>
                    <a:pt x="1247777" y="175796"/>
                    <a:pt x="1247777" y="175796"/>
                  </a:cubicBezTo>
                  <a:cubicBezTo>
                    <a:pt x="1247777" y="175796"/>
                    <a:pt x="1246364" y="179059"/>
                    <a:pt x="1246162" y="180035"/>
                  </a:cubicBezTo>
                  <a:cubicBezTo>
                    <a:pt x="1245926" y="181010"/>
                    <a:pt x="1245186" y="181549"/>
                    <a:pt x="1243234" y="186023"/>
                  </a:cubicBezTo>
                  <a:cubicBezTo>
                    <a:pt x="1241282" y="190463"/>
                    <a:pt x="1241820" y="188209"/>
                    <a:pt x="1241046" y="190699"/>
                  </a:cubicBezTo>
                  <a:cubicBezTo>
                    <a:pt x="1240272" y="193188"/>
                    <a:pt x="1239195" y="192885"/>
                    <a:pt x="1238859" y="193188"/>
                  </a:cubicBezTo>
                  <a:cubicBezTo>
                    <a:pt x="1238522" y="193524"/>
                    <a:pt x="1235931" y="194264"/>
                    <a:pt x="1233541" y="195139"/>
                  </a:cubicBezTo>
                  <a:cubicBezTo>
                    <a:pt x="1231152" y="196014"/>
                    <a:pt x="1228863" y="196014"/>
                    <a:pt x="1227551" y="196215"/>
                  </a:cubicBezTo>
                  <a:cubicBezTo>
                    <a:pt x="1226238" y="196417"/>
                    <a:pt x="1222435" y="196215"/>
                    <a:pt x="1217656" y="196552"/>
                  </a:cubicBezTo>
                  <a:cubicBezTo>
                    <a:pt x="1212878" y="196888"/>
                    <a:pt x="1213753" y="196316"/>
                    <a:pt x="1213416" y="196653"/>
                  </a:cubicBezTo>
                  <a:cubicBezTo>
                    <a:pt x="1213079" y="196989"/>
                    <a:pt x="1207998" y="197628"/>
                    <a:pt x="1207998" y="197628"/>
                  </a:cubicBezTo>
                  <a:cubicBezTo>
                    <a:pt x="1207998" y="197628"/>
                    <a:pt x="1203858" y="196417"/>
                    <a:pt x="1202344" y="196115"/>
                  </a:cubicBezTo>
                  <a:cubicBezTo>
                    <a:pt x="1200829" y="195778"/>
                    <a:pt x="1199315" y="195677"/>
                    <a:pt x="1197666" y="195341"/>
                  </a:cubicBezTo>
                  <a:cubicBezTo>
                    <a:pt x="1196050" y="195004"/>
                    <a:pt x="1193863" y="195442"/>
                    <a:pt x="1192988" y="195341"/>
                  </a:cubicBezTo>
                  <a:cubicBezTo>
                    <a:pt x="1192113" y="195240"/>
                    <a:pt x="1190161" y="193289"/>
                    <a:pt x="1189723" y="193053"/>
                  </a:cubicBezTo>
                  <a:cubicBezTo>
                    <a:pt x="1189286" y="192851"/>
                    <a:pt x="1181680" y="189353"/>
                    <a:pt x="1180266" y="189790"/>
                  </a:cubicBezTo>
                  <a:cubicBezTo>
                    <a:pt x="1178853" y="190228"/>
                    <a:pt x="1179189" y="190665"/>
                    <a:pt x="1176800" y="193154"/>
                  </a:cubicBezTo>
                  <a:cubicBezTo>
                    <a:pt x="1174410" y="195644"/>
                    <a:pt x="1172021" y="195778"/>
                    <a:pt x="1170708" y="195778"/>
                  </a:cubicBezTo>
                  <a:cubicBezTo>
                    <a:pt x="1169396" y="195778"/>
                    <a:pt x="1167006" y="192751"/>
                    <a:pt x="1166569" y="192313"/>
                  </a:cubicBezTo>
                  <a:cubicBezTo>
                    <a:pt x="1166131" y="191876"/>
                    <a:pt x="1162766" y="188613"/>
                    <a:pt x="1162530" y="188277"/>
                  </a:cubicBezTo>
                  <a:cubicBezTo>
                    <a:pt x="1162295" y="187940"/>
                    <a:pt x="1160477" y="185014"/>
                    <a:pt x="1159602" y="184374"/>
                  </a:cubicBezTo>
                  <a:cubicBezTo>
                    <a:pt x="1158727" y="183735"/>
                    <a:pt x="1156876" y="183601"/>
                    <a:pt x="1156876" y="183601"/>
                  </a:cubicBezTo>
                  <a:cubicBezTo>
                    <a:pt x="1156876" y="183601"/>
                    <a:pt x="1148294" y="181851"/>
                    <a:pt x="1147419" y="181851"/>
                  </a:cubicBezTo>
                  <a:cubicBezTo>
                    <a:pt x="1146544" y="181851"/>
                    <a:pt x="1137861" y="180775"/>
                    <a:pt x="1137861" y="180775"/>
                  </a:cubicBezTo>
                  <a:lnTo>
                    <a:pt x="1125140" y="177949"/>
                  </a:lnTo>
                  <a:lnTo>
                    <a:pt x="1121102" y="177949"/>
                  </a:lnTo>
                  <a:cubicBezTo>
                    <a:pt x="1121102" y="177949"/>
                    <a:pt x="1116323" y="177142"/>
                    <a:pt x="1115347" y="177041"/>
                  </a:cubicBezTo>
                  <a:cubicBezTo>
                    <a:pt x="1114371" y="176940"/>
                    <a:pt x="1111005" y="176133"/>
                    <a:pt x="1110029" y="176133"/>
                  </a:cubicBezTo>
                  <a:cubicBezTo>
                    <a:pt x="1109053" y="176133"/>
                    <a:pt x="1107101" y="175258"/>
                    <a:pt x="1106327" y="175056"/>
                  </a:cubicBezTo>
                  <a:cubicBezTo>
                    <a:pt x="1105553" y="174821"/>
                    <a:pt x="1102087" y="173643"/>
                    <a:pt x="1101447" y="173307"/>
                  </a:cubicBezTo>
                  <a:cubicBezTo>
                    <a:pt x="1100808" y="172971"/>
                    <a:pt x="1099495" y="171793"/>
                    <a:pt x="1098957" y="171255"/>
                  </a:cubicBezTo>
                  <a:cubicBezTo>
                    <a:pt x="1098418" y="170717"/>
                    <a:pt x="1096904" y="169943"/>
                    <a:pt x="1096466" y="169640"/>
                  </a:cubicBezTo>
                  <a:cubicBezTo>
                    <a:pt x="1096029" y="169304"/>
                    <a:pt x="1093303" y="167050"/>
                    <a:pt x="1092327" y="166377"/>
                  </a:cubicBezTo>
                  <a:cubicBezTo>
                    <a:pt x="1091351" y="165738"/>
                    <a:pt x="1089836" y="164426"/>
                    <a:pt x="1088726" y="163350"/>
                  </a:cubicBezTo>
                  <a:cubicBezTo>
                    <a:pt x="1087649" y="162273"/>
                    <a:pt x="1086538" y="162139"/>
                    <a:pt x="1085360" y="161600"/>
                  </a:cubicBezTo>
                  <a:cubicBezTo>
                    <a:pt x="1084149" y="161062"/>
                    <a:pt x="1082971" y="160087"/>
                    <a:pt x="1081355" y="159010"/>
                  </a:cubicBezTo>
                  <a:cubicBezTo>
                    <a:pt x="1079706" y="157934"/>
                    <a:pt x="1079067" y="157698"/>
                    <a:pt x="1078730" y="157362"/>
                  </a:cubicBezTo>
                  <a:cubicBezTo>
                    <a:pt x="1078394" y="157025"/>
                    <a:pt x="1076442" y="155310"/>
                    <a:pt x="1076442" y="155310"/>
                  </a:cubicBezTo>
                  <a:cubicBezTo>
                    <a:pt x="1076442" y="155310"/>
                    <a:pt x="1072841" y="152719"/>
                    <a:pt x="1072201" y="151845"/>
                  </a:cubicBezTo>
                  <a:cubicBezTo>
                    <a:pt x="1071562" y="150970"/>
                    <a:pt x="1070115" y="150331"/>
                    <a:pt x="1069812" y="150096"/>
                  </a:cubicBezTo>
                  <a:cubicBezTo>
                    <a:pt x="1069475" y="149894"/>
                    <a:pt x="1067321" y="148245"/>
                    <a:pt x="1066884" y="148245"/>
                  </a:cubicBezTo>
                  <a:cubicBezTo>
                    <a:pt x="1066446" y="148245"/>
                    <a:pt x="1063956" y="145756"/>
                    <a:pt x="1063081" y="145655"/>
                  </a:cubicBezTo>
                  <a:cubicBezTo>
                    <a:pt x="1062206" y="145554"/>
                    <a:pt x="1059076" y="143267"/>
                    <a:pt x="1059076" y="143267"/>
                  </a:cubicBezTo>
                  <a:lnTo>
                    <a:pt x="1057764" y="143267"/>
                  </a:lnTo>
                  <a:lnTo>
                    <a:pt x="1054768" y="141753"/>
                  </a:lnTo>
                  <a:cubicBezTo>
                    <a:pt x="1054768" y="141753"/>
                    <a:pt x="1053456" y="141215"/>
                    <a:pt x="1052985" y="141215"/>
                  </a:cubicBezTo>
                  <a:cubicBezTo>
                    <a:pt x="1052513" y="141215"/>
                    <a:pt x="1051504" y="140777"/>
                    <a:pt x="1051302" y="140777"/>
                  </a:cubicBezTo>
                  <a:cubicBezTo>
                    <a:pt x="1051100" y="140777"/>
                    <a:pt x="1050932" y="140710"/>
                    <a:pt x="1050932" y="140710"/>
                  </a:cubicBezTo>
                  <a:cubicBezTo>
                    <a:pt x="1050932" y="140710"/>
                    <a:pt x="1049586" y="139634"/>
                    <a:pt x="1049148" y="138759"/>
                  </a:cubicBezTo>
                  <a:cubicBezTo>
                    <a:pt x="1048710" y="137884"/>
                    <a:pt x="1047095" y="137514"/>
                    <a:pt x="1046321" y="136909"/>
                  </a:cubicBezTo>
                  <a:cubicBezTo>
                    <a:pt x="1045547" y="136303"/>
                    <a:pt x="1045109" y="135967"/>
                    <a:pt x="1044571" y="135967"/>
                  </a:cubicBezTo>
                  <a:cubicBezTo>
                    <a:pt x="1044032" y="135967"/>
                    <a:pt x="1043393" y="135429"/>
                    <a:pt x="1041037" y="136404"/>
                  </a:cubicBezTo>
                  <a:cubicBezTo>
                    <a:pt x="1038715" y="137380"/>
                    <a:pt x="1040230" y="136942"/>
                    <a:pt x="1039960" y="137043"/>
                  </a:cubicBezTo>
                  <a:cubicBezTo>
                    <a:pt x="1039691" y="137144"/>
                    <a:pt x="1039590" y="137548"/>
                    <a:pt x="1039388" y="137851"/>
                  </a:cubicBezTo>
                  <a:cubicBezTo>
                    <a:pt x="1039186" y="138187"/>
                    <a:pt x="1039153" y="138759"/>
                    <a:pt x="1039153" y="138994"/>
                  </a:cubicBezTo>
                  <a:cubicBezTo>
                    <a:pt x="1039153" y="139196"/>
                    <a:pt x="1039254" y="139903"/>
                    <a:pt x="1039388" y="140138"/>
                  </a:cubicBezTo>
                  <a:cubicBezTo>
                    <a:pt x="1039489" y="140340"/>
                    <a:pt x="1039254" y="141349"/>
                    <a:pt x="1039254" y="141349"/>
                  </a:cubicBezTo>
                  <a:cubicBezTo>
                    <a:pt x="1039254" y="141349"/>
                    <a:pt x="1039556" y="142358"/>
                    <a:pt x="1039254" y="142796"/>
                  </a:cubicBezTo>
                  <a:cubicBezTo>
                    <a:pt x="1038951" y="143233"/>
                    <a:pt x="1037806" y="145420"/>
                    <a:pt x="1037806" y="145420"/>
                  </a:cubicBezTo>
                  <a:lnTo>
                    <a:pt x="1035484" y="147875"/>
                  </a:lnTo>
                  <a:lnTo>
                    <a:pt x="1033162" y="151643"/>
                  </a:lnTo>
                  <a:lnTo>
                    <a:pt x="1031277" y="153964"/>
                  </a:lnTo>
                  <a:lnTo>
                    <a:pt x="1029830" y="156151"/>
                  </a:lnTo>
                  <a:lnTo>
                    <a:pt x="1028080" y="159346"/>
                  </a:lnTo>
                  <a:lnTo>
                    <a:pt x="1024446" y="161802"/>
                  </a:lnTo>
                  <a:cubicBezTo>
                    <a:pt x="1024446" y="161802"/>
                    <a:pt x="1021686" y="164392"/>
                    <a:pt x="1020239" y="165435"/>
                  </a:cubicBezTo>
                  <a:cubicBezTo>
                    <a:pt x="1018791" y="166444"/>
                    <a:pt x="1015594" y="169203"/>
                    <a:pt x="1014450" y="169775"/>
                  </a:cubicBezTo>
                  <a:cubicBezTo>
                    <a:pt x="1013306" y="170347"/>
                    <a:pt x="1010815" y="174854"/>
                    <a:pt x="1010815" y="174854"/>
                  </a:cubicBezTo>
                  <a:cubicBezTo>
                    <a:pt x="1010815" y="174854"/>
                    <a:pt x="1009234" y="178319"/>
                    <a:pt x="1008628" y="179362"/>
                  </a:cubicBezTo>
                  <a:cubicBezTo>
                    <a:pt x="1008056" y="180371"/>
                    <a:pt x="1007181" y="184273"/>
                    <a:pt x="1006743" y="185148"/>
                  </a:cubicBezTo>
                  <a:cubicBezTo>
                    <a:pt x="1006306" y="186023"/>
                    <a:pt x="1004421" y="190059"/>
                    <a:pt x="1003983" y="190665"/>
                  </a:cubicBezTo>
                  <a:cubicBezTo>
                    <a:pt x="1003546" y="191237"/>
                    <a:pt x="1000517" y="196451"/>
                    <a:pt x="1000080" y="197056"/>
                  </a:cubicBezTo>
                  <a:cubicBezTo>
                    <a:pt x="999642" y="197628"/>
                    <a:pt x="997185" y="203852"/>
                    <a:pt x="997185" y="203852"/>
                  </a:cubicBezTo>
                  <a:lnTo>
                    <a:pt x="995435" y="207485"/>
                  </a:lnTo>
                  <a:lnTo>
                    <a:pt x="989781" y="212564"/>
                  </a:lnTo>
                  <a:lnTo>
                    <a:pt x="987459" y="217476"/>
                  </a:lnTo>
                  <a:cubicBezTo>
                    <a:pt x="987459" y="217476"/>
                    <a:pt x="983690" y="221546"/>
                    <a:pt x="983555" y="222118"/>
                  </a:cubicBezTo>
                  <a:cubicBezTo>
                    <a:pt x="983421" y="222690"/>
                    <a:pt x="979214" y="229081"/>
                    <a:pt x="979214" y="229081"/>
                  </a:cubicBezTo>
                  <a:lnTo>
                    <a:pt x="976319" y="231840"/>
                  </a:lnTo>
                  <a:lnTo>
                    <a:pt x="973863" y="235305"/>
                  </a:lnTo>
                  <a:cubicBezTo>
                    <a:pt x="973863" y="235305"/>
                    <a:pt x="970665" y="238063"/>
                    <a:pt x="969521" y="238635"/>
                  </a:cubicBezTo>
                  <a:cubicBezTo>
                    <a:pt x="968377" y="239207"/>
                    <a:pt x="966492" y="242705"/>
                    <a:pt x="966055" y="242975"/>
                  </a:cubicBezTo>
                  <a:cubicBezTo>
                    <a:pt x="965617" y="243277"/>
                    <a:pt x="964305" y="246002"/>
                    <a:pt x="963867" y="246439"/>
                  </a:cubicBezTo>
                  <a:cubicBezTo>
                    <a:pt x="963430" y="246877"/>
                    <a:pt x="960098" y="249198"/>
                    <a:pt x="960098" y="249198"/>
                  </a:cubicBezTo>
                  <a:cubicBezTo>
                    <a:pt x="960098" y="249198"/>
                    <a:pt x="957641" y="251654"/>
                    <a:pt x="956631" y="252394"/>
                  </a:cubicBezTo>
                  <a:cubicBezTo>
                    <a:pt x="955622" y="253100"/>
                    <a:pt x="954612" y="255859"/>
                    <a:pt x="952896" y="257305"/>
                  </a:cubicBezTo>
                  <a:cubicBezTo>
                    <a:pt x="951213" y="258752"/>
                    <a:pt x="949530" y="261073"/>
                    <a:pt x="949093" y="261207"/>
                  </a:cubicBezTo>
                  <a:cubicBezTo>
                    <a:pt x="948655" y="261342"/>
                    <a:pt x="948790" y="265850"/>
                    <a:pt x="948790" y="265850"/>
                  </a:cubicBezTo>
                  <a:lnTo>
                    <a:pt x="948655" y="270189"/>
                  </a:lnTo>
                  <a:lnTo>
                    <a:pt x="947511" y="276412"/>
                  </a:lnTo>
                  <a:cubicBezTo>
                    <a:pt x="947511" y="276412"/>
                    <a:pt x="945492" y="278868"/>
                    <a:pt x="944920" y="279305"/>
                  </a:cubicBezTo>
                  <a:cubicBezTo>
                    <a:pt x="944348" y="279743"/>
                    <a:pt x="942160" y="282770"/>
                    <a:pt x="941723" y="282938"/>
                  </a:cubicBezTo>
                  <a:cubicBezTo>
                    <a:pt x="941285" y="283073"/>
                    <a:pt x="939838" y="286572"/>
                    <a:pt x="939838" y="286572"/>
                  </a:cubicBezTo>
                  <a:cubicBezTo>
                    <a:pt x="939838" y="286572"/>
                    <a:pt x="938525" y="288455"/>
                    <a:pt x="938391" y="288893"/>
                  </a:cubicBezTo>
                  <a:cubicBezTo>
                    <a:pt x="938256" y="289330"/>
                    <a:pt x="936944" y="291348"/>
                    <a:pt x="936944" y="291348"/>
                  </a:cubicBezTo>
                  <a:lnTo>
                    <a:pt x="936506" y="295419"/>
                  </a:lnTo>
                  <a:lnTo>
                    <a:pt x="936506" y="298043"/>
                  </a:lnTo>
                  <a:cubicBezTo>
                    <a:pt x="936506" y="298043"/>
                    <a:pt x="937011" y="300061"/>
                    <a:pt x="937314" y="301373"/>
                  </a:cubicBezTo>
                  <a:cubicBezTo>
                    <a:pt x="937617" y="302685"/>
                    <a:pt x="938694" y="304131"/>
                    <a:pt x="939131" y="304434"/>
                  </a:cubicBezTo>
                  <a:cubicBezTo>
                    <a:pt x="939569" y="304737"/>
                    <a:pt x="940006" y="305174"/>
                    <a:pt x="940881" y="305881"/>
                  </a:cubicBezTo>
                  <a:cubicBezTo>
                    <a:pt x="941756" y="306587"/>
                    <a:pt x="943338" y="308639"/>
                    <a:pt x="943338" y="308639"/>
                  </a:cubicBezTo>
                  <a:lnTo>
                    <a:pt x="944045" y="311095"/>
                  </a:lnTo>
                  <a:lnTo>
                    <a:pt x="945795" y="314122"/>
                  </a:lnTo>
                  <a:cubicBezTo>
                    <a:pt x="945795" y="314122"/>
                    <a:pt x="948992" y="318193"/>
                    <a:pt x="948992" y="318596"/>
                  </a:cubicBezTo>
                  <a:cubicBezTo>
                    <a:pt x="948992" y="319034"/>
                    <a:pt x="950304" y="320480"/>
                    <a:pt x="950304" y="320480"/>
                  </a:cubicBezTo>
                  <a:lnTo>
                    <a:pt x="951752" y="323508"/>
                  </a:lnTo>
                  <a:cubicBezTo>
                    <a:pt x="951752" y="323508"/>
                    <a:pt x="952324" y="324080"/>
                    <a:pt x="952761" y="330034"/>
                  </a:cubicBezTo>
                  <a:cubicBezTo>
                    <a:pt x="953199" y="335988"/>
                    <a:pt x="952761" y="332052"/>
                    <a:pt x="952761" y="333667"/>
                  </a:cubicBezTo>
                  <a:cubicBezTo>
                    <a:pt x="952761" y="335248"/>
                    <a:pt x="950877" y="334542"/>
                    <a:pt x="950439" y="334542"/>
                  </a:cubicBezTo>
                  <a:cubicBezTo>
                    <a:pt x="950002" y="334542"/>
                    <a:pt x="946670" y="334979"/>
                    <a:pt x="945795" y="335282"/>
                  </a:cubicBezTo>
                  <a:cubicBezTo>
                    <a:pt x="944920" y="335584"/>
                    <a:pt x="939569" y="335282"/>
                    <a:pt x="938121" y="335282"/>
                  </a:cubicBezTo>
                  <a:cubicBezTo>
                    <a:pt x="936674" y="335282"/>
                    <a:pt x="933780" y="334844"/>
                    <a:pt x="933780" y="334844"/>
                  </a:cubicBezTo>
                  <a:lnTo>
                    <a:pt x="927991" y="332221"/>
                  </a:lnTo>
                  <a:lnTo>
                    <a:pt x="922775" y="330202"/>
                  </a:lnTo>
                  <a:lnTo>
                    <a:pt x="918871" y="329630"/>
                  </a:lnTo>
                  <a:lnTo>
                    <a:pt x="914967" y="327444"/>
                  </a:lnTo>
                  <a:lnTo>
                    <a:pt x="911063" y="324685"/>
                  </a:lnTo>
                  <a:lnTo>
                    <a:pt x="908304" y="323373"/>
                  </a:lnTo>
                  <a:lnTo>
                    <a:pt x="903962" y="318294"/>
                  </a:lnTo>
                  <a:lnTo>
                    <a:pt x="898173" y="312205"/>
                  </a:lnTo>
                  <a:lnTo>
                    <a:pt x="892250" y="311902"/>
                  </a:lnTo>
                  <a:lnTo>
                    <a:pt x="870644" y="311902"/>
                  </a:lnTo>
                  <a:cubicBezTo>
                    <a:pt x="870644" y="311902"/>
                    <a:pt x="867178" y="311095"/>
                    <a:pt x="858192" y="311969"/>
                  </a:cubicBezTo>
                  <a:cubicBezTo>
                    <a:pt x="849206" y="312844"/>
                    <a:pt x="847187" y="311599"/>
                    <a:pt x="840086" y="311599"/>
                  </a:cubicBezTo>
                  <a:cubicBezTo>
                    <a:pt x="832985" y="311599"/>
                    <a:pt x="834735" y="310725"/>
                    <a:pt x="825311" y="309581"/>
                  </a:cubicBezTo>
                  <a:cubicBezTo>
                    <a:pt x="815888" y="308437"/>
                    <a:pt x="820398" y="309446"/>
                    <a:pt x="817066" y="309446"/>
                  </a:cubicBezTo>
                  <a:cubicBezTo>
                    <a:pt x="813734" y="309446"/>
                    <a:pt x="807643" y="309446"/>
                    <a:pt x="800407" y="309144"/>
                  </a:cubicBezTo>
                  <a:cubicBezTo>
                    <a:pt x="793171" y="308841"/>
                    <a:pt x="792734" y="310018"/>
                    <a:pt x="787652" y="310456"/>
                  </a:cubicBezTo>
                  <a:cubicBezTo>
                    <a:pt x="782570" y="310893"/>
                    <a:pt x="781291" y="310456"/>
                    <a:pt x="775906" y="310456"/>
                  </a:cubicBezTo>
                  <a:cubicBezTo>
                    <a:pt x="770555" y="310456"/>
                    <a:pt x="766921" y="310456"/>
                    <a:pt x="762714" y="309581"/>
                  </a:cubicBezTo>
                  <a:cubicBezTo>
                    <a:pt x="758507" y="308706"/>
                    <a:pt x="758507" y="307563"/>
                    <a:pt x="757060" y="306856"/>
                  </a:cubicBezTo>
                  <a:cubicBezTo>
                    <a:pt x="755613" y="306150"/>
                    <a:pt x="751406" y="306823"/>
                    <a:pt x="748949" y="307125"/>
                  </a:cubicBezTo>
                  <a:cubicBezTo>
                    <a:pt x="746492" y="307428"/>
                    <a:pt x="743598" y="306419"/>
                    <a:pt x="741545" y="307125"/>
                  </a:cubicBezTo>
                  <a:cubicBezTo>
                    <a:pt x="739526" y="307865"/>
                    <a:pt x="738651" y="309144"/>
                    <a:pt x="736194" y="310153"/>
                  </a:cubicBezTo>
                  <a:cubicBezTo>
                    <a:pt x="733737" y="311162"/>
                    <a:pt x="733603" y="312609"/>
                    <a:pt x="732290" y="314661"/>
                  </a:cubicBezTo>
                  <a:cubicBezTo>
                    <a:pt x="730978" y="316679"/>
                    <a:pt x="731415" y="317991"/>
                    <a:pt x="731415" y="317991"/>
                  </a:cubicBezTo>
                  <a:cubicBezTo>
                    <a:pt x="731415" y="317991"/>
                    <a:pt x="731415" y="321624"/>
                    <a:pt x="731415" y="323777"/>
                  </a:cubicBezTo>
                  <a:cubicBezTo>
                    <a:pt x="731415" y="325930"/>
                    <a:pt x="735184" y="327679"/>
                    <a:pt x="735184" y="327679"/>
                  </a:cubicBezTo>
                  <a:cubicBezTo>
                    <a:pt x="735184" y="327679"/>
                    <a:pt x="736497" y="327982"/>
                    <a:pt x="738954" y="329294"/>
                  </a:cubicBezTo>
                  <a:cubicBezTo>
                    <a:pt x="741410" y="330606"/>
                    <a:pt x="741410" y="329731"/>
                    <a:pt x="741983" y="330000"/>
                  </a:cubicBezTo>
                  <a:cubicBezTo>
                    <a:pt x="742555" y="330303"/>
                    <a:pt x="744574" y="330875"/>
                    <a:pt x="745617" y="331178"/>
                  </a:cubicBezTo>
                  <a:cubicBezTo>
                    <a:pt x="746627" y="331480"/>
                    <a:pt x="747637" y="331178"/>
                    <a:pt x="747637" y="331178"/>
                  </a:cubicBezTo>
                  <a:cubicBezTo>
                    <a:pt x="747637" y="331178"/>
                    <a:pt x="749521" y="333633"/>
                    <a:pt x="749521" y="334205"/>
                  </a:cubicBezTo>
                  <a:cubicBezTo>
                    <a:pt x="749521" y="334777"/>
                    <a:pt x="749084" y="335214"/>
                    <a:pt x="749084" y="336964"/>
                  </a:cubicBezTo>
                  <a:cubicBezTo>
                    <a:pt x="749084" y="338713"/>
                    <a:pt x="748781" y="340597"/>
                    <a:pt x="748646" y="341000"/>
                  </a:cubicBezTo>
                  <a:cubicBezTo>
                    <a:pt x="748512" y="341438"/>
                    <a:pt x="748074" y="344028"/>
                    <a:pt x="748343" y="344768"/>
                  </a:cubicBezTo>
                  <a:cubicBezTo>
                    <a:pt x="748646" y="345508"/>
                    <a:pt x="750093" y="346652"/>
                    <a:pt x="752685" y="348973"/>
                  </a:cubicBezTo>
                  <a:cubicBezTo>
                    <a:pt x="755276" y="351294"/>
                    <a:pt x="754132" y="354759"/>
                    <a:pt x="753829" y="355331"/>
                  </a:cubicBezTo>
                  <a:cubicBezTo>
                    <a:pt x="753526" y="355903"/>
                    <a:pt x="753829" y="360545"/>
                    <a:pt x="753829" y="361117"/>
                  </a:cubicBezTo>
                  <a:cubicBezTo>
                    <a:pt x="753829" y="361689"/>
                    <a:pt x="752516" y="366768"/>
                    <a:pt x="752516" y="367340"/>
                  </a:cubicBezTo>
                  <a:cubicBezTo>
                    <a:pt x="752516" y="367912"/>
                    <a:pt x="751776" y="371680"/>
                    <a:pt x="751675" y="372252"/>
                  </a:cubicBezTo>
                  <a:cubicBezTo>
                    <a:pt x="751574" y="372824"/>
                    <a:pt x="751776" y="377163"/>
                    <a:pt x="751641" y="378610"/>
                  </a:cubicBezTo>
                  <a:cubicBezTo>
                    <a:pt x="751507" y="380056"/>
                    <a:pt x="751776" y="381805"/>
                    <a:pt x="751641" y="382377"/>
                  </a:cubicBezTo>
                  <a:cubicBezTo>
                    <a:pt x="751507" y="382949"/>
                    <a:pt x="751069" y="385842"/>
                    <a:pt x="750194" y="388029"/>
                  </a:cubicBezTo>
                  <a:cubicBezTo>
                    <a:pt x="749319" y="390215"/>
                    <a:pt x="749925" y="394252"/>
                    <a:pt x="749353" y="397010"/>
                  </a:cubicBezTo>
                  <a:cubicBezTo>
                    <a:pt x="748781" y="399769"/>
                    <a:pt x="747771" y="402090"/>
                    <a:pt x="747468" y="402965"/>
                  </a:cubicBezTo>
                  <a:cubicBezTo>
                    <a:pt x="747165" y="403839"/>
                    <a:pt x="747165" y="407035"/>
                    <a:pt x="747165" y="409491"/>
                  </a:cubicBezTo>
                  <a:cubicBezTo>
                    <a:pt x="747165" y="411946"/>
                    <a:pt x="744540" y="413393"/>
                    <a:pt x="744540" y="413393"/>
                  </a:cubicBezTo>
                  <a:cubicBezTo>
                    <a:pt x="744540" y="413393"/>
                    <a:pt x="744103" y="421366"/>
                    <a:pt x="744103" y="422509"/>
                  </a:cubicBezTo>
                  <a:cubicBezTo>
                    <a:pt x="744103" y="423687"/>
                    <a:pt x="744237" y="425133"/>
                    <a:pt x="744406" y="427723"/>
                  </a:cubicBezTo>
                  <a:cubicBezTo>
                    <a:pt x="744540" y="430347"/>
                    <a:pt x="745146" y="432635"/>
                    <a:pt x="745415" y="434956"/>
                  </a:cubicBezTo>
                  <a:cubicBezTo>
                    <a:pt x="745718" y="437277"/>
                    <a:pt x="745415" y="437277"/>
                    <a:pt x="745718" y="439598"/>
                  </a:cubicBezTo>
                  <a:cubicBezTo>
                    <a:pt x="746021" y="441919"/>
                    <a:pt x="745281" y="444812"/>
                    <a:pt x="745281" y="444812"/>
                  </a:cubicBezTo>
                  <a:cubicBezTo>
                    <a:pt x="745281" y="444812"/>
                    <a:pt x="745281" y="446696"/>
                    <a:pt x="745281" y="448008"/>
                  </a:cubicBezTo>
                  <a:cubicBezTo>
                    <a:pt x="745281" y="449320"/>
                    <a:pt x="745786" y="450464"/>
                    <a:pt x="746526" y="452650"/>
                  </a:cubicBezTo>
                  <a:cubicBezTo>
                    <a:pt x="747233" y="454837"/>
                    <a:pt x="746896" y="456418"/>
                    <a:pt x="746896" y="458436"/>
                  </a:cubicBezTo>
                  <a:cubicBezTo>
                    <a:pt x="746896" y="460455"/>
                    <a:pt x="746896" y="461767"/>
                    <a:pt x="746459" y="465097"/>
                  </a:cubicBezTo>
                  <a:cubicBezTo>
                    <a:pt x="746021" y="468427"/>
                    <a:pt x="745886" y="467687"/>
                    <a:pt x="745146" y="470614"/>
                  </a:cubicBezTo>
                  <a:cubicBezTo>
                    <a:pt x="744406" y="473507"/>
                    <a:pt x="745584" y="473070"/>
                    <a:pt x="746459" y="474819"/>
                  </a:cubicBezTo>
                  <a:cubicBezTo>
                    <a:pt x="747334" y="476568"/>
                    <a:pt x="747031" y="478452"/>
                    <a:pt x="747031" y="478452"/>
                  </a:cubicBezTo>
                  <a:cubicBezTo>
                    <a:pt x="747031" y="478452"/>
                    <a:pt x="743834" y="483801"/>
                    <a:pt x="744002" y="484541"/>
                  </a:cubicBezTo>
                  <a:cubicBezTo>
                    <a:pt x="744136" y="485247"/>
                    <a:pt x="745011" y="485987"/>
                    <a:pt x="745449" y="486559"/>
                  </a:cubicBezTo>
                  <a:cubicBezTo>
                    <a:pt x="745886" y="487131"/>
                    <a:pt x="746459" y="488880"/>
                    <a:pt x="746593" y="489452"/>
                  </a:cubicBezTo>
                  <a:cubicBezTo>
                    <a:pt x="746728" y="490024"/>
                    <a:pt x="746896" y="491033"/>
                    <a:pt x="746896" y="491033"/>
                  </a:cubicBezTo>
                  <a:cubicBezTo>
                    <a:pt x="746896" y="491033"/>
                    <a:pt x="746762" y="494666"/>
                    <a:pt x="746459" y="495104"/>
                  </a:cubicBezTo>
                  <a:cubicBezTo>
                    <a:pt x="746156" y="495541"/>
                    <a:pt x="746762" y="500318"/>
                    <a:pt x="746762" y="500755"/>
                  </a:cubicBezTo>
                  <a:cubicBezTo>
                    <a:pt x="746762" y="501192"/>
                    <a:pt x="741680" y="504388"/>
                    <a:pt x="743295" y="506104"/>
                  </a:cubicBezTo>
                  <a:cubicBezTo>
                    <a:pt x="744877" y="507853"/>
                    <a:pt x="743867" y="507988"/>
                    <a:pt x="746055" y="510881"/>
                  </a:cubicBezTo>
                  <a:cubicBezTo>
                    <a:pt x="748242" y="513774"/>
                    <a:pt x="747064" y="512193"/>
                    <a:pt x="749252" y="514514"/>
                  </a:cubicBezTo>
                  <a:cubicBezTo>
                    <a:pt x="751439" y="516835"/>
                    <a:pt x="749387" y="517541"/>
                    <a:pt x="749252" y="518416"/>
                  </a:cubicBezTo>
                  <a:cubicBezTo>
                    <a:pt x="749117" y="519291"/>
                    <a:pt x="743901" y="518281"/>
                    <a:pt x="743295" y="518416"/>
                  </a:cubicBezTo>
                  <a:cubicBezTo>
                    <a:pt x="742723" y="518550"/>
                    <a:pt x="742151" y="519560"/>
                    <a:pt x="741276" y="520165"/>
                  </a:cubicBezTo>
                  <a:cubicBezTo>
                    <a:pt x="740401" y="520737"/>
                    <a:pt x="739526" y="520905"/>
                    <a:pt x="738516" y="521612"/>
                  </a:cubicBezTo>
                  <a:cubicBezTo>
                    <a:pt x="737507" y="522318"/>
                    <a:pt x="736497" y="521612"/>
                    <a:pt x="736497" y="521612"/>
                  </a:cubicBezTo>
                  <a:lnTo>
                    <a:pt x="730978" y="523024"/>
                  </a:lnTo>
                  <a:cubicBezTo>
                    <a:pt x="730978" y="523024"/>
                    <a:pt x="729968" y="522924"/>
                    <a:pt x="728958" y="523058"/>
                  </a:cubicBezTo>
                  <a:cubicBezTo>
                    <a:pt x="727949" y="523193"/>
                    <a:pt x="726636" y="522924"/>
                    <a:pt x="725626" y="523058"/>
                  </a:cubicBezTo>
                  <a:cubicBezTo>
                    <a:pt x="724617" y="523193"/>
                    <a:pt x="723304" y="523361"/>
                    <a:pt x="722598" y="523630"/>
                  </a:cubicBezTo>
                  <a:cubicBezTo>
                    <a:pt x="721857" y="523933"/>
                    <a:pt x="720848" y="523933"/>
                    <a:pt x="718963" y="524370"/>
                  </a:cubicBezTo>
                  <a:cubicBezTo>
                    <a:pt x="717078" y="524807"/>
                    <a:pt x="716203" y="525951"/>
                    <a:pt x="715631" y="526119"/>
                  </a:cubicBezTo>
                  <a:cubicBezTo>
                    <a:pt x="715059" y="526254"/>
                    <a:pt x="714319" y="527129"/>
                    <a:pt x="714319" y="527129"/>
                  </a:cubicBezTo>
                  <a:cubicBezTo>
                    <a:pt x="714319" y="527129"/>
                    <a:pt x="711996" y="529450"/>
                    <a:pt x="711862" y="529887"/>
                  </a:cubicBezTo>
                  <a:cubicBezTo>
                    <a:pt x="711727" y="530324"/>
                    <a:pt x="710852" y="530896"/>
                    <a:pt x="710280" y="532040"/>
                  </a:cubicBezTo>
                  <a:cubicBezTo>
                    <a:pt x="709708" y="533217"/>
                    <a:pt x="709977" y="533924"/>
                    <a:pt x="709977" y="533924"/>
                  </a:cubicBezTo>
                  <a:cubicBezTo>
                    <a:pt x="709977" y="533924"/>
                    <a:pt x="709977" y="534496"/>
                    <a:pt x="710280" y="535068"/>
                  </a:cubicBezTo>
                  <a:cubicBezTo>
                    <a:pt x="710583" y="535639"/>
                    <a:pt x="712165" y="537826"/>
                    <a:pt x="713746" y="539273"/>
                  </a:cubicBezTo>
                  <a:cubicBezTo>
                    <a:pt x="715328" y="540719"/>
                    <a:pt x="714891" y="540013"/>
                    <a:pt x="716506" y="540584"/>
                  </a:cubicBezTo>
                  <a:cubicBezTo>
                    <a:pt x="718088" y="541156"/>
                    <a:pt x="716506" y="541291"/>
                    <a:pt x="716506" y="541728"/>
                  </a:cubicBezTo>
                  <a:cubicBezTo>
                    <a:pt x="716506" y="542165"/>
                    <a:pt x="715194" y="543309"/>
                    <a:pt x="714756" y="543612"/>
                  </a:cubicBezTo>
                  <a:cubicBezTo>
                    <a:pt x="714319" y="543881"/>
                    <a:pt x="713174" y="544621"/>
                    <a:pt x="712434" y="545361"/>
                  </a:cubicBezTo>
                  <a:cubicBezTo>
                    <a:pt x="711693" y="546068"/>
                    <a:pt x="709674" y="545361"/>
                    <a:pt x="708799" y="545361"/>
                  </a:cubicBezTo>
                  <a:cubicBezTo>
                    <a:pt x="707924" y="545361"/>
                    <a:pt x="706208" y="546505"/>
                    <a:pt x="706208" y="546505"/>
                  </a:cubicBezTo>
                  <a:lnTo>
                    <a:pt x="702876" y="546505"/>
                  </a:lnTo>
                  <a:lnTo>
                    <a:pt x="698265" y="547581"/>
                  </a:lnTo>
                  <a:cubicBezTo>
                    <a:pt x="698265" y="547581"/>
                    <a:pt x="695674" y="548994"/>
                    <a:pt x="695337" y="549196"/>
                  </a:cubicBezTo>
                  <a:cubicBezTo>
                    <a:pt x="695001" y="549398"/>
                    <a:pt x="691736" y="550407"/>
                    <a:pt x="691433" y="550609"/>
                  </a:cubicBezTo>
                  <a:cubicBezTo>
                    <a:pt x="691097" y="550811"/>
                    <a:pt x="689246" y="551786"/>
                    <a:pt x="688808" y="551786"/>
                  </a:cubicBezTo>
                  <a:cubicBezTo>
                    <a:pt x="688371" y="551786"/>
                    <a:pt x="686183" y="553536"/>
                    <a:pt x="686183" y="553536"/>
                  </a:cubicBezTo>
                  <a:cubicBezTo>
                    <a:pt x="686183" y="553536"/>
                    <a:pt x="683794" y="555487"/>
                    <a:pt x="683457" y="555823"/>
                  </a:cubicBezTo>
                  <a:cubicBezTo>
                    <a:pt x="683121" y="556160"/>
                    <a:pt x="682145" y="557572"/>
                    <a:pt x="681707" y="557875"/>
                  </a:cubicBezTo>
                  <a:cubicBezTo>
                    <a:pt x="681270" y="558212"/>
                    <a:pt x="679082" y="562114"/>
                    <a:pt x="679082" y="562114"/>
                  </a:cubicBezTo>
                  <a:cubicBezTo>
                    <a:pt x="679082" y="562114"/>
                    <a:pt x="677770" y="564300"/>
                    <a:pt x="677770" y="564704"/>
                  </a:cubicBezTo>
                  <a:cubicBezTo>
                    <a:pt x="677770" y="565141"/>
                    <a:pt x="675582" y="568741"/>
                    <a:pt x="675582" y="568741"/>
                  </a:cubicBezTo>
                  <a:cubicBezTo>
                    <a:pt x="675582" y="568741"/>
                    <a:pt x="674707" y="570927"/>
                    <a:pt x="674505" y="571230"/>
                  </a:cubicBezTo>
                  <a:cubicBezTo>
                    <a:pt x="674303" y="571567"/>
                    <a:pt x="673967" y="575132"/>
                    <a:pt x="673967" y="575132"/>
                  </a:cubicBezTo>
                  <a:lnTo>
                    <a:pt x="673967" y="580447"/>
                  </a:lnTo>
                  <a:cubicBezTo>
                    <a:pt x="673967" y="580447"/>
                    <a:pt x="675044" y="585123"/>
                    <a:pt x="675279" y="585897"/>
                  </a:cubicBezTo>
                  <a:cubicBezTo>
                    <a:pt x="675515" y="586671"/>
                    <a:pt x="676491" y="588723"/>
                    <a:pt x="676726" y="589799"/>
                  </a:cubicBezTo>
                  <a:cubicBezTo>
                    <a:pt x="676962" y="590876"/>
                    <a:pt x="677029" y="592087"/>
                    <a:pt x="676693" y="593062"/>
                  </a:cubicBezTo>
                  <a:cubicBezTo>
                    <a:pt x="676356" y="594038"/>
                    <a:pt x="676794" y="594812"/>
                    <a:pt x="676693" y="596224"/>
                  </a:cubicBezTo>
                  <a:cubicBezTo>
                    <a:pt x="676592" y="597637"/>
                    <a:pt x="676356" y="598075"/>
                    <a:pt x="676154" y="599151"/>
                  </a:cubicBezTo>
                  <a:cubicBezTo>
                    <a:pt x="675952" y="600228"/>
                    <a:pt x="675380" y="601203"/>
                    <a:pt x="675279" y="601640"/>
                  </a:cubicBezTo>
                  <a:cubicBezTo>
                    <a:pt x="675178" y="602078"/>
                    <a:pt x="673967" y="602717"/>
                    <a:pt x="673967" y="602717"/>
                  </a:cubicBezTo>
                  <a:cubicBezTo>
                    <a:pt x="673967" y="602717"/>
                    <a:pt x="672217" y="605004"/>
                    <a:pt x="672116" y="605307"/>
                  </a:cubicBezTo>
                  <a:cubicBezTo>
                    <a:pt x="672015" y="605643"/>
                    <a:pt x="671140" y="606384"/>
                    <a:pt x="671140" y="606384"/>
                  </a:cubicBezTo>
                  <a:cubicBezTo>
                    <a:pt x="671140" y="606384"/>
                    <a:pt x="670601" y="607359"/>
                    <a:pt x="669861" y="607796"/>
                  </a:cubicBezTo>
                  <a:cubicBezTo>
                    <a:pt x="669120" y="608234"/>
                    <a:pt x="669524" y="608772"/>
                    <a:pt x="669726" y="609546"/>
                  </a:cubicBezTo>
                  <a:cubicBezTo>
                    <a:pt x="669928" y="610319"/>
                    <a:pt x="669827" y="611598"/>
                    <a:pt x="669726" y="612270"/>
                  </a:cubicBezTo>
                  <a:cubicBezTo>
                    <a:pt x="669625" y="612910"/>
                    <a:pt x="668952" y="614222"/>
                    <a:pt x="668750" y="614558"/>
                  </a:cubicBezTo>
                  <a:cubicBezTo>
                    <a:pt x="668548" y="614894"/>
                    <a:pt x="667774" y="616745"/>
                    <a:pt x="667438" y="616946"/>
                  </a:cubicBezTo>
                  <a:cubicBezTo>
                    <a:pt x="667101" y="617148"/>
                    <a:pt x="666024" y="618561"/>
                    <a:pt x="665048" y="619133"/>
                  </a:cubicBezTo>
                  <a:cubicBezTo>
                    <a:pt x="664072" y="619671"/>
                    <a:pt x="662457" y="621959"/>
                    <a:pt x="662120" y="622161"/>
                  </a:cubicBezTo>
                  <a:cubicBezTo>
                    <a:pt x="661784" y="622396"/>
                    <a:pt x="660505" y="623775"/>
                    <a:pt x="660067" y="623775"/>
                  </a:cubicBezTo>
                  <a:cubicBezTo>
                    <a:pt x="659630" y="623775"/>
                    <a:pt x="657476" y="625625"/>
                    <a:pt x="657139" y="625726"/>
                  </a:cubicBezTo>
                  <a:cubicBezTo>
                    <a:pt x="656803" y="625827"/>
                    <a:pt x="651485" y="626937"/>
                    <a:pt x="651485" y="626937"/>
                  </a:cubicBezTo>
                  <a:cubicBezTo>
                    <a:pt x="651485" y="626937"/>
                    <a:pt x="648557" y="625962"/>
                    <a:pt x="647581" y="625524"/>
                  </a:cubicBezTo>
                  <a:cubicBezTo>
                    <a:pt x="646605" y="625087"/>
                    <a:pt x="644115" y="625188"/>
                    <a:pt x="643678" y="625524"/>
                  </a:cubicBezTo>
                  <a:cubicBezTo>
                    <a:pt x="643240" y="625861"/>
                    <a:pt x="641288" y="625524"/>
                    <a:pt x="641288" y="625524"/>
                  </a:cubicBezTo>
                  <a:cubicBezTo>
                    <a:pt x="641288" y="625524"/>
                    <a:pt x="640211" y="628350"/>
                    <a:pt x="639774" y="628350"/>
                  </a:cubicBezTo>
                  <a:cubicBezTo>
                    <a:pt x="639336" y="628350"/>
                    <a:pt x="636072" y="629965"/>
                    <a:pt x="636072" y="629965"/>
                  </a:cubicBezTo>
                  <a:lnTo>
                    <a:pt x="630653" y="630503"/>
                  </a:lnTo>
                  <a:cubicBezTo>
                    <a:pt x="630653" y="630503"/>
                    <a:pt x="622273" y="631580"/>
                    <a:pt x="620860" y="631580"/>
                  </a:cubicBezTo>
                  <a:cubicBezTo>
                    <a:pt x="619446" y="631580"/>
                    <a:pt x="616619" y="633867"/>
                    <a:pt x="614566" y="635179"/>
                  </a:cubicBezTo>
                  <a:cubicBezTo>
                    <a:pt x="612513" y="636491"/>
                    <a:pt x="611201" y="636356"/>
                    <a:pt x="608710" y="636794"/>
                  </a:cubicBezTo>
                  <a:cubicBezTo>
                    <a:pt x="606220" y="637231"/>
                    <a:pt x="603056" y="638308"/>
                    <a:pt x="601306" y="638980"/>
                  </a:cubicBezTo>
                  <a:cubicBezTo>
                    <a:pt x="599556" y="639619"/>
                    <a:pt x="596965" y="640158"/>
                    <a:pt x="595888" y="640158"/>
                  </a:cubicBezTo>
                  <a:cubicBezTo>
                    <a:pt x="594811" y="640158"/>
                    <a:pt x="591648" y="640931"/>
                    <a:pt x="590335" y="641133"/>
                  </a:cubicBezTo>
                  <a:cubicBezTo>
                    <a:pt x="589023" y="641335"/>
                    <a:pt x="586734" y="641335"/>
                    <a:pt x="585220" y="641772"/>
                  </a:cubicBezTo>
                  <a:cubicBezTo>
                    <a:pt x="583705" y="642210"/>
                    <a:pt x="580441" y="641873"/>
                    <a:pt x="578590" y="642412"/>
                  </a:cubicBezTo>
                  <a:cubicBezTo>
                    <a:pt x="576739" y="642950"/>
                    <a:pt x="574585" y="642311"/>
                    <a:pt x="572835" y="642412"/>
                  </a:cubicBezTo>
                  <a:cubicBezTo>
                    <a:pt x="571085" y="642513"/>
                    <a:pt x="562839" y="642950"/>
                    <a:pt x="561964" y="643488"/>
                  </a:cubicBezTo>
                  <a:cubicBezTo>
                    <a:pt x="561089" y="644026"/>
                    <a:pt x="557959" y="644262"/>
                    <a:pt x="553147" y="648265"/>
                  </a:cubicBezTo>
                  <a:cubicBezTo>
                    <a:pt x="548368" y="652268"/>
                    <a:pt x="545642" y="651730"/>
                    <a:pt x="544228" y="651965"/>
                  </a:cubicBezTo>
                  <a:cubicBezTo>
                    <a:pt x="542815" y="652201"/>
                    <a:pt x="535747" y="652066"/>
                    <a:pt x="526526" y="651427"/>
                  </a:cubicBezTo>
                  <a:cubicBezTo>
                    <a:pt x="517271" y="650788"/>
                    <a:pt x="521108" y="651864"/>
                    <a:pt x="515756" y="652840"/>
                  </a:cubicBezTo>
                  <a:cubicBezTo>
                    <a:pt x="510439" y="653815"/>
                    <a:pt x="511853" y="654253"/>
                    <a:pt x="509564" y="654320"/>
                  </a:cubicBezTo>
                  <a:cubicBezTo>
                    <a:pt x="507276" y="654387"/>
                    <a:pt x="504449" y="656540"/>
                    <a:pt x="500982" y="658054"/>
                  </a:cubicBezTo>
                  <a:cubicBezTo>
                    <a:pt x="497516" y="659568"/>
                    <a:pt x="494790" y="658256"/>
                    <a:pt x="492939" y="658256"/>
                  </a:cubicBezTo>
                  <a:cubicBezTo>
                    <a:pt x="491088" y="658256"/>
                    <a:pt x="486544" y="657919"/>
                    <a:pt x="484794" y="657919"/>
                  </a:cubicBezTo>
                  <a:cubicBezTo>
                    <a:pt x="483044" y="657919"/>
                    <a:pt x="479780" y="656069"/>
                    <a:pt x="478501" y="655968"/>
                  </a:cubicBezTo>
                  <a:cubicBezTo>
                    <a:pt x="477188" y="655867"/>
                    <a:pt x="471972" y="654017"/>
                    <a:pt x="470457" y="654354"/>
                  </a:cubicBezTo>
                  <a:cubicBezTo>
                    <a:pt x="468943" y="654690"/>
                    <a:pt x="465241" y="656204"/>
                    <a:pt x="463390" y="657617"/>
                  </a:cubicBezTo>
                  <a:cubicBezTo>
                    <a:pt x="461539" y="659030"/>
                    <a:pt x="456423" y="658929"/>
                    <a:pt x="455986" y="659030"/>
                  </a:cubicBezTo>
                  <a:cubicBezTo>
                    <a:pt x="455548" y="659131"/>
                    <a:pt x="452284" y="661115"/>
                    <a:pt x="452284" y="661115"/>
                  </a:cubicBezTo>
                  <a:cubicBezTo>
                    <a:pt x="452284" y="661115"/>
                    <a:pt x="447606" y="661115"/>
                    <a:pt x="446967" y="661115"/>
                  </a:cubicBezTo>
                  <a:cubicBezTo>
                    <a:pt x="446327" y="661115"/>
                    <a:pt x="438587" y="661485"/>
                    <a:pt x="437072" y="661923"/>
                  </a:cubicBezTo>
                  <a:cubicBezTo>
                    <a:pt x="435558" y="662360"/>
                    <a:pt x="428692" y="662831"/>
                    <a:pt x="427178" y="663066"/>
                  </a:cubicBezTo>
                  <a:cubicBezTo>
                    <a:pt x="425663" y="663302"/>
                    <a:pt x="420985" y="663504"/>
                    <a:pt x="419908" y="663705"/>
                  </a:cubicBezTo>
                  <a:cubicBezTo>
                    <a:pt x="418831" y="663941"/>
                    <a:pt x="414490" y="666195"/>
                    <a:pt x="414490" y="666195"/>
                  </a:cubicBezTo>
                  <a:cubicBezTo>
                    <a:pt x="414490" y="666195"/>
                    <a:pt x="410148" y="667406"/>
                    <a:pt x="408937" y="667810"/>
                  </a:cubicBezTo>
                  <a:cubicBezTo>
                    <a:pt x="407725" y="668247"/>
                    <a:pt x="402845" y="669996"/>
                    <a:pt x="401331" y="670198"/>
                  </a:cubicBezTo>
                  <a:cubicBezTo>
                    <a:pt x="399816" y="670433"/>
                    <a:pt x="392412" y="670837"/>
                    <a:pt x="392076" y="670837"/>
                  </a:cubicBezTo>
                  <a:cubicBezTo>
                    <a:pt x="391739" y="670837"/>
                    <a:pt x="387398" y="670602"/>
                    <a:pt x="387095" y="670602"/>
                  </a:cubicBezTo>
                  <a:cubicBezTo>
                    <a:pt x="386758" y="670602"/>
                    <a:pt x="378412" y="668751"/>
                    <a:pt x="378412" y="668751"/>
                  </a:cubicBezTo>
                  <a:cubicBezTo>
                    <a:pt x="378412" y="668751"/>
                    <a:pt x="374071" y="667103"/>
                    <a:pt x="373633" y="667103"/>
                  </a:cubicBezTo>
                  <a:cubicBezTo>
                    <a:pt x="373196" y="667103"/>
                    <a:pt x="369931" y="666027"/>
                    <a:pt x="369931" y="666027"/>
                  </a:cubicBezTo>
                  <a:cubicBezTo>
                    <a:pt x="369931" y="666027"/>
                    <a:pt x="366330" y="663537"/>
                    <a:pt x="365926" y="663537"/>
                  </a:cubicBezTo>
                  <a:cubicBezTo>
                    <a:pt x="365489" y="663537"/>
                    <a:pt x="364614" y="663335"/>
                    <a:pt x="363739" y="663100"/>
                  </a:cubicBezTo>
                  <a:cubicBezTo>
                    <a:pt x="362864" y="662898"/>
                    <a:pt x="358421" y="662461"/>
                    <a:pt x="358421" y="662461"/>
                  </a:cubicBezTo>
                  <a:lnTo>
                    <a:pt x="355056" y="663672"/>
                  </a:lnTo>
                  <a:lnTo>
                    <a:pt x="348426" y="665186"/>
                  </a:lnTo>
                  <a:cubicBezTo>
                    <a:pt x="348426" y="665186"/>
                    <a:pt x="345498" y="667036"/>
                    <a:pt x="345060" y="667036"/>
                  </a:cubicBezTo>
                  <a:cubicBezTo>
                    <a:pt x="344623" y="667036"/>
                    <a:pt x="342570" y="669424"/>
                    <a:pt x="342133" y="669761"/>
                  </a:cubicBezTo>
                  <a:cubicBezTo>
                    <a:pt x="341695" y="670097"/>
                    <a:pt x="338330" y="674235"/>
                    <a:pt x="338330" y="674235"/>
                  </a:cubicBezTo>
                  <a:lnTo>
                    <a:pt x="332238" y="677700"/>
                  </a:lnTo>
                  <a:lnTo>
                    <a:pt x="325406" y="684966"/>
                  </a:lnTo>
                  <a:lnTo>
                    <a:pt x="322243" y="687455"/>
                  </a:lnTo>
                  <a:lnTo>
                    <a:pt x="320728" y="690180"/>
                  </a:lnTo>
                  <a:cubicBezTo>
                    <a:pt x="320728" y="690180"/>
                    <a:pt x="316589" y="696269"/>
                    <a:pt x="315949" y="696605"/>
                  </a:cubicBezTo>
                  <a:cubicBezTo>
                    <a:pt x="315310" y="696941"/>
                    <a:pt x="313459" y="699868"/>
                    <a:pt x="312920" y="700608"/>
                  </a:cubicBezTo>
                  <a:cubicBezTo>
                    <a:pt x="312382" y="701382"/>
                    <a:pt x="310867" y="702122"/>
                    <a:pt x="310194" y="702660"/>
                  </a:cubicBezTo>
                  <a:cubicBezTo>
                    <a:pt x="309555" y="703198"/>
                    <a:pt x="307906" y="703972"/>
                    <a:pt x="307906" y="703972"/>
                  </a:cubicBezTo>
                  <a:cubicBezTo>
                    <a:pt x="307906" y="703972"/>
                    <a:pt x="304877" y="707572"/>
                    <a:pt x="304742" y="707975"/>
                  </a:cubicBezTo>
                  <a:cubicBezTo>
                    <a:pt x="304641" y="708413"/>
                    <a:pt x="304204" y="709489"/>
                    <a:pt x="302992" y="710700"/>
                  </a:cubicBezTo>
                  <a:cubicBezTo>
                    <a:pt x="301781" y="711911"/>
                    <a:pt x="300939" y="713290"/>
                    <a:pt x="299627" y="714838"/>
                  </a:cubicBezTo>
                  <a:cubicBezTo>
                    <a:pt x="298314" y="716351"/>
                    <a:pt x="296026" y="717226"/>
                    <a:pt x="294511" y="718000"/>
                  </a:cubicBezTo>
                  <a:cubicBezTo>
                    <a:pt x="292997" y="718774"/>
                    <a:pt x="290069" y="717226"/>
                    <a:pt x="289295" y="717226"/>
                  </a:cubicBezTo>
                  <a:cubicBezTo>
                    <a:pt x="288521" y="717226"/>
                    <a:pt x="287006" y="714501"/>
                    <a:pt x="287006" y="714501"/>
                  </a:cubicBezTo>
                  <a:lnTo>
                    <a:pt x="284617" y="713728"/>
                  </a:lnTo>
                  <a:lnTo>
                    <a:pt x="281352" y="712853"/>
                  </a:lnTo>
                  <a:cubicBezTo>
                    <a:pt x="281352" y="712853"/>
                    <a:pt x="276136" y="710801"/>
                    <a:pt x="275799" y="710902"/>
                  </a:cubicBezTo>
                  <a:cubicBezTo>
                    <a:pt x="275463" y="711003"/>
                    <a:pt x="269708" y="709691"/>
                    <a:pt x="269708" y="709691"/>
                  </a:cubicBezTo>
                  <a:lnTo>
                    <a:pt x="265265" y="709691"/>
                  </a:lnTo>
                  <a:lnTo>
                    <a:pt x="259813" y="709758"/>
                  </a:lnTo>
                  <a:cubicBezTo>
                    <a:pt x="259813" y="709758"/>
                    <a:pt x="253823" y="710027"/>
                    <a:pt x="250457" y="710801"/>
                  </a:cubicBezTo>
                  <a:cubicBezTo>
                    <a:pt x="247092" y="711575"/>
                    <a:pt x="244029" y="710801"/>
                    <a:pt x="243626" y="710801"/>
                  </a:cubicBezTo>
                  <a:cubicBezTo>
                    <a:pt x="243188" y="710801"/>
                    <a:pt x="238510" y="709186"/>
                    <a:pt x="238510" y="709186"/>
                  </a:cubicBezTo>
                  <a:cubicBezTo>
                    <a:pt x="238510" y="709186"/>
                    <a:pt x="234707" y="705250"/>
                    <a:pt x="234471" y="704948"/>
                  </a:cubicBezTo>
                  <a:cubicBezTo>
                    <a:pt x="234236" y="704611"/>
                    <a:pt x="233933" y="702559"/>
                    <a:pt x="233933" y="702559"/>
                  </a:cubicBezTo>
                  <a:lnTo>
                    <a:pt x="234270" y="698523"/>
                  </a:lnTo>
                  <a:lnTo>
                    <a:pt x="235246" y="691021"/>
                  </a:lnTo>
                  <a:cubicBezTo>
                    <a:pt x="235246" y="691021"/>
                    <a:pt x="236457" y="689070"/>
                    <a:pt x="236558" y="688733"/>
                  </a:cubicBezTo>
                  <a:cubicBezTo>
                    <a:pt x="236659" y="688397"/>
                    <a:pt x="237635" y="686446"/>
                    <a:pt x="237871" y="685369"/>
                  </a:cubicBezTo>
                  <a:cubicBezTo>
                    <a:pt x="238073" y="684293"/>
                    <a:pt x="237770" y="682443"/>
                    <a:pt x="237770" y="682443"/>
                  </a:cubicBezTo>
                  <a:cubicBezTo>
                    <a:pt x="237770" y="682443"/>
                    <a:pt x="237433" y="678204"/>
                    <a:pt x="237332" y="677868"/>
                  </a:cubicBezTo>
                  <a:cubicBezTo>
                    <a:pt x="237231" y="677531"/>
                    <a:pt x="236693" y="674403"/>
                    <a:pt x="236255" y="673629"/>
                  </a:cubicBezTo>
                  <a:cubicBezTo>
                    <a:pt x="235818" y="672855"/>
                    <a:pt x="233664" y="670803"/>
                    <a:pt x="233327" y="670703"/>
                  </a:cubicBezTo>
                  <a:cubicBezTo>
                    <a:pt x="232991" y="670602"/>
                    <a:pt x="231039" y="668852"/>
                    <a:pt x="230298" y="668852"/>
                  </a:cubicBezTo>
                  <a:cubicBezTo>
                    <a:pt x="229524" y="668852"/>
                    <a:pt x="227808" y="667776"/>
                    <a:pt x="227370" y="667776"/>
                  </a:cubicBezTo>
                  <a:cubicBezTo>
                    <a:pt x="226933" y="667776"/>
                    <a:pt x="225755" y="667675"/>
                    <a:pt x="224644" y="667675"/>
                  </a:cubicBezTo>
                  <a:cubicBezTo>
                    <a:pt x="223567" y="667675"/>
                    <a:pt x="221615" y="668112"/>
                    <a:pt x="221615" y="668112"/>
                  </a:cubicBezTo>
                  <a:cubicBezTo>
                    <a:pt x="221615" y="668112"/>
                    <a:pt x="220841" y="669525"/>
                    <a:pt x="220303" y="670299"/>
                  </a:cubicBezTo>
                  <a:cubicBezTo>
                    <a:pt x="219764" y="671073"/>
                    <a:pt x="218687" y="671947"/>
                    <a:pt x="218115" y="672687"/>
                  </a:cubicBezTo>
                  <a:cubicBezTo>
                    <a:pt x="217577" y="673461"/>
                    <a:pt x="216163" y="673562"/>
                    <a:pt x="216163" y="673562"/>
                  </a:cubicBezTo>
                  <a:cubicBezTo>
                    <a:pt x="216163" y="673562"/>
                    <a:pt x="214110" y="674336"/>
                    <a:pt x="213000" y="674437"/>
                  </a:cubicBezTo>
                  <a:cubicBezTo>
                    <a:pt x="211923" y="674537"/>
                    <a:pt x="210173" y="674437"/>
                    <a:pt x="207884" y="674874"/>
                  </a:cubicBezTo>
                  <a:cubicBezTo>
                    <a:pt x="205596" y="675311"/>
                    <a:pt x="203004" y="674874"/>
                    <a:pt x="203004" y="674874"/>
                  </a:cubicBezTo>
                  <a:lnTo>
                    <a:pt x="198865" y="674100"/>
                  </a:lnTo>
                  <a:lnTo>
                    <a:pt x="191697" y="676724"/>
                  </a:lnTo>
                  <a:cubicBezTo>
                    <a:pt x="191697" y="676724"/>
                    <a:pt x="189946" y="677060"/>
                    <a:pt x="189509" y="676926"/>
                  </a:cubicBezTo>
                  <a:cubicBezTo>
                    <a:pt x="189071" y="676825"/>
                    <a:pt x="185168" y="673461"/>
                    <a:pt x="184831" y="673226"/>
                  </a:cubicBezTo>
                  <a:cubicBezTo>
                    <a:pt x="184494" y="673024"/>
                    <a:pt x="182105" y="670501"/>
                    <a:pt x="182105" y="670501"/>
                  </a:cubicBezTo>
                  <a:cubicBezTo>
                    <a:pt x="182105" y="670501"/>
                    <a:pt x="178941" y="667473"/>
                    <a:pt x="178639" y="667036"/>
                  </a:cubicBezTo>
                  <a:cubicBezTo>
                    <a:pt x="178302" y="666599"/>
                    <a:pt x="177225" y="664984"/>
                    <a:pt x="177225" y="664984"/>
                  </a:cubicBezTo>
                  <a:cubicBezTo>
                    <a:pt x="177225" y="664984"/>
                    <a:pt x="175475" y="663134"/>
                    <a:pt x="175172" y="662932"/>
                  </a:cubicBezTo>
                  <a:cubicBezTo>
                    <a:pt x="174836" y="662696"/>
                    <a:pt x="173321" y="660745"/>
                    <a:pt x="173119" y="660005"/>
                  </a:cubicBezTo>
                  <a:cubicBezTo>
                    <a:pt x="172917" y="659231"/>
                    <a:pt x="172042" y="659669"/>
                    <a:pt x="171706" y="659231"/>
                  </a:cubicBezTo>
                  <a:cubicBezTo>
                    <a:pt x="171369" y="658794"/>
                    <a:pt x="169855" y="658357"/>
                    <a:pt x="168980" y="658357"/>
                  </a:cubicBezTo>
                  <a:cubicBezTo>
                    <a:pt x="168105" y="658357"/>
                    <a:pt x="167667" y="658794"/>
                    <a:pt x="167364" y="658895"/>
                  </a:cubicBezTo>
                  <a:cubicBezTo>
                    <a:pt x="167028" y="658996"/>
                    <a:pt x="165513" y="660409"/>
                    <a:pt x="164436" y="661082"/>
                  </a:cubicBezTo>
                  <a:cubicBezTo>
                    <a:pt x="163359" y="661721"/>
                    <a:pt x="163023" y="662696"/>
                    <a:pt x="162585" y="663369"/>
                  </a:cubicBezTo>
                  <a:cubicBezTo>
                    <a:pt x="162148" y="664008"/>
                    <a:pt x="162249" y="665556"/>
                    <a:pt x="162148" y="666531"/>
                  </a:cubicBezTo>
                  <a:cubicBezTo>
                    <a:pt x="162047" y="667507"/>
                    <a:pt x="163023" y="669559"/>
                    <a:pt x="163124" y="670332"/>
                  </a:cubicBezTo>
                  <a:cubicBezTo>
                    <a:pt x="163225" y="671106"/>
                    <a:pt x="161946" y="674033"/>
                    <a:pt x="161946" y="674033"/>
                  </a:cubicBezTo>
                  <a:cubicBezTo>
                    <a:pt x="161946" y="674033"/>
                    <a:pt x="161071" y="675648"/>
                    <a:pt x="160633" y="675883"/>
                  </a:cubicBezTo>
                  <a:cubicBezTo>
                    <a:pt x="160196" y="676085"/>
                    <a:pt x="158345" y="676959"/>
                    <a:pt x="158042" y="676926"/>
                  </a:cubicBezTo>
                  <a:cubicBezTo>
                    <a:pt x="157705" y="676892"/>
                    <a:pt x="153465" y="676859"/>
                    <a:pt x="152624" y="676959"/>
                  </a:cubicBezTo>
                  <a:cubicBezTo>
                    <a:pt x="151749" y="677060"/>
                    <a:pt x="149460" y="676859"/>
                    <a:pt x="149023" y="676959"/>
                  </a:cubicBezTo>
                  <a:cubicBezTo>
                    <a:pt x="148585" y="677060"/>
                    <a:pt x="146095" y="676959"/>
                    <a:pt x="145220" y="676959"/>
                  </a:cubicBezTo>
                  <a:cubicBezTo>
                    <a:pt x="144345" y="676959"/>
                    <a:pt x="143032" y="677733"/>
                    <a:pt x="142056" y="677834"/>
                  </a:cubicBezTo>
                  <a:cubicBezTo>
                    <a:pt x="141080" y="677935"/>
                    <a:pt x="139868" y="678911"/>
                    <a:pt x="139027" y="679348"/>
                  </a:cubicBezTo>
                  <a:cubicBezTo>
                    <a:pt x="138152" y="679785"/>
                    <a:pt x="137412" y="680761"/>
                    <a:pt x="136638" y="680862"/>
                  </a:cubicBezTo>
                  <a:cubicBezTo>
                    <a:pt x="135864" y="680963"/>
                    <a:pt x="133811" y="683250"/>
                    <a:pt x="133037" y="683351"/>
                  </a:cubicBezTo>
                  <a:cubicBezTo>
                    <a:pt x="132263" y="683452"/>
                    <a:pt x="129873" y="684562"/>
                    <a:pt x="127921" y="684764"/>
                  </a:cubicBezTo>
                  <a:cubicBezTo>
                    <a:pt x="125969" y="684966"/>
                    <a:pt x="124455" y="685403"/>
                    <a:pt x="123883" y="685403"/>
                  </a:cubicBezTo>
                  <a:cubicBezTo>
                    <a:pt x="123344" y="685403"/>
                    <a:pt x="121392" y="686177"/>
                    <a:pt x="120955" y="686177"/>
                  </a:cubicBezTo>
                  <a:cubicBezTo>
                    <a:pt x="120517" y="686177"/>
                    <a:pt x="118565" y="686715"/>
                    <a:pt x="117051" y="686816"/>
                  </a:cubicBezTo>
                  <a:cubicBezTo>
                    <a:pt x="115536" y="686917"/>
                    <a:pt x="113887" y="686917"/>
                    <a:pt x="113046" y="686816"/>
                  </a:cubicBezTo>
                  <a:cubicBezTo>
                    <a:pt x="112171" y="686715"/>
                    <a:pt x="110421" y="686614"/>
                    <a:pt x="109243" y="686614"/>
                  </a:cubicBezTo>
                  <a:cubicBezTo>
                    <a:pt x="108065" y="686614"/>
                    <a:pt x="105103" y="684764"/>
                    <a:pt x="104666" y="684764"/>
                  </a:cubicBezTo>
                  <a:cubicBezTo>
                    <a:pt x="104228" y="684764"/>
                    <a:pt x="101300" y="683149"/>
                    <a:pt x="100863" y="683149"/>
                  </a:cubicBezTo>
                  <a:cubicBezTo>
                    <a:pt x="100425" y="683149"/>
                    <a:pt x="97598" y="683149"/>
                    <a:pt x="97161" y="683048"/>
                  </a:cubicBezTo>
                  <a:cubicBezTo>
                    <a:pt x="96723" y="682947"/>
                    <a:pt x="94132" y="681972"/>
                    <a:pt x="94132" y="681972"/>
                  </a:cubicBezTo>
                  <a:lnTo>
                    <a:pt x="90766" y="681972"/>
                  </a:lnTo>
                  <a:cubicBezTo>
                    <a:pt x="90766" y="681972"/>
                    <a:pt x="85886" y="683990"/>
                    <a:pt x="85550" y="684091"/>
                  </a:cubicBezTo>
                  <a:cubicBezTo>
                    <a:pt x="85213" y="684192"/>
                    <a:pt x="82184" y="685571"/>
                    <a:pt x="82184" y="685571"/>
                  </a:cubicBezTo>
                  <a:lnTo>
                    <a:pt x="78146" y="688733"/>
                  </a:lnTo>
                  <a:lnTo>
                    <a:pt x="74780" y="691458"/>
                  </a:lnTo>
                  <a:lnTo>
                    <a:pt x="70877" y="694822"/>
                  </a:lnTo>
                  <a:lnTo>
                    <a:pt x="68252" y="697009"/>
                  </a:lnTo>
                  <a:cubicBezTo>
                    <a:pt x="68252" y="697009"/>
                    <a:pt x="65525" y="700036"/>
                    <a:pt x="65088" y="700373"/>
                  </a:cubicBezTo>
                  <a:cubicBezTo>
                    <a:pt x="64650" y="700709"/>
                    <a:pt x="63674" y="702559"/>
                    <a:pt x="63674" y="702559"/>
                  </a:cubicBezTo>
                  <a:lnTo>
                    <a:pt x="63035" y="705183"/>
                  </a:lnTo>
                  <a:lnTo>
                    <a:pt x="62261" y="708446"/>
                  </a:lnTo>
                  <a:lnTo>
                    <a:pt x="62160" y="712046"/>
                  </a:lnTo>
                  <a:lnTo>
                    <a:pt x="61521" y="714636"/>
                  </a:lnTo>
                  <a:lnTo>
                    <a:pt x="61420" y="718673"/>
                  </a:lnTo>
                  <a:lnTo>
                    <a:pt x="60545" y="722474"/>
                  </a:lnTo>
                  <a:cubicBezTo>
                    <a:pt x="60545" y="722474"/>
                    <a:pt x="59131" y="724761"/>
                    <a:pt x="58795" y="725199"/>
                  </a:cubicBezTo>
                  <a:cubicBezTo>
                    <a:pt x="58458" y="725636"/>
                    <a:pt x="57482" y="727486"/>
                    <a:pt x="57482" y="727486"/>
                  </a:cubicBezTo>
                  <a:cubicBezTo>
                    <a:pt x="57482" y="727486"/>
                    <a:pt x="55429" y="729437"/>
                    <a:pt x="54891" y="729673"/>
                  </a:cubicBezTo>
                  <a:cubicBezTo>
                    <a:pt x="54352" y="729875"/>
                    <a:pt x="53040" y="731086"/>
                    <a:pt x="52703" y="731086"/>
                  </a:cubicBezTo>
                  <a:cubicBezTo>
                    <a:pt x="52367" y="731086"/>
                    <a:pt x="50953" y="732297"/>
                    <a:pt x="50078" y="732499"/>
                  </a:cubicBezTo>
                  <a:cubicBezTo>
                    <a:pt x="49203" y="732700"/>
                    <a:pt x="48665" y="733810"/>
                    <a:pt x="48025" y="734012"/>
                  </a:cubicBezTo>
                  <a:cubicBezTo>
                    <a:pt x="47386" y="734214"/>
                    <a:pt x="46410" y="735526"/>
                    <a:pt x="45299" y="735963"/>
                  </a:cubicBezTo>
                  <a:cubicBezTo>
                    <a:pt x="44222" y="736401"/>
                    <a:pt x="43785" y="737174"/>
                    <a:pt x="43448" y="737814"/>
                  </a:cubicBezTo>
                  <a:cubicBezTo>
                    <a:pt x="43112" y="738453"/>
                    <a:pt x="40520" y="737814"/>
                    <a:pt x="40520" y="737814"/>
                  </a:cubicBezTo>
                  <a:lnTo>
                    <a:pt x="36717" y="739428"/>
                  </a:lnTo>
                  <a:lnTo>
                    <a:pt x="33453" y="739428"/>
                  </a:lnTo>
                  <a:lnTo>
                    <a:pt x="30962" y="740236"/>
                  </a:lnTo>
                  <a:cubicBezTo>
                    <a:pt x="30962" y="740236"/>
                    <a:pt x="27698" y="739967"/>
                    <a:pt x="26621" y="740067"/>
                  </a:cubicBezTo>
                  <a:cubicBezTo>
                    <a:pt x="25544" y="740168"/>
                    <a:pt x="24770" y="740067"/>
                    <a:pt x="24332" y="740067"/>
                  </a:cubicBezTo>
                  <a:cubicBezTo>
                    <a:pt x="23895" y="740067"/>
                    <a:pt x="20327" y="740841"/>
                    <a:pt x="19318" y="740841"/>
                  </a:cubicBezTo>
                  <a:cubicBezTo>
                    <a:pt x="18342" y="740841"/>
                    <a:pt x="16390" y="742153"/>
                    <a:pt x="15077" y="742490"/>
                  </a:cubicBezTo>
                  <a:cubicBezTo>
                    <a:pt x="13765" y="742826"/>
                    <a:pt x="12688" y="743028"/>
                    <a:pt x="11173" y="743902"/>
                  </a:cubicBezTo>
                  <a:cubicBezTo>
                    <a:pt x="9659" y="744777"/>
                    <a:pt x="7808" y="745753"/>
                    <a:pt x="7034" y="746526"/>
                  </a:cubicBezTo>
                  <a:cubicBezTo>
                    <a:pt x="6260" y="747300"/>
                    <a:pt x="6260" y="746863"/>
                    <a:pt x="6159" y="748578"/>
                  </a:cubicBezTo>
                  <a:cubicBezTo>
                    <a:pt x="6058" y="750328"/>
                    <a:pt x="8548" y="751606"/>
                    <a:pt x="8784" y="751942"/>
                  </a:cubicBezTo>
                  <a:cubicBezTo>
                    <a:pt x="8986" y="752279"/>
                    <a:pt x="10298" y="753557"/>
                    <a:pt x="12486" y="755104"/>
                  </a:cubicBezTo>
                  <a:cubicBezTo>
                    <a:pt x="14673" y="756618"/>
                    <a:pt x="15952" y="758569"/>
                    <a:pt x="16188" y="759007"/>
                  </a:cubicBezTo>
                  <a:cubicBezTo>
                    <a:pt x="16390" y="759444"/>
                    <a:pt x="17500" y="761059"/>
                    <a:pt x="17601" y="761395"/>
                  </a:cubicBezTo>
                  <a:cubicBezTo>
                    <a:pt x="17702" y="761731"/>
                    <a:pt x="21068" y="765095"/>
                    <a:pt x="21202" y="765533"/>
                  </a:cubicBezTo>
                  <a:cubicBezTo>
                    <a:pt x="21303" y="765970"/>
                    <a:pt x="21976" y="769569"/>
                    <a:pt x="21976" y="769569"/>
                  </a:cubicBezTo>
                  <a:lnTo>
                    <a:pt x="20563" y="778047"/>
                  </a:lnTo>
                  <a:lnTo>
                    <a:pt x="20226" y="782050"/>
                  </a:lnTo>
                  <a:lnTo>
                    <a:pt x="20226" y="784438"/>
                  </a:lnTo>
                  <a:cubicBezTo>
                    <a:pt x="20226" y="784438"/>
                    <a:pt x="21808" y="785851"/>
                    <a:pt x="22111" y="786187"/>
                  </a:cubicBezTo>
                  <a:cubicBezTo>
                    <a:pt x="22448" y="786524"/>
                    <a:pt x="25409" y="789013"/>
                    <a:pt x="25645" y="789350"/>
                  </a:cubicBezTo>
                  <a:cubicBezTo>
                    <a:pt x="25847" y="789686"/>
                    <a:pt x="27058" y="791200"/>
                    <a:pt x="27159" y="791637"/>
                  </a:cubicBezTo>
                  <a:cubicBezTo>
                    <a:pt x="27260" y="792074"/>
                    <a:pt x="27260" y="794463"/>
                    <a:pt x="27260" y="794463"/>
                  </a:cubicBezTo>
                  <a:lnTo>
                    <a:pt x="26183" y="796212"/>
                  </a:lnTo>
                  <a:cubicBezTo>
                    <a:pt x="26183" y="796212"/>
                    <a:pt x="24770" y="797423"/>
                    <a:pt x="23794" y="797726"/>
                  </a:cubicBezTo>
                  <a:cubicBezTo>
                    <a:pt x="22818" y="798062"/>
                    <a:pt x="21842" y="798365"/>
                    <a:pt x="21842" y="798365"/>
                  </a:cubicBezTo>
                  <a:cubicBezTo>
                    <a:pt x="21842" y="798365"/>
                    <a:pt x="19116" y="798701"/>
                    <a:pt x="18039" y="798264"/>
                  </a:cubicBezTo>
                  <a:cubicBezTo>
                    <a:pt x="16962" y="797827"/>
                    <a:pt x="16726" y="798163"/>
                    <a:pt x="16188" y="797524"/>
                  </a:cubicBezTo>
                  <a:cubicBezTo>
                    <a:pt x="15649" y="796885"/>
                    <a:pt x="14135" y="796885"/>
                    <a:pt x="14135" y="796885"/>
                  </a:cubicBezTo>
                  <a:lnTo>
                    <a:pt x="12284" y="796885"/>
                  </a:lnTo>
                  <a:cubicBezTo>
                    <a:pt x="12284" y="796885"/>
                    <a:pt x="11846" y="798466"/>
                    <a:pt x="11846" y="798769"/>
                  </a:cubicBezTo>
                  <a:cubicBezTo>
                    <a:pt x="11846" y="799105"/>
                    <a:pt x="10971" y="801426"/>
                    <a:pt x="10971" y="801426"/>
                  </a:cubicBezTo>
                  <a:cubicBezTo>
                    <a:pt x="10971" y="801426"/>
                    <a:pt x="9120" y="803276"/>
                    <a:pt x="8582" y="803377"/>
                  </a:cubicBezTo>
                  <a:cubicBezTo>
                    <a:pt x="8043" y="803478"/>
                    <a:pt x="6630" y="804252"/>
                    <a:pt x="6630" y="804252"/>
                  </a:cubicBezTo>
                  <a:cubicBezTo>
                    <a:pt x="6630" y="804252"/>
                    <a:pt x="4005" y="805429"/>
                    <a:pt x="3164" y="805564"/>
                  </a:cubicBezTo>
                  <a:cubicBezTo>
                    <a:pt x="2289" y="805665"/>
                    <a:pt x="774" y="807313"/>
                    <a:pt x="774" y="807313"/>
                  </a:cubicBezTo>
                  <a:lnTo>
                    <a:pt x="0" y="809802"/>
                  </a:lnTo>
                  <a:lnTo>
                    <a:pt x="538" y="812628"/>
                  </a:lnTo>
                  <a:lnTo>
                    <a:pt x="1178" y="816968"/>
                  </a:lnTo>
                  <a:lnTo>
                    <a:pt x="2793" y="819457"/>
                  </a:lnTo>
                  <a:lnTo>
                    <a:pt x="5183" y="821206"/>
                  </a:lnTo>
                  <a:lnTo>
                    <a:pt x="8885" y="827497"/>
                  </a:lnTo>
                  <a:lnTo>
                    <a:pt x="9524" y="830524"/>
                  </a:lnTo>
                  <a:lnTo>
                    <a:pt x="13866" y="836176"/>
                  </a:lnTo>
                  <a:lnTo>
                    <a:pt x="15044" y="839977"/>
                  </a:lnTo>
                  <a:lnTo>
                    <a:pt x="17231" y="844014"/>
                  </a:lnTo>
                  <a:cubicBezTo>
                    <a:pt x="17231" y="844014"/>
                    <a:pt x="19722" y="847041"/>
                    <a:pt x="19856" y="847378"/>
                  </a:cubicBezTo>
                  <a:cubicBezTo>
                    <a:pt x="19957" y="847714"/>
                    <a:pt x="20395" y="848152"/>
                    <a:pt x="20395" y="848152"/>
                  </a:cubicBezTo>
                  <a:cubicBezTo>
                    <a:pt x="20395" y="848152"/>
                    <a:pt x="22784" y="849026"/>
                    <a:pt x="23121" y="849026"/>
                  </a:cubicBezTo>
                  <a:cubicBezTo>
                    <a:pt x="23457" y="849026"/>
                    <a:pt x="26150" y="849228"/>
                    <a:pt x="26486" y="849228"/>
                  </a:cubicBezTo>
                  <a:cubicBezTo>
                    <a:pt x="26823" y="849228"/>
                    <a:pt x="28876" y="849228"/>
                    <a:pt x="29852" y="848690"/>
                  </a:cubicBezTo>
                  <a:cubicBezTo>
                    <a:pt x="30828" y="848152"/>
                    <a:pt x="31366" y="848589"/>
                    <a:pt x="32443" y="847378"/>
                  </a:cubicBezTo>
                  <a:cubicBezTo>
                    <a:pt x="33520" y="846200"/>
                    <a:pt x="32443" y="847378"/>
                    <a:pt x="32443" y="846941"/>
                  </a:cubicBezTo>
                  <a:cubicBezTo>
                    <a:pt x="32443" y="846503"/>
                    <a:pt x="34092" y="846604"/>
                    <a:pt x="34395" y="846167"/>
                  </a:cubicBezTo>
                  <a:cubicBezTo>
                    <a:pt x="34732" y="845730"/>
                    <a:pt x="35607" y="845292"/>
                    <a:pt x="35607" y="845292"/>
                  </a:cubicBezTo>
                  <a:cubicBezTo>
                    <a:pt x="35607" y="845292"/>
                    <a:pt x="36684" y="844855"/>
                    <a:pt x="37121" y="844216"/>
                  </a:cubicBezTo>
                  <a:cubicBezTo>
                    <a:pt x="37559" y="843577"/>
                    <a:pt x="39073" y="843139"/>
                    <a:pt x="39309" y="842803"/>
                  </a:cubicBezTo>
                  <a:cubicBezTo>
                    <a:pt x="39544" y="842467"/>
                    <a:pt x="41496" y="842366"/>
                    <a:pt x="41496" y="842366"/>
                  </a:cubicBezTo>
                  <a:cubicBezTo>
                    <a:pt x="41496" y="842366"/>
                    <a:pt x="43987" y="842366"/>
                    <a:pt x="44660" y="842029"/>
                  </a:cubicBezTo>
                  <a:cubicBezTo>
                    <a:pt x="45299" y="841693"/>
                    <a:pt x="47150" y="842029"/>
                    <a:pt x="47150" y="842029"/>
                  </a:cubicBezTo>
                  <a:lnTo>
                    <a:pt x="50616" y="842029"/>
                  </a:lnTo>
                  <a:lnTo>
                    <a:pt x="53443" y="843711"/>
                  </a:lnTo>
                  <a:lnTo>
                    <a:pt x="54218" y="846705"/>
                  </a:lnTo>
                  <a:cubicBezTo>
                    <a:pt x="54218" y="846705"/>
                    <a:pt x="58121" y="848555"/>
                    <a:pt x="59872" y="848993"/>
                  </a:cubicBezTo>
                  <a:cubicBezTo>
                    <a:pt x="61622" y="849430"/>
                    <a:pt x="62799" y="848993"/>
                    <a:pt x="62799" y="848993"/>
                  </a:cubicBezTo>
                  <a:lnTo>
                    <a:pt x="64751" y="848993"/>
                  </a:lnTo>
                  <a:lnTo>
                    <a:pt x="66602" y="851549"/>
                  </a:lnTo>
                  <a:lnTo>
                    <a:pt x="68992" y="853870"/>
                  </a:lnTo>
                  <a:lnTo>
                    <a:pt x="72593" y="856158"/>
                  </a:lnTo>
                  <a:cubicBezTo>
                    <a:pt x="72593" y="856158"/>
                    <a:pt x="75083" y="857571"/>
                    <a:pt x="76295" y="858109"/>
                  </a:cubicBezTo>
                  <a:cubicBezTo>
                    <a:pt x="77473" y="858647"/>
                    <a:pt x="80872" y="861708"/>
                    <a:pt x="81309" y="862011"/>
                  </a:cubicBezTo>
                  <a:cubicBezTo>
                    <a:pt x="81747" y="862348"/>
                    <a:pt x="84473" y="865712"/>
                    <a:pt x="84473" y="865712"/>
                  </a:cubicBezTo>
                  <a:lnTo>
                    <a:pt x="86223" y="868638"/>
                  </a:lnTo>
                  <a:lnTo>
                    <a:pt x="86560" y="870690"/>
                  </a:lnTo>
                  <a:lnTo>
                    <a:pt x="86358" y="875904"/>
                  </a:lnTo>
                  <a:lnTo>
                    <a:pt x="86358" y="877956"/>
                  </a:lnTo>
                  <a:lnTo>
                    <a:pt x="86358" y="881085"/>
                  </a:lnTo>
                  <a:lnTo>
                    <a:pt x="86358" y="883910"/>
                  </a:lnTo>
                  <a:lnTo>
                    <a:pt x="86459" y="886938"/>
                  </a:lnTo>
                  <a:lnTo>
                    <a:pt x="85382" y="889125"/>
                  </a:lnTo>
                  <a:lnTo>
                    <a:pt x="83766" y="892152"/>
                  </a:lnTo>
                  <a:lnTo>
                    <a:pt x="82252" y="894204"/>
                  </a:lnTo>
                  <a:lnTo>
                    <a:pt x="81175" y="897232"/>
                  </a:lnTo>
                  <a:lnTo>
                    <a:pt x="80535" y="899519"/>
                  </a:lnTo>
                  <a:lnTo>
                    <a:pt x="80098" y="904296"/>
                  </a:lnTo>
                  <a:lnTo>
                    <a:pt x="79761" y="907122"/>
                  </a:lnTo>
                  <a:lnTo>
                    <a:pt x="79324" y="911125"/>
                  </a:lnTo>
                  <a:lnTo>
                    <a:pt x="78348" y="913951"/>
                  </a:lnTo>
                  <a:lnTo>
                    <a:pt x="77708" y="915801"/>
                  </a:lnTo>
                  <a:lnTo>
                    <a:pt x="77708" y="917853"/>
                  </a:lnTo>
                  <a:lnTo>
                    <a:pt x="77338" y="920578"/>
                  </a:lnTo>
                  <a:cubicBezTo>
                    <a:pt x="77338" y="920578"/>
                    <a:pt x="76833" y="923067"/>
                    <a:pt x="76833" y="923504"/>
                  </a:cubicBezTo>
                  <a:cubicBezTo>
                    <a:pt x="76833" y="923942"/>
                    <a:pt x="76833" y="925018"/>
                    <a:pt x="76497" y="926330"/>
                  </a:cubicBezTo>
                  <a:cubicBezTo>
                    <a:pt x="76160" y="927642"/>
                    <a:pt x="75622" y="928517"/>
                    <a:pt x="75622" y="928517"/>
                  </a:cubicBezTo>
                  <a:lnTo>
                    <a:pt x="75285" y="931342"/>
                  </a:lnTo>
                  <a:cubicBezTo>
                    <a:pt x="75285" y="931342"/>
                    <a:pt x="75083" y="934067"/>
                    <a:pt x="75083" y="934505"/>
                  </a:cubicBezTo>
                  <a:cubicBezTo>
                    <a:pt x="75083" y="934942"/>
                    <a:pt x="75285" y="939080"/>
                    <a:pt x="75285" y="939382"/>
                  </a:cubicBezTo>
                  <a:cubicBezTo>
                    <a:pt x="75285" y="939719"/>
                    <a:pt x="75925" y="941872"/>
                    <a:pt x="75925" y="941872"/>
                  </a:cubicBezTo>
                  <a:lnTo>
                    <a:pt x="75925" y="944596"/>
                  </a:lnTo>
                  <a:cubicBezTo>
                    <a:pt x="75925" y="944596"/>
                    <a:pt x="78516" y="946985"/>
                    <a:pt x="80064" y="948297"/>
                  </a:cubicBezTo>
                  <a:cubicBezTo>
                    <a:pt x="81579" y="949609"/>
                    <a:pt x="82353" y="952636"/>
                    <a:pt x="82454" y="953074"/>
                  </a:cubicBezTo>
                  <a:cubicBezTo>
                    <a:pt x="82555" y="953511"/>
                    <a:pt x="82454" y="955798"/>
                    <a:pt x="82454" y="956236"/>
                  </a:cubicBezTo>
                  <a:cubicBezTo>
                    <a:pt x="82454" y="956673"/>
                    <a:pt x="82117" y="958086"/>
                    <a:pt x="82117" y="958086"/>
                  </a:cubicBezTo>
                  <a:cubicBezTo>
                    <a:pt x="82117" y="958086"/>
                    <a:pt x="81040" y="959936"/>
                    <a:pt x="80704" y="960138"/>
                  </a:cubicBezTo>
                  <a:cubicBezTo>
                    <a:pt x="80367" y="960340"/>
                    <a:pt x="79290" y="961887"/>
                    <a:pt x="78314" y="962089"/>
                  </a:cubicBezTo>
                  <a:cubicBezTo>
                    <a:pt x="77338" y="962291"/>
                    <a:pt x="77237" y="963065"/>
                    <a:pt x="77237" y="963065"/>
                  </a:cubicBezTo>
                  <a:lnTo>
                    <a:pt x="75386" y="964578"/>
                  </a:lnTo>
                  <a:lnTo>
                    <a:pt x="73636" y="967202"/>
                  </a:lnTo>
                  <a:lnTo>
                    <a:pt x="72189" y="969389"/>
                  </a:lnTo>
                  <a:lnTo>
                    <a:pt x="70574" y="971239"/>
                  </a:lnTo>
                  <a:lnTo>
                    <a:pt x="69598" y="972450"/>
                  </a:lnTo>
                  <a:lnTo>
                    <a:pt x="69295" y="974939"/>
                  </a:lnTo>
                  <a:lnTo>
                    <a:pt x="69497" y="978404"/>
                  </a:lnTo>
                  <a:lnTo>
                    <a:pt x="70910" y="982407"/>
                  </a:lnTo>
                  <a:lnTo>
                    <a:pt x="72526" y="985132"/>
                  </a:lnTo>
                  <a:lnTo>
                    <a:pt x="72862" y="989270"/>
                  </a:lnTo>
                  <a:cubicBezTo>
                    <a:pt x="72862" y="989270"/>
                    <a:pt x="74175" y="991322"/>
                    <a:pt x="74276" y="991658"/>
                  </a:cubicBezTo>
                  <a:cubicBezTo>
                    <a:pt x="74377" y="991995"/>
                    <a:pt x="74915" y="994585"/>
                    <a:pt x="74915" y="994585"/>
                  </a:cubicBezTo>
                  <a:cubicBezTo>
                    <a:pt x="74915" y="994585"/>
                    <a:pt x="75151" y="997848"/>
                    <a:pt x="75151" y="998184"/>
                  </a:cubicBezTo>
                  <a:cubicBezTo>
                    <a:pt x="75151" y="998521"/>
                    <a:pt x="75487" y="1003028"/>
                    <a:pt x="75487" y="1003028"/>
                  </a:cubicBezTo>
                  <a:lnTo>
                    <a:pt x="75050" y="1004912"/>
                  </a:lnTo>
                  <a:lnTo>
                    <a:pt x="72458" y="1007738"/>
                  </a:lnTo>
                  <a:cubicBezTo>
                    <a:pt x="72458" y="1007738"/>
                    <a:pt x="70170" y="1008814"/>
                    <a:pt x="69732" y="1008814"/>
                  </a:cubicBezTo>
                  <a:cubicBezTo>
                    <a:pt x="69295" y="1008814"/>
                    <a:pt x="67343" y="1010126"/>
                    <a:pt x="67343" y="1010126"/>
                  </a:cubicBezTo>
                  <a:lnTo>
                    <a:pt x="64617" y="1011102"/>
                  </a:lnTo>
                  <a:lnTo>
                    <a:pt x="61790" y="1011539"/>
                  </a:lnTo>
                  <a:lnTo>
                    <a:pt x="60477" y="1011977"/>
                  </a:lnTo>
                  <a:lnTo>
                    <a:pt x="57011" y="1012414"/>
                  </a:lnTo>
                  <a:cubicBezTo>
                    <a:pt x="57011" y="1012414"/>
                    <a:pt x="53847" y="1012515"/>
                    <a:pt x="51996" y="1011977"/>
                  </a:cubicBezTo>
                  <a:cubicBezTo>
                    <a:pt x="50145" y="1011438"/>
                    <a:pt x="50044" y="1011977"/>
                    <a:pt x="48732" y="1011775"/>
                  </a:cubicBezTo>
                  <a:cubicBezTo>
                    <a:pt x="47419" y="1011539"/>
                    <a:pt x="47217" y="1011438"/>
                    <a:pt x="47217" y="1011438"/>
                  </a:cubicBezTo>
                  <a:lnTo>
                    <a:pt x="43414" y="1010799"/>
                  </a:lnTo>
                  <a:lnTo>
                    <a:pt x="39712" y="1008512"/>
                  </a:lnTo>
                  <a:cubicBezTo>
                    <a:pt x="39712" y="1008512"/>
                    <a:pt x="38198" y="1007435"/>
                    <a:pt x="37861" y="1006998"/>
                  </a:cubicBezTo>
                  <a:cubicBezTo>
                    <a:pt x="37525" y="1006561"/>
                    <a:pt x="35371" y="1005787"/>
                    <a:pt x="34698" y="1005148"/>
                  </a:cubicBezTo>
                  <a:cubicBezTo>
                    <a:pt x="34058" y="1004509"/>
                    <a:pt x="31871" y="1004273"/>
                    <a:pt x="31433" y="1003399"/>
                  </a:cubicBezTo>
                  <a:cubicBezTo>
                    <a:pt x="30996" y="1002524"/>
                    <a:pt x="28270" y="1003499"/>
                    <a:pt x="27630" y="1003399"/>
                  </a:cubicBezTo>
                  <a:cubicBezTo>
                    <a:pt x="27630" y="1003399"/>
                    <a:pt x="23592" y="1004374"/>
                    <a:pt x="23188" y="1004475"/>
                  </a:cubicBezTo>
                  <a:cubicBezTo>
                    <a:pt x="22751" y="1004576"/>
                    <a:pt x="21337" y="1004475"/>
                    <a:pt x="20899" y="1004475"/>
                  </a:cubicBezTo>
                  <a:cubicBezTo>
                    <a:pt x="20462" y="1004475"/>
                    <a:pt x="19486" y="1005451"/>
                    <a:pt x="19149" y="1005451"/>
                  </a:cubicBezTo>
                  <a:cubicBezTo>
                    <a:pt x="18813" y="1005451"/>
                    <a:pt x="17736" y="1006762"/>
                    <a:pt x="16962" y="1007402"/>
                  </a:cubicBezTo>
                  <a:cubicBezTo>
                    <a:pt x="16188" y="1008041"/>
                    <a:pt x="14135" y="1009353"/>
                    <a:pt x="13596" y="1009588"/>
                  </a:cubicBezTo>
                  <a:cubicBezTo>
                    <a:pt x="13058" y="1009824"/>
                    <a:pt x="12620" y="1011203"/>
                    <a:pt x="12520" y="1011640"/>
                  </a:cubicBezTo>
                  <a:cubicBezTo>
                    <a:pt x="12419" y="1012078"/>
                    <a:pt x="12318" y="1013591"/>
                    <a:pt x="12318" y="1015004"/>
                  </a:cubicBezTo>
                  <a:cubicBezTo>
                    <a:pt x="12318" y="1016417"/>
                    <a:pt x="12318" y="1018469"/>
                    <a:pt x="11745" y="1018805"/>
                  </a:cubicBezTo>
                  <a:cubicBezTo>
                    <a:pt x="11173" y="1019142"/>
                    <a:pt x="12015" y="1021396"/>
                    <a:pt x="11779" y="1023784"/>
                  </a:cubicBezTo>
                  <a:cubicBezTo>
                    <a:pt x="11577" y="1026173"/>
                    <a:pt x="12318" y="1025298"/>
                    <a:pt x="12755" y="1026173"/>
                  </a:cubicBezTo>
                  <a:cubicBezTo>
                    <a:pt x="13193" y="1027014"/>
                    <a:pt x="17197" y="1027922"/>
                    <a:pt x="17197" y="1027922"/>
                  </a:cubicBezTo>
                  <a:lnTo>
                    <a:pt x="21101" y="1027922"/>
                  </a:lnTo>
                  <a:lnTo>
                    <a:pt x="25577" y="1026509"/>
                  </a:lnTo>
                  <a:cubicBezTo>
                    <a:pt x="25577" y="1026509"/>
                    <a:pt x="28842" y="1026072"/>
                    <a:pt x="29380" y="1026173"/>
                  </a:cubicBezTo>
                  <a:cubicBezTo>
                    <a:pt x="29919" y="1026273"/>
                    <a:pt x="33621" y="1029637"/>
                    <a:pt x="33621" y="1029637"/>
                  </a:cubicBezTo>
                  <a:lnTo>
                    <a:pt x="37525" y="1033338"/>
                  </a:lnTo>
                  <a:cubicBezTo>
                    <a:pt x="37525" y="1033338"/>
                    <a:pt x="40251" y="1041613"/>
                    <a:pt x="40352" y="1042017"/>
                  </a:cubicBezTo>
                  <a:cubicBezTo>
                    <a:pt x="40453" y="1042454"/>
                    <a:pt x="42405" y="1043531"/>
                    <a:pt x="42842" y="1043632"/>
                  </a:cubicBezTo>
                  <a:cubicBezTo>
                    <a:pt x="43280" y="1043732"/>
                    <a:pt x="49371" y="1043632"/>
                    <a:pt x="49809" y="1044170"/>
                  </a:cubicBezTo>
                  <a:cubicBezTo>
                    <a:pt x="50246" y="1044708"/>
                    <a:pt x="54251" y="1044069"/>
                    <a:pt x="54689" y="1044170"/>
                  </a:cubicBezTo>
                  <a:cubicBezTo>
                    <a:pt x="55126" y="1044271"/>
                    <a:pt x="58054" y="1044170"/>
                    <a:pt x="58054" y="1044170"/>
                  </a:cubicBezTo>
                  <a:cubicBezTo>
                    <a:pt x="58054" y="1044170"/>
                    <a:pt x="64482" y="1045784"/>
                    <a:pt x="64886" y="1045784"/>
                  </a:cubicBezTo>
                  <a:cubicBezTo>
                    <a:pt x="65324" y="1045784"/>
                    <a:pt x="68588" y="1047197"/>
                    <a:pt x="68588" y="1047197"/>
                  </a:cubicBezTo>
                  <a:lnTo>
                    <a:pt x="73704" y="1051335"/>
                  </a:lnTo>
                  <a:lnTo>
                    <a:pt x="73704" y="1053185"/>
                  </a:lnTo>
                  <a:lnTo>
                    <a:pt x="78482" y="1057525"/>
                  </a:lnTo>
                  <a:lnTo>
                    <a:pt x="81511" y="1060552"/>
                  </a:lnTo>
                  <a:cubicBezTo>
                    <a:pt x="81511" y="1060552"/>
                    <a:pt x="83564" y="1062941"/>
                    <a:pt x="83564" y="1063277"/>
                  </a:cubicBezTo>
                  <a:cubicBezTo>
                    <a:pt x="83564" y="1063613"/>
                    <a:pt x="85213" y="1065329"/>
                    <a:pt x="85213" y="1065329"/>
                  </a:cubicBezTo>
                  <a:lnTo>
                    <a:pt x="84776" y="1068693"/>
                  </a:lnTo>
                  <a:lnTo>
                    <a:pt x="83564" y="1074244"/>
                  </a:lnTo>
                  <a:lnTo>
                    <a:pt x="81949" y="1076195"/>
                  </a:lnTo>
                  <a:cubicBezTo>
                    <a:pt x="81949" y="1076195"/>
                    <a:pt x="79997" y="1077843"/>
                    <a:pt x="79458" y="1077944"/>
                  </a:cubicBezTo>
                  <a:cubicBezTo>
                    <a:pt x="78920" y="1078045"/>
                    <a:pt x="79458" y="1080972"/>
                    <a:pt x="79458" y="1080972"/>
                  </a:cubicBezTo>
                  <a:lnTo>
                    <a:pt x="81511" y="1083461"/>
                  </a:lnTo>
                  <a:cubicBezTo>
                    <a:pt x="81511" y="1083461"/>
                    <a:pt x="87367" y="1083461"/>
                    <a:pt x="87805" y="1083461"/>
                  </a:cubicBezTo>
                  <a:cubicBezTo>
                    <a:pt x="88242" y="1083461"/>
                    <a:pt x="94536" y="1085210"/>
                    <a:pt x="94973" y="1085210"/>
                  </a:cubicBezTo>
                  <a:cubicBezTo>
                    <a:pt x="95411" y="1085210"/>
                    <a:pt x="99012" y="1087397"/>
                    <a:pt x="99012" y="1087397"/>
                  </a:cubicBezTo>
                  <a:lnTo>
                    <a:pt x="103050" y="1090424"/>
                  </a:lnTo>
                  <a:lnTo>
                    <a:pt x="106517" y="1094326"/>
                  </a:lnTo>
                  <a:lnTo>
                    <a:pt x="109445" y="1097791"/>
                  </a:lnTo>
                  <a:lnTo>
                    <a:pt x="110320" y="1102030"/>
                  </a:lnTo>
                  <a:lnTo>
                    <a:pt x="112171" y="1106706"/>
                  </a:lnTo>
                  <a:lnTo>
                    <a:pt x="114224" y="1111920"/>
                  </a:lnTo>
                  <a:lnTo>
                    <a:pt x="116849" y="1120734"/>
                  </a:lnTo>
                  <a:lnTo>
                    <a:pt x="117825" y="1127798"/>
                  </a:lnTo>
                  <a:lnTo>
                    <a:pt x="117623" y="1132137"/>
                  </a:lnTo>
                  <a:cubicBezTo>
                    <a:pt x="117623" y="1132137"/>
                    <a:pt x="116647" y="1136712"/>
                    <a:pt x="116411" y="1137150"/>
                  </a:cubicBezTo>
                  <a:cubicBezTo>
                    <a:pt x="116209" y="1137587"/>
                    <a:pt x="115099" y="1141287"/>
                    <a:pt x="115099" y="1141287"/>
                  </a:cubicBezTo>
                  <a:cubicBezTo>
                    <a:pt x="115099" y="1141287"/>
                    <a:pt x="112272" y="1145526"/>
                    <a:pt x="112272" y="1145862"/>
                  </a:cubicBezTo>
                  <a:cubicBezTo>
                    <a:pt x="112272" y="1146199"/>
                    <a:pt x="111935" y="1149025"/>
                    <a:pt x="111935" y="1149025"/>
                  </a:cubicBezTo>
                  <a:lnTo>
                    <a:pt x="111296" y="1154340"/>
                  </a:lnTo>
                  <a:cubicBezTo>
                    <a:pt x="111296" y="1154340"/>
                    <a:pt x="110084" y="1159015"/>
                    <a:pt x="109781" y="1159217"/>
                  </a:cubicBezTo>
                  <a:cubicBezTo>
                    <a:pt x="109445" y="1159419"/>
                    <a:pt x="105877" y="1162682"/>
                    <a:pt x="105877" y="1162682"/>
                  </a:cubicBezTo>
                  <a:lnTo>
                    <a:pt x="99786" y="1169511"/>
                  </a:lnTo>
                  <a:lnTo>
                    <a:pt x="99786" y="1171260"/>
                  </a:lnTo>
                  <a:lnTo>
                    <a:pt x="99786" y="1175163"/>
                  </a:lnTo>
                  <a:cubicBezTo>
                    <a:pt x="99786" y="1175163"/>
                    <a:pt x="100829" y="1177450"/>
                    <a:pt x="101469" y="1177786"/>
                  </a:cubicBezTo>
                  <a:cubicBezTo>
                    <a:pt x="102108" y="1178123"/>
                    <a:pt x="104026" y="1179401"/>
                    <a:pt x="105339" y="1179973"/>
                  </a:cubicBezTo>
                  <a:cubicBezTo>
                    <a:pt x="106651" y="1180511"/>
                    <a:pt x="107627" y="1181823"/>
                    <a:pt x="110454" y="1183438"/>
                  </a:cubicBezTo>
                  <a:cubicBezTo>
                    <a:pt x="113281" y="1185053"/>
                    <a:pt x="112406" y="1185490"/>
                    <a:pt x="113382" y="1187340"/>
                  </a:cubicBezTo>
                  <a:cubicBezTo>
                    <a:pt x="114358" y="1189190"/>
                    <a:pt x="113382" y="1190166"/>
                    <a:pt x="113180" y="1191242"/>
                  </a:cubicBezTo>
                  <a:cubicBezTo>
                    <a:pt x="112978" y="1192319"/>
                    <a:pt x="112541" y="1194943"/>
                    <a:pt x="112305" y="1195918"/>
                  </a:cubicBezTo>
                  <a:cubicBezTo>
                    <a:pt x="112070" y="1196894"/>
                    <a:pt x="112507" y="1198643"/>
                    <a:pt x="112945" y="1199820"/>
                  </a:cubicBezTo>
                  <a:cubicBezTo>
                    <a:pt x="113382" y="1200998"/>
                    <a:pt x="113921" y="1202108"/>
                    <a:pt x="113921" y="1202108"/>
                  </a:cubicBezTo>
                  <a:lnTo>
                    <a:pt x="114560" y="1205135"/>
                  </a:lnTo>
                  <a:lnTo>
                    <a:pt x="119238" y="1205135"/>
                  </a:lnTo>
                  <a:cubicBezTo>
                    <a:pt x="119238" y="1205135"/>
                    <a:pt x="124017" y="1205606"/>
                    <a:pt x="124354" y="1205405"/>
                  </a:cubicBezTo>
                  <a:cubicBezTo>
                    <a:pt x="124690" y="1205203"/>
                    <a:pt x="125969" y="1205775"/>
                    <a:pt x="128258" y="1205775"/>
                  </a:cubicBezTo>
                  <a:cubicBezTo>
                    <a:pt x="130546" y="1205775"/>
                    <a:pt x="131085" y="1207187"/>
                    <a:pt x="131421" y="1207288"/>
                  </a:cubicBezTo>
                  <a:cubicBezTo>
                    <a:pt x="131758" y="1207389"/>
                    <a:pt x="134787" y="1208701"/>
                    <a:pt x="134787" y="1208701"/>
                  </a:cubicBezTo>
                  <a:cubicBezTo>
                    <a:pt x="134787" y="1208701"/>
                    <a:pt x="136200" y="1207927"/>
                    <a:pt x="136301" y="1207625"/>
                  </a:cubicBezTo>
                  <a:cubicBezTo>
                    <a:pt x="136402" y="1207288"/>
                    <a:pt x="140642" y="1205135"/>
                    <a:pt x="140642" y="1205135"/>
                  </a:cubicBezTo>
                  <a:lnTo>
                    <a:pt x="145859" y="1205135"/>
                  </a:lnTo>
                  <a:lnTo>
                    <a:pt x="149325" y="1205135"/>
                  </a:lnTo>
                  <a:lnTo>
                    <a:pt x="151917" y="1207154"/>
                  </a:lnTo>
                  <a:cubicBezTo>
                    <a:pt x="151917" y="1207154"/>
                    <a:pt x="152354" y="1210047"/>
                    <a:pt x="152354" y="1210450"/>
                  </a:cubicBezTo>
                  <a:cubicBezTo>
                    <a:pt x="152354" y="1210888"/>
                    <a:pt x="151917" y="1213613"/>
                    <a:pt x="151917" y="1214050"/>
                  </a:cubicBezTo>
                  <a:cubicBezTo>
                    <a:pt x="151917" y="1214487"/>
                    <a:pt x="151479" y="1218188"/>
                    <a:pt x="151479" y="1218625"/>
                  </a:cubicBezTo>
                  <a:cubicBezTo>
                    <a:pt x="151479" y="1219062"/>
                    <a:pt x="150941" y="1224276"/>
                    <a:pt x="150941" y="1224276"/>
                  </a:cubicBezTo>
                  <a:cubicBezTo>
                    <a:pt x="150941" y="1224276"/>
                    <a:pt x="151479" y="1228414"/>
                    <a:pt x="151479" y="1228717"/>
                  </a:cubicBezTo>
                  <a:cubicBezTo>
                    <a:pt x="151479" y="1229053"/>
                    <a:pt x="154744" y="1233056"/>
                    <a:pt x="154946" y="1233494"/>
                  </a:cubicBezTo>
                  <a:cubicBezTo>
                    <a:pt x="155148" y="1233931"/>
                    <a:pt x="162350" y="1239784"/>
                    <a:pt x="162653" y="1240020"/>
                  </a:cubicBezTo>
                  <a:cubicBezTo>
                    <a:pt x="162989" y="1240222"/>
                    <a:pt x="169821" y="1246647"/>
                    <a:pt x="169821" y="1246647"/>
                  </a:cubicBezTo>
                  <a:lnTo>
                    <a:pt x="177864" y="1251659"/>
                  </a:lnTo>
                  <a:cubicBezTo>
                    <a:pt x="177864" y="1251659"/>
                    <a:pt x="190350" y="1258622"/>
                    <a:pt x="190485" y="1259060"/>
                  </a:cubicBezTo>
                  <a:cubicBezTo>
                    <a:pt x="190586" y="1259497"/>
                    <a:pt x="197990" y="1266225"/>
                    <a:pt x="198528" y="1266561"/>
                  </a:cubicBezTo>
                  <a:cubicBezTo>
                    <a:pt x="199067" y="1266898"/>
                    <a:pt x="205596" y="1270262"/>
                    <a:pt x="208322" y="1271675"/>
                  </a:cubicBezTo>
                  <a:cubicBezTo>
                    <a:pt x="211048" y="1273088"/>
                    <a:pt x="212125" y="1273424"/>
                    <a:pt x="215288" y="1275039"/>
                  </a:cubicBezTo>
                  <a:cubicBezTo>
                    <a:pt x="218418" y="1276653"/>
                    <a:pt x="219529" y="1277225"/>
                    <a:pt x="221716" y="1278739"/>
                  </a:cubicBezTo>
                  <a:cubicBezTo>
                    <a:pt x="223904" y="1280253"/>
                    <a:pt x="224005" y="1280051"/>
                    <a:pt x="226832" y="1282002"/>
                  </a:cubicBezTo>
                  <a:cubicBezTo>
                    <a:pt x="229659" y="1283953"/>
                    <a:pt x="228683" y="1282641"/>
                    <a:pt x="230635" y="1283280"/>
                  </a:cubicBezTo>
                  <a:cubicBezTo>
                    <a:pt x="232587" y="1283886"/>
                    <a:pt x="234000" y="1283213"/>
                    <a:pt x="235649" y="1283314"/>
                  </a:cubicBezTo>
                  <a:cubicBezTo>
                    <a:pt x="237265" y="1283415"/>
                    <a:pt x="239116" y="1283213"/>
                    <a:pt x="239553" y="1283314"/>
                  </a:cubicBezTo>
                  <a:cubicBezTo>
                    <a:pt x="239991" y="1283415"/>
                    <a:pt x="243592" y="1283415"/>
                    <a:pt x="243895" y="1283314"/>
                  </a:cubicBezTo>
                  <a:cubicBezTo>
                    <a:pt x="244231" y="1283213"/>
                    <a:pt x="246082" y="1284189"/>
                    <a:pt x="246823" y="1284727"/>
                  </a:cubicBezTo>
                  <a:cubicBezTo>
                    <a:pt x="247597" y="1285265"/>
                    <a:pt x="248674" y="1286577"/>
                    <a:pt x="249010" y="1287452"/>
                  </a:cubicBezTo>
                  <a:cubicBezTo>
                    <a:pt x="249347" y="1288326"/>
                    <a:pt x="249212" y="1288091"/>
                    <a:pt x="249650" y="1288629"/>
                  </a:cubicBezTo>
                  <a:cubicBezTo>
                    <a:pt x="250087" y="1289167"/>
                    <a:pt x="253688" y="1288629"/>
                    <a:pt x="253688" y="1288629"/>
                  </a:cubicBezTo>
                  <a:lnTo>
                    <a:pt x="257390" y="1288629"/>
                  </a:lnTo>
                  <a:lnTo>
                    <a:pt x="261530" y="1290277"/>
                  </a:lnTo>
                  <a:lnTo>
                    <a:pt x="269371" y="1295592"/>
                  </a:lnTo>
                  <a:lnTo>
                    <a:pt x="270516" y="1295592"/>
                  </a:lnTo>
                  <a:cubicBezTo>
                    <a:pt x="270516" y="1295592"/>
                    <a:pt x="269371" y="1298654"/>
                    <a:pt x="268496" y="1299797"/>
                  </a:cubicBezTo>
                  <a:cubicBezTo>
                    <a:pt x="267621" y="1300941"/>
                    <a:pt x="266746" y="1301378"/>
                    <a:pt x="266746" y="1301378"/>
                  </a:cubicBezTo>
                  <a:lnTo>
                    <a:pt x="262674" y="1305449"/>
                  </a:lnTo>
                  <a:cubicBezTo>
                    <a:pt x="262674" y="1305449"/>
                    <a:pt x="260352" y="1305146"/>
                    <a:pt x="259477" y="1305449"/>
                  </a:cubicBezTo>
                  <a:cubicBezTo>
                    <a:pt x="258602" y="1305752"/>
                    <a:pt x="257155" y="1309486"/>
                    <a:pt x="257155" y="1309486"/>
                  </a:cubicBezTo>
                  <a:lnTo>
                    <a:pt x="254530" y="1312109"/>
                  </a:lnTo>
                  <a:lnTo>
                    <a:pt x="254530" y="1315574"/>
                  </a:lnTo>
                  <a:lnTo>
                    <a:pt x="254530" y="1320789"/>
                  </a:lnTo>
                  <a:lnTo>
                    <a:pt x="254530" y="1323984"/>
                  </a:lnTo>
                  <a:cubicBezTo>
                    <a:pt x="254530" y="1323984"/>
                    <a:pt x="256111" y="1328021"/>
                    <a:pt x="257458" y="1328896"/>
                  </a:cubicBezTo>
                  <a:cubicBezTo>
                    <a:pt x="258770" y="1329770"/>
                    <a:pt x="258030" y="1329770"/>
                    <a:pt x="259174" y="1330645"/>
                  </a:cubicBezTo>
                  <a:cubicBezTo>
                    <a:pt x="260318" y="1331520"/>
                    <a:pt x="261799" y="1335287"/>
                    <a:pt x="261799" y="1336431"/>
                  </a:cubicBezTo>
                  <a:cubicBezTo>
                    <a:pt x="261799" y="1337575"/>
                    <a:pt x="261496" y="1340501"/>
                    <a:pt x="261496" y="1340501"/>
                  </a:cubicBezTo>
                  <a:lnTo>
                    <a:pt x="261799" y="1343394"/>
                  </a:lnTo>
                  <a:lnTo>
                    <a:pt x="262943" y="1348911"/>
                  </a:lnTo>
                  <a:lnTo>
                    <a:pt x="262371" y="1352982"/>
                  </a:lnTo>
                  <a:lnTo>
                    <a:pt x="262068" y="1355471"/>
                  </a:lnTo>
                  <a:lnTo>
                    <a:pt x="260049" y="1357893"/>
                  </a:lnTo>
                  <a:lnTo>
                    <a:pt x="257458" y="1361358"/>
                  </a:lnTo>
                  <a:cubicBezTo>
                    <a:pt x="257458" y="1361358"/>
                    <a:pt x="257155" y="1362535"/>
                    <a:pt x="257458" y="1363982"/>
                  </a:cubicBezTo>
                  <a:lnTo>
                    <a:pt x="260655" y="1369499"/>
                  </a:lnTo>
                  <a:cubicBezTo>
                    <a:pt x="260655" y="1369499"/>
                    <a:pt x="261799" y="1371248"/>
                    <a:pt x="261799" y="1372123"/>
                  </a:cubicBezTo>
                  <a:cubicBezTo>
                    <a:pt x="261799" y="1372997"/>
                    <a:pt x="264693" y="1377639"/>
                    <a:pt x="265265" y="1378480"/>
                  </a:cubicBezTo>
                  <a:cubicBezTo>
                    <a:pt x="265838" y="1379355"/>
                    <a:pt x="267285" y="1382248"/>
                    <a:pt x="267285" y="1382248"/>
                  </a:cubicBezTo>
                  <a:lnTo>
                    <a:pt x="273376" y="1388606"/>
                  </a:lnTo>
                  <a:lnTo>
                    <a:pt x="278896" y="1391230"/>
                  </a:lnTo>
                  <a:lnTo>
                    <a:pt x="284684" y="1394426"/>
                  </a:lnTo>
                  <a:lnTo>
                    <a:pt x="293670" y="1402533"/>
                  </a:lnTo>
                  <a:lnTo>
                    <a:pt x="301209" y="1408050"/>
                  </a:lnTo>
                  <a:lnTo>
                    <a:pt x="304675" y="1411515"/>
                  </a:lnTo>
                  <a:lnTo>
                    <a:pt x="308141" y="1416426"/>
                  </a:lnTo>
                  <a:lnTo>
                    <a:pt x="313930" y="1421943"/>
                  </a:lnTo>
                  <a:lnTo>
                    <a:pt x="317127" y="1425139"/>
                  </a:lnTo>
                  <a:lnTo>
                    <a:pt x="317127" y="1428604"/>
                  </a:lnTo>
                  <a:lnTo>
                    <a:pt x="317800" y="1429310"/>
                  </a:lnTo>
                  <a:lnTo>
                    <a:pt x="317868" y="1428705"/>
                  </a:lnTo>
                  <a:lnTo>
                    <a:pt x="322882" y="1428805"/>
                  </a:lnTo>
                  <a:lnTo>
                    <a:pt x="327998" y="1427729"/>
                  </a:lnTo>
                  <a:cubicBezTo>
                    <a:pt x="327998" y="1427729"/>
                    <a:pt x="334628" y="1427729"/>
                    <a:pt x="334964" y="1427527"/>
                  </a:cubicBezTo>
                  <a:cubicBezTo>
                    <a:pt x="335301" y="1427325"/>
                    <a:pt x="339003" y="1427426"/>
                    <a:pt x="339003" y="1427426"/>
                  </a:cubicBezTo>
                  <a:lnTo>
                    <a:pt x="344219" y="1427763"/>
                  </a:lnTo>
                  <a:lnTo>
                    <a:pt x="347585" y="1426249"/>
                  </a:lnTo>
                  <a:cubicBezTo>
                    <a:pt x="347585" y="1426249"/>
                    <a:pt x="349772" y="1424735"/>
                    <a:pt x="350412" y="1424197"/>
                  </a:cubicBezTo>
                  <a:cubicBezTo>
                    <a:pt x="351051" y="1423659"/>
                    <a:pt x="354551" y="1421808"/>
                    <a:pt x="355291" y="1421472"/>
                  </a:cubicBezTo>
                  <a:cubicBezTo>
                    <a:pt x="356066" y="1421136"/>
                    <a:pt x="359734" y="1417334"/>
                    <a:pt x="359734" y="1417334"/>
                  </a:cubicBezTo>
                  <a:lnTo>
                    <a:pt x="362998" y="1417334"/>
                  </a:lnTo>
                  <a:lnTo>
                    <a:pt x="367676" y="1416460"/>
                  </a:lnTo>
                  <a:lnTo>
                    <a:pt x="371277" y="1417334"/>
                  </a:lnTo>
                  <a:lnTo>
                    <a:pt x="375518" y="1417435"/>
                  </a:lnTo>
                  <a:cubicBezTo>
                    <a:pt x="375518" y="1417435"/>
                    <a:pt x="387263" y="1417099"/>
                    <a:pt x="388239" y="1416729"/>
                  </a:cubicBezTo>
                  <a:cubicBezTo>
                    <a:pt x="389215" y="1416359"/>
                    <a:pt x="394331" y="1416729"/>
                    <a:pt x="394331" y="1416729"/>
                  </a:cubicBezTo>
                  <a:cubicBezTo>
                    <a:pt x="394331" y="1416729"/>
                    <a:pt x="397494" y="1412995"/>
                    <a:pt x="397797" y="1411885"/>
                  </a:cubicBezTo>
                  <a:cubicBezTo>
                    <a:pt x="398134" y="1410808"/>
                    <a:pt x="400961" y="1408723"/>
                    <a:pt x="400961" y="1408723"/>
                  </a:cubicBezTo>
                  <a:lnTo>
                    <a:pt x="404966" y="1405123"/>
                  </a:lnTo>
                  <a:cubicBezTo>
                    <a:pt x="404966" y="1405123"/>
                    <a:pt x="409307" y="1405123"/>
                    <a:pt x="409745" y="1405123"/>
                  </a:cubicBezTo>
                  <a:cubicBezTo>
                    <a:pt x="410182" y="1405123"/>
                    <a:pt x="412773" y="1404618"/>
                    <a:pt x="413110" y="1404417"/>
                  </a:cubicBezTo>
                  <a:cubicBezTo>
                    <a:pt x="413447" y="1404215"/>
                    <a:pt x="419740" y="1404248"/>
                    <a:pt x="421052" y="1404047"/>
                  </a:cubicBezTo>
                  <a:cubicBezTo>
                    <a:pt x="422365" y="1403845"/>
                    <a:pt x="425394" y="1400683"/>
                    <a:pt x="425394" y="1400683"/>
                  </a:cubicBezTo>
                  <a:lnTo>
                    <a:pt x="427245" y="1398059"/>
                  </a:lnTo>
                  <a:cubicBezTo>
                    <a:pt x="427245" y="1398059"/>
                    <a:pt x="431048" y="1394459"/>
                    <a:pt x="431485" y="1393719"/>
                  </a:cubicBezTo>
                  <a:cubicBezTo>
                    <a:pt x="431923" y="1392946"/>
                    <a:pt x="433976" y="1392643"/>
                    <a:pt x="434312" y="1392407"/>
                  </a:cubicBezTo>
                  <a:cubicBezTo>
                    <a:pt x="434649" y="1392205"/>
                    <a:pt x="439192" y="1390221"/>
                    <a:pt x="439192" y="1389783"/>
                  </a:cubicBezTo>
                  <a:cubicBezTo>
                    <a:pt x="439192" y="1389346"/>
                    <a:pt x="440505" y="1386520"/>
                    <a:pt x="440505" y="1386083"/>
                  </a:cubicBezTo>
                  <a:cubicBezTo>
                    <a:pt x="440505" y="1385646"/>
                    <a:pt x="442356" y="1384670"/>
                    <a:pt x="442356" y="1384670"/>
                  </a:cubicBezTo>
                  <a:cubicBezTo>
                    <a:pt x="442356" y="1384670"/>
                    <a:pt x="444308" y="1384233"/>
                    <a:pt x="444981" y="1383594"/>
                  </a:cubicBezTo>
                  <a:cubicBezTo>
                    <a:pt x="445620" y="1382955"/>
                    <a:pt x="446933" y="1382181"/>
                    <a:pt x="448885" y="1381643"/>
                  </a:cubicBezTo>
                  <a:cubicBezTo>
                    <a:pt x="450837" y="1381104"/>
                    <a:pt x="450500" y="1380667"/>
                    <a:pt x="450938" y="1380432"/>
                  </a:cubicBezTo>
                  <a:cubicBezTo>
                    <a:pt x="451375" y="1380230"/>
                    <a:pt x="454539" y="1377606"/>
                    <a:pt x="454539" y="1377606"/>
                  </a:cubicBezTo>
                  <a:lnTo>
                    <a:pt x="455313" y="1376395"/>
                  </a:lnTo>
                  <a:lnTo>
                    <a:pt x="455649" y="1374208"/>
                  </a:lnTo>
                  <a:lnTo>
                    <a:pt x="454539" y="1371181"/>
                  </a:lnTo>
                  <a:lnTo>
                    <a:pt x="454539" y="1367379"/>
                  </a:lnTo>
                  <a:cubicBezTo>
                    <a:pt x="454539" y="1367379"/>
                    <a:pt x="455077" y="1365428"/>
                    <a:pt x="454976" y="1364991"/>
                  </a:cubicBezTo>
                  <a:cubicBezTo>
                    <a:pt x="454875" y="1364554"/>
                    <a:pt x="456592" y="1362804"/>
                    <a:pt x="457029" y="1361963"/>
                  </a:cubicBezTo>
                  <a:cubicBezTo>
                    <a:pt x="457467" y="1361089"/>
                    <a:pt x="458544" y="1361425"/>
                    <a:pt x="459520" y="1360450"/>
                  </a:cubicBezTo>
                  <a:cubicBezTo>
                    <a:pt x="460496" y="1359474"/>
                    <a:pt x="462347" y="1360248"/>
                    <a:pt x="463121" y="1359676"/>
                  </a:cubicBezTo>
                  <a:cubicBezTo>
                    <a:pt x="463895" y="1359138"/>
                    <a:pt x="465073" y="1359239"/>
                    <a:pt x="466486" y="1358599"/>
                  </a:cubicBezTo>
                  <a:cubicBezTo>
                    <a:pt x="467900" y="1357960"/>
                    <a:pt x="468573" y="1357960"/>
                    <a:pt x="470525" y="1357086"/>
                  </a:cubicBezTo>
                  <a:cubicBezTo>
                    <a:pt x="472477" y="1356211"/>
                    <a:pt x="472275" y="1356749"/>
                    <a:pt x="473554" y="1356547"/>
                  </a:cubicBezTo>
                  <a:cubicBezTo>
                    <a:pt x="474866" y="1356346"/>
                    <a:pt x="475169" y="1356446"/>
                    <a:pt x="476717" y="1355673"/>
                  </a:cubicBezTo>
                  <a:cubicBezTo>
                    <a:pt x="478232" y="1354899"/>
                    <a:pt x="479746" y="1356446"/>
                    <a:pt x="479746" y="1356446"/>
                  </a:cubicBezTo>
                  <a:cubicBezTo>
                    <a:pt x="479746" y="1356446"/>
                    <a:pt x="481698" y="1356446"/>
                    <a:pt x="482136" y="1356446"/>
                  </a:cubicBezTo>
                  <a:cubicBezTo>
                    <a:pt x="482573" y="1356446"/>
                    <a:pt x="484963" y="1357052"/>
                    <a:pt x="484963" y="1357052"/>
                  </a:cubicBezTo>
                  <a:lnTo>
                    <a:pt x="485737" y="1358734"/>
                  </a:lnTo>
                  <a:lnTo>
                    <a:pt x="486275" y="1360786"/>
                  </a:lnTo>
                  <a:lnTo>
                    <a:pt x="489001" y="1363612"/>
                  </a:lnTo>
                  <a:lnTo>
                    <a:pt x="492602" y="1365899"/>
                  </a:lnTo>
                  <a:lnTo>
                    <a:pt x="496843" y="1369162"/>
                  </a:lnTo>
                  <a:lnTo>
                    <a:pt x="501184" y="1372762"/>
                  </a:lnTo>
                  <a:lnTo>
                    <a:pt x="506300" y="1376126"/>
                  </a:lnTo>
                  <a:lnTo>
                    <a:pt x="509328" y="1379052"/>
                  </a:lnTo>
                  <a:lnTo>
                    <a:pt x="516295" y="1384267"/>
                  </a:lnTo>
                  <a:cubicBezTo>
                    <a:pt x="516295" y="1384267"/>
                    <a:pt x="518045" y="1384267"/>
                    <a:pt x="518482" y="1384267"/>
                  </a:cubicBezTo>
                  <a:cubicBezTo>
                    <a:pt x="518920" y="1384267"/>
                    <a:pt x="521309" y="1383728"/>
                    <a:pt x="521747" y="1383728"/>
                  </a:cubicBezTo>
                  <a:cubicBezTo>
                    <a:pt x="522185" y="1383728"/>
                    <a:pt x="522959" y="1383089"/>
                    <a:pt x="522959" y="1383089"/>
                  </a:cubicBezTo>
                  <a:cubicBezTo>
                    <a:pt x="522959" y="1383089"/>
                    <a:pt x="524911" y="1382753"/>
                    <a:pt x="525887" y="1382114"/>
                  </a:cubicBezTo>
                  <a:cubicBezTo>
                    <a:pt x="526863" y="1381474"/>
                    <a:pt x="526526" y="1381340"/>
                    <a:pt x="526526" y="1381340"/>
                  </a:cubicBezTo>
                  <a:lnTo>
                    <a:pt x="525853" y="1378178"/>
                  </a:lnTo>
                  <a:lnTo>
                    <a:pt x="525853" y="1376866"/>
                  </a:lnTo>
                  <a:lnTo>
                    <a:pt x="526728" y="1375016"/>
                  </a:lnTo>
                  <a:lnTo>
                    <a:pt x="529353" y="1374780"/>
                  </a:lnTo>
                  <a:lnTo>
                    <a:pt x="532516" y="1377269"/>
                  </a:lnTo>
                  <a:cubicBezTo>
                    <a:pt x="532516" y="1377269"/>
                    <a:pt x="535242" y="1379557"/>
                    <a:pt x="535680" y="1379994"/>
                  </a:cubicBezTo>
                  <a:cubicBezTo>
                    <a:pt x="536118" y="1380432"/>
                    <a:pt x="536319" y="1381306"/>
                    <a:pt x="536319" y="1381306"/>
                  </a:cubicBezTo>
                  <a:lnTo>
                    <a:pt x="542949" y="1384468"/>
                  </a:lnTo>
                  <a:lnTo>
                    <a:pt x="547964" y="1385982"/>
                  </a:lnTo>
                  <a:lnTo>
                    <a:pt x="551127" y="1386318"/>
                  </a:lnTo>
                  <a:cubicBezTo>
                    <a:pt x="551127" y="1386318"/>
                    <a:pt x="557320" y="1388169"/>
                    <a:pt x="557757" y="1388370"/>
                  </a:cubicBezTo>
                  <a:cubicBezTo>
                    <a:pt x="558195" y="1388572"/>
                    <a:pt x="561661" y="1390658"/>
                    <a:pt x="561661" y="1390658"/>
                  </a:cubicBezTo>
                  <a:lnTo>
                    <a:pt x="564387" y="1394358"/>
                  </a:lnTo>
                  <a:lnTo>
                    <a:pt x="565902" y="1397285"/>
                  </a:lnTo>
                  <a:lnTo>
                    <a:pt x="565902" y="1401322"/>
                  </a:lnTo>
                  <a:lnTo>
                    <a:pt x="571320" y="1404147"/>
                  </a:lnTo>
                  <a:cubicBezTo>
                    <a:pt x="571320" y="1404147"/>
                    <a:pt x="578590" y="1404484"/>
                    <a:pt x="579027" y="1404686"/>
                  </a:cubicBezTo>
                  <a:cubicBezTo>
                    <a:pt x="579465" y="1404888"/>
                    <a:pt x="583167" y="1406872"/>
                    <a:pt x="583167" y="1406872"/>
                  </a:cubicBezTo>
                  <a:cubicBezTo>
                    <a:pt x="583167" y="1406872"/>
                    <a:pt x="587205" y="1406771"/>
                    <a:pt x="587609" y="1406771"/>
                  </a:cubicBezTo>
                  <a:cubicBezTo>
                    <a:pt x="588047" y="1406771"/>
                    <a:pt x="590436" y="1407108"/>
                    <a:pt x="591614" y="1406670"/>
                  </a:cubicBezTo>
                  <a:cubicBezTo>
                    <a:pt x="592825" y="1406233"/>
                    <a:pt x="594878" y="1406670"/>
                    <a:pt x="595854" y="1406435"/>
                  </a:cubicBezTo>
                  <a:cubicBezTo>
                    <a:pt x="596830" y="1406233"/>
                    <a:pt x="599455" y="1406233"/>
                    <a:pt x="599859" y="1405998"/>
                  </a:cubicBezTo>
                  <a:cubicBezTo>
                    <a:pt x="600297" y="1405796"/>
                    <a:pt x="605513" y="1405796"/>
                    <a:pt x="605951" y="1405796"/>
                  </a:cubicBezTo>
                  <a:cubicBezTo>
                    <a:pt x="606388" y="1405796"/>
                    <a:pt x="610528" y="1404484"/>
                    <a:pt x="610528" y="1404484"/>
                  </a:cubicBezTo>
                  <a:lnTo>
                    <a:pt x="613018" y="1403172"/>
                  </a:lnTo>
                  <a:lnTo>
                    <a:pt x="614331" y="1400884"/>
                  </a:lnTo>
                  <a:cubicBezTo>
                    <a:pt x="614331" y="1400884"/>
                    <a:pt x="616518" y="1397823"/>
                    <a:pt x="616821" y="1397521"/>
                  </a:cubicBezTo>
                  <a:cubicBezTo>
                    <a:pt x="617158" y="1397184"/>
                    <a:pt x="618874" y="1395569"/>
                    <a:pt x="618874" y="1395233"/>
                  </a:cubicBezTo>
                  <a:cubicBezTo>
                    <a:pt x="618874" y="1394897"/>
                    <a:pt x="622576" y="1393820"/>
                    <a:pt x="623451" y="1393383"/>
                  </a:cubicBezTo>
                  <a:cubicBezTo>
                    <a:pt x="624326" y="1392946"/>
                    <a:pt x="625201" y="1391533"/>
                    <a:pt x="625201" y="1391533"/>
                  </a:cubicBezTo>
                  <a:cubicBezTo>
                    <a:pt x="625201" y="1391533"/>
                    <a:pt x="627153" y="1391196"/>
                    <a:pt x="628028" y="1391095"/>
                  </a:cubicBezTo>
                  <a:cubicBezTo>
                    <a:pt x="628903" y="1390994"/>
                    <a:pt x="631495" y="1390658"/>
                    <a:pt x="632471" y="1390322"/>
                  </a:cubicBezTo>
                  <a:cubicBezTo>
                    <a:pt x="633447" y="1389985"/>
                    <a:pt x="635197" y="1389548"/>
                    <a:pt x="635197" y="1389548"/>
                  </a:cubicBezTo>
                  <a:lnTo>
                    <a:pt x="637048" y="1388572"/>
                  </a:lnTo>
                  <a:lnTo>
                    <a:pt x="638663" y="1388135"/>
                  </a:lnTo>
                  <a:cubicBezTo>
                    <a:pt x="638663" y="1388135"/>
                    <a:pt x="640851" y="1387260"/>
                    <a:pt x="641591" y="1386924"/>
                  </a:cubicBezTo>
                  <a:cubicBezTo>
                    <a:pt x="642365" y="1386588"/>
                    <a:pt x="642803" y="1386386"/>
                    <a:pt x="643105" y="1386049"/>
                  </a:cubicBezTo>
                  <a:cubicBezTo>
                    <a:pt x="643442" y="1385713"/>
                    <a:pt x="643980" y="1385410"/>
                    <a:pt x="644081" y="1384838"/>
                  </a:cubicBezTo>
                  <a:cubicBezTo>
                    <a:pt x="644182" y="1384300"/>
                    <a:pt x="646269" y="1383089"/>
                    <a:pt x="646572" y="1382652"/>
                  </a:cubicBezTo>
                  <a:cubicBezTo>
                    <a:pt x="646908" y="1382215"/>
                    <a:pt x="647346" y="1381777"/>
                    <a:pt x="647346" y="1381777"/>
                  </a:cubicBezTo>
                  <a:lnTo>
                    <a:pt x="647110" y="1380701"/>
                  </a:lnTo>
                  <a:lnTo>
                    <a:pt x="644081" y="1378110"/>
                  </a:lnTo>
                  <a:cubicBezTo>
                    <a:pt x="644081" y="1378110"/>
                    <a:pt x="644081" y="1377135"/>
                    <a:pt x="644081" y="1376698"/>
                  </a:cubicBezTo>
                  <a:cubicBezTo>
                    <a:pt x="644081" y="1376260"/>
                    <a:pt x="645394" y="1374847"/>
                    <a:pt x="645932" y="1374410"/>
                  </a:cubicBezTo>
                  <a:cubicBezTo>
                    <a:pt x="646471" y="1373973"/>
                    <a:pt x="648423" y="1374309"/>
                    <a:pt x="649399" y="1374511"/>
                  </a:cubicBezTo>
                  <a:cubicBezTo>
                    <a:pt x="650375" y="1374713"/>
                    <a:pt x="652327" y="1374208"/>
                    <a:pt x="653875" y="1374511"/>
                  </a:cubicBezTo>
                  <a:cubicBezTo>
                    <a:pt x="655389" y="1374814"/>
                    <a:pt x="658115" y="1374646"/>
                    <a:pt x="658654" y="1374511"/>
                  </a:cubicBezTo>
                  <a:cubicBezTo>
                    <a:pt x="659192" y="1374410"/>
                    <a:pt x="663769" y="1375049"/>
                    <a:pt x="663769" y="1375049"/>
                  </a:cubicBezTo>
                  <a:lnTo>
                    <a:pt x="667471" y="1376462"/>
                  </a:lnTo>
                  <a:lnTo>
                    <a:pt x="669760" y="1378211"/>
                  </a:lnTo>
                  <a:lnTo>
                    <a:pt x="672587" y="1380062"/>
                  </a:lnTo>
                  <a:lnTo>
                    <a:pt x="673361" y="1381138"/>
                  </a:lnTo>
                  <a:lnTo>
                    <a:pt x="675986" y="1384502"/>
                  </a:lnTo>
                  <a:lnTo>
                    <a:pt x="679890" y="1387126"/>
                  </a:lnTo>
                  <a:lnTo>
                    <a:pt x="684568" y="1388202"/>
                  </a:lnTo>
                  <a:lnTo>
                    <a:pt x="687496" y="1387866"/>
                  </a:lnTo>
                  <a:cubicBezTo>
                    <a:pt x="687496" y="1387866"/>
                    <a:pt x="688371" y="1386352"/>
                    <a:pt x="688472" y="1386016"/>
                  </a:cubicBezTo>
                  <a:cubicBezTo>
                    <a:pt x="688573" y="1385679"/>
                    <a:pt x="689549" y="1384267"/>
                    <a:pt x="689784" y="1383829"/>
                  </a:cubicBezTo>
                  <a:cubicBezTo>
                    <a:pt x="690020" y="1383392"/>
                    <a:pt x="691837" y="1383190"/>
                    <a:pt x="692275" y="1382517"/>
                  </a:cubicBezTo>
                  <a:cubicBezTo>
                    <a:pt x="692712" y="1381844"/>
                    <a:pt x="694900" y="1382416"/>
                    <a:pt x="695203" y="1382517"/>
                  </a:cubicBezTo>
                  <a:cubicBezTo>
                    <a:pt x="695539" y="1382618"/>
                    <a:pt x="697794" y="1383930"/>
                    <a:pt x="697794" y="1383930"/>
                  </a:cubicBezTo>
                  <a:lnTo>
                    <a:pt x="702472" y="1387529"/>
                  </a:lnTo>
                  <a:lnTo>
                    <a:pt x="704862" y="1389279"/>
                  </a:lnTo>
                  <a:lnTo>
                    <a:pt x="705501" y="1391465"/>
                  </a:lnTo>
                  <a:lnTo>
                    <a:pt x="704963" y="1395805"/>
                  </a:lnTo>
                  <a:lnTo>
                    <a:pt x="704525" y="1401120"/>
                  </a:lnTo>
                  <a:lnTo>
                    <a:pt x="703213" y="1404147"/>
                  </a:lnTo>
                  <a:lnTo>
                    <a:pt x="703213" y="1408184"/>
                  </a:lnTo>
                  <a:lnTo>
                    <a:pt x="705501" y="1411885"/>
                  </a:lnTo>
                  <a:lnTo>
                    <a:pt x="706915" y="1415686"/>
                  </a:lnTo>
                  <a:lnTo>
                    <a:pt x="707554" y="1418411"/>
                  </a:lnTo>
                  <a:lnTo>
                    <a:pt x="709068" y="1420261"/>
                  </a:lnTo>
                  <a:lnTo>
                    <a:pt x="711256" y="1421674"/>
                  </a:lnTo>
                  <a:lnTo>
                    <a:pt x="713309" y="1423524"/>
                  </a:lnTo>
                  <a:cubicBezTo>
                    <a:pt x="713309" y="1423524"/>
                    <a:pt x="718088" y="1425374"/>
                    <a:pt x="718525" y="1425374"/>
                  </a:cubicBezTo>
                  <a:cubicBezTo>
                    <a:pt x="718963" y="1425374"/>
                    <a:pt x="722295" y="1426787"/>
                    <a:pt x="722295" y="1426787"/>
                  </a:cubicBezTo>
                  <a:cubicBezTo>
                    <a:pt x="722295" y="1426787"/>
                    <a:pt x="730002" y="1427325"/>
                    <a:pt x="730439" y="1427325"/>
                  </a:cubicBezTo>
                  <a:cubicBezTo>
                    <a:pt x="730877" y="1427325"/>
                    <a:pt x="733805" y="1427426"/>
                    <a:pt x="734141" y="1427426"/>
                  </a:cubicBezTo>
                  <a:cubicBezTo>
                    <a:pt x="734478" y="1427426"/>
                    <a:pt x="737069" y="1427864"/>
                    <a:pt x="737069" y="1427864"/>
                  </a:cubicBezTo>
                  <a:cubicBezTo>
                    <a:pt x="737069" y="1427864"/>
                    <a:pt x="740973" y="1428502"/>
                    <a:pt x="741310" y="1428637"/>
                  </a:cubicBezTo>
                  <a:cubicBezTo>
                    <a:pt x="741646" y="1428738"/>
                    <a:pt x="745011" y="1431126"/>
                    <a:pt x="745011" y="1431126"/>
                  </a:cubicBezTo>
                  <a:lnTo>
                    <a:pt x="746627" y="1435466"/>
                  </a:lnTo>
                  <a:lnTo>
                    <a:pt x="746627" y="1438191"/>
                  </a:lnTo>
                  <a:cubicBezTo>
                    <a:pt x="746627" y="1438191"/>
                    <a:pt x="753190" y="1440142"/>
                    <a:pt x="753627" y="1440142"/>
                  </a:cubicBezTo>
                  <a:cubicBezTo>
                    <a:pt x="754065" y="1440142"/>
                    <a:pt x="758776" y="1440781"/>
                    <a:pt x="759113" y="1440781"/>
                  </a:cubicBezTo>
                  <a:cubicBezTo>
                    <a:pt x="759449" y="1440781"/>
                    <a:pt x="768772" y="1441319"/>
                    <a:pt x="768772" y="1441319"/>
                  </a:cubicBezTo>
                  <a:lnTo>
                    <a:pt x="779205" y="1441757"/>
                  </a:lnTo>
                  <a:cubicBezTo>
                    <a:pt x="779205" y="1441757"/>
                    <a:pt x="783108" y="1441521"/>
                    <a:pt x="783546" y="1441521"/>
                  </a:cubicBezTo>
                  <a:cubicBezTo>
                    <a:pt x="783983" y="1441521"/>
                    <a:pt x="787887" y="1441622"/>
                    <a:pt x="788224" y="1441622"/>
                  </a:cubicBezTo>
                  <a:cubicBezTo>
                    <a:pt x="788560" y="1441622"/>
                    <a:pt x="792464" y="1442799"/>
                    <a:pt x="793003" y="1443035"/>
                  </a:cubicBezTo>
                  <a:cubicBezTo>
                    <a:pt x="793541" y="1443237"/>
                    <a:pt x="795931" y="1444784"/>
                    <a:pt x="795931" y="1444784"/>
                  </a:cubicBezTo>
                  <a:cubicBezTo>
                    <a:pt x="795931" y="1444784"/>
                    <a:pt x="797782" y="1446399"/>
                    <a:pt x="798118" y="1446533"/>
                  </a:cubicBezTo>
                  <a:cubicBezTo>
                    <a:pt x="798455" y="1446634"/>
                    <a:pt x="802022" y="1448585"/>
                    <a:pt x="802460" y="1448720"/>
                  </a:cubicBezTo>
                  <a:cubicBezTo>
                    <a:pt x="802897" y="1448821"/>
                    <a:pt x="805489" y="1449494"/>
                    <a:pt x="805926" y="1449494"/>
                  </a:cubicBezTo>
                  <a:cubicBezTo>
                    <a:pt x="806364" y="1449494"/>
                    <a:pt x="808753" y="1449595"/>
                    <a:pt x="809965" y="1449393"/>
                  </a:cubicBezTo>
                  <a:cubicBezTo>
                    <a:pt x="811176" y="1449157"/>
                    <a:pt x="812994" y="1449056"/>
                    <a:pt x="813330" y="1448955"/>
                  </a:cubicBezTo>
                  <a:cubicBezTo>
                    <a:pt x="813667" y="1448855"/>
                    <a:pt x="815080" y="1448955"/>
                    <a:pt x="817907" y="1448182"/>
                  </a:cubicBezTo>
                  <a:cubicBezTo>
                    <a:pt x="820734" y="1447408"/>
                    <a:pt x="819422" y="1447946"/>
                    <a:pt x="821710" y="1447744"/>
                  </a:cubicBezTo>
                  <a:cubicBezTo>
                    <a:pt x="823999" y="1447509"/>
                    <a:pt x="825177" y="1446971"/>
                    <a:pt x="827129" y="1446769"/>
                  </a:cubicBezTo>
                  <a:cubicBezTo>
                    <a:pt x="829081" y="1446567"/>
                    <a:pt x="830932" y="1446769"/>
                    <a:pt x="832345" y="1446769"/>
                  </a:cubicBezTo>
                  <a:cubicBezTo>
                    <a:pt x="833759" y="1446769"/>
                    <a:pt x="837663" y="1447643"/>
                    <a:pt x="838100" y="1447744"/>
                  </a:cubicBezTo>
                  <a:cubicBezTo>
                    <a:pt x="838538" y="1447845"/>
                    <a:pt x="841365" y="1447744"/>
                    <a:pt x="841802" y="1447408"/>
                  </a:cubicBezTo>
                  <a:cubicBezTo>
                    <a:pt x="842240" y="1447072"/>
                    <a:pt x="841802" y="1445659"/>
                    <a:pt x="841802" y="1445659"/>
                  </a:cubicBezTo>
                  <a:lnTo>
                    <a:pt x="839749" y="1442631"/>
                  </a:lnTo>
                  <a:lnTo>
                    <a:pt x="837562" y="1440445"/>
                  </a:lnTo>
                  <a:lnTo>
                    <a:pt x="839749" y="1437518"/>
                  </a:lnTo>
                  <a:cubicBezTo>
                    <a:pt x="839749" y="1437518"/>
                    <a:pt x="842139" y="1437316"/>
                    <a:pt x="845067" y="1437182"/>
                  </a:cubicBezTo>
                  <a:cubicBezTo>
                    <a:pt x="847994" y="1437081"/>
                    <a:pt x="851596" y="1437821"/>
                    <a:pt x="852033" y="1438157"/>
                  </a:cubicBezTo>
                  <a:cubicBezTo>
                    <a:pt x="852471" y="1438460"/>
                    <a:pt x="860952" y="1439267"/>
                    <a:pt x="860952" y="1439267"/>
                  </a:cubicBezTo>
                  <a:cubicBezTo>
                    <a:pt x="860952" y="1439267"/>
                    <a:pt x="870408" y="1436879"/>
                    <a:pt x="870846" y="1436542"/>
                  </a:cubicBezTo>
                  <a:cubicBezTo>
                    <a:pt x="871283" y="1436206"/>
                    <a:pt x="878351" y="1436105"/>
                    <a:pt x="878788" y="1436004"/>
                  </a:cubicBezTo>
                  <a:cubicBezTo>
                    <a:pt x="879226" y="1435903"/>
                    <a:pt x="886832" y="1431866"/>
                    <a:pt x="886832" y="1431866"/>
                  </a:cubicBezTo>
                  <a:lnTo>
                    <a:pt x="890433" y="1431665"/>
                  </a:lnTo>
                  <a:lnTo>
                    <a:pt x="897063" y="1432001"/>
                  </a:lnTo>
                  <a:cubicBezTo>
                    <a:pt x="897063" y="1432001"/>
                    <a:pt x="897601" y="1432203"/>
                    <a:pt x="897938" y="1432203"/>
                  </a:cubicBezTo>
                  <a:cubicBezTo>
                    <a:pt x="898274" y="1432203"/>
                    <a:pt x="900125" y="1432842"/>
                    <a:pt x="902515" y="1433279"/>
                  </a:cubicBezTo>
                  <a:cubicBezTo>
                    <a:pt x="904904" y="1433717"/>
                    <a:pt x="905342" y="1433380"/>
                    <a:pt x="905880" y="1432842"/>
                  </a:cubicBezTo>
                  <a:cubicBezTo>
                    <a:pt x="906419" y="1432304"/>
                    <a:pt x="907294" y="1430655"/>
                    <a:pt x="907294" y="1430218"/>
                  </a:cubicBezTo>
                  <a:cubicBezTo>
                    <a:pt x="907294" y="1429781"/>
                    <a:pt x="907731" y="1427729"/>
                    <a:pt x="908068" y="1426753"/>
                  </a:cubicBezTo>
                  <a:cubicBezTo>
                    <a:pt x="908404" y="1425778"/>
                    <a:pt x="908707" y="1425542"/>
                    <a:pt x="909481" y="1424163"/>
                  </a:cubicBezTo>
                  <a:cubicBezTo>
                    <a:pt x="910255" y="1422750"/>
                    <a:pt x="910996" y="1423087"/>
                    <a:pt x="911433" y="1422851"/>
                  </a:cubicBezTo>
                  <a:cubicBezTo>
                    <a:pt x="911871" y="1422616"/>
                    <a:pt x="914698" y="1425038"/>
                    <a:pt x="916313" y="1425677"/>
                  </a:cubicBezTo>
                  <a:cubicBezTo>
                    <a:pt x="917962" y="1426316"/>
                    <a:pt x="918063" y="1428402"/>
                    <a:pt x="918063" y="1428402"/>
                  </a:cubicBezTo>
                  <a:cubicBezTo>
                    <a:pt x="918063" y="1428402"/>
                    <a:pt x="919813" y="1431025"/>
                    <a:pt x="920352" y="1431866"/>
                  </a:cubicBezTo>
                  <a:cubicBezTo>
                    <a:pt x="920890" y="1432741"/>
                    <a:pt x="922539" y="1434692"/>
                    <a:pt x="922539" y="1434692"/>
                  </a:cubicBezTo>
                  <a:cubicBezTo>
                    <a:pt x="922539" y="1434692"/>
                    <a:pt x="924929" y="1436542"/>
                    <a:pt x="925366" y="1436879"/>
                  </a:cubicBezTo>
                  <a:cubicBezTo>
                    <a:pt x="925804" y="1437215"/>
                    <a:pt x="927217" y="1438729"/>
                    <a:pt x="929405" y="1440680"/>
                  </a:cubicBezTo>
                  <a:cubicBezTo>
                    <a:pt x="931592" y="1442631"/>
                    <a:pt x="931895" y="1441555"/>
                    <a:pt x="931895" y="1441555"/>
                  </a:cubicBezTo>
                  <a:cubicBezTo>
                    <a:pt x="931895" y="1441555"/>
                    <a:pt x="935799" y="1441555"/>
                    <a:pt x="936775" y="1441555"/>
                  </a:cubicBezTo>
                  <a:cubicBezTo>
                    <a:pt x="937751" y="1441555"/>
                    <a:pt x="941016" y="1442059"/>
                    <a:pt x="941016" y="1442059"/>
                  </a:cubicBezTo>
                  <a:lnTo>
                    <a:pt x="942227" y="1443977"/>
                  </a:lnTo>
                  <a:lnTo>
                    <a:pt x="939299" y="1447004"/>
                  </a:lnTo>
                  <a:cubicBezTo>
                    <a:pt x="939299" y="1447004"/>
                    <a:pt x="937246" y="1448081"/>
                    <a:pt x="935833" y="1448955"/>
                  </a:cubicBezTo>
                  <a:cubicBezTo>
                    <a:pt x="934420" y="1449830"/>
                    <a:pt x="934857" y="1449729"/>
                    <a:pt x="934857" y="1450133"/>
                  </a:cubicBezTo>
                  <a:cubicBezTo>
                    <a:pt x="934857" y="1450570"/>
                    <a:pt x="936607" y="1451647"/>
                    <a:pt x="937583" y="1451781"/>
                  </a:cubicBezTo>
                  <a:cubicBezTo>
                    <a:pt x="938559" y="1451882"/>
                    <a:pt x="940073" y="1452219"/>
                    <a:pt x="940511" y="1452219"/>
                  </a:cubicBezTo>
                  <a:cubicBezTo>
                    <a:pt x="940949" y="1452219"/>
                    <a:pt x="943540" y="1452555"/>
                    <a:pt x="944112" y="1452319"/>
                  </a:cubicBezTo>
                  <a:cubicBezTo>
                    <a:pt x="944650" y="1452084"/>
                    <a:pt x="945626" y="1451108"/>
                    <a:pt x="945626" y="1451108"/>
                  </a:cubicBezTo>
                  <a:lnTo>
                    <a:pt x="947814" y="1448384"/>
                  </a:lnTo>
                  <a:lnTo>
                    <a:pt x="948891" y="1445659"/>
                  </a:lnTo>
                  <a:lnTo>
                    <a:pt x="958449" y="1442631"/>
                  </a:lnTo>
                  <a:cubicBezTo>
                    <a:pt x="958449" y="1442631"/>
                    <a:pt x="962588" y="1442295"/>
                    <a:pt x="964103" y="1442093"/>
                  </a:cubicBezTo>
                  <a:cubicBezTo>
                    <a:pt x="965617" y="1441891"/>
                    <a:pt x="968983" y="1441992"/>
                    <a:pt x="970497" y="1441656"/>
                  </a:cubicBezTo>
                  <a:cubicBezTo>
                    <a:pt x="972012" y="1441319"/>
                    <a:pt x="975377" y="1441555"/>
                    <a:pt x="977228" y="1441555"/>
                  </a:cubicBezTo>
                  <a:cubicBezTo>
                    <a:pt x="979079" y="1441555"/>
                    <a:pt x="981670" y="1441656"/>
                    <a:pt x="982646" y="1441555"/>
                  </a:cubicBezTo>
                  <a:cubicBezTo>
                    <a:pt x="983622" y="1441454"/>
                    <a:pt x="984296" y="1441454"/>
                    <a:pt x="985238" y="1441218"/>
                  </a:cubicBezTo>
                  <a:cubicBezTo>
                    <a:pt x="986214" y="1440983"/>
                    <a:pt x="987291" y="1439806"/>
                    <a:pt x="988502" y="1439705"/>
                  </a:cubicBezTo>
                  <a:cubicBezTo>
                    <a:pt x="989680" y="1439604"/>
                    <a:pt x="991969" y="1437955"/>
                    <a:pt x="992103" y="1437518"/>
                  </a:cubicBezTo>
                  <a:cubicBezTo>
                    <a:pt x="992238" y="1437081"/>
                    <a:pt x="994594" y="1433919"/>
                    <a:pt x="995368" y="1433380"/>
                  </a:cubicBezTo>
                  <a:cubicBezTo>
                    <a:pt x="996142" y="1432842"/>
                    <a:pt x="997118" y="1431530"/>
                    <a:pt x="997219" y="1431093"/>
                  </a:cubicBezTo>
                  <a:cubicBezTo>
                    <a:pt x="997320" y="1430655"/>
                    <a:pt x="999272" y="1427393"/>
                    <a:pt x="999272" y="1427393"/>
                  </a:cubicBezTo>
                  <a:cubicBezTo>
                    <a:pt x="999272" y="1427393"/>
                    <a:pt x="1001022" y="1424567"/>
                    <a:pt x="1001123" y="1423928"/>
                  </a:cubicBezTo>
                  <a:cubicBezTo>
                    <a:pt x="1001224" y="1423288"/>
                    <a:pt x="1004387" y="1421102"/>
                    <a:pt x="1004387" y="1421102"/>
                  </a:cubicBezTo>
                  <a:lnTo>
                    <a:pt x="1007113" y="1415551"/>
                  </a:lnTo>
                  <a:cubicBezTo>
                    <a:pt x="1007113" y="1415551"/>
                    <a:pt x="1009065" y="1412389"/>
                    <a:pt x="1009503" y="1411414"/>
                  </a:cubicBezTo>
                  <a:cubicBezTo>
                    <a:pt x="1009940" y="1410438"/>
                    <a:pt x="1013979" y="1409664"/>
                    <a:pt x="1013979" y="1409664"/>
                  </a:cubicBezTo>
                  <a:lnTo>
                    <a:pt x="1018859" y="1410203"/>
                  </a:lnTo>
                  <a:cubicBezTo>
                    <a:pt x="1018859" y="1410203"/>
                    <a:pt x="1023436" y="1410203"/>
                    <a:pt x="1025489" y="1410203"/>
                  </a:cubicBezTo>
                  <a:cubicBezTo>
                    <a:pt x="1027542" y="1410203"/>
                    <a:pt x="1028080" y="1410102"/>
                    <a:pt x="1029729" y="1409126"/>
                  </a:cubicBezTo>
                  <a:cubicBezTo>
                    <a:pt x="1031345" y="1408151"/>
                    <a:pt x="1033431" y="1407276"/>
                    <a:pt x="1033970" y="1406738"/>
                  </a:cubicBezTo>
                  <a:cubicBezTo>
                    <a:pt x="1034508" y="1406200"/>
                    <a:pt x="1037571" y="1405123"/>
                    <a:pt x="1038412" y="1404450"/>
                  </a:cubicBezTo>
                  <a:cubicBezTo>
                    <a:pt x="1039287" y="1403811"/>
                    <a:pt x="1043090" y="1403239"/>
                    <a:pt x="1043090" y="1403239"/>
                  </a:cubicBezTo>
                  <a:lnTo>
                    <a:pt x="1045917" y="1404988"/>
                  </a:lnTo>
                  <a:lnTo>
                    <a:pt x="1048643" y="1409328"/>
                  </a:lnTo>
                  <a:cubicBezTo>
                    <a:pt x="1048643" y="1409328"/>
                    <a:pt x="1052110" y="1408891"/>
                    <a:pt x="1052211" y="1408689"/>
                  </a:cubicBezTo>
                  <a:cubicBezTo>
                    <a:pt x="1052278" y="1408487"/>
                    <a:pt x="1055610" y="1406805"/>
                    <a:pt x="1056922" y="1405930"/>
                  </a:cubicBezTo>
                  <a:cubicBezTo>
                    <a:pt x="1058235" y="1405056"/>
                    <a:pt x="1061567" y="1404484"/>
                    <a:pt x="1062004" y="1403912"/>
                  </a:cubicBezTo>
                  <a:cubicBezTo>
                    <a:pt x="1062441" y="1403340"/>
                    <a:pt x="1068297" y="1403273"/>
                    <a:pt x="1070115" y="1403273"/>
                  </a:cubicBezTo>
                  <a:cubicBezTo>
                    <a:pt x="1071932" y="1403273"/>
                    <a:pt x="1073245" y="1406973"/>
                    <a:pt x="1073447" y="1407175"/>
                  </a:cubicBezTo>
                  <a:cubicBezTo>
                    <a:pt x="1073649" y="1407411"/>
                    <a:pt x="1079101" y="1408554"/>
                    <a:pt x="1079403" y="1408487"/>
                  </a:cubicBezTo>
                  <a:cubicBezTo>
                    <a:pt x="1079706" y="1408420"/>
                    <a:pt x="1084687" y="1409564"/>
                    <a:pt x="1084990" y="1409564"/>
                  </a:cubicBezTo>
                  <a:cubicBezTo>
                    <a:pt x="1085293" y="1409564"/>
                    <a:pt x="1093606" y="1407915"/>
                    <a:pt x="1093606" y="1407915"/>
                  </a:cubicBezTo>
                  <a:lnTo>
                    <a:pt x="1100067" y="1406906"/>
                  </a:lnTo>
                  <a:cubicBezTo>
                    <a:pt x="1100067" y="1406906"/>
                    <a:pt x="1103635" y="1406973"/>
                    <a:pt x="1103971" y="1406771"/>
                  </a:cubicBezTo>
                  <a:cubicBezTo>
                    <a:pt x="1104341" y="1406570"/>
                    <a:pt x="1108548" y="1405527"/>
                    <a:pt x="1108986" y="1405459"/>
                  </a:cubicBezTo>
                  <a:cubicBezTo>
                    <a:pt x="1109423" y="1405392"/>
                    <a:pt x="1114640" y="1403710"/>
                    <a:pt x="1114842" y="1403441"/>
                  </a:cubicBezTo>
                  <a:cubicBezTo>
                    <a:pt x="1115044" y="1403138"/>
                    <a:pt x="1117029" y="1402735"/>
                    <a:pt x="1117029" y="1402735"/>
                  </a:cubicBezTo>
                  <a:lnTo>
                    <a:pt x="1119789" y="1398092"/>
                  </a:lnTo>
                  <a:lnTo>
                    <a:pt x="1123928" y="1398092"/>
                  </a:lnTo>
                  <a:lnTo>
                    <a:pt x="1127630" y="1398967"/>
                  </a:lnTo>
                  <a:cubicBezTo>
                    <a:pt x="1127630" y="1398967"/>
                    <a:pt x="1127630" y="1400783"/>
                    <a:pt x="1127630" y="1401086"/>
                  </a:cubicBezTo>
                  <a:cubicBezTo>
                    <a:pt x="1127630" y="1401355"/>
                    <a:pt x="1127227" y="1402735"/>
                    <a:pt x="1127227" y="1402735"/>
                  </a:cubicBezTo>
                  <a:lnTo>
                    <a:pt x="1132275" y="1407209"/>
                  </a:lnTo>
                  <a:lnTo>
                    <a:pt x="1136246" y="1405829"/>
                  </a:lnTo>
                  <a:lnTo>
                    <a:pt x="1146107" y="1408723"/>
                  </a:lnTo>
                  <a:lnTo>
                    <a:pt x="1155900" y="1413634"/>
                  </a:lnTo>
                  <a:lnTo>
                    <a:pt x="1160982" y="1415148"/>
                  </a:lnTo>
                  <a:lnTo>
                    <a:pt x="1165021" y="1411952"/>
                  </a:lnTo>
                  <a:lnTo>
                    <a:pt x="1178920" y="1411952"/>
                  </a:lnTo>
                  <a:lnTo>
                    <a:pt x="1194267" y="1411952"/>
                  </a:lnTo>
                  <a:lnTo>
                    <a:pt x="1203252" y="1413701"/>
                  </a:lnTo>
                  <a:lnTo>
                    <a:pt x="1213113" y="1413701"/>
                  </a:lnTo>
                  <a:lnTo>
                    <a:pt x="1217185" y="1415451"/>
                  </a:lnTo>
                  <a:lnTo>
                    <a:pt x="1222402" y="1415451"/>
                  </a:lnTo>
                  <a:lnTo>
                    <a:pt x="1230512" y="1417031"/>
                  </a:lnTo>
                  <a:lnTo>
                    <a:pt x="1232532" y="1422683"/>
                  </a:lnTo>
                  <a:lnTo>
                    <a:pt x="1230512" y="1425879"/>
                  </a:lnTo>
                  <a:lnTo>
                    <a:pt x="1237748" y="1431665"/>
                  </a:lnTo>
                  <a:lnTo>
                    <a:pt x="1243537" y="1439772"/>
                  </a:lnTo>
                  <a:lnTo>
                    <a:pt x="1248181" y="1437148"/>
                  </a:lnTo>
                  <a:lnTo>
                    <a:pt x="1252825" y="1433952"/>
                  </a:lnTo>
                  <a:lnTo>
                    <a:pt x="1258042" y="1435701"/>
                  </a:lnTo>
                  <a:lnTo>
                    <a:pt x="1261508" y="1439166"/>
                  </a:lnTo>
                  <a:cubicBezTo>
                    <a:pt x="1261508" y="1439166"/>
                    <a:pt x="1268744" y="1445558"/>
                    <a:pt x="1269922" y="1445558"/>
                  </a:cubicBezTo>
                  <a:cubicBezTo>
                    <a:pt x="1271066" y="1445558"/>
                    <a:pt x="1273691" y="1447576"/>
                    <a:pt x="1273691" y="1447576"/>
                  </a:cubicBezTo>
                  <a:lnTo>
                    <a:pt x="1276956" y="1455414"/>
                  </a:lnTo>
                  <a:lnTo>
                    <a:pt x="1283249" y="1453665"/>
                  </a:lnTo>
                  <a:lnTo>
                    <a:pt x="1287591" y="1453665"/>
                  </a:lnTo>
                  <a:lnTo>
                    <a:pt x="1293682" y="1457870"/>
                  </a:lnTo>
                  <a:lnTo>
                    <a:pt x="1298899" y="1459182"/>
                  </a:lnTo>
                  <a:lnTo>
                    <a:pt x="1305865" y="1472806"/>
                  </a:lnTo>
                  <a:lnTo>
                    <a:pt x="1310509" y="1472806"/>
                  </a:lnTo>
                  <a:lnTo>
                    <a:pt x="1315423" y="1476674"/>
                  </a:lnTo>
                  <a:lnTo>
                    <a:pt x="1315995" y="1477347"/>
                  </a:lnTo>
                  <a:lnTo>
                    <a:pt x="1312630" y="1478760"/>
                  </a:lnTo>
                  <a:lnTo>
                    <a:pt x="1316264" y="1477246"/>
                  </a:lnTo>
                  <a:lnTo>
                    <a:pt x="1318082" y="1478054"/>
                  </a:lnTo>
                  <a:lnTo>
                    <a:pt x="1321548" y="1478054"/>
                  </a:lnTo>
                  <a:lnTo>
                    <a:pt x="1327404" y="1477515"/>
                  </a:lnTo>
                  <a:lnTo>
                    <a:pt x="1331039" y="1477179"/>
                  </a:lnTo>
                  <a:cubicBezTo>
                    <a:pt x="1331039" y="1477179"/>
                    <a:pt x="1334236" y="1477314"/>
                    <a:pt x="1334505" y="1477314"/>
                  </a:cubicBezTo>
                  <a:cubicBezTo>
                    <a:pt x="1334808" y="1477314"/>
                    <a:pt x="1337198" y="1478996"/>
                    <a:pt x="1337399" y="1478996"/>
                  </a:cubicBezTo>
                  <a:cubicBezTo>
                    <a:pt x="1337601" y="1478996"/>
                    <a:pt x="1338847" y="1480879"/>
                    <a:pt x="1338847" y="1480879"/>
                  </a:cubicBezTo>
                  <a:lnTo>
                    <a:pt x="1343491" y="1483705"/>
                  </a:lnTo>
                  <a:lnTo>
                    <a:pt x="1348404" y="1483503"/>
                  </a:lnTo>
                  <a:cubicBezTo>
                    <a:pt x="1348404" y="1483503"/>
                    <a:pt x="1349280" y="1479971"/>
                    <a:pt x="1349852" y="1479433"/>
                  </a:cubicBezTo>
                  <a:cubicBezTo>
                    <a:pt x="1350424" y="1478928"/>
                    <a:pt x="1352039" y="1478256"/>
                    <a:pt x="1352039" y="1478256"/>
                  </a:cubicBezTo>
                  <a:lnTo>
                    <a:pt x="1355674" y="1477549"/>
                  </a:lnTo>
                  <a:cubicBezTo>
                    <a:pt x="1355674" y="1477549"/>
                    <a:pt x="1355236" y="1472705"/>
                    <a:pt x="1355236" y="1472402"/>
                  </a:cubicBezTo>
                  <a:cubicBezTo>
                    <a:pt x="1355236" y="1472100"/>
                    <a:pt x="1357424" y="1469274"/>
                    <a:pt x="1357424" y="1469274"/>
                  </a:cubicBezTo>
                  <a:lnTo>
                    <a:pt x="1359813" y="1467625"/>
                  </a:lnTo>
                  <a:lnTo>
                    <a:pt x="1364155" y="1467625"/>
                  </a:lnTo>
                  <a:lnTo>
                    <a:pt x="1367924" y="1471090"/>
                  </a:lnTo>
                  <a:lnTo>
                    <a:pt x="1372266" y="1477179"/>
                  </a:lnTo>
                  <a:lnTo>
                    <a:pt x="1376910" y="1480072"/>
                  </a:lnTo>
                  <a:lnTo>
                    <a:pt x="1382699" y="1484714"/>
                  </a:lnTo>
                  <a:lnTo>
                    <a:pt x="1391987" y="1486464"/>
                  </a:lnTo>
                  <a:lnTo>
                    <a:pt x="1404439" y="1487338"/>
                  </a:lnTo>
                  <a:lnTo>
                    <a:pt x="1409084" y="1489929"/>
                  </a:lnTo>
                  <a:lnTo>
                    <a:pt x="1417767" y="1491375"/>
                  </a:lnTo>
                  <a:lnTo>
                    <a:pt x="1420392" y="1491947"/>
                  </a:lnTo>
                  <a:lnTo>
                    <a:pt x="1421267" y="1496858"/>
                  </a:lnTo>
                  <a:lnTo>
                    <a:pt x="1426786" y="1501770"/>
                  </a:lnTo>
                  <a:lnTo>
                    <a:pt x="1432877" y="1503216"/>
                  </a:lnTo>
                  <a:lnTo>
                    <a:pt x="1436344" y="1505807"/>
                  </a:lnTo>
                  <a:lnTo>
                    <a:pt x="1439238" y="1505807"/>
                  </a:lnTo>
                  <a:lnTo>
                    <a:pt x="1443310" y="1500592"/>
                  </a:lnTo>
                  <a:lnTo>
                    <a:pt x="1447383" y="1500592"/>
                  </a:lnTo>
                  <a:lnTo>
                    <a:pt x="1449402" y="1497262"/>
                  </a:lnTo>
                  <a:lnTo>
                    <a:pt x="1452868" y="1490736"/>
                  </a:lnTo>
                  <a:lnTo>
                    <a:pt x="1453743" y="1485825"/>
                  </a:lnTo>
                  <a:lnTo>
                    <a:pt x="1453171" y="1481182"/>
                  </a:lnTo>
                  <a:lnTo>
                    <a:pt x="1451724" y="1477112"/>
                  </a:lnTo>
                  <a:lnTo>
                    <a:pt x="1452027" y="1471595"/>
                  </a:lnTo>
                  <a:lnTo>
                    <a:pt x="1451152" y="1464934"/>
                  </a:lnTo>
                  <a:lnTo>
                    <a:pt x="1451152" y="1460797"/>
                  </a:lnTo>
                  <a:lnTo>
                    <a:pt x="1450782" y="1457433"/>
                  </a:lnTo>
                  <a:lnTo>
                    <a:pt x="1448998" y="1453968"/>
                  </a:lnTo>
                  <a:cubicBezTo>
                    <a:pt x="1448998" y="1453968"/>
                    <a:pt x="1444859" y="1450806"/>
                    <a:pt x="1444320" y="1450267"/>
                  </a:cubicBezTo>
                  <a:cubicBezTo>
                    <a:pt x="1443782" y="1449729"/>
                    <a:pt x="1442133" y="1449191"/>
                    <a:pt x="1441729" y="1449191"/>
                  </a:cubicBezTo>
                  <a:cubicBezTo>
                    <a:pt x="1441291" y="1449191"/>
                    <a:pt x="1438464" y="1447879"/>
                    <a:pt x="1438464" y="1447879"/>
                  </a:cubicBezTo>
                  <a:lnTo>
                    <a:pt x="1434560" y="1445827"/>
                  </a:lnTo>
                  <a:lnTo>
                    <a:pt x="1429344" y="1444750"/>
                  </a:lnTo>
                  <a:lnTo>
                    <a:pt x="1428570" y="1440613"/>
                  </a:lnTo>
                  <a:lnTo>
                    <a:pt x="1428570" y="1437148"/>
                  </a:lnTo>
                  <a:lnTo>
                    <a:pt x="1429175" y="1433448"/>
                  </a:lnTo>
                  <a:lnTo>
                    <a:pt x="1429882" y="1430958"/>
                  </a:lnTo>
                  <a:lnTo>
                    <a:pt x="1430522" y="1429983"/>
                  </a:lnTo>
                  <a:cubicBezTo>
                    <a:pt x="1430522" y="1429983"/>
                    <a:pt x="1432036" y="1427157"/>
                    <a:pt x="1432137" y="1426821"/>
                  </a:cubicBezTo>
                  <a:cubicBezTo>
                    <a:pt x="1432238" y="1426484"/>
                    <a:pt x="1432238" y="1425206"/>
                    <a:pt x="1432238" y="1425206"/>
                  </a:cubicBezTo>
                  <a:cubicBezTo>
                    <a:pt x="1432238" y="1425206"/>
                    <a:pt x="1429411" y="1423356"/>
                    <a:pt x="1428873" y="1422380"/>
                  </a:cubicBezTo>
                  <a:cubicBezTo>
                    <a:pt x="1428334" y="1421405"/>
                    <a:pt x="1428772" y="1419353"/>
                    <a:pt x="1428772" y="1419353"/>
                  </a:cubicBezTo>
                  <a:lnTo>
                    <a:pt x="1428233" y="1417603"/>
                  </a:lnTo>
                  <a:lnTo>
                    <a:pt x="1429748" y="1415417"/>
                  </a:lnTo>
                  <a:cubicBezTo>
                    <a:pt x="1429748" y="1415417"/>
                    <a:pt x="1433012" y="1414105"/>
                    <a:pt x="1433786" y="1413802"/>
                  </a:cubicBezTo>
                  <a:cubicBezTo>
                    <a:pt x="1434560" y="1413466"/>
                    <a:pt x="1435536" y="1412389"/>
                    <a:pt x="1435536" y="1412389"/>
                  </a:cubicBezTo>
                  <a:cubicBezTo>
                    <a:pt x="1435536" y="1412389"/>
                    <a:pt x="1440315" y="1410001"/>
                    <a:pt x="1440753" y="1409799"/>
                  </a:cubicBezTo>
                  <a:cubicBezTo>
                    <a:pt x="1441190" y="1409597"/>
                    <a:pt x="1443479" y="1408184"/>
                    <a:pt x="1443916" y="1407949"/>
                  </a:cubicBezTo>
                  <a:cubicBezTo>
                    <a:pt x="1444354" y="1407747"/>
                    <a:pt x="1445969" y="1406704"/>
                    <a:pt x="1445969" y="1406704"/>
                  </a:cubicBezTo>
                  <a:lnTo>
                    <a:pt x="1450311" y="1406637"/>
                  </a:lnTo>
                  <a:cubicBezTo>
                    <a:pt x="1450311" y="1406637"/>
                    <a:pt x="1458455" y="1406738"/>
                    <a:pt x="1458893" y="1406637"/>
                  </a:cubicBezTo>
                  <a:cubicBezTo>
                    <a:pt x="1459330" y="1406536"/>
                    <a:pt x="1463133" y="1405661"/>
                    <a:pt x="1463133" y="1405661"/>
                  </a:cubicBezTo>
                  <a:lnTo>
                    <a:pt x="1467138" y="1403710"/>
                  </a:lnTo>
                  <a:lnTo>
                    <a:pt x="1468989" y="1401221"/>
                  </a:lnTo>
                  <a:lnTo>
                    <a:pt x="1471479" y="1399808"/>
                  </a:lnTo>
                  <a:lnTo>
                    <a:pt x="1472893" y="1398059"/>
                  </a:lnTo>
                  <a:lnTo>
                    <a:pt x="1476359" y="1398059"/>
                  </a:lnTo>
                  <a:lnTo>
                    <a:pt x="1479826" y="1399808"/>
                  </a:lnTo>
                  <a:lnTo>
                    <a:pt x="1483292" y="1399808"/>
                  </a:lnTo>
                  <a:lnTo>
                    <a:pt x="1485042" y="1399808"/>
                  </a:lnTo>
                  <a:lnTo>
                    <a:pt x="1486792" y="1398362"/>
                  </a:lnTo>
                  <a:lnTo>
                    <a:pt x="1488105" y="1396780"/>
                  </a:lnTo>
                  <a:lnTo>
                    <a:pt x="1489989" y="1392004"/>
                  </a:lnTo>
                  <a:lnTo>
                    <a:pt x="1491134" y="1388539"/>
                  </a:lnTo>
                  <a:lnTo>
                    <a:pt x="1491134" y="1384906"/>
                  </a:lnTo>
                  <a:lnTo>
                    <a:pt x="1486119" y="1378548"/>
                  </a:lnTo>
                  <a:lnTo>
                    <a:pt x="1481273" y="1372324"/>
                  </a:lnTo>
                  <a:lnTo>
                    <a:pt x="1479691" y="1365933"/>
                  </a:lnTo>
                  <a:lnTo>
                    <a:pt x="1477234" y="1355202"/>
                  </a:lnTo>
                  <a:lnTo>
                    <a:pt x="1477537" y="1350694"/>
                  </a:lnTo>
                  <a:lnTo>
                    <a:pt x="1474205" y="1349954"/>
                  </a:lnTo>
                  <a:lnTo>
                    <a:pt x="1470739" y="1347498"/>
                  </a:lnTo>
                  <a:lnTo>
                    <a:pt x="1463772" y="1342284"/>
                  </a:lnTo>
                  <a:lnTo>
                    <a:pt x="1457816" y="1340098"/>
                  </a:lnTo>
                  <a:lnTo>
                    <a:pt x="1458085" y="1334614"/>
                  </a:lnTo>
                  <a:lnTo>
                    <a:pt x="1458085" y="1329097"/>
                  </a:lnTo>
                  <a:lnTo>
                    <a:pt x="1457580" y="1323883"/>
                  </a:lnTo>
                  <a:lnTo>
                    <a:pt x="1453171" y="1324758"/>
                  </a:lnTo>
                  <a:lnTo>
                    <a:pt x="1444185" y="1318400"/>
                  </a:lnTo>
                  <a:lnTo>
                    <a:pt x="1439541" y="1312311"/>
                  </a:lnTo>
                  <a:lnTo>
                    <a:pt x="1431430" y="1307669"/>
                  </a:lnTo>
                  <a:lnTo>
                    <a:pt x="1422747" y="1300134"/>
                  </a:lnTo>
                  <a:lnTo>
                    <a:pt x="1423892" y="1294348"/>
                  </a:lnTo>
                  <a:lnTo>
                    <a:pt x="1424767" y="1286812"/>
                  </a:lnTo>
                  <a:lnTo>
                    <a:pt x="1430555" y="1283919"/>
                  </a:lnTo>
                  <a:lnTo>
                    <a:pt x="1432575" y="1275812"/>
                  </a:lnTo>
                  <a:lnTo>
                    <a:pt x="1430252" y="1271742"/>
                  </a:lnTo>
                  <a:lnTo>
                    <a:pt x="1425608" y="1262188"/>
                  </a:lnTo>
                  <a:lnTo>
                    <a:pt x="1418642" y="1249439"/>
                  </a:lnTo>
                  <a:lnTo>
                    <a:pt x="1412853" y="1237261"/>
                  </a:lnTo>
                  <a:lnTo>
                    <a:pt x="1412853" y="1229154"/>
                  </a:lnTo>
                  <a:lnTo>
                    <a:pt x="1417194" y="1225958"/>
                  </a:lnTo>
                  <a:lnTo>
                    <a:pt x="1427930" y="1225958"/>
                  </a:lnTo>
                  <a:lnTo>
                    <a:pt x="1432002" y="1223503"/>
                  </a:lnTo>
                  <a:lnTo>
                    <a:pt x="1436344" y="1219600"/>
                  </a:lnTo>
                  <a:lnTo>
                    <a:pt x="1445330" y="1213814"/>
                  </a:lnTo>
                  <a:lnTo>
                    <a:pt x="1450243" y="1207154"/>
                  </a:lnTo>
                  <a:lnTo>
                    <a:pt x="1454585" y="1204833"/>
                  </a:lnTo>
                  <a:lnTo>
                    <a:pt x="1463873" y="1203958"/>
                  </a:lnTo>
                  <a:lnTo>
                    <a:pt x="1471715" y="1208600"/>
                  </a:lnTo>
                  <a:lnTo>
                    <a:pt x="1483292" y="1212065"/>
                  </a:lnTo>
                  <a:lnTo>
                    <a:pt x="1499817" y="1212065"/>
                  </a:lnTo>
                  <a:lnTo>
                    <a:pt x="1515466" y="1209609"/>
                  </a:lnTo>
                  <a:lnTo>
                    <a:pt x="1530240" y="1206582"/>
                  </a:lnTo>
                  <a:lnTo>
                    <a:pt x="1548784" y="1203117"/>
                  </a:lnTo>
                  <a:lnTo>
                    <a:pt x="1558073" y="1201671"/>
                  </a:lnTo>
                  <a:lnTo>
                    <a:pt x="1565039" y="1201671"/>
                  </a:lnTo>
                  <a:lnTo>
                    <a:pt x="1574025" y="1201671"/>
                  </a:lnTo>
                  <a:lnTo>
                    <a:pt x="1579241" y="1198912"/>
                  </a:lnTo>
                  <a:lnTo>
                    <a:pt x="1582708" y="1194404"/>
                  </a:lnTo>
                  <a:cubicBezTo>
                    <a:pt x="1582708" y="1194404"/>
                    <a:pt x="1591693" y="1194707"/>
                    <a:pt x="1592838" y="1194404"/>
                  </a:cubicBezTo>
                  <a:cubicBezTo>
                    <a:pt x="1593982" y="1194102"/>
                    <a:pt x="1600646" y="1192386"/>
                    <a:pt x="1600646" y="1192386"/>
                  </a:cubicBezTo>
                  <a:lnTo>
                    <a:pt x="1607881" y="1189762"/>
                  </a:lnTo>
                  <a:lnTo>
                    <a:pt x="1611651" y="1194404"/>
                  </a:lnTo>
                  <a:lnTo>
                    <a:pt x="1617742" y="1192958"/>
                  </a:lnTo>
                  <a:lnTo>
                    <a:pt x="1626156" y="1185994"/>
                  </a:lnTo>
                  <a:lnTo>
                    <a:pt x="1637464" y="1181352"/>
                  </a:lnTo>
                  <a:lnTo>
                    <a:pt x="1641536" y="1185994"/>
                  </a:lnTo>
                  <a:lnTo>
                    <a:pt x="1649377" y="1185994"/>
                  </a:lnTo>
                  <a:lnTo>
                    <a:pt x="1652575" y="1184413"/>
                  </a:lnTo>
                  <a:lnTo>
                    <a:pt x="1670243" y="1181655"/>
                  </a:lnTo>
                  <a:lnTo>
                    <a:pt x="1670243" y="1177147"/>
                  </a:lnTo>
                  <a:lnTo>
                    <a:pt x="1673609" y="1174422"/>
                  </a:lnTo>
                  <a:lnTo>
                    <a:pt x="1673676" y="1174422"/>
                  </a:lnTo>
                  <a:cubicBezTo>
                    <a:pt x="1673541" y="1173951"/>
                    <a:pt x="1673575" y="1173514"/>
                    <a:pt x="1673575" y="1173514"/>
                  </a:cubicBez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47" name="Freeform 913">
              <a:extLst>
                <a:ext uri="{FF2B5EF4-FFF2-40B4-BE49-F238E27FC236}">
                  <a16:creationId xmlns:a16="http://schemas.microsoft.com/office/drawing/2014/main" id="{3E5CD3B1-DAD2-D549-16EC-AE7E0CB30206}"/>
                </a:ext>
              </a:extLst>
            </p:cNvPr>
            <p:cNvSpPr/>
            <p:nvPr/>
          </p:nvSpPr>
          <p:spPr>
            <a:xfrm>
              <a:off x="7669701" y="3706583"/>
              <a:ext cx="138026" cy="112855"/>
            </a:xfrm>
            <a:custGeom>
              <a:avLst/>
              <a:gdLst>
                <a:gd name="connsiteX0" fmla="*/ 1245 w 264996"/>
                <a:gd name="connsiteY0" fmla="*/ 99943 h 216669"/>
                <a:gd name="connsiteX1" fmla="*/ 0 w 264996"/>
                <a:gd name="connsiteY1" fmla="*/ 97723 h 216669"/>
                <a:gd name="connsiteX2" fmla="*/ 976 w 264996"/>
                <a:gd name="connsiteY2" fmla="*/ 95335 h 216669"/>
                <a:gd name="connsiteX3" fmla="*/ 1851 w 264996"/>
                <a:gd name="connsiteY3" fmla="*/ 91802 h 216669"/>
                <a:gd name="connsiteX4" fmla="*/ 2894 w 264996"/>
                <a:gd name="connsiteY4" fmla="*/ 88741 h 216669"/>
                <a:gd name="connsiteX5" fmla="*/ 6394 w 264996"/>
                <a:gd name="connsiteY5" fmla="*/ 87059 h 216669"/>
                <a:gd name="connsiteX6" fmla="*/ 9726 w 264996"/>
                <a:gd name="connsiteY6" fmla="*/ 85074 h 216669"/>
                <a:gd name="connsiteX7" fmla="*/ 13798 w 264996"/>
                <a:gd name="connsiteY7" fmla="*/ 81778 h 216669"/>
                <a:gd name="connsiteX8" fmla="*/ 20159 w 264996"/>
                <a:gd name="connsiteY8" fmla="*/ 79457 h 216669"/>
                <a:gd name="connsiteX9" fmla="*/ 27395 w 264996"/>
                <a:gd name="connsiteY9" fmla="*/ 74377 h 216669"/>
                <a:gd name="connsiteX10" fmla="*/ 36078 w 264996"/>
                <a:gd name="connsiteY10" fmla="*/ 69298 h 216669"/>
                <a:gd name="connsiteX11" fmla="*/ 40722 w 264996"/>
                <a:gd name="connsiteY11" fmla="*/ 63781 h 216669"/>
                <a:gd name="connsiteX12" fmla="*/ 49136 w 264996"/>
                <a:gd name="connsiteY12" fmla="*/ 58701 h 216669"/>
                <a:gd name="connsiteX13" fmla="*/ 57987 w 264996"/>
                <a:gd name="connsiteY13" fmla="*/ 52478 h 216669"/>
                <a:gd name="connsiteX14" fmla="*/ 65088 w 264996"/>
                <a:gd name="connsiteY14" fmla="*/ 46691 h 216669"/>
                <a:gd name="connsiteX15" fmla="*/ 70170 w 264996"/>
                <a:gd name="connsiteY15" fmla="*/ 45682 h 216669"/>
                <a:gd name="connsiteX16" fmla="*/ 70372 w 264996"/>
                <a:gd name="connsiteY16" fmla="*/ 44438 h 216669"/>
                <a:gd name="connsiteX17" fmla="*/ 72425 w 264996"/>
                <a:gd name="connsiteY17" fmla="*/ 42520 h 216669"/>
                <a:gd name="connsiteX18" fmla="*/ 72088 w 264996"/>
                <a:gd name="connsiteY18" fmla="*/ 41275 h 216669"/>
                <a:gd name="connsiteX19" fmla="*/ 70910 w 264996"/>
                <a:gd name="connsiteY19" fmla="*/ 40300 h 216669"/>
                <a:gd name="connsiteX20" fmla="*/ 69261 w 264996"/>
                <a:gd name="connsiteY20" fmla="*/ 40300 h 216669"/>
                <a:gd name="connsiteX21" fmla="*/ 67747 w 264996"/>
                <a:gd name="connsiteY21" fmla="*/ 40603 h 216669"/>
                <a:gd name="connsiteX22" fmla="*/ 65660 w 264996"/>
                <a:gd name="connsiteY22" fmla="*/ 40637 h 216669"/>
                <a:gd name="connsiteX23" fmla="*/ 63607 w 264996"/>
                <a:gd name="connsiteY23" fmla="*/ 40670 h 216669"/>
                <a:gd name="connsiteX24" fmla="*/ 60208 w 264996"/>
                <a:gd name="connsiteY24" fmla="*/ 40468 h 216669"/>
                <a:gd name="connsiteX25" fmla="*/ 58963 w 264996"/>
                <a:gd name="connsiteY25" fmla="*/ 39493 h 216669"/>
                <a:gd name="connsiteX26" fmla="*/ 59131 w 264996"/>
                <a:gd name="connsiteY26" fmla="*/ 39156 h 216669"/>
                <a:gd name="connsiteX27" fmla="*/ 60141 w 264996"/>
                <a:gd name="connsiteY27" fmla="*/ 38349 h 216669"/>
                <a:gd name="connsiteX28" fmla="*/ 61924 w 264996"/>
                <a:gd name="connsiteY28" fmla="*/ 35591 h 216669"/>
                <a:gd name="connsiteX29" fmla="*/ 64448 w 264996"/>
                <a:gd name="connsiteY29" fmla="*/ 32698 h 216669"/>
                <a:gd name="connsiteX30" fmla="*/ 67208 w 264996"/>
                <a:gd name="connsiteY30" fmla="*/ 29872 h 216669"/>
                <a:gd name="connsiteX31" fmla="*/ 69732 w 264996"/>
                <a:gd name="connsiteY31" fmla="*/ 27214 h 216669"/>
                <a:gd name="connsiteX32" fmla="*/ 72997 w 264996"/>
                <a:gd name="connsiteY32" fmla="*/ 24658 h 216669"/>
                <a:gd name="connsiteX33" fmla="*/ 72728 w 264996"/>
                <a:gd name="connsiteY33" fmla="*/ 24658 h 216669"/>
                <a:gd name="connsiteX34" fmla="*/ 75689 w 264996"/>
                <a:gd name="connsiteY34" fmla="*/ 24658 h 216669"/>
                <a:gd name="connsiteX35" fmla="*/ 77641 w 264996"/>
                <a:gd name="connsiteY35" fmla="*/ 24590 h 216669"/>
                <a:gd name="connsiteX36" fmla="*/ 80401 w 264996"/>
                <a:gd name="connsiteY36" fmla="*/ 24456 h 216669"/>
                <a:gd name="connsiteX37" fmla="*/ 83295 w 264996"/>
                <a:gd name="connsiteY37" fmla="*/ 24658 h 216669"/>
                <a:gd name="connsiteX38" fmla="*/ 86627 w 264996"/>
                <a:gd name="connsiteY38" fmla="*/ 24658 h 216669"/>
                <a:gd name="connsiteX39" fmla="*/ 89151 w 264996"/>
                <a:gd name="connsiteY39" fmla="*/ 26912 h 216669"/>
                <a:gd name="connsiteX40" fmla="*/ 90598 w 264996"/>
                <a:gd name="connsiteY40" fmla="*/ 27685 h 216669"/>
                <a:gd name="connsiteX41" fmla="*/ 92920 w 264996"/>
                <a:gd name="connsiteY41" fmla="*/ 28055 h 216669"/>
                <a:gd name="connsiteX42" fmla="*/ 95680 w 264996"/>
                <a:gd name="connsiteY42" fmla="*/ 28291 h 216669"/>
                <a:gd name="connsiteX43" fmla="*/ 99954 w 264996"/>
                <a:gd name="connsiteY43" fmla="*/ 29165 h 216669"/>
                <a:gd name="connsiteX44" fmla="*/ 101267 w 264996"/>
                <a:gd name="connsiteY44" fmla="*/ 29300 h 216669"/>
                <a:gd name="connsiteX45" fmla="*/ 103387 w 264996"/>
                <a:gd name="connsiteY45" fmla="*/ 28930 h 216669"/>
                <a:gd name="connsiteX46" fmla="*/ 103959 w 264996"/>
                <a:gd name="connsiteY46" fmla="*/ 28055 h 216669"/>
                <a:gd name="connsiteX47" fmla="*/ 102949 w 264996"/>
                <a:gd name="connsiteY47" fmla="*/ 26609 h 216669"/>
                <a:gd name="connsiteX48" fmla="*/ 100762 w 264996"/>
                <a:gd name="connsiteY48" fmla="*/ 24792 h 216669"/>
                <a:gd name="connsiteX49" fmla="*/ 101435 w 264996"/>
                <a:gd name="connsiteY49" fmla="*/ 23346 h 216669"/>
                <a:gd name="connsiteX50" fmla="*/ 101704 w 264996"/>
                <a:gd name="connsiteY50" fmla="*/ 21731 h 216669"/>
                <a:gd name="connsiteX51" fmla="*/ 102276 w 264996"/>
                <a:gd name="connsiteY51" fmla="*/ 20587 h 216669"/>
                <a:gd name="connsiteX52" fmla="*/ 103151 w 264996"/>
                <a:gd name="connsiteY52" fmla="*/ 19780 h 216669"/>
                <a:gd name="connsiteX53" fmla="*/ 104228 w 264996"/>
                <a:gd name="connsiteY53" fmla="*/ 17156 h 216669"/>
                <a:gd name="connsiteX54" fmla="*/ 104767 w 264996"/>
                <a:gd name="connsiteY54" fmla="*/ 15339 h 216669"/>
                <a:gd name="connsiteX55" fmla="*/ 107089 w 264996"/>
                <a:gd name="connsiteY55" fmla="*/ 14128 h 216669"/>
                <a:gd name="connsiteX56" fmla="*/ 110791 w 264996"/>
                <a:gd name="connsiteY56" fmla="*/ 14128 h 216669"/>
                <a:gd name="connsiteX57" fmla="*/ 116445 w 264996"/>
                <a:gd name="connsiteY57" fmla="*/ 13556 h 216669"/>
                <a:gd name="connsiteX58" fmla="*/ 122032 w 264996"/>
                <a:gd name="connsiteY58" fmla="*/ 12043 h 216669"/>
                <a:gd name="connsiteX59" fmla="*/ 125229 w 264996"/>
                <a:gd name="connsiteY59" fmla="*/ 10731 h 216669"/>
                <a:gd name="connsiteX60" fmla="*/ 130142 w 264996"/>
                <a:gd name="connsiteY60" fmla="*/ 10731 h 216669"/>
                <a:gd name="connsiteX61" fmla="*/ 133272 w 264996"/>
                <a:gd name="connsiteY61" fmla="*/ 12244 h 216669"/>
                <a:gd name="connsiteX62" fmla="*/ 136469 w 264996"/>
                <a:gd name="connsiteY62" fmla="*/ 14936 h 216669"/>
                <a:gd name="connsiteX63" fmla="*/ 138354 w 264996"/>
                <a:gd name="connsiteY63" fmla="*/ 17190 h 216669"/>
                <a:gd name="connsiteX64" fmla="*/ 141820 w 264996"/>
                <a:gd name="connsiteY64" fmla="*/ 18434 h 216669"/>
                <a:gd name="connsiteX65" fmla="*/ 143840 w 264996"/>
                <a:gd name="connsiteY65" fmla="*/ 18064 h 216669"/>
                <a:gd name="connsiteX66" fmla="*/ 145724 w 264996"/>
                <a:gd name="connsiteY66" fmla="*/ 17761 h 216669"/>
                <a:gd name="connsiteX67" fmla="*/ 146868 w 264996"/>
                <a:gd name="connsiteY67" fmla="*/ 17930 h 216669"/>
                <a:gd name="connsiteX68" fmla="*/ 149628 w 264996"/>
                <a:gd name="connsiteY68" fmla="*/ 19410 h 216669"/>
                <a:gd name="connsiteX69" fmla="*/ 151008 w 264996"/>
                <a:gd name="connsiteY69" fmla="*/ 19410 h 216669"/>
                <a:gd name="connsiteX70" fmla="*/ 155417 w 264996"/>
                <a:gd name="connsiteY70" fmla="*/ 19040 h 216669"/>
                <a:gd name="connsiteX71" fmla="*/ 157234 w 264996"/>
                <a:gd name="connsiteY71" fmla="*/ 17795 h 216669"/>
                <a:gd name="connsiteX72" fmla="*/ 157604 w 264996"/>
                <a:gd name="connsiteY72" fmla="*/ 15608 h 216669"/>
                <a:gd name="connsiteX73" fmla="*/ 157604 w 264996"/>
                <a:gd name="connsiteY73" fmla="*/ 14229 h 216669"/>
                <a:gd name="connsiteX74" fmla="*/ 155787 w 264996"/>
                <a:gd name="connsiteY74" fmla="*/ 12312 h 216669"/>
                <a:gd name="connsiteX75" fmla="*/ 155619 w 264996"/>
                <a:gd name="connsiteY75" fmla="*/ 8713 h 216669"/>
                <a:gd name="connsiteX76" fmla="*/ 157638 w 264996"/>
                <a:gd name="connsiteY76" fmla="*/ 5887 h 216669"/>
                <a:gd name="connsiteX77" fmla="*/ 160532 w 264996"/>
                <a:gd name="connsiteY77" fmla="*/ 3700 h 216669"/>
                <a:gd name="connsiteX78" fmla="*/ 164941 w 264996"/>
                <a:gd name="connsiteY78" fmla="*/ 3700 h 216669"/>
                <a:gd name="connsiteX79" fmla="*/ 170158 w 264996"/>
                <a:gd name="connsiteY79" fmla="*/ 4440 h 216669"/>
                <a:gd name="connsiteX80" fmla="*/ 173859 w 264996"/>
                <a:gd name="connsiteY80" fmla="*/ 4676 h 216669"/>
                <a:gd name="connsiteX81" fmla="*/ 176855 w 264996"/>
                <a:gd name="connsiteY81" fmla="*/ 4777 h 216669"/>
                <a:gd name="connsiteX82" fmla="*/ 184797 w 264996"/>
                <a:gd name="connsiteY82" fmla="*/ 4508 h 216669"/>
                <a:gd name="connsiteX83" fmla="*/ 191461 w 264996"/>
                <a:gd name="connsiteY83" fmla="*/ 2489 h 216669"/>
                <a:gd name="connsiteX84" fmla="*/ 193480 w 264996"/>
                <a:gd name="connsiteY84" fmla="*/ 2489 h 216669"/>
                <a:gd name="connsiteX85" fmla="*/ 196745 w 264996"/>
                <a:gd name="connsiteY85" fmla="*/ 3599 h 216669"/>
                <a:gd name="connsiteX86" fmla="*/ 200379 w 264996"/>
                <a:gd name="connsiteY86" fmla="*/ 6862 h 216669"/>
                <a:gd name="connsiteX87" fmla="*/ 203274 w 264996"/>
                <a:gd name="connsiteY87" fmla="*/ 9251 h 216669"/>
                <a:gd name="connsiteX88" fmla="*/ 206168 w 264996"/>
                <a:gd name="connsiteY88" fmla="*/ 11437 h 216669"/>
                <a:gd name="connsiteX89" fmla="*/ 208692 w 264996"/>
                <a:gd name="connsiteY89" fmla="*/ 11370 h 216669"/>
                <a:gd name="connsiteX90" fmla="*/ 212394 w 264996"/>
                <a:gd name="connsiteY90" fmla="*/ 9991 h 216669"/>
                <a:gd name="connsiteX91" fmla="*/ 213909 w 264996"/>
                <a:gd name="connsiteY91" fmla="*/ 7031 h 216669"/>
                <a:gd name="connsiteX92" fmla="*/ 214716 w 264996"/>
                <a:gd name="connsiteY92" fmla="*/ 5147 h 216669"/>
                <a:gd name="connsiteX93" fmla="*/ 216096 w 264996"/>
                <a:gd name="connsiteY93" fmla="*/ 3532 h 216669"/>
                <a:gd name="connsiteX94" fmla="*/ 217173 w 264996"/>
                <a:gd name="connsiteY94" fmla="*/ 1951 h 216669"/>
                <a:gd name="connsiteX95" fmla="*/ 218553 w 264996"/>
                <a:gd name="connsiteY95" fmla="*/ 1312 h 216669"/>
                <a:gd name="connsiteX96" fmla="*/ 219933 w 264996"/>
                <a:gd name="connsiteY96" fmla="*/ 572 h 216669"/>
                <a:gd name="connsiteX97" fmla="*/ 223264 w 264996"/>
                <a:gd name="connsiteY97" fmla="*/ 0 h 216669"/>
                <a:gd name="connsiteX98" fmla="*/ 225216 w 264996"/>
                <a:gd name="connsiteY98" fmla="*/ 673 h 216669"/>
                <a:gd name="connsiteX99" fmla="*/ 227740 w 264996"/>
                <a:gd name="connsiteY99" fmla="*/ 2254 h 216669"/>
                <a:gd name="connsiteX100" fmla="*/ 231510 w 264996"/>
                <a:gd name="connsiteY100" fmla="*/ 5012 h 216669"/>
                <a:gd name="connsiteX101" fmla="*/ 235346 w 264996"/>
                <a:gd name="connsiteY101" fmla="*/ 7199 h 216669"/>
                <a:gd name="connsiteX102" fmla="*/ 238409 w 264996"/>
                <a:gd name="connsiteY102" fmla="*/ 10966 h 216669"/>
                <a:gd name="connsiteX103" fmla="*/ 250794 w 264996"/>
                <a:gd name="connsiteY103" fmla="*/ 17257 h 216669"/>
                <a:gd name="connsiteX104" fmla="*/ 254429 w 264996"/>
                <a:gd name="connsiteY104" fmla="*/ 19006 h 216669"/>
                <a:gd name="connsiteX105" fmla="*/ 258265 w 264996"/>
                <a:gd name="connsiteY105" fmla="*/ 22976 h 216669"/>
                <a:gd name="connsiteX106" fmla="*/ 260150 w 264996"/>
                <a:gd name="connsiteY106" fmla="*/ 25364 h 216669"/>
                <a:gd name="connsiteX107" fmla="*/ 261462 w 264996"/>
                <a:gd name="connsiteY107" fmla="*/ 28324 h 216669"/>
                <a:gd name="connsiteX108" fmla="*/ 261462 w 264996"/>
                <a:gd name="connsiteY108" fmla="*/ 32462 h 216669"/>
                <a:gd name="connsiteX109" fmla="*/ 260756 w 264996"/>
                <a:gd name="connsiteY109" fmla="*/ 34851 h 216669"/>
                <a:gd name="connsiteX110" fmla="*/ 260890 w 264996"/>
                <a:gd name="connsiteY110" fmla="*/ 36734 h 216669"/>
                <a:gd name="connsiteX111" fmla="*/ 262573 w 264996"/>
                <a:gd name="connsiteY111" fmla="*/ 40569 h 216669"/>
                <a:gd name="connsiteX112" fmla="*/ 264828 w 264996"/>
                <a:gd name="connsiteY112" fmla="*/ 43092 h 216669"/>
                <a:gd name="connsiteX113" fmla="*/ 264996 w 264996"/>
                <a:gd name="connsiteY113" fmla="*/ 45279 h 216669"/>
                <a:gd name="connsiteX114" fmla="*/ 264962 w 264996"/>
                <a:gd name="connsiteY114" fmla="*/ 46927 h 216669"/>
                <a:gd name="connsiteX115" fmla="*/ 264962 w 264996"/>
                <a:gd name="connsiteY115" fmla="*/ 49820 h 216669"/>
                <a:gd name="connsiteX116" fmla="*/ 264458 w 264996"/>
                <a:gd name="connsiteY116" fmla="*/ 52578 h 216669"/>
                <a:gd name="connsiteX117" fmla="*/ 261059 w 264996"/>
                <a:gd name="connsiteY117" fmla="*/ 55976 h 216669"/>
                <a:gd name="connsiteX118" fmla="*/ 256481 w 264996"/>
                <a:gd name="connsiteY118" fmla="*/ 58802 h 216669"/>
                <a:gd name="connsiteX119" fmla="*/ 256347 w 264996"/>
                <a:gd name="connsiteY119" fmla="*/ 62502 h 216669"/>
                <a:gd name="connsiteX120" fmla="*/ 253520 w 264996"/>
                <a:gd name="connsiteY120" fmla="*/ 64218 h 216669"/>
                <a:gd name="connsiteX121" fmla="*/ 251837 w 264996"/>
                <a:gd name="connsiteY121" fmla="*/ 64622 h 216669"/>
                <a:gd name="connsiteX122" fmla="*/ 250154 w 264996"/>
                <a:gd name="connsiteY122" fmla="*/ 64622 h 216669"/>
                <a:gd name="connsiteX123" fmla="*/ 248943 w 264996"/>
                <a:gd name="connsiteY123" fmla="*/ 63545 h 216669"/>
                <a:gd name="connsiteX124" fmla="*/ 248573 w 264996"/>
                <a:gd name="connsiteY124" fmla="*/ 61359 h 216669"/>
                <a:gd name="connsiteX125" fmla="*/ 249078 w 264996"/>
                <a:gd name="connsiteY125" fmla="*/ 60114 h 216669"/>
                <a:gd name="connsiteX126" fmla="*/ 250323 w 264996"/>
                <a:gd name="connsiteY126" fmla="*/ 57793 h 216669"/>
                <a:gd name="connsiteX127" fmla="*/ 250996 w 264996"/>
                <a:gd name="connsiteY127" fmla="*/ 56985 h 216669"/>
                <a:gd name="connsiteX128" fmla="*/ 251299 w 264996"/>
                <a:gd name="connsiteY128" fmla="*/ 54530 h 216669"/>
                <a:gd name="connsiteX129" fmla="*/ 250929 w 264996"/>
                <a:gd name="connsiteY129" fmla="*/ 53722 h 216669"/>
                <a:gd name="connsiteX130" fmla="*/ 247361 w 264996"/>
                <a:gd name="connsiteY130" fmla="*/ 51771 h 216669"/>
                <a:gd name="connsiteX131" fmla="*/ 243827 w 264996"/>
                <a:gd name="connsiteY131" fmla="*/ 53520 h 216669"/>
                <a:gd name="connsiteX132" fmla="*/ 241741 w 264996"/>
                <a:gd name="connsiteY132" fmla="*/ 55909 h 216669"/>
                <a:gd name="connsiteX133" fmla="*/ 239553 w 264996"/>
                <a:gd name="connsiteY133" fmla="*/ 58297 h 216669"/>
                <a:gd name="connsiteX134" fmla="*/ 239991 w 264996"/>
                <a:gd name="connsiteY134" fmla="*/ 60820 h 216669"/>
                <a:gd name="connsiteX135" fmla="*/ 241572 w 264996"/>
                <a:gd name="connsiteY135" fmla="*/ 62401 h 216669"/>
                <a:gd name="connsiteX136" fmla="*/ 243154 w 264996"/>
                <a:gd name="connsiteY136" fmla="*/ 64857 h 216669"/>
                <a:gd name="connsiteX137" fmla="*/ 243659 w 264996"/>
                <a:gd name="connsiteY137" fmla="*/ 66169 h 216669"/>
                <a:gd name="connsiteX138" fmla="*/ 243356 w 264996"/>
                <a:gd name="connsiteY138" fmla="*/ 68423 h 216669"/>
                <a:gd name="connsiteX139" fmla="*/ 241909 w 264996"/>
                <a:gd name="connsiteY139" fmla="*/ 70542 h 216669"/>
                <a:gd name="connsiteX140" fmla="*/ 240294 w 264996"/>
                <a:gd name="connsiteY140" fmla="*/ 71988 h 216669"/>
                <a:gd name="connsiteX141" fmla="*/ 238712 w 264996"/>
                <a:gd name="connsiteY141" fmla="*/ 72998 h 216669"/>
                <a:gd name="connsiteX142" fmla="*/ 235010 w 264996"/>
                <a:gd name="connsiteY142" fmla="*/ 75083 h 216669"/>
                <a:gd name="connsiteX143" fmla="*/ 233327 w 264996"/>
                <a:gd name="connsiteY143" fmla="*/ 77909 h 216669"/>
                <a:gd name="connsiteX144" fmla="*/ 231072 w 264996"/>
                <a:gd name="connsiteY144" fmla="*/ 80668 h 216669"/>
                <a:gd name="connsiteX145" fmla="*/ 228548 w 264996"/>
                <a:gd name="connsiteY145" fmla="*/ 83628 h 216669"/>
                <a:gd name="connsiteX146" fmla="*/ 226967 w 264996"/>
                <a:gd name="connsiteY146" fmla="*/ 88102 h 216669"/>
                <a:gd name="connsiteX147" fmla="*/ 226091 w 264996"/>
                <a:gd name="connsiteY147" fmla="*/ 92442 h 216669"/>
                <a:gd name="connsiteX148" fmla="*/ 224005 w 264996"/>
                <a:gd name="connsiteY148" fmla="*/ 96949 h 216669"/>
                <a:gd name="connsiteX149" fmla="*/ 221245 w 264996"/>
                <a:gd name="connsiteY149" fmla="*/ 102668 h 216669"/>
                <a:gd name="connsiteX150" fmla="*/ 220101 w 264996"/>
                <a:gd name="connsiteY150" fmla="*/ 105427 h 216669"/>
                <a:gd name="connsiteX151" fmla="*/ 217207 w 264996"/>
                <a:gd name="connsiteY151" fmla="*/ 108555 h 216669"/>
                <a:gd name="connsiteX152" fmla="*/ 214178 w 264996"/>
                <a:gd name="connsiteY152" fmla="*/ 109867 h 216669"/>
                <a:gd name="connsiteX153" fmla="*/ 212293 w 264996"/>
                <a:gd name="connsiteY153" fmla="*/ 111751 h 216669"/>
                <a:gd name="connsiteX154" fmla="*/ 211418 w 264996"/>
                <a:gd name="connsiteY154" fmla="*/ 113702 h 216669"/>
                <a:gd name="connsiteX155" fmla="*/ 211048 w 264996"/>
                <a:gd name="connsiteY155" fmla="*/ 118916 h 216669"/>
                <a:gd name="connsiteX156" fmla="*/ 211620 w 264996"/>
                <a:gd name="connsiteY156" fmla="*/ 129210 h 216669"/>
                <a:gd name="connsiteX157" fmla="*/ 210038 w 264996"/>
                <a:gd name="connsiteY157" fmla="*/ 133179 h 216669"/>
                <a:gd name="connsiteX158" fmla="*/ 206269 w 264996"/>
                <a:gd name="connsiteY158" fmla="*/ 137216 h 216669"/>
                <a:gd name="connsiteX159" fmla="*/ 204620 w 264996"/>
                <a:gd name="connsiteY159" fmla="*/ 141387 h 216669"/>
                <a:gd name="connsiteX160" fmla="*/ 204519 w 264996"/>
                <a:gd name="connsiteY160" fmla="*/ 144045 h 216669"/>
                <a:gd name="connsiteX161" fmla="*/ 206437 w 264996"/>
                <a:gd name="connsiteY161" fmla="*/ 146231 h 216669"/>
                <a:gd name="connsiteX162" fmla="*/ 209096 w 264996"/>
                <a:gd name="connsiteY162" fmla="*/ 148283 h 216669"/>
                <a:gd name="connsiteX163" fmla="*/ 210577 w 264996"/>
                <a:gd name="connsiteY163" fmla="*/ 150470 h 216669"/>
                <a:gd name="connsiteX164" fmla="*/ 209163 w 264996"/>
                <a:gd name="connsiteY164" fmla="*/ 155852 h 216669"/>
                <a:gd name="connsiteX165" fmla="*/ 206269 w 264996"/>
                <a:gd name="connsiteY165" fmla="*/ 158073 h 216669"/>
                <a:gd name="connsiteX166" fmla="*/ 202096 w 264996"/>
                <a:gd name="connsiteY166" fmla="*/ 158409 h 216669"/>
                <a:gd name="connsiteX167" fmla="*/ 196442 w 264996"/>
                <a:gd name="connsiteY167" fmla="*/ 159048 h 216669"/>
                <a:gd name="connsiteX168" fmla="*/ 190990 w 264996"/>
                <a:gd name="connsiteY168" fmla="*/ 160562 h 216669"/>
                <a:gd name="connsiteX169" fmla="*/ 184797 w 264996"/>
                <a:gd name="connsiteY169" fmla="*/ 162345 h 216669"/>
                <a:gd name="connsiteX170" fmla="*/ 181095 w 264996"/>
                <a:gd name="connsiteY170" fmla="*/ 164464 h 216669"/>
                <a:gd name="connsiteX171" fmla="*/ 177562 w 264996"/>
                <a:gd name="connsiteY171" fmla="*/ 167996 h 216669"/>
                <a:gd name="connsiteX172" fmla="*/ 172850 w 264996"/>
                <a:gd name="connsiteY172" fmla="*/ 170822 h 216669"/>
                <a:gd name="connsiteX173" fmla="*/ 171874 w 264996"/>
                <a:gd name="connsiteY173" fmla="*/ 172739 h 216669"/>
                <a:gd name="connsiteX174" fmla="*/ 170662 w 264996"/>
                <a:gd name="connsiteY174" fmla="*/ 174758 h 216669"/>
                <a:gd name="connsiteX175" fmla="*/ 167903 w 264996"/>
                <a:gd name="connsiteY175" fmla="*/ 179871 h 216669"/>
                <a:gd name="connsiteX176" fmla="*/ 166287 w 264996"/>
                <a:gd name="connsiteY176" fmla="*/ 183033 h 216669"/>
                <a:gd name="connsiteX177" fmla="*/ 164773 w 264996"/>
                <a:gd name="connsiteY177" fmla="*/ 185051 h 216669"/>
                <a:gd name="connsiteX178" fmla="*/ 163797 w 264996"/>
                <a:gd name="connsiteY178" fmla="*/ 187104 h 216669"/>
                <a:gd name="connsiteX179" fmla="*/ 160734 w 264996"/>
                <a:gd name="connsiteY179" fmla="*/ 190804 h 216669"/>
                <a:gd name="connsiteX180" fmla="*/ 159691 w 264996"/>
                <a:gd name="connsiteY180" fmla="*/ 193091 h 216669"/>
                <a:gd name="connsiteX181" fmla="*/ 158378 w 264996"/>
                <a:gd name="connsiteY181" fmla="*/ 194134 h 216669"/>
                <a:gd name="connsiteX182" fmla="*/ 154912 w 264996"/>
                <a:gd name="connsiteY182" fmla="*/ 195009 h 216669"/>
                <a:gd name="connsiteX183" fmla="*/ 152792 w 264996"/>
                <a:gd name="connsiteY183" fmla="*/ 195009 h 216669"/>
                <a:gd name="connsiteX184" fmla="*/ 150503 w 264996"/>
                <a:gd name="connsiteY184" fmla="*/ 194235 h 216669"/>
                <a:gd name="connsiteX185" fmla="*/ 150167 w 264996"/>
                <a:gd name="connsiteY185" fmla="*/ 193091 h 216669"/>
                <a:gd name="connsiteX186" fmla="*/ 150167 w 264996"/>
                <a:gd name="connsiteY186" fmla="*/ 190636 h 216669"/>
                <a:gd name="connsiteX187" fmla="*/ 151479 w 264996"/>
                <a:gd name="connsiteY187" fmla="*/ 189290 h 216669"/>
                <a:gd name="connsiteX188" fmla="*/ 152455 w 264996"/>
                <a:gd name="connsiteY188" fmla="*/ 187978 h 216669"/>
                <a:gd name="connsiteX189" fmla="*/ 153869 w 264996"/>
                <a:gd name="connsiteY189" fmla="*/ 186464 h 216669"/>
                <a:gd name="connsiteX190" fmla="*/ 154845 w 264996"/>
                <a:gd name="connsiteY190" fmla="*/ 184278 h 216669"/>
                <a:gd name="connsiteX191" fmla="*/ 154138 w 264996"/>
                <a:gd name="connsiteY191" fmla="*/ 182697 h 216669"/>
                <a:gd name="connsiteX192" fmla="*/ 153364 w 264996"/>
                <a:gd name="connsiteY192" fmla="*/ 182327 h 216669"/>
                <a:gd name="connsiteX193" fmla="*/ 152051 w 264996"/>
                <a:gd name="connsiteY193" fmla="*/ 182360 h 216669"/>
                <a:gd name="connsiteX194" fmla="*/ 150638 w 264996"/>
                <a:gd name="connsiteY194" fmla="*/ 183134 h 216669"/>
                <a:gd name="connsiteX195" fmla="*/ 148450 w 264996"/>
                <a:gd name="connsiteY195" fmla="*/ 185691 h 216669"/>
                <a:gd name="connsiteX196" fmla="*/ 146498 w 264996"/>
                <a:gd name="connsiteY196" fmla="*/ 187810 h 216669"/>
                <a:gd name="connsiteX197" fmla="*/ 145354 w 264996"/>
                <a:gd name="connsiteY197" fmla="*/ 189896 h 216669"/>
                <a:gd name="connsiteX198" fmla="*/ 140239 w 264996"/>
                <a:gd name="connsiteY198" fmla="*/ 191073 h 216669"/>
                <a:gd name="connsiteX199" fmla="*/ 136166 w 264996"/>
                <a:gd name="connsiteY199" fmla="*/ 192654 h 216669"/>
                <a:gd name="connsiteX200" fmla="*/ 130613 w 264996"/>
                <a:gd name="connsiteY200" fmla="*/ 192688 h 216669"/>
                <a:gd name="connsiteX201" fmla="*/ 126474 w 264996"/>
                <a:gd name="connsiteY201" fmla="*/ 192755 h 216669"/>
                <a:gd name="connsiteX202" fmla="*/ 123983 w 264996"/>
                <a:gd name="connsiteY202" fmla="*/ 194975 h 216669"/>
                <a:gd name="connsiteX203" fmla="*/ 120450 w 264996"/>
                <a:gd name="connsiteY203" fmla="*/ 198238 h 216669"/>
                <a:gd name="connsiteX204" fmla="*/ 116546 w 264996"/>
                <a:gd name="connsiteY204" fmla="*/ 201400 h 216669"/>
                <a:gd name="connsiteX205" fmla="*/ 116882 w 264996"/>
                <a:gd name="connsiteY205" fmla="*/ 205403 h 216669"/>
                <a:gd name="connsiteX206" fmla="*/ 115974 w 264996"/>
                <a:gd name="connsiteY206" fmla="*/ 207085 h 216669"/>
                <a:gd name="connsiteX207" fmla="*/ 113248 w 264996"/>
                <a:gd name="connsiteY207" fmla="*/ 208397 h 216669"/>
                <a:gd name="connsiteX208" fmla="*/ 110623 w 264996"/>
                <a:gd name="connsiteY208" fmla="*/ 208734 h 216669"/>
                <a:gd name="connsiteX209" fmla="*/ 108570 w 264996"/>
                <a:gd name="connsiteY209" fmla="*/ 209104 h 216669"/>
                <a:gd name="connsiteX210" fmla="*/ 108031 w 264996"/>
                <a:gd name="connsiteY210" fmla="*/ 209978 h 216669"/>
                <a:gd name="connsiteX211" fmla="*/ 107425 w 264996"/>
                <a:gd name="connsiteY211" fmla="*/ 211324 h 216669"/>
                <a:gd name="connsiteX212" fmla="*/ 106651 w 264996"/>
                <a:gd name="connsiteY212" fmla="*/ 212636 h 216669"/>
                <a:gd name="connsiteX213" fmla="*/ 105978 w 264996"/>
                <a:gd name="connsiteY213" fmla="*/ 214419 h 216669"/>
                <a:gd name="connsiteX214" fmla="*/ 105372 w 264996"/>
                <a:gd name="connsiteY214" fmla="*/ 215495 h 216669"/>
                <a:gd name="connsiteX215" fmla="*/ 103723 w 264996"/>
                <a:gd name="connsiteY215" fmla="*/ 216639 h 216669"/>
                <a:gd name="connsiteX216" fmla="*/ 101603 w 264996"/>
                <a:gd name="connsiteY216" fmla="*/ 216639 h 216669"/>
                <a:gd name="connsiteX217" fmla="*/ 99584 w 264996"/>
                <a:gd name="connsiteY217" fmla="*/ 216404 h 216669"/>
                <a:gd name="connsiteX218" fmla="*/ 97396 w 264996"/>
                <a:gd name="connsiteY218" fmla="*/ 215159 h 216669"/>
                <a:gd name="connsiteX219" fmla="*/ 94738 w 264996"/>
                <a:gd name="connsiteY219" fmla="*/ 213847 h 216669"/>
                <a:gd name="connsiteX220" fmla="*/ 93492 w 264996"/>
                <a:gd name="connsiteY220" fmla="*/ 212972 h 216669"/>
                <a:gd name="connsiteX221" fmla="*/ 91372 w 264996"/>
                <a:gd name="connsiteY221" fmla="*/ 210046 h 216669"/>
                <a:gd name="connsiteX222" fmla="*/ 88915 w 264996"/>
                <a:gd name="connsiteY222" fmla="*/ 207926 h 216669"/>
                <a:gd name="connsiteX223" fmla="*/ 85314 w 264996"/>
                <a:gd name="connsiteY223" fmla="*/ 207052 h 216669"/>
                <a:gd name="connsiteX224" fmla="*/ 82218 w 264996"/>
                <a:gd name="connsiteY224" fmla="*/ 205168 h 216669"/>
                <a:gd name="connsiteX225" fmla="*/ 77877 w 264996"/>
                <a:gd name="connsiteY225" fmla="*/ 204966 h 216669"/>
                <a:gd name="connsiteX226" fmla="*/ 74141 w 264996"/>
                <a:gd name="connsiteY226" fmla="*/ 204562 h 216669"/>
                <a:gd name="connsiteX227" fmla="*/ 70271 w 264996"/>
                <a:gd name="connsiteY227" fmla="*/ 204024 h 216669"/>
                <a:gd name="connsiteX228" fmla="*/ 66972 w 264996"/>
                <a:gd name="connsiteY228" fmla="*/ 203520 h 216669"/>
                <a:gd name="connsiteX229" fmla="*/ 60612 w 264996"/>
                <a:gd name="connsiteY229" fmla="*/ 203250 h 216669"/>
                <a:gd name="connsiteX230" fmla="*/ 58323 w 264996"/>
                <a:gd name="connsiteY230" fmla="*/ 202914 h 216669"/>
                <a:gd name="connsiteX231" fmla="*/ 55395 w 264996"/>
                <a:gd name="connsiteY231" fmla="*/ 201501 h 216669"/>
                <a:gd name="connsiteX232" fmla="*/ 54621 w 264996"/>
                <a:gd name="connsiteY232" fmla="*/ 200256 h 216669"/>
                <a:gd name="connsiteX233" fmla="*/ 51626 w 264996"/>
                <a:gd name="connsiteY233" fmla="*/ 197229 h 216669"/>
                <a:gd name="connsiteX234" fmla="*/ 49842 w 264996"/>
                <a:gd name="connsiteY234" fmla="*/ 196892 h 216669"/>
                <a:gd name="connsiteX235" fmla="*/ 43684 w 264996"/>
                <a:gd name="connsiteY235" fmla="*/ 196186 h 216669"/>
                <a:gd name="connsiteX236" fmla="*/ 41933 w 264996"/>
                <a:gd name="connsiteY236" fmla="*/ 195681 h 216669"/>
                <a:gd name="connsiteX237" fmla="*/ 38198 w 264996"/>
                <a:gd name="connsiteY237" fmla="*/ 192654 h 216669"/>
                <a:gd name="connsiteX238" fmla="*/ 33015 w 264996"/>
                <a:gd name="connsiteY238" fmla="*/ 188853 h 216669"/>
                <a:gd name="connsiteX239" fmla="*/ 27900 w 264996"/>
                <a:gd name="connsiteY239" fmla="*/ 186532 h 216669"/>
                <a:gd name="connsiteX240" fmla="*/ 24635 w 264996"/>
                <a:gd name="connsiteY240" fmla="*/ 185556 h 216669"/>
                <a:gd name="connsiteX241" fmla="*/ 18544 w 264996"/>
                <a:gd name="connsiteY241" fmla="*/ 183941 h 216669"/>
                <a:gd name="connsiteX242" fmla="*/ 15010 w 264996"/>
                <a:gd name="connsiteY242" fmla="*/ 182697 h 216669"/>
                <a:gd name="connsiteX243" fmla="*/ 12116 w 264996"/>
                <a:gd name="connsiteY243" fmla="*/ 179871 h 216669"/>
                <a:gd name="connsiteX244" fmla="*/ 10265 w 264996"/>
                <a:gd name="connsiteY244" fmla="*/ 176440 h 216669"/>
                <a:gd name="connsiteX245" fmla="*/ 9221 w 264996"/>
                <a:gd name="connsiteY245" fmla="*/ 172302 h 216669"/>
                <a:gd name="connsiteX246" fmla="*/ 8986 w 264996"/>
                <a:gd name="connsiteY246" fmla="*/ 167861 h 216669"/>
                <a:gd name="connsiteX247" fmla="*/ 8918 w 264996"/>
                <a:gd name="connsiteY247" fmla="*/ 162143 h 216669"/>
                <a:gd name="connsiteX248" fmla="*/ 8279 w 264996"/>
                <a:gd name="connsiteY248" fmla="*/ 158173 h 216669"/>
                <a:gd name="connsiteX249" fmla="*/ 4510 w 264996"/>
                <a:gd name="connsiteY249" fmla="*/ 152858 h 216669"/>
                <a:gd name="connsiteX250" fmla="*/ 3803 w 264996"/>
                <a:gd name="connsiteY250" fmla="*/ 143035 h 216669"/>
                <a:gd name="connsiteX251" fmla="*/ 3433 w 264996"/>
                <a:gd name="connsiteY251" fmla="*/ 134895 h 216669"/>
                <a:gd name="connsiteX252" fmla="*/ 4241 w 264996"/>
                <a:gd name="connsiteY252" fmla="*/ 129681 h 216669"/>
                <a:gd name="connsiteX253" fmla="*/ 4072 w 264996"/>
                <a:gd name="connsiteY253" fmla="*/ 124803 h 216669"/>
                <a:gd name="connsiteX254" fmla="*/ 3130 w 264996"/>
                <a:gd name="connsiteY254" fmla="*/ 121405 h 216669"/>
                <a:gd name="connsiteX255" fmla="*/ 1683 w 264996"/>
                <a:gd name="connsiteY255" fmla="*/ 116359 h 216669"/>
                <a:gd name="connsiteX256" fmla="*/ 1514 w 264996"/>
                <a:gd name="connsiteY256" fmla="*/ 110102 h 216669"/>
                <a:gd name="connsiteX257" fmla="*/ 1413 w 264996"/>
                <a:gd name="connsiteY257" fmla="*/ 105931 h 216669"/>
                <a:gd name="connsiteX258" fmla="*/ 1245 w 264996"/>
                <a:gd name="connsiteY258" fmla="*/ 99943 h 216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</a:cxnLst>
              <a:rect l="l" t="t" r="r" b="b"/>
              <a:pathLst>
                <a:path w="264996" h="216669">
                  <a:moveTo>
                    <a:pt x="1245" y="99943"/>
                  </a:moveTo>
                  <a:lnTo>
                    <a:pt x="0" y="97723"/>
                  </a:lnTo>
                  <a:lnTo>
                    <a:pt x="976" y="95335"/>
                  </a:lnTo>
                  <a:lnTo>
                    <a:pt x="1851" y="91802"/>
                  </a:lnTo>
                  <a:lnTo>
                    <a:pt x="2894" y="88741"/>
                  </a:lnTo>
                  <a:cubicBezTo>
                    <a:pt x="2894" y="88741"/>
                    <a:pt x="5822" y="87362"/>
                    <a:pt x="6394" y="87059"/>
                  </a:cubicBezTo>
                  <a:cubicBezTo>
                    <a:pt x="6967" y="86756"/>
                    <a:pt x="9726" y="85074"/>
                    <a:pt x="9726" y="85074"/>
                  </a:cubicBezTo>
                  <a:lnTo>
                    <a:pt x="13798" y="81778"/>
                  </a:lnTo>
                  <a:lnTo>
                    <a:pt x="20159" y="79457"/>
                  </a:lnTo>
                  <a:lnTo>
                    <a:pt x="27395" y="74377"/>
                  </a:lnTo>
                  <a:lnTo>
                    <a:pt x="36078" y="69298"/>
                  </a:lnTo>
                  <a:lnTo>
                    <a:pt x="40722" y="63781"/>
                  </a:lnTo>
                  <a:lnTo>
                    <a:pt x="49136" y="58701"/>
                  </a:lnTo>
                  <a:lnTo>
                    <a:pt x="57987" y="52478"/>
                  </a:lnTo>
                  <a:lnTo>
                    <a:pt x="65088" y="46691"/>
                  </a:lnTo>
                  <a:lnTo>
                    <a:pt x="70170" y="45682"/>
                  </a:lnTo>
                  <a:cubicBezTo>
                    <a:pt x="70170" y="45682"/>
                    <a:pt x="70271" y="44438"/>
                    <a:pt x="70372" y="44438"/>
                  </a:cubicBezTo>
                  <a:cubicBezTo>
                    <a:pt x="70473" y="44438"/>
                    <a:pt x="72425" y="42520"/>
                    <a:pt x="72425" y="42520"/>
                  </a:cubicBezTo>
                  <a:cubicBezTo>
                    <a:pt x="72425" y="42520"/>
                    <a:pt x="72223" y="41275"/>
                    <a:pt x="72088" y="41275"/>
                  </a:cubicBezTo>
                  <a:cubicBezTo>
                    <a:pt x="71954" y="41275"/>
                    <a:pt x="71112" y="40300"/>
                    <a:pt x="70910" y="40300"/>
                  </a:cubicBezTo>
                  <a:cubicBezTo>
                    <a:pt x="70675" y="40300"/>
                    <a:pt x="69261" y="40300"/>
                    <a:pt x="69261" y="40300"/>
                  </a:cubicBezTo>
                  <a:cubicBezTo>
                    <a:pt x="69261" y="40300"/>
                    <a:pt x="67881" y="40603"/>
                    <a:pt x="67747" y="40603"/>
                  </a:cubicBezTo>
                  <a:cubicBezTo>
                    <a:pt x="67612" y="40603"/>
                    <a:pt x="66199" y="40603"/>
                    <a:pt x="65660" y="40637"/>
                  </a:cubicBezTo>
                  <a:cubicBezTo>
                    <a:pt x="65155" y="40670"/>
                    <a:pt x="63809" y="40603"/>
                    <a:pt x="63607" y="40670"/>
                  </a:cubicBezTo>
                  <a:cubicBezTo>
                    <a:pt x="63405" y="40738"/>
                    <a:pt x="60208" y="40468"/>
                    <a:pt x="60208" y="40468"/>
                  </a:cubicBezTo>
                  <a:lnTo>
                    <a:pt x="58963" y="39493"/>
                  </a:lnTo>
                  <a:cubicBezTo>
                    <a:pt x="58963" y="39493"/>
                    <a:pt x="58896" y="39257"/>
                    <a:pt x="59131" y="39156"/>
                  </a:cubicBezTo>
                  <a:cubicBezTo>
                    <a:pt x="59400" y="39056"/>
                    <a:pt x="60073" y="38484"/>
                    <a:pt x="60141" y="38349"/>
                  </a:cubicBezTo>
                  <a:cubicBezTo>
                    <a:pt x="60208" y="38248"/>
                    <a:pt x="61924" y="35591"/>
                    <a:pt x="61924" y="35591"/>
                  </a:cubicBezTo>
                  <a:lnTo>
                    <a:pt x="64448" y="32698"/>
                  </a:lnTo>
                  <a:lnTo>
                    <a:pt x="67208" y="29872"/>
                  </a:lnTo>
                  <a:cubicBezTo>
                    <a:pt x="67208" y="29872"/>
                    <a:pt x="69530" y="27315"/>
                    <a:pt x="69732" y="27214"/>
                  </a:cubicBezTo>
                  <a:cubicBezTo>
                    <a:pt x="69934" y="27147"/>
                    <a:pt x="72997" y="24658"/>
                    <a:pt x="72997" y="24658"/>
                  </a:cubicBezTo>
                  <a:lnTo>
                    <a:pt x="72728" y="24658"/>
                  </a:lnTo>
                  <a:cubicBezTo>
                    <a:pt x="72728" y="24658"/>
                    <a:pt x="74747" y="24523"/>
                    <a:pt x="75689" y="24658"/>
                  </a:cubicBezTo>
                  <a:cubicBezTo>
                    <a:pt x="76631" y="24792"/>
                    <a:pt x="77372" y="24389"/>
                    <a:pt x="77641" y="24590"/>
                  </a:cubicBezTo>
                  <a:cubicBezTo>
                    <a:pt x="77944" y="24826"/>
                    <a:pt x="79963" y="24187"/>
                    <a:pt x="80401" y="24456"/>
                  </a:cubicBezTo>
                  <a:cubicBezTo>
                    <a:pt x="80838" y="24725"/>
                    <a:pt x="82723" y="24658"/>
                    <a:pt x="83295" y="24658"/>
                  </a:cubicBezTo>
                  <a:cubicBezTo>
                    <a:pt x="83867" y="24658"/>
                    <a:pt x="86627" y="24658"/>
                    <a:pt x="86627" y="24658"/>
                  </a:cubicBezTo>
                  <a:lnTo>
                    <a:pt x="89151" y="26912"/>
                  </a:lnTo>
                  <a:cubicBezTo>
                    <a:pt x="89151" y="26912"/>
                    <a:pt x="89454" y="27349"/>
                    <a:pt x="90598" y="27685"/>
                  </a:cubicBezTo>
                  <a:cubicBezTo>
                    <a:pt x="91742" y="28055"/>
                    <a:pt x="92415" y="28055"/>
                    <a:pt x="92920" y="28055"/>
                  </a:cubicBezTo>
                  <a:cubicBezTo>
                    <a:pt x="93425" y="28055"/>
                    <a:pt x="92853" y="27988"/>
                    <a:pt x="95680" y="28291"/>
                  </a:cubicBezTo>
                  <a:cubicBezTo>
                    <a:pt x="98507" y="28594"/>
                    <a:pt x="99719" y="29098"/>
                    <a:pt x="99954" y="29165"/>
                  </a:cubicBezTo>
                  <a:cubicBezTo>
                    <a:pt x="100190" y="29233"/>
                    <a:pt x="100257" y="29300"/>
                    <a:pt x="101267" y="29300"/>
                  </a:cubicBezTo>
                  <a:cubicBezTo>
                    <a:pt x="102276" y="29300"/>
                    <a:pt x="103017" y="29300"/>
                    <a:pt x="103387" y="28930"/>
                  </a:cubicBezTo>
                  <a:cubicBezTo>
                    <a:pt x="103757" y="28560"/>
                    <a:pt x="104666" y="28863"/>
                    <a:pt x="103959" y="28055"/>
                  </a:cubicBezTo>
                  <a:cubicBezTo>
                    <a:pt x="103252" y="27248"/>
                    <a:pt x="103286" y="26844"/>
                    <a:pt x="102949" y="26609"/>
                  </a:cubicBezTo>
                  <a:cubicBezTo>
                    <a:pt x="102579" y="26373"/>
                    <a:pt x="100762" y="24792"/>
                    <a:pt x="100762" y="24792"/>
                  </a:cubicBezTo>
                  <a:lnTo>
                    <a:pt x="101435" y="23346"/>
                  </a:lnTo>
                  <a:cubicBezTo>
                    <a:pt x="101435" y="23346"/>
                    <a:pt x="101637" y="21966"/>
                    <a:pt x="101704" y="21731"/>
                  </a:cubicBezTo>
                  <a:cubicBezTo>
                    <a:pt x="101771" y="21529"/>
                    <a:pt x="102276" y="20587"/>
                    <a:pt x="102276" y="20587"/>
                  </a:cubicBezTo>
                  <a:lnTo>
                    <a:pt x="103151" y="19780"/>
                  </a:lnTo>
                  <a:lnTo>
                    <a:pt x="104228" y="17156"/>
                  </a:lnTo>
                  <a:lnTo>
                    <a:pt x="104767" y="15339"/>
                  </a:lnTo>
                  <a:lnTo>
                    <a:pt x="107089" y="14128"/>
                  </a:lnTo>
                  <a:cubicBezTo>
                    <a:pt x="107089" y="14128"/>
                    <a:pt x="110555" y="14566"/>
                    <a:pt x="110791" y="14128"/>
                  </a:cubicBezTo>
                  <a:cubicBezTo>
                    <a:pt x="110993" y="13691"/>
                    <a:pt x="115873" y="13556"/>
                    <a:pt x="116445" y="13556"/>
                  </a:cubicBezTo>
                  <a:cubicBezTo>
                    <a:pt x="117017" y="13556"/>
                    <a:pt x="122032" y="12043"/>
                    <a:pt x="122032" y="12043"/>
                  </a:cubicBezTo>
                  <a:lnTo>
                    <a:pt x="125229" y="10731"/>
                  </a:lnTo>
                  <a:lnTo>
                    <a:pt x="130142" y="10731"/>
                  </a:lnTo>
                  <a:lnTo>
                    <a:pt x="133272" y="12244"/>
                  </a:lnTo>
                  <a:lnTo>
                    <a:pt x="136469" y="14936"/>
                  </a:lnTo>
                  <a:cubicBezTo>
                    <a:pt x="136469" y="14936"/>
                    <a:pt x="137479" y="16887"/>
                    <a:pt x="138354" y="17190"/>
                  </a:cubicBezTo>
                  <a:cubicBezTo>
                    <a:pt x="139229" y="17492"/>
                    <a:pt x="141551" y="18434"/>
                    <a:pt x="141820" y="18434"/>
                  </a:cubicBezTo>
                  <a:cubicBezTo>
                    <a:pt x="142123" y="18434"/>
                    <a:pt x="143133" y="18232"/>
                    <a:pt x="143840" y="18064"/>
                  </a:cubicBezTo>
                  <a:cubicBezTo>
                    <a:pt x="144580" y="17930"/>
                    <a:pt x="145724" y="17761"/>
                    <a:pt x="145724" y="17761"/>
                  </a:cubicBezTo>
                  <a:cubicBezTo>
                    <a:pt x="145724" y="17761"/>
                    <a:pt x="145859" y="17290"/>
                    <a:pt x="146868" y="17930"/>
                  </a:cubicBezTo>
                  <a:cubicBezTo>
                    <a:pt x="147878" y="18569"/>
                    <a:pt x="149325" y="19410"/>
                    <a:pt x="149628" y="19410"/>
                  </a:cubicBezTo>
                  <a:cubicBezTo>
                    <a:pt x="149931" y="19410"/>
                    <a:pt x="151008" y="19410"/>
                    <a:pt x="151008" y="19410"/>
                  </a:cubicBezTo>
                  <a:lnTo>
                    <a:pt x="155417" y="19040"/>
                  </a:lnTo>
                  <a:lnTo>
                    <a:pt x="157234" y="17795"/>
                  </a:lnTo>
                  <a:cubicBezTo>
                    <a:pt x="157234" y="17795"/>
                    <a:pt x="157537" y="15979"/>
                    <a:pt x="157604" y="15608"/>
                  </a:cubicBezTo>
                  <a:cubicBezTo>
                    <a:pt x="157672" y="15238"/>
                    <a:pt x="157604" y="14229"/>
                    <a:pt x="157604" y="14229"/>
                  </a:cubicBezTo>
                  <a:lnTo>
                    <a:pt x="155787" y="12312"/>
                  </a:lnTo>
                  <a:cubicBezTo>
                    <a:pt x="155787" y="12312"/>
                    <a:pt x="155551" y="8948"/>
                    <a:pt x="155619" y="8713"/>
                  </a:cubicBezTo>
                  <a:cubicBezTo>
                    <a:pt x="155686" y="8477"/>
                    <a:pt x="156527" y="6694"/>
                    <a:pt x="157638" y="5887"/>
                  </a:cubicBezTo>
                  <a:cubicBezTo>
                    <a:pt x="158715" y="5079"/>
                    <a:pt x="159052" y="3700"/>
                    <a:pt x="160532" y="3700"/>
                  </a:cubicBezTo>
                  <a:cubicBezTo>
                    <a:pt x="162013" y="3700"/>
                    <a:pt x="164941" y="3700"/>
                    <a:pt x="164941" y="3700"/>
                  </a:cubicBezTo>
                  <a:cubicBezTo>
                    <a:pt x="164941" y="3700"/>
                    <a:pt x="169081" y="4407"/>
                    <a:pt x="170158" y="4440"/>
                  </a:cubicBezTo>
                  <a:cubicBezTo>
                    <a:pt x="171235" y="4508"/>
                    <a:pt x="173085" y="4541"/>
                    <a:pt x="173859" y="4676"/>
                  </a:cubicBezTo>
                  <a:cubicBezTo>
                    <a:pt x="174633" y="4777"/>
                    <a:pt x="176417" y="4676"/>
                    <a:pt x="176855" y="4777"/>
                  </a:cubicBezTo>
                  <a:cubicBezTo>
                    <a:pt x="177292" y="4878"/>
                    <a:pt x="184797" y="4508"/>
                    <a:pt x="184797" y="4508"/>
                  </a:cubicBezTo>
                  <a:cubicBezTo>
                    <a:pt x="184797" y="4508"/>
                    <a:pt x="191158" y="2489"/>
                    <a:pt x="191461" y="2489"/>
                  </a:cubicBezTo>
                  <a:cubicBezTo>
                    <a:pt x="191764" y="2489"/>
                    <a:pt x="193211" y="2624"/>
                    <a:pt x="193480" y="2489"/>
                  </a:cubicBezTo>
                  <a:cubicBezTo>
                    <a:pt x="193783" y="2355"/>
                    <a:pt x="196509" y="3364"/>
                    <a:pt x="196745" y="3599"/>
                  </a:cubicBezTo>
                  <a:cubicBezTo>
                    <a:pt x="196946" y="3801"/>
                    <a:pt x="199841" y="6627"/>
                    <a:pt x="200379" y="6862"/>
                  </a:cubicBezTo>
                  <a:cubicBezTo>
                    <a:pt x="200884" y="7098"/>
                    <a:pt x="203072" y="8612"/>
                    <a:pt x="203274" y="9251"/>
                  </a:cubicBezTo>
                  <a:cubicBezTo>
                    <a:pt x="203475" y="9924"/>
                    <a:pt x="205293" y="11437"/>
                    <a:pt x="206168" y="11437"/>
                  </a:cubicBezTo>
                  <a:cubicBezTo>
                    <a:pt x="207043" y="11437"/>
                    <a:pt x="208187" y="11572"/>
                    <a:pt x="208692" y="11370"/>
                  </a:cubicBezTo>
                  <a:cubicBezTo>
                    <a:pt x="209197" y="11168"/>
                    <a:pt x="212024" y="11168"/>
                    <a:pt x="212394" y="9991"/>
                  </a:cubicBezTo>
                  <a:cubicBezTo>
                    <a:pt x="212764" y="8847"/>
                    <a:pt x="213909" y="7300"/>
                    <a:pt x="213909" y="7031"/>
                  </a:cubicBezTo>
                  <a:cubicBezTo>
                    <a:pt x="213909" y="6761"/>
                    <a:pt x="214279" y="5517"/>
                    <a:pt x="214716" y="5147"/>
                  </a:cubicBezTo>
                  <a:cubicBezTo>
                    <a:pt x="215154" y="4777"/>
                    <a:pt x="215961" y="3768"/>
                    <a:pt x="216096" y="3532"/>
                  </a:cubicBezTo>
                  <a:cubicBezTo>
                    <a:pt x="216231" y="3330"/>
                    <a:pt x="216971" y="2220"/>
                    <a:pt x="217173" y="1951"/>
                  </a:cubicBezTo>
                  <a:cubicBezTo>
                    <a:pt x="217409" y="1648"/>
                    <a:pt x="218317" y="1312"/>
                    <a:pt x="218553" y="1312"/>
                  </a:cubicBezTo>
                  <a:cubicBezTo>
                    <a:pt x="218755" y="1312"/>
                    <a:pt x="219933" y="572"/>
                    <a:pt x="219933" y="572"/>
                  </a:cubicBezTo>
                  <a:lnTo>
                    <a:pt x="223264" y="0"/>
                  </a:lnTo>
                  <a:lnTo>
                    <a:pt x="225216" y="673"/>
                  </a:lnTo>
                  <a:cubicBezTo>
                    <a:pt x="225216" y="673"/>
                    <a:pt x="227539" y="2119"/>
                    <a:pt x="227740" y="2254"/>
                  </a:cubicBezTo>
                  <a:cubicBezTo>
                    <a:pt x="227942" y="2388"/>
                    <a:pt x="231510" y="5012"/>
                    <a:pt x="231510" y="5012"/>
                  </a:cubicBezTo>
                  <a:lnTo>
                    <a:pt x="235346" y="7199"/>
                  </a:lnTo>
                  <a:lnTo>
                    <a:pt x="238409" y="10966"/>
                  </a:lnTo>
                  <a:lnTo>
                    <a:pt x="250794" y="17257"/>
                  </a:lnTo>
                  <a:lnTo>
                    <a:pt x="254429" y="19006"/>
                  </a:lnTo>
                  <a:cubicBezTo>
                    <a:pt x="254429" y="19006"/>
                    <a:pt x="258131" y="22774"/>
                    <a:pt x="258265" y="22976"/>
                  </a:cubicBezTo>
                  <a:cubicBezTo>
                    <a:pt x="258400" y="23177"/>
                    <a:pt x="260150" y="25364"/>
                    <a:pt x="260150" y="25364"/>
                  </a:cubicBezTo>
                  <a:lnTo>
                    <a:pt x="261462" y="28324"/>
                  </a:lnTo>
                  <a:lnTo>
                    <a:pt x="261462" y="32462"/>
                  </a:lnTo>
                  <a:lnTo>
                    <a:pt x="260756" y="34851"/>
                  </a:lnTo>
                  <a:lnTo>
                    <a:pt x="260890" y="36734"/>
                  </a:lnTo>
                  <a:lnTo>
                    <a:pt x="262573" y="40569"/>
                  </a:lnTo>
                  <a:lnTo>
                    <a:pt x="264828" y="43092"/>
                  </a:lnTo>
                  <a:lnTo>
                    <a:pt x="264996" y="45279"/>
                  </a:lnTo>
                  <a:cubicBezTo>
                    <a:pt x="264996" y="45279"/>
                    <a:pt x="264962" y="46422"/>
                    <a:pt x="264962" y="46927"/>
                  </a:cubicBezTo>
                  <a:cubicBezTo>
                    <a:pt x="264962" y="47432"/>
                    <a:pt x="264962" y="49820"/>
                    <a:pt x="264962" y="49820"/>
                  </a:cubicBezTo>
                  <a:lnTo>
                    <a:pt x="264458" y="52578"/>
                  </a:lnTo>
                  <a:lnTo>
                    <a:pt x="261059" y="55976"/>
                  </a:lnTo>
                  <a:lnTo>
                    <a:pt x="256481" y="58802"/>
                  </a:lnTo>
                  <a:lnTo>
                    <a:pt x="256347" y="62502"/>
                  </a:lnTo>
                  <a:lnTo>
                    <a:pt x="253520" y="64218"/>
                  </a:lnTo>
                  <a:cubicBezTo>
                    <a:pt x="253520" y="64218"/>
                    <a:pt x="252578" y="64622"/>
                    <a:pt x="251837" y="64622"/>
                  </a:cubicBezTo>
                  <a:cubicBezTo>
                    <a:pt x="251130" y="64622"/>
                    <a:pt x="250154" y="64622"/>
                    <a:pt x="250154" y="64622"/>
                  </a:cubicBezTo>
                  <a:cubicBezTo>
                    <a:pt x="250154" y="64622"/>
                    <a:pt x="249145" y="63747"/>
                    <a:pt x="248943" y="63545"/>
                  </a:cubicBezTo>
                  <a:cubicBezTo>
                    <a:pt x="248707" y="63343"/>
                    <a:pt x="248573" y="61661"/>
                    <a:pt x="248573" y="61359"/>
                  </a:cubicBezTo>
                  <a:cubicBezTo>
                    <a:pt x="248573" y="61056"/>
                    <a:pt x="248943" y="60417"/>
                    <a:pt x="249078" y="60114"/>
                  </a:cubicBezTo>
                  <a:cubicBezTo>
                    <a:pt x="249212" y="59811"/>
                    <a:pt x="250323" y="57793"/>
                    <a:pt x="250323" y="57793"/>
                  </a:cubicBezTo>
                  <a:cubicBezTo>
                    <a:pt x="250323" y="57793"/>
                    <a:pt x="250827" y="57490"/>
                    <a:pt x="250996" y="56985"/>
                  </a:cubicBezTo>
                  <a:cubicBezTo>
                    <a:pt x="251130" y="56481"/>
                    <a:pt x="251299" y="54530"/>
                    <a:pt x="251299" y="54530"/>
                  </a:cubicBezTo>
                  <a:cubicBezTo>
                    <a:pt x="251299" y="54530"/>
                    <a:pt x="251433" y="54160"/>
                    <a:pt x="250929" y="53722"/>
                  </a:cubicBezTo>
                  <a:cubicBezTo>
                    <a:pt x="250424" y="53285"/>
                    <a:pt x="247731" y="51771"/>
                    <a:pt x="247361" y="51771"/>
                  </a:cubicBezTo>
                  <a:cubicBezTo>
                    <a:pt x="246991" y="51771"/>
                    <a:pt x="244265" y="52780"/>
                    <a:pt x="243827" y="53520"/>
                  </a:cubicBezTo>
                  <a:cubicBezTo>
                    <a:pt x="243390" y="54260"/>
                    <a:pt x="241741" y="55909"/>
                    <a:pt x="241741" y="55909"/>
                  </a:cubicBezTo>
                  <a:lnTo>
                    <a:pt x="239553" y="58297"/>
                  </a:lnTo>
                  <a:cubicBezTo>
                    <a:pt x="239553" y="58297"/>
                    <a:pt x="239621" y="60753"/>
                    <a:pt x="239991" y="60820"/>
                  </a:cubicBezTo>
                  <a:cubicBezTo>
                    <a:pt x="240361" y="60888"/>
                    <a:pt x="241000" y="61392"/>
                    <a:pt x="241572" y="62401"/>
                  </a:cubicBezTo>
                  <a:cubicBezTo>
                    <a:pt x="242145" y="63411"/>
                    <a:pt x="243020" y="64655"/>
                    <a:pt x="243154" y="64857"/>
                  </a:cubicBezTo>
                  <a:cubicBezTo>
                    <a:pt x="243289" y="65093"/>
                    <a:pt x="243659" y="65664"/>
                    <a:pt x="243659" y="66169"/>
                  </a:cubicBezTo>
                  <a:cubicBezTo>
                    <a:pt x="243659" y="66674"/>
                    <a:pt x="243457" y="68120"/>
                    <a:pt x="243356" y="68423"/>
                  </a:cubicBezTo>
                  <a:cubicBezTo>
                    <a:pt x="243289" y="68726"/>
                    <a:pt x="242111" y="70307"/>
                    <a:pt x="241909" y="70542"/>
                  </a:cubicBezTo>
                  <a:cubicBezTo>
                    <a:pt x="241674" y="70744"/>
                    <a:pt x="240294" y="71988"/>
                    <a:pt x="240294" y="71988"/>
                  </a:cubicBezTo>
                  <a:cubicBezTo>
                    <a:pt x="240294" y="71988"/>
                    <a:pt x="239351" y="72863"/>
                    <a:pt x="238712" y="72998"/>
                  </a:cubicBezTo>
                  <a:cubicBezTo>
                    <a:pt x="238072" y="73133"/>
                    <a:pt x="235010" y="75083"/>
                    <a:pt x="235010" y="75083"/>
                  </a:cubicBezTo>
                  <a:cubicBezTo>
                    <a:pt x="235010" y="75083"/>
                    <a:pt x="233428" y="77707"/>
                    <a:pt x="233327" y="77909"/>
                  </a:cubicBezTo>
                  <a:cubicBezTo>
                    <a:pt x="233260" y="78111"/>
                    <a:pt x="231308" y="80096"/>
                    <a:pt x="231072" y="80668"/>
                  </a:cubicBezTo>
                  <a:cubicBezTo>
                    <a:pt x="230870" y="81239"/>
                    <a:pt x="228750" y="82989"/>
                    <a:pt x="228548" y="83628"/>
                  </a:cubicBezTo>
                  <a:cubicBezTo>
                    <a:pt x="228313" y="84267"/>
                    <a:pt x="226967" y="88102"/>
                    <a:pt x="226967" y="88102"/>
                  </a:cubicBezTo>
                  <a:cubicBezTo>
                    <a:pt x="226967" y="88102"/>
                    <a:pt x="226462" y="91870"/>
                    <a:pt x="226091" y="92442"/>
                  </a:cubicBezTo>
                  <a:cubicBezTo>
                    <a:pt x="225721" y="93047"/>
                    <a:pt x="224005" y="96949"/>
                    <a:pt x="224005" y="96949"/>
                  </a:cubicBezTo>
                  <a:lnTo>
                    <a:pt x="221245" y="102668"/>
                  </a:lnTo>
                  <a:cubicBezTo>
                    <a:pt x="221245" y="102668"/>
                    <a:pt x="220236" y="105191"/>
                    <a:pt x="220101" y="105427"/>
                  </a:cubicBezTo>
                  <a:cubicBezTo>
                    <a:pt x="219966" y="105662"/>
                    <a:pt x="217207" y="108555"/>
                    <a:pt x="217207" y="108555"/>
                  </a:cubicBezTo>
                  <a:cubicBezTo>
                    <a:pt x="217207" y="108555"/>
                    <a:pt x="214312" y="109497"/>
                    <a:pt x="214178" y="109867"/>
                  </a:cubicBezTo>
                  <a:cubicBezTo>
                    <a:pt x="214043" y="110237"/>
                    <a:pt x="212293" y="111751"/>
                    <a:pt x="212293" y="111751"/>
                  </a:cubicBezTo>
                  <a:cubicBezTo>
                    <a:pt x="212293" y="111751"/>
                    <a:pt x="211418" y="113332"/>
                    <a:pt x="211418" y="113702"/>
                  </a:cubicBezTo>
                  <a:cubicBezTo>
                    <a:pt x="211418" y="114072"/>
                    <a:pt x="210846" y="118344"/>
                    <a:pt x="211048" y="118916"/>
                  </a:cubicBezTo>
                  <a:cubicBezTo>
                    <a:pt x="211283" y="119488"/>
                    <a:pt x="211620" y="129210"/>
                    <a:pt x="211620" y="129210"/>
                  </a:cubicBezTo>
                  <a:lnTo>
                    <a:pt x="210038" y="133179"/>
                  </a:lnTo>
                  <a:lnTo>
                    <a:pt x="206269" y="137216"/>
                  </a:lnTo>
                  <a:lnTo>
                    <a:pt x="204620" y="141387"/>
                  </a:lnTo>
                  <a:lnTo>
                    <a:pt x="204519" y="144045"/>
                  </a:lnTo>
                  <a:cubicBezTo>
                    <a:pt x="204519" y="144045"/>
                    <a:pt x="206168" y="146063"/>
                    <a:pt x="206437" y="146231"/>
                  </a:cubicBezTo>
                  <a:cubicBezTo>
                    <a:pt x="206706" y="146399"/>
                    <a:pt x="208759" y="147947"/>
                    <a:pt x="209096" y="148283"/>
                  </a:cubicBezTo>
                  <a:cubicBezTo>
                    <a:pt x="209432" y="148620"/>
                    <a:pt x="210577" y="149864"/>
                    <a:pt x="210577" y="150470"/>
                  </a:cubicBezTo>
                  <a:cubicBezTo>
                    <a:pt x="210577" y="151075"/>
                    <a:pt x="209163" y="155852"/>
                    <a:pt x="209163" y="155852"/>
                  </a:cubicBezTo>
                  <a:lnTo>
                    <a:pt x="206269" y="158073"/>
                  </a:lnTo>
                  <a:lnTo>
                    <a:pt x="202096" y="158409"/>
                  </a:lnTo>
                  <a:cubicBezTo>
                    <a:pt x="202096" y="158409"/>
                    <a:pt x="196644" y="159014"/>
                    <a:pt x="196442" y="159048"/>
                  </a:cubicBezTo>
                  <a:cubicBezTo>
                    <a:pt x="196206" y="159115"/>
                    <a:pt x="190990" y="160562"/>
                    <a:pt x="190990" y="160562"/>
                  </a:cubicBezTo>
                  <a:cubicBezTo>
                    <a:pt x="190990" y="160562"/>
                    <a:pt x="184999" y="162311"/>
                    <a:pt x="184797" y="162345"/>
                  </a:cubicBezTo>
                  <a:cubicBezTo>
                    <a:pt x="184595" y="162412"/>
                    <a:pt x="181162" y="164296"/>
                    <a:pt x="181095" y="164464"/>
                  </a:cubicBezTo>
                  <a:cubicBezTo>
                    <a:pt x="181028" y="164632"/>
                    <a:pt x="177562" y="167996"/>
                    <a:pt x="177562" y="167996"/>
                  </a:cubicBezTo>
                  <a:lnTo>
                    <a:pt x="172850" y="170822"/>
                  </a:lnTo>
                  <a:lnTo>
                    <a:pt x="171874" y="172739"/>
                  </a:lnTo>
                  <a:cubicBezTo>
                    <a:pt x="171874" y="172739"/>
                    <a:pt x="170797" y="174522"/>
                    <a:pt x="170662" y="174758"/>
                  </a:cubicBezTo>
                  <a:cubicBezTo>
                    <a:pt x="170561" y="174959"/>
                    <a:pt x="167903" y="179703"/>
                    <a:pt x="167903" y="179871"/>
                  </a:cubicBezTo>
                  <a:cubicBezTo>
                    <a:pt x="167903" y="180039"/>
                    <a:pt x="166489" y="182798"/>
                    <a:pt x="166287" y="183033"/>
                  </a:cubicBezTo>
                  <a:cubicBezTo>
                    <a:pt x="166052" y="183235"/>
                    <a:pt x="164773" y="185051"/>
                    <a:pt x="164773" y="185051"/>
                  </a:cubicBezTo>
                  <a:cubicBezTo>
                    <a:pt x="164773" y="185051"/>
                    <a:pt x="164335" y="186296"/>
                    <a:pt x="163797" y="187104"/>
                  </a:cubicBezTo>
                  <a:cubicBezTo>
                    <a:pt x="163258" y="187911"/>
                    <a:pt x="160734" y="190804"/>
                    <a:pt x="160734" y="190804"/>
                  </a:cubicBezTo>
                  <a:lnTo>
                    <a:pt x="159691" y="193091"/>
                  </a:lnTo>
                  <a:lnTo>
                    <a:pt x="158378" y="194134"/>
                  </a:lnTo>
                  <a:lnTo>
                    <a:pt x="154912" y="195009"/>
                  </a:lnTo>
                  <a:lnTo>
                    <a:pt x="152792" y="195009"/>
                  </a:lnTo>
                  <a:lnTo>
                    <a:pt x="150503" y="194235"/>
                  </a:lnTo>
                  <a:lnTo>
                    <a:pt x="150167" y="193091"/>
                  </a:lnTo>
                  <a:lnTo>
                    <a:pt x="150167" y="190636"/>
                  </a:lnTo>
                  <a:cubicBezTo>
                    <a:pt x="150167" y="190636"/>
                    <a:pt x="151345" y="189492"/>
                    <a:pt x="151479" y="189290"/>
                  </a:cubicBezTo>
                  <a:cubicBezTo>
                    <a:pt x="151580" y="189088"/>
                    <a:pt x="152119" y="188315"/>
                    <a:pt x="152455" y="187978"/>
                  </a:cubicBezTo>
                  <a:cubicBezTo>
                    <a:pt x="152792" y="187642"/>
                    <a:pt x="153869" y="186464"/>
                    <a:pt x="153869" y="186464"/>
                  </a:cubicBezTo>
                  <a:lnTo>
                    <a:pt x="154845" y="184278"/>
                  </a:lnTo>
                  <a:lnTo>
                    <a:pt x="154138" y="182697"/>
                  </a:lnTo>
                  <a:lnTo>
                    <a:pt x="153364" y="182327"/>
                  </a:lnTo>
                  <a:lnTo>
                    <a:pt x="152051" y="182360"/>
                  </a:lnTo>
                  <a:lnTo>
                    <a:pt x="150638" y="183134"/>
                  </a:lnTo>
                  <a:lnTo>
                    <a:pt x="148450" y="185691"/>
                  </a:lnTo>
                  <a:lnTo>
                    <a:pt x="146498" y="187810"/>
                  </a:lnTo>
                  <a:lnTo>
                    <a:pt x="145354" y="189896"/>
                  </a:lnTo>
                  <a:lnTo>
                    <a:pt x="140239" y="191073"/>
                  </a:lnTo>
                  <a:cubicBezTo>
                    <a:pt x="140239" y="191073"/>
                    <a:pt x="137142" y="192587"/>
                    <a:pt x="136166" y="192654"/>
                  </a:cubicBezTo>
                  <a:cubicBezTo>
                    <a:pt x="135190" y="192688"/>
                    <a:pt x="130613" y="192688"/>
                    <a:pt x="130613" y="192688"/>
                  </a:cubicBezTo>
                  <a:lnTo>
                    <a:pt x="126474" y="192755"/>
                  </a:lnTo>
                  <a:cubicBezTo>
                    <a:pt x="126474" y="192755"/>
                    <a:pt x="124455" y="194168"/>
                    <a:pt x="123983" y="194975"/>
                  </a:cubicBezTo>
                  <a:cubicBezTo>
                    <a:pt x="123479" y="195783"/>
                    <a:pt x="120988" y="197733"/>
                    <a:pt x="120450" y="198238"/>
                  </a:cubicBezTo>
                  <a:cubicBezTo>
                    <a:pt x="119911" y="198709"/>
                    <a:pt x="116546" y="201400"/>
                    <a:pt x="116546" y="201400"/>
                  </a:cubicBezTo>
                  <a:lnTo>
                    <a:pt x="116882" y="205403"/>
                  </a:lnTo>
                  <a:cubicBezTo>
                    <a:pt x="116882" y="205403"/>
                    <a:pt x="116108" y="206816"/>
                    <a:pt x="115974" y="207085"/>
                  </a:cubicBezTo>
                  <a:cubicBezTo>
                    <a:pt x="115805" y="207354"/>
                    <a:pt x="113416" y="208330"/>
                    <a:pt x="113248" y="208397"/>
                  </a:cubicBezTo>
                  <a:cubicBezTo>
                    <a:pt x="113079" y="208431"/>
                    <a:pt x="110791" y="208566"/>
                    <a:pt x="110623" y="208734"/>
                  </a:cubicBezTo>
                  <a:cubicBezTo>
                    <a:pt x="110454" y="208902"/>
                    <a:pt x="108570" y="209104"/>
                    <a:pt x="108570" y="209104"/>
                  </a:cubicBezTo>
                  <a:lnTo>
                    <a:pt x="108031" y="209978"/>
                  </a:lnTo>
                  <a:lnTo>
                    <a:pt x="107425" y="211324"/>
                  </a:lnTo>
                  <a:lnTo>
                    <a:pt x="106651" y="212636"/>
                  </a:lnTo>
                  <a:cubicBezTo>
                    <a:pt x="106651" y="212636"/>
                    <a:pt x="106113" y="214049"/>
                    <a:pt x="105978" y="214419"/>
                  </a:cubicBezTo>
                  <a:cubicBezTo>
                    <a:pt x="105877" y="214789"/>
                    <a:pt x="105776" y="215024"/>
                    <a:pt x="105372" y="215495"/>
                  </a:cubicBezTo>
                  <a:cubicBezTo>
                    <a:pt x="104969" y="216000"/>
                    <a:pt x="105103" y="216538"/>
                    <a:pt x="103723" y="216639"/>
                  </a:cubicBezTo>
                  <a:cubicBezTo>
                    <a:pt x="102377" y="216740"/>
                    <a:pt x="102848" y="216538"/>
                    <a:pt x="101603" y="216639"/>
                  </a:cubicBezTo>
                  <a:cubicBezTo>
                    <a:pt x="100358" y="216740"/>
                    <a:pt x="100190" y="216572"/>
                    <a:pt x="99584" y="216404"/>
                  </a:cubicBezTo>
                  <a:cubicBezTo>
                    <a:pt x="98978" y="216235"/>
                    <a:pt x="97800" y="215327"/>
                    <a:pt x="97396" y="215159"/>
                  </a:cubicBezTo>
                  <a:cubicBezTo>
                    <a:pt x="97026" y="214991"/>
                    <a:pt x="94738" y="213847"/>
                    <a:pt x="94738" y="213847"/>
                  </a:cubicBezTo>
                  <a:lnTo>
                    <a:pt x="93492" y="212972"/>
                  </a:lnTo>
                  <a:lnTo>
                    <a:pt x="91372" y="210046"/>
                  </a:lnTo>
                  <a:lnTo>
                    <a:pt x="88915" y="207926"/>
                  </a:lnTo>
                  <a:lnTo>
                    <a:pt x="85314" y="207052"/>
                  </a:lnTo>
                  <a:lnTo>
                    <a:pt x="82218" y="205168"/>
                  </a:lnTo>
                  <a:lnTo>
                    <a:pt x="77877" y="204966"/>
                  </a:lnTo>
                  <a:lnTo>
                    <a:pt x="74141" y="204562"/>
                  </a:lnTo>
                  <a:cubicBezTo>
                    <a:pt x="74141" y="204562"/>
                    <a:pt x="70506" y="204024"/>
                    <a:pt x="70271" y="204024"/>
                  </a:cubicBezTo>
                  <a:cubicBezTo>
                    <a:pt x="70069" y="204024"/>
                    <a:pt x="67949" y="203654"/>
                    <a:pt x="66972" y="203520"/>
                  </a:cubicBezTo>
                  <a:cubicBezTo>
                    <a:pt x="65997" y="203419"/>
                    <a:pt x="61756" y="203351"/>
                    <a:pt x="60612" y="203250"/>
                  </a:cubicBezTo>
                  <a:cubicBezTo>
                    <a:pt x="59468" y="203149"/>
                    <a:pt x="58727" y="203049"/>
                    <a:pt x="58323" y="202914"/>
                  </a:cubicBezTo>
                  <a:cubicBezTo>
                    <a:pt x="57953" y="202813"/>
                    <a:pt x="55496" y="201703"/>
                    <a:pt x="55395" y="201501"/>
                  </a:cubicBezTo>
                  <a:cubicBezTo>
                    <a:pt x="55294" y="201299"/>
                    <a:pt x="55126" y="200862"/>
                    <a:pt x="54621" y="200256"/>
                  </a:cubicBezTo>
                  <a:cubicBezTo>
                    <a:pt x="54116" y="199651"/>
                    <a:pt x="51626" y="197229"/>
                    <a:pt x="51626" y="197229"/>
                  </a:cubicBezTo>
                  <a:cubicBezTo>
                    <a:pt x="51626" y="197229"/>
                    <a:pt x="50919" y="196892"/>
                    <a:pt x="49842" y="196892"/>
                  </a:cubicBezTo>
                  <a:cubicBezTo>
                    <a:pt x="48765" y="196892"/>
                    <a:pt x="43684" y="196186"/>
                    <a:pt x="43684" y="196186"/>
                  </a:cubicBezTo>
                  <a:lnTo>
                    <a:pt x="41933" y="195681"/>
                  </a:lnTo>
                  <a:cubicBezTo>
                    <a:pt x="41933" y="195681"/>
                    <a:pt x="38299" y="192822"/>
                    <a:pt x="38198" y="192654"/>
                  </a:cubicBezTo>
                  <a:cubicBezTo>
                    <a:pt x="38097" y="192486"/>
                    <a:pt x="33015" y="188853"/>
                    <a:pt x="33015" y="188853"/>
                  </a:cubicBezTo>
                  <a:lnTo>
                    <a:pt x="27900" y="186532"/>
                  </a:lnTo>
                  <a:lnTo>
                    <a:pt x="24635" y="185556"/>
                  </a:lnTo>
                  <a:cubicBezTo>
                    <a:pt x="24635" y="185556"/>
                    <a:pt x="18746" y="184042"/>
                    <a:pt x="18544" y="183941"/>
                  </a:cubicBezTo>
                  <a:cubicBezTo>
                    <a:pt x="18342" y="183840"/>
                    <a:pt x="15616" y="183201"/>
                    <a:pt x="15010" y="182697"/>
                  </a:cubicBezTo>
                  <a:cubicBezTo>
                    <a:pt x="14404" y="182192"/>
                    <a:pt x="12991" y="181183"/>
                    <a:pt x="12116" y="179871"/>
                  </a:cubicBezTo>
                  <a:cubicBezTo>
                    <a:pt x="11241" y="178559"/>
                    <a:pt x="10332" y="176776"/>
                    <a:pt x="10265" y="176440"/>
                  </a:cubicBezTo>
                  <a:cubicBezTo>
                    <a:pt x="10197" y="176103"/>
                    <a:pt x="9221" y="172706"/>
                    <a:pt x="9221" y="172302"/>
                  </a:cubicBezTo>
                  <a:cubicBezTo>
                    <a:pt x="9221" y="171932"/>
                    <a:pt x="8986" y="169039"/>
                    <a:pt x="8986" y="167861"/>
                  </a:cubicBezTo>
                  <a:cubicBezTo>
                    <a:pt x="8986" y="166650"/>
                    <a:pt x="8986" y="162547"/>
                    <a:pt x="8918" y="162143"/>
                  </a:cubicBezTo>
                  <a:cubicBezTo>
                    <a:pt x="8851" y="161773"/>
                    <a:pt x="8279" y="158173"/>
                    <a:pt x="8279" y="158173"/>
                  </a:cubicBezTo>
                  <a:lnTo>
                    <a:pt x="4510" y="152858"/>
                  </a:lnTo>
                  <a:lnTo>
                    <a:pt x="3803" y="143035"/>
                  </a:lnTo>
                  <a:cubicBezTo>
                    <a:pt x="3803" y="143035"/>
                    <a:pt x="3433" y="135096"/>
                    <a:pt x="3433" y="134895"/>
                  </a:cubicBezTo>
                  <a:cubicBezTo>
                    <a:pt x="3433" y="134693"/>
                    <a:pt x="4207" y="129849"/>
                    <a:pt x="4241" y="129681"/>
                  </a:cubicBezTo>
                  <a:cubicBezTo>
                    <a:pt x="4274" y="129513"/>
                    <a:pt x="4072" y="124803"/>
                    <a:pt x="4072" y="124803"/>
                  </a:cubicBezTo>
                  <a:lnTo>
                    <a:pt x="3130" y="121405"/>
                  </a:lnTo>
                  <a:lnTo>
                    <a:pt x="1683" y="116359"/>
                  </a:lnTo>
                  <a:lnTo>
                    <a:pt x="1514" y="110102"/>
                  </a:lnTo>
                  <a:lnTo>
                    <a:pt x="1413" y="105931"/>
                  </a:lnTo>
                  <a:lnTo>
                    <a:pt x="1245" y="99943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grpSp>
          <p:nvGrpSpPr>
            <p:cNvPr id="648" name="Graphic 11">
              <a:extLst>
                <a:ext uri="{FF2B5EF4-FFF2-40B4-BE49-F238E27FC236}">
                  <a16:creationId xmlns:a16="http://schemas.microsoft.com/office/drawing/2014/main" id="{5957B153-D411-3438-D778-F6C1DC073697}"/>
                </a:ext>
              </a:extLst>
            </p:cNvPr>
            <p:cNvGrpSpPr/>
            <p:nvPr/>
          </p:nvGrpSpPr>
          <p:grpSpPr>
            <a:xfrm>
              <a:off x="8260662" y="3367264"/>
              <a:ext cx="133381" cy="212869"/>
              <a:chOff x="6167900" y="3272800"/>
              <a:chExt cx="256078" cy="408687"/>
            </a:xfrm>
            <a:grpFill/>
          </p:grpSpPr>
          <p:sp>
            <p:nvSpPr>
              <p:cNvPr id="649" name="Freeform 915">
                <a:extLst>
                  <a:ext uri="{FF2B5EF4-FFF2-40B4-BE49-F238E27FC236}">
                    <a16:creationId xmlns:a16="http://schemas.microsoft.com/office/drawing/2014/main" id="{59950B05-769B-7BC6-6394-305069A908CD}"/>
                  </a:ext>
                </a:extLst>
              </p:cNvPr>
              <p:cNvSpPr/>
              <p:nvPr/>
            </p:nvSpPr>
            <p:spPr>
              <a:xfrm>
                <a:off x="6244464" y="3272800"/>
                <a:ext cx="179513" cy="394660"/>
              </a:xfrm>
              <a:custGeom>
                <a:avLst/>
                <a:gdLst>
                  <a:gd name="connsiteX0" fmla="*/ 136335 w 179513"/>
                  <a:gd name="connsiteY0" fmla="*/ 0 h 394660"/>
                  <a:gd name="connsiteX1" fmla="*/ 132869 w 179513"/>
                  <a:gd name="connsiteY1" fmla="*/ 0 h 394660"/>
                  <a:gd name="connsiteX2" fmla="*/ 128729 w 179513"/>
                  <a:gd name="connsiteY2" fmla="*/ 1514 h 394660"/>
                  <a:gd name="connsiteX3" fmla="*/ 125700 w 179513"/>
                  <a:gd name="connsiteY3" fmla="*/ 6291 h 394660"/>
                  <a:gd name="connsiteX4" fmla="*/ 120921 w 179513"/>
                  <a:gd name="connsiteY4" fmla="*/ 12144 h 394660"/>
                  <a:gd name="connsiteX5" fmla="*/ 117657 w 179513"/>
                  <a:gd name="connsiteY5" fmla="*/ 16719 h 394660"/>
                  <a:gd name="connsiteX6" fmla="*/ 115065 w 179513"/>
                  <a:gd name="connsiteY6" fmla="*/ 19746 h 394660"/>
                  <a:gd name="connsiteX7" fmla="*/ 111161 w 179513"/>
                  <a:gd name="connsiteY7" fmla="*/ 21933 h 394660"/>
                  <a:gd name="connsiteX8" fmla="*/ 107897 w 179513"/>
                  <a:gd name="connsiteY8" fmla="*/ 24120 h 394660"/>
                  <a:gd name="connsiteX9" fmla="*/ 103118 w 179513"/>
                  <a:gd name="connsiteY9" fmla="*/ 27147 h 394660"/>
                  <a:gd name="connsiteX10" fmla="*/ 99853 w 179513"/>
                  <a:gd name="connsiteY10" fmla="*/ 29535 h 394660"/>
                  <a:gd name="connsiteX11" fmla="*/ 94637 w 179513"/>
                  <a:gd name="connsiteY11" fmla="*/ 29535 h 394660"/>
                  <a:gd name="connsiteX12" fmla="*/ 90296 w 179513"/>
                  <a:gd name="connsiteY12" fmla="*/ 32563 h 394660"/>
                  <a:gd name="connsiteX13" fmla="*/ 85516 w 179513"/>
                  <a:gd name="connsiteY13" fmla="*/ 36903 h 394660"/>
                  <a:gd name="connsiteX14" fmla="*/ 84440 w 179513"/>
                  <a:gd name="connsiteY14" fmla="*/ 41040 h 394660"/>
                  <a:gd name="connsiteX15" fmla="*/ 83127 w 179513"/>
                  <a:gd name="connsiteY15" fmla="*/ 45178 h 394660"/>
                  <a:gd name="connsiteX16" fmla="*/ 80737 w 179513"/>
                  <a:gd name="connsiteY16" fmla="*/ 49753 h 394660"/>
                  <a:gd name="connsiteX17" fmla="*/ 78988 w 179513"/>
                  <a:gd name="connsiteY17" fmla="*/ 53453 h 394660"/>
                  <a:gd name="connsiteX18" fmla="*/ 76160 w 179513"/>
                  <a:gd name="connsiteY18" fmla="*/ 56716 h 394660"/>
                  <a:gd name="connsiteX19" fmla="*/ 74209 w 179513"/>
                  <a:gd name="connsiteY19" fmla="*/ 60686 h 394660"/>
                  <a:gd name="connsiteX20" fmla="*/ 73064 w 179513"/>
                  <a:gd name="connsiteY20" fmla="*/ 63882 h 394660"/>
                  <a:gd name="connsiteX21" fmla="*/ 71617 w 179513"/>
                  <a:gd name="connsiteY21" fmla="*/ 66943 h 394660"/>
                  <a:gd name="connsiteX22" fmla="*/ 69530 w 179513"/>
                  <a:gd name="connsiteY22" fmla="*/ 69769 h 394660"/>
                  <a:gd name="connsiteX23" fmla="*/ 66905 w 179513"/>
                  <a:gd name="connsiteY23" fmla="*/ 73099 h 394660"/>
                  <a:gd name="connsiteX24" fmla="*/ 62564 w 179513"/>
                  <a:gd name="connsiteY24" fmla="*/ 76934 h 394660"/>
                  <a:gd name="connsiteX25" fmla="*/ 60444 w 179513"/>
                  <a:gd name="connsiteY25" fmla="*/ 81576 h 394660"/>
                  <a:gd name="connsiteX26" fmla="*/ 57482 w 179513"/>
                  <a:gd name="connsiteY26" fmla="*/ 84469 h 394660"/>
                  <a:gd name="connsiteX27" fmla="*/ 56371 w 179513"/>
                  <a:gd name="connsiteY27" fmla="*/ 86857 h 394660"/>
                  <a:gd name="connsiteX28" fmla="*/ 55530 w 179513"/>
                  <a:gd name="connsiteY28" fmla="*/ 92812 h 394660"/>
                  <a:gd name="connsiteX29" fmla="*/ 55530 w 179513"/>
                  <a:gd name="connsiteY29" fmla="*/ 94763 h 394660"/>
                  <a:gd name="connsiteX30" fmla="*/ 53780 w 179513"/>
                  <a:gd name="connsiteY30" fmla="*/ 98463 h 394660"/>
                  <a:gd name="connsiteX31" fmla="*/ 51525 w 179513"/>
                  <a:gd name="connsiteY31" fmla="*/ 101558 h 394660"/>
                  <a:gd name="connsiteX32" fmla="*/ 50852 w 179513"/>
                  <a:gd name="connsiteY32" fmla="*/ 106267 h 394660"/>
                  <a:gd name="connsiteX33" fmla="*/ 47016 w 179513"/>
                  <a:gd name="connsiteY33" fmla="*/ 112558 h 394660"/>
                  <a:gd name="connsiteX34" fmla="*/ 45905 w 179513"/>
                  <a:gd name="connsiteY34" fmla="*/ 116259 h 394660"/>
                  <a:gd name="connsiteX35" fmla="*/ 44761 w 179513"/>
                  <a:gd name="connsiteY35" fmla="*/ 119589 h 394660"/>
                  <a:gd name="connsiteX36" fmla="*/ 40419 w 179513"/>
                  <a:gd name="connsiteY36" fmla="*/ 125980 h 394660"/>
                  <a:gd name="connsiteX37" fmla="*/ 37525 w 179513"/>
                  <a:gd name="connsiteY37" fmla="*/ 132271 h 394660"/>
                  <a:gd name="connsiteX38" fmla="*/ 36886 w 179513"/>
                  <a:gd name="connsiteY38" fmla="*/ 137283 h 394660"/>
                  <a:gd name="connsiteX39" fmla="*/ 34126 w 179513"/>
                  <a:gd name="connsiteY39" fmla="*/ 143574 h 394660"/>
                  <a:gd name="connsiteX40" fmla="*/ 31938 w 179513"/>
                  <a:gd name="connsiteY40" fmla="*/ 150470 h 394660"/>
                  <a:gd name="connsiteX41" fmla="*/ 31064 w 179513"/>
                  <a:gd name="connsiteY41" fmla="*/ 153430 h 394660"/>
                  <a:gd name="connsiteX42" fmla="*/ 27227 w 179513"/>
                  <a:gd name="connsiteY42" fmla="*/ 161470 h 394660"/>
                  <a:gd name="connsiteX43" fmla="*/ 20630 w 179513"/>
                  <a:gd name="connsiteY43" fmla="*/ 170385 h 394660"/>
                  <a:gd name="connsiteX44" fmla="*/ 17669 w 179513"/>
                  <a:gd name="connsiteY44" fmla="*/ 176978 h 394660"/>
                  <a:gd name="connsiteX45" fmla="*/ 13462 w 179513"/>
                  <a:gd name="connsiteY45" fmla="*/ 183639 h 394660"/>
                  <a:gd name="connsiteX46" fmla="*/ 9895 w 179513"/>
                  <a:gd name="connsiteY46" fmla="*/ 186902 h 394660"/>
                  <a:gd name="connsiteX47" fmla="*/ 7640 w 179513"/>
                  <a:gd name="connsiteY47" fmla="*/ 188786 h 394660"/>
                  <a:gd name="connsiteX48" fmla="*/ 4544 w 179513"/>
                  <a:gd name="connsiteY48" fmla="*/ 193865 h 394660"/>
                  <a:gd name="connsiteX49" fmla="*/ 3870 w 179513"/>
                  <a:gd name="connsiteY49" fmla="*/ 196893 h 394660"/>
                  <a:gd name="connsiteX50" fmla="*/ 3063 w 179513"/>
                  <a:gd name="connsiteY50" fmla="*/ 204361 h 394660"/>
                  <a:gd name="connsiteX51" fmla="*/ 3500 w 179513"/>
                  <a:gd name="connsiteY51" fmla="*/ 212031 h 394660"/>
                  <a:gd name="connsiteX52" fmla="*/ 3365 w 179513"/>
                  <a:gd name="connsiteY52" fmla="*/ 218422 h 394660"/>
                  <a:gd name="connsiteX53" fmla="*/ 5014 w 179513"/>
                  <a:gd name="connsiteY53" fmla="*/ 222627 h 394660"/>
                  <a:gd name="connsiteX54" fmla="*/ 5452 w 179513"/>
                  <a:gd name="connsiteY54" fmla="*/ 226597 h 394660"/>
                  <a:gd name="connsiteX55" fmla="*/ 4510 w 179513"/>
                  <a:gd name="connsiteY55" fmla="*/ 230364 h 394660"/>
                  <a:gd name="connsiteX56" fmla="*/ 4375 w 179513"/>
                  <a:gd name="connsiteY56" fmla="*/ 233392 h 394660"/>
                  <a:gd name="connsiteX57" fmla="*/ 3736 w 179513"/>
                  <a:gd name="connsiteY57" fmla="*/ 237798 h 394660"/>
                  <a:gd name="connsiteX58" fmla="*/ 3870 w 179513"/>
                  <a:gd name="connsiteY58" fmla="*/ 243013 h 394660"/>
                  <a:gd name="connsiteX59" fmla="*/ 2625 w 179513"/>
                  <a:gd name="connsiteY59" fmla="*/ 249169 h 394660"/>
                  <a:gd name="connsiteX60" fmla="*/ 1885 w 179513"/>
                  <a:gd name="connsiteY60" fmla="*/ 252802 h 394660"/>
                  <a:gd name="connsiteX61" fmla="*/ 572 w 179513"/>
                  <a:gd name="connsiteY61" fmla="*/ 257747 h 394660"/>
                  <a:gd name="connsiteX62" fmla="*/ 0 w 179513"/>
                  <a:gd name="connsiteY62" fmla="*/ 263903 h 394660"/>
                  <a:gd name="connsiteX63" fmla="*/ 438 w 179513"/>
                  <a:gd name="connsiteY63" fmla="*/ 268478 h 394660"/>
                  <a:gd name="connsiteX64" fmla="*/ 7606 w 179513"/>
                  <a:gd name="connsiteY64" fmla="*/ 277830 h 394660"/>
                  <a:gd name="connsiteX65" fmla="*/ 13899 w 179513"/>
                  <a:gd name="connsiteY65" fmla="*/ 285062 h 394660"/>
                  <a:gd name="connsiteX66" fmla="*/ 16861 w 179513"/>
                  <a:gd name="connsiteY66" fmla="*/ 289133 h 394660"/>
                  <a:gd name="connsiteX67" fmla="*/ 18174 w 179513"/>
                  <a:gd name="connsiteY67" fmla="*/ 293035 h 394660"/>
                  <a:gd name="connsiteX68" fmla="*/ 23087 w 179513"/>
                  <a:gd name="connsiteY68" fmla="*/ 299830 h 394660"/>
                  <a:gd name="connsiteX69" fmla="*/ 24534 w 179513"/>
                  <a:gd name="connsiteY69" fmla="*/ 308004 h 394660"/>
                  <a:gd name="connsiteX70" fmla="*/ 27496 w 179513"/>
                  <a:gd name="connsiteY70" fmla="*/ 313656 h 394660"/>
                  <a:gd name="connsiteX71" fmla="*/ 30121 w 179513"/>
                  <a:gd name="connsiteY71" fmla="*/ 317424 h 394660"/>
                  <a:gd name="connsiteX72" fmla="*/ 37727 w 179513"/>
                  <a:gd name="connsiteY72" fmla="*/ 324387 h 394660"/>
                  <a:gd name="connsiteX73" fmla="*/ 43953 w 179513"/>
                  <a:gd name="connsiteY73" fmla="*/ 330106 h 394660"/>
                  <a:gd name="connsiteX74" fmla="*/ 47857 w 179513"/>
                  <a:gd name="connsiteY74" fmla="*/ 332864 h 394660"/>
                  <a:gd name="connsiteX75" fmla="*/ 52771 w 179513"/>
                  <a:gd name="connsiteY75" fmla="*/ 338583 h 394660"/>
                  <a:gd name="connsiteX76" fmla="*/ 58997 w 179513"/>
                  <a:gd name="connsiteY76" fmla="*/ 340837 h 394660"/>
                  <a:gd name="connsiteX77" fmla="*/ 65458 w 179513"/>
                  <a:gd name="connsiteY77" fmla="*/ 345984 h 394660"/>
                  <a:gd name="connsiteX78" fmla="*/ 68117 w 179513"/>
                  <a:gd name="connsiteY78" fmla="*/ 349449 h 394660"/>
                  <a:gd name="connsiteX79" fmla="*/ 71785 w 179513"/>
                  <a:gd name="connsiteY79" fmla="*/ 356681 h 394660"/>
                  <a:gd name="connsiteX80" fmla="*/ 74478 w 179513"/>
                  <a:gd name="connsiteY80" fmla="*/ 361895 h 394660"/>
                  <a:gd name="connsiteX81" fmla="*/ 78550 w 179513"/>
                  <a:gd name="connsiteY81" fmla="*/ 367177 h 394660"/>
                  <a:gd name="connsiteX82" fmla="*/ 80435 w 179513"/>
                  <a:gd name="connsiteY82" fmla="*/ 371011 h 394660"/>
                  <a:gd name="connsiteX83" fmla="*/ 81242 w 179513"/>
                  <a:gd name="connsiteY83" fmla="*/ 373703 h 394660"/>
                  <a:gd name="connsiteX84" fmla="*/ 81713 w 179513"/>
                  <a:gd name="connsiteY84" fmla="*/ 376966 h 394660"/>
                  <a:gd name="connsiteX85" fmla="*/ 81545 w 179513"/>
                  <a:gd name="connsiteY85" fmla="*/ 379590 h 394660"/>
                  <a:gd name="connsiteX86" fmla="*/ 81545 w 179513"/>
                  <a:gd name="connsiteY86" fmla="*/ 381608 h 394660"/>
                  <a:gd name="connsiteX87" fmla="*/ 81545 w 179513"/>
                  <a:gd name="connsiteY87" fmla="*/ 383492 h 394660"/>
                  <a:gd name="connsiteX88" fmla="*/ 81545 w 179513"/>
                  <a:gd name="connsiteY88" fmla="*/ 386822 h 394660"/>
                  <a:gd name="connsiteX89" fmla="*/ 82286 w 179513"/>
                  <a:gd name="connsiteY89" fmla="*/ 387999 h 394660"/>
                  <a:gd name="connsiteX90" fmla="*/ 82353 w 179513"/>
                  <a:gd name="connsiteY90" fmla="*/ 388807 h 394660"/>
                  <a:gd name="connsiteX91" fmla="*/ 82420 w 179513"/>
                  <a:gd name="connsiteY91" fmla="*/ 390623 h 394660"/>
                  <a:gd name="connsiteX92" fmla="*/ 83800 w 179513"/>
                  <a:gd name="connsiteY92" fmla="*/ 392373 h 394660"/>
                  <a:gd name="connsiteX93" fmla="*/ 84473 w 179513"/>
                  <a:gd name="connsiteY93" fmla="*/ 392877 h 394660"/>
                  <a:gd name="connsiteX94" fmla="*/ 86358 w 179513"/>
                  <a:gd name="connsiteY94" fmla="*/ 393550 h 394660"/>
                  <a:gd name="connsiteX95" fmla="*/ 90430 w 179513"/>
                  <a:gd name="connsiteY95" fmla="*/ 394660 h 394660"/>
                  <a:gd name="connsiteX96" fmla="*/ 92887 w 179513"/>
                  <a:gd name="connsiteY96" fmla="*/ 394660 h 394660"/>
                  <a:gd name="connsiteX97" fmla="*/ 94637 w 179513"/>
                  <a:gd name="connsiteY97" fmla="*/ 394660 h 394660"/>
                  <a:gd name="connsiteX98" fmla="*/ 98103 w 179513"/>
                  <a:gd name="connsiteY98" fmla="*/ 394660 h 394660"/>
                  <a:gd name="connsiteX99" fmla="*/ 99483 w 179513"/>
                  <a:gd name="connsiteY99" fmla="*/ 394357 h 394660"/>
                  <a:gd name="connsiteX100" fmla="*/ 99786 w 179513"/>
                  <a:gd name="connsiteY100" fmla="*/ 393281 h 394660"/>
                  <a:gd name="connsiteX101" fmla="*/ 100291 w 179513"/>
                  <a:gd name="connsiteY101" fmla="*/ 392137 h 394660"/>
                  <a:gd name="connsiteX102" fmla="*/ 100863 w 179513"/>
                  <a:gd name="connsiteY102" fmla="*/ 390119 h 394660"/>
                  <a:gd name="connsiteX103" fmla="*/ 100930 w 179513"/>
                  <a:gd name="connsiteY103" fmla="*/ 387865 h 394660"/>
                  <a:gd name="connsiteX104" fmla="*/ 101200 w 179513"/>
                  <a:gd name="connsiteY104" fmla="*/ 382146 h 394660"/>
                  <a:gd name="connsiteX105" fmla="*/ 100728 w 179513"/>
                  <a:gd name="connsiteY105" fmla="*/ 376697 h 394660"/>
                  <a:gd name="connsiteX106" fmla="*/ 100728 w 179513"/>
                  <a:gd name="connsiteY106" fmla="*/ 371213 h 394660"/>
                  <a:gd name="connsiteX107" fmla="*/ 100728 w 179513"/>
                  <a:gd name="connsiteY107" fmla="*/ 367950 h 394660"/>
                  <a:gd name="connsiteX108" fmla="*/ 100728 w 179513"/>
                  <a:gd name="connsiteY108" fmla="*/ 327751 h 394660"/>
                  <a:gd name="connsiteX109" fmla="*/ 102546 w 179513"/>
                  <a:gd name="connsiteY109" fmla="*/ 325060 h 394660"/>
                  <a:gd name="connsiteX110" fmla="*/ 103791 w 179513"/>
                  <a:gd name="connsiteY110" fmla="*/ 320855 h 394660"/>
                  <a:gd name="connsiteX111" fmla="*/ 107628 w 179513"/>
                  <a:gd name="connsiteY111" fmla="*/ 313454 h 394660"/>
                  <a:gd name="connsiteX112" fmla="*/ 112339 w 179513"/>
                  <a:gd name="connsiteY112" fmla="*/ 305549 h 394660"/>
                  <a:gd name="connsiteX113" fmla="*/ 114796 w 179513"/>
                  <a:gd name="connsiteY113" fmla="*/ 300032 h 394660"/>
                  <a:gd name="connsiteX114" fmla="*/ 118565 w 179513"/>
                  <a:gd name="connsiteY114" fmla="*/ 293304 h 394660"/>
                  <a:gd name="connsiteX115" fmla="*/ 124084 w 179513"/>
                  <a:gd name="connsiteY115" fmla="*/ 285062 h 394660"/>
                  <a:gd name="connsiteX116" fmla="*/ 127181 w 179513"/>
                  <a:gd name="connsiteY116" fmla="*/ 279545 h 394660"/>
                  <a:gd name="connsiteX117" fmla="*/ 129066 w 179513"/>
                  <a:gd name="connsiteY117" fmla="*/ 276652 h 394660"/>
                  <a:gd name="connsiteX118" fmla="*/ 132599 w 179513"/>
                  <a:gd name="connsiteY118" fmla="*/ 270294 h 394660"/>
                  <a:gd name="connsiteX119" fmla="*/ 134618 w 179513"/>
                  <a:gd name="connsiteY119" fmla="*/ 264004 h 394660"/>
                  <a:gd name="connsiteX120" fmla="*/ 137075 w 179513"/>
                  <a:gd name="connsiteY120" fmla="*/ 258588 h 394660"/>
                  <a:gd name="connsiteX121" fmla="*/ 139970 w 179513"/>
                  <a:gd name="connsiteY121" fmla="*/ 253071 h 394660"/>
                  <a:gd name="connsiteX122" fmla="*/ 144513 w 179513"/>
                  <a:gd name="connsiteY122" fmla="*/ 245838 h 394660"/>
                  <a:gd name="connsiteX123" fmla="*/ 145927 w 179513"/>
                  <a:gd name="connsiteY123" fmla="*/ 240557 h 394660"/>
                  <a:gd name="connsiteX124" fmla="*/ 145927 w 179513"/>
                  <a:gd name="connsiteY124" fmla="*/ 232147 h 394660"/>
                  <a:gd name="connsiteX125" fmla="*/ 148451 w 179513"/>
                  <a:gd name="connsiteY125" fmla="*/ 213376 h 394660"/>
                  <a:gd name="connsiteX126" fmla="*/ 148013 w 179513"/>
                  <a:gd name="connsiteY126" fmla="*/ 200559 h 394660"/>
                  <a:gd name="connsiteX127" fmla="*/ 149157 w 179513"/>
                  <a:gd name="connsiteY127" fmla="*/ 193159 h 394660"/>
                  <a:gd name="connsiteX128" fmla="*/ 151109 w 179513"/>
                  <a:gd name="connsiteY128" fmla="*/ 165709 h 394660"/>
                  <a:gd name="connsiteX129" fmla="*/ 152859 w 179513"/>
                  <a:gd name="connsiteY129" fmla="*/ 155213 h 394660"/>
                  <a:gd name="connsiteX130" fmla="*/ 154542 w 179513"/>
                  <a:gd name="connsiteY130" fmla="*/ 138831 h 394660"/>
                  <a:gd name="connsiteX131" fmla="*/ 156292 w 179513"/>
                  <a:gd name="connsiteY131" fmla="*/ 131867 h 394660"/>
                  <a:gd name="connsiteX132" fmla="*/ 159489 w 179513"/>
                  <a:gd name="connsiteY132" fmla="*/ 124063 h 394660"/>
                  <a:gd name="connsiteX133" fmla="*/ 162754 w 179513"/>
                  <a:gd name="connsiteY133" fmla="*/ 112995 h 394660"/>
                  <a:gd name="connsiteX134" fmla="*/ 165446 w 179513"/>
                  <a:gd name="connsiteY134" fmla="*/ 108286 h 394660"/>
                  <a:gd name="connsiteX135" fmla="*/ 166893 w 179513"/>
                  <a:gd name="connsiteY135" fmla="*/ 105023 h 394660"/>
                  <a:gd name="connsiteX136" fmla="*/ 170090 w 179513"/>
                  <a:gd name="connsiteY136" fmla="*/ 99304 h 394660"/>
                  <a:gd name="connsiteX137" fmla="*/ 171672 w 179513"/>
                  <a:gd name="connsiteY137" fmla="*/ 96108 h 394660"/>
                  <a:gd name="connsiteX138" fmla="*/ 172749 w 179513"/>
                  <a:gd name="connsiteY138" fmla="*/ 92542 h 394660"/>
                  <a:gd name="connsiteX139" fmla="*/ 174331 w 179513"/>
                  <a:gd name="connsiteY139" fmla="*/ 88405 h 394660"/>
                  <a:gd name="connsiteX140" fmla="*/ 174028 w 179513"/>
                  <a:gd name="connsiteY140" fmla="*/ 81879 h 394660"/>
                  <a:gd name="connsiteX141" fmla="*/ 173893 w 179513"/>
                  <a:gd name="connsiteY141" fmla="*/ 78548 h 394660"/>
                  <a:gd name="connsiteX142" fmla="*/ 173254 w 179513"/>
                  <a:gd name="connsiteY142" fmla="*/ 69197 h 394660"/>
                  <a:gd name="connsiteX143" fmla="*/ 171571 w 179513"/>
                  <a:gd name="connsiteY143" fmla="*/ 64420 h 394660"/>
                  <a:gd name="connsiteX144" fmla="*/ 170427 w 179513"/>
                  <a:gd name="connsiteY144" fmla="*/ 59004 h 394660"/>
                  <a:gd name="connsiteX145" fmla="*/ 169485 w 179513"/>
                  <a:gd name="connsiteY145" fmla="*/ 54799 h 394660"/>
                  <a:gd name="connsiteX146" fmla="*/ 169922 w 179513"/>
                  <a:gd name="connsiteY146" fmla="*/ 49719 h 394660"/>
                  <a:gd name="connsiteX147" fmla="*/ 170293 w 179513"/>
                  <a:gd name="connsiteY147" fmla="*/ 46759 h 394660"/>
                  <a:gd name="connsiteX148" fmla="*/ 172110 w 179513"/>
                  <a:gd name="connsiteY148" fmla="*/ 42420 h 394660"/>
                  <a:gd name="connsiteX149" fmla="*/ 175509 w 179513"/>
                  <a:gd name="connsiteY149" fmla="*/ 37273 h 394660"/>
                  <a:gd name="connsiteX150" fmla="*/ 178336 w 179513"/>
                  <a:gd name="connsiteY150" fmla="*/ 32294 h 394660"/>
                  <a:gd name="connsiteX151" fmla="*/ 179514 w 179513"/>
                  <a:gd name="connsiteY151" fmla="*/ 28022 h 394660"/>
                  <a:gd name="connsiteX152" fmla="*/ 178942 w 179513"/>
                  <a:gd name="connsiteY152" fmla="*/ 21731 h 394660"/>
                  <a:gd name="connsiteX153" fmla="*/ 176620 w 179513"/>
                  <a:gd name="connsiteY153" fmla="*/ 18266 h 394660"/>
                  <a:gd name="connsiteX154" fmla="*/ 173220 w 179513"/>
                  <a:gd name="connsiteY154" fmla="*/ 15306 h 394660"/>
                  <a:gd name="connsiteX155" fmla="*/ 168744 w 179513"/>
                  <a:gd name="connsiteY155" fmla="*/ 14431 h 394660"/>
                  <a:gd name="connsiteX156" fmla="*/ 166287 w 179513"/>
                  <a:gd name="connsiteY156" fmla="*/ 12682 h 394660"/>
                  <a:gd name="connsiteX157" fmla="*/ 160634 w 179513"/>
                  <a:gd name="connsiteY157" fmla="*/ 12615 h 394660"/>
                  <a:gd name="connsiteX158" fmla="*/ 156427 w 179513"/>
                  <a:gd name="connsiteY158" fmla="*/ 14061 h 394660"/>
                  <a:gd name="connsiteX159" fmla="*/ 154239 w 179513"/>
                  <a:gd name="connsiteY159" fmla="*/ 14768 h 394660"/>
                  <a:gd name="connsiteX160" fmla="*/ 151648 w 179513"/>
                  <a:gd name="connsiteY160" fmla="*/ 13624 h 394660"/>
                  <a:gd name="connsiteX161" fmla="*/ 150335 w 179513"/>
                  <a:gd name="connsiteY161" fmla="*/ 11942 h 394660"/>
                  <a:gd name="connsiteX162" fmla="*/ 146128 w 179513"/>
                  <a:gd name="connsiteY162" fmla="*/ 8746 h 394660"/>
                  <a:gd name="connsiteX163" fmla="*/ 144177 w 179513"/>
                  <a:gd name="connsiteY163" fmla="*/ 6728 h 394660"/>
                  <a:gd name="connsiteX164" fmla="*/ 142359 w 179513"/>
                  <a:gd name="connsiteY164" fmla="*/ 3902 h 394660"/>
                  <a:gd name="connsiteX165" fmla="*/ 140037 w 179513"/>
                  <a:gd name="connsiteY165" fmla="*/ 1312 h 394660"/>
                  <a:gd name="connsiteX166" fmla="*/ 138455 w 179513"/>
                  <a:gd name="connsiteY166" fmla="*/ 673 h 394660"/>
                  <a:gd name="connsiteX167" fmla="*/ 136335 w 179513"/>
                  <a:gd name="connsiteY167" fmla="*/ 0 h 394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</a:cxnLst>
                <a:rect l="l" t="t" r="r" b="b"/>
                <a:pathLst>
                  <a:path w="179513" h="394660">
                    <a:moveTo>
                      <a:pt x="136335" y="0"/>
                    </a:moveTo>
                    <a:lnTo>
                      <a:pt x="132869" y="0"/>
                    </a:lnTo>
                    <a:lnTo>
                      <a:pt x="128729" y="1514"/>
                    </a:lnTo>
                    <a:cubicBezTo>
                      <a:pt x="128729" y="1514"/>
                      <a:pt x="125902" y="5651"/>
                      <a:pt x="125700" y="6291"/>
                    </a:cubicBezTo>
                    <a:cubicBezTo>
                      <a:pt x="125498" y="6930"/>
                      <a:pt x="120921" y="12144"/>
                      <a:pt x="120921" y="12144"/>
                    </a:cubicBezTo>
                    <a:lnTo>
                      <a:pt x="117657" y="16719"/>
                    </a:lnTo>
                    <a:lnTo>
                      <a:pt x="115065" y="19746"/>
                    </a:lnTo>
                    <a:lnTo>
                      <a:pt x="111161" y="21933"/>
                    </a:lnTo>
                    <a:lnTo>
                      <a:pt x="107897" y="24120"/>
                    </a:lnTo>
                    <a:lnTo>
                      <a:pt x="103118" y="27147"/>
                    </a:lnTo>
                    <a:lnTo>
                      <a:pt x="99853" y="29535"/>
                    </a:lnTo>
                    <a:lnTo>
                      <a:pt x="94637" y="29535"/>
                    </a:lnTo>
                    <a:cubicBezTo>
                      <a:pt x="94637" y="29535"/>
                      <a:pt x="90935" y="32361"/>
                      <a:pt x="90296" y="32563"/>
                    </a:cubicBezTo>
                    <a:cubicBezTo>
                      <a:pt x="89656" y="32765"/>
                      <a:pt x="85516" y="36903"/>
                      <a:pt x="85516" y="36903"/>
                    </a:cubicBezTo>
                    <a:lnTo>
                      <a:pt x="84440" y="41040"/>
                    </a:lnTo>
                    <a:lnTo>
                      <a:pt x="83127" y="45178"/>
                    </a:lnTo>
                    <a:lnTo>
                      <a:pt x="80737" y="49753"/>
                    </a:lnTo>
                    <a:lnTo>
                      <a:pt x="78988" y="53453"/>
                    </a:lnTo>
                    <a:lnTo>
                      <a:pt x="76160" y="56716"/>
                    </a:lnTo>
                    <a:lnTo>
                      <a:pt x="74209" y="60686"/>
                    </a:lnTo>
                    <a:lnTo>
                      <a:pt x="73064" y="63882"/>
                    </a:lnTo>
                    <a:lnTo>
                      <a:pt x="71617" y="66943"/>
                    </a:lnTo>
                    <a:lnTo>
                      <a:pt x="69530" y="69769"/>
                    </a:lnTo>
                    <a:lnTo>
                      <a:pt x="66905" y="73099"/>
                    </a:lnTo>
                    <a:lnTo>
                      <a:pt x="62564" y="76934"/>
                    </a:lnTo>
                    <a:lnTo>
                      <a:pt x="60444" y="81576"/>
                    </a:lnTo>
                    <a:lnTo>
                      <a:pt x="57482" y="84469"/>
                    </a:lnTo>
                    <a:lnTo>
                      <a:pt x="56371" y="86857"/>
                    </a:lnTo>
                    <a:lnTo>
                      <a:pt x="55530" y="92812"/>
                    </a:lnTo>
                    <a:lnTo>
                      <a:pt x="55530" y="94763"/>
                    </a:lnTo>
                    <a:lnTo>
                      <a:pt x="53780" y="98463"/>
                    </a:lnTo>
                    <a:lnTo>
                      <a:pt x="51525" y="101558"/>
                    </a:lnTo>
                    <a:lnTo>
                      <a:pt x="50852" y="106267"/>
                    </a:lnTo>
                    <a:cubicBezTo>
                      <a:pt x="50852" y="106267"/>
                      <a:pt x="47319" y="112121"/>
                      <a:pt x="47016" y="112558"/>
                    </a:cubicBezTo>
                    <a:cubicBezTo>
                      <a:pt x="46713" y="112995"/>
                      <a:pt x="45905" y="116259"/>
                      <a:pt x="45905" y="116259"/>
                    </a:cubicBezTo>
                    <a:lnTo>
                      <a:pt x="44761" y="119589"/>
                    </a:lnTo>
                    <a:cubicBezTo>
                      <a:pt x="44761" y="119589"/>
                      <a:pt x="40352" y="125745"/>
                      <a:pt x="40419" y="125980"/>
                    </a:cubicBezTo>
                    <a:cubicBezTo>
                      <a:pt x="40487" y="126182"/>
                      <a:pt x="37525" y="132271"/>
                      <a:pt x="37525" y="132271"/>
                    </a:cubicBezTo>
                    <a:lnTo>
                      <a:pt x="36886" y="137283"/>
                    </a:lnTo>
                    <a:lnTo>
                      <a:pt x="34126" y="143574"/>
                    </a:lnTo>
                    <a:lnTo>
                      <a:pt x="31938" y="150470"/>
                    </a:lnTo>
                    <a:lnTo>
                      <a:pt x="31064" y="153430"/>
                    </a:lnTo>
                    <a:lnTo>
                      <a:pt x="27227" y="161470"/>
                    </a:lnTo>
                    <a:lnTo>
                      <a:pt x="20630" y="170385"/>
                    </a:lnTo>
                    <a:lnTo>
                      <a:pt x="17669" y="176978"/>
                    </a:lnTo>
                    <a:lnTo>
                      <a:pt x="13462" y="183639"/>
                    </a:lnTo>
                    <a:lnTo>
                      <a:pt x="9895" y="186902"/>
                    </a:lnTo>
                    <a:lnTo>
                      <a:pt x="7640" y="188786"/>
                    </a:lnTo>
                    <a:lnTo>
                      <a:pt x="4544" y="193865"/>
                    </a:lnTo>
                    <a:lnTo>
                      <a:pt x="3870" y="196893"/>
                    </a:lnTo>
                    <a:lnTo>
                      <a:pt x="3063" y="204361"/>
                    </a:lnTo>
                    <a:lnTo>
                      <a:pt x="3500" y="212031"/>
                    </a:lnTo>
                    <a:lnTo>
                      <a:pt x="3365" y="218422"/>
                    </a:lnTo>
                    <a:lnTo>
                      <a:pt x="5014" y="222627"/>
                    </a:lnTo>
                    <a:lnTo>
                      <a:pt x="5452" y="226597"/>
                    </a:lnTo>
                    <a:lnTo>
                      <a:pt x="4510" y="230364"/>
                    </a:lnTo>
                    <a:lnTo>
                      <a:pt x="4375" y="233392"/>
                    </a:lnTo>
                    <a:lnTo>
                      <a:pt x="3736" y="237798"/>
                    </a:lnTo>
                    <a:lnTo>
                      <a:pt x="3870" y="243013"/>
                    </a:lnTo>
                    <a:lnTo>
                      <a:pt x="2625" y="249169"/>
                    </a:lnTo>
                    <a:lnTo>
                      <a:pt x="1885" y="252802"/>
                    </a:lnTo>
                    <a:lnTo>
                      <a:pt x="572" y="257747"/>
                    </a:lnTo>
                    <a:lnTo>
                      <a:pt x="0" y="263903"/>
                    </a:lnTo>
                    <a:lnTo>
                      <a:pt x="438" y="268478"/>
                    </a:lnTo>
                    <a:lnTo>
                      <a:pt x="7606" y="277830"/>
                    </a:lnTo>
                    <a:lnTo>
                      <a:pt x="13899" y="285062"/>
                    </a:lnTo>
                    <a:lnTo>
                      <a:pt x="16861" y="289133"/>
                    </a:lnTo>
                    <a:lnTo>
                      <a:pt x="18174" y="293035"/>
                    </a:lnTo>
                    <a:lnTo>
                      <a:pt x="23087" y="299830"/>
                    </a:lnTo>
                    <a:lnTo>
                      <a:pt x="24534" y="308004"/>
                    </a:lnTo>
                    <a:lnTo>
                      <a:pt x="27496" y="313656"/>
                    </a:lnTo>
                    <a:lnTo>
                      <a:pt x="30121" y="317424"/>
                    </a:lnTo>
                    <a:lnTo>
                      <a:pt x="37727" y="324387"/>
                    </a:lnTo>
                    <a:lnTo>
                      <a:pt x="43953" y="330106"/>
                    </a:lnTo>
                    <a:lnTo>
                      <a:pt x="47857" y="332864"/>
                    </a:lnTo>
                    <a:lnTo>
                      <a:pt x="52771" y="338583"/>
                    </a:lnTo>
                    <a:lnTo>
                      <a:pt x="58997" y="340837"/>
                    </a:lnTo>
                    <a:lnTo>
                      <a:pt x="65458" y="345984"/>
                    </a:lnTo>
                    <a:cubicBezTo>
                      <a:pt x="65458" y="345984"/>
                      <a:pt x="67915" y="349247"/>
                      <a:pt x="68117" y="349449"/>
                    </a:cubicBezTo>
                    <a:cubicBezTo>
                      <a:pt x="68285" y="349650"/>
                      <a:pt x="71785" y="356681"/>
                      <a:pt x="71785" y="356681"/>
                    </a:cubicBezTo>
                    <a:lnTo>
                      <a:pt x="74478" y="361895"/>
                    </a:lnTo>
                    <a:lnTo>
                      <a:pt x="78550" y="367177"/>
                    </a:lnTo>
                    <a:lnTo>
                      <a:pt x="80435" y="371011"/>
                    </a:lnTo>
                    <a:lnTo>
                      <a:pt x="81242" y="373703"/>
                    </a:lnTo>
                    <a:lnTo>
                      <a:pt x="81713" y="376966"/>
                    </a:lnTo>
                    <a:lnTo>
                      <a:pt x="81545" y="379590"/>
                    </a:lnTo>
                    <a:lnTo>
                      <a:pt x="81545" y="381608"/>
                    </a:lnTo>
                    <a:lnTo>
                      <a:pt x="81545" y="383492"/>
                    </a:lnTo>
                    <a:lnTo>
                      <a:pt x="81545" y="386822"/>
                    </a:lnTo>
                    <a:lnTo>
                      <a:pt x="82286" y="387999"/>
                    </a:lnTo>
                    <a:lnTo>
                      <a:pt x="82353" y="388807"/>
                    </a:lnTo>
                    <a:lnTo>
                      <a:pt x="82420" y="390623"/>
                    </a:lnTo>
                    <a:lnTo>
                      <a:pt x="83800" y="392373"/>
                    </a:lnTo>
                    <a:cubicBezTo>
                      <a:pt x="83800" y="392373"/>
                      <a:pt x="84238" y="392810"/>
                      <a:pt x="84473" y="392877"/>
                    </a:cubicBezTo>
                    <a:cubicBezTo>
                      <a:pt x="84675" y="392944"/>
                      <a:pt x="86156" y="393550"/>
                      <a:pt x="86358" y="393550"/>
                    </a:cubicBezTo>
                    <a:cubicBezTo>
                      <a:pt x="86560" y="393550"/>
                      <a:pt x="90430" y="394660"/>
                      <a:pt x="90430" y="394660"/>
                    </a:cubicBezTo>
                    <a:lnTo>
                      <a:pt x="92887" y="394660"/>
                    </a:lnTo>
                    <a:cubicBezTo>
                      <a:pt x="92887" y="394660"/>
                      <a:pt x="93325" y="394660"/>
                      <a:pt x="94637" y="394660"/>
                    </a:cubicBezTo>
                    <a:cubicBezTo>
                      <a:pt x="95949" y="394660"/>
                      <a:pt x="98103" y="394660"/>
                      <a:pt x="98103" y="394660"/>
                    </a:cubicBezTo>
                    <a:lnTo>
                      <a:pt x="99483" y="394357"/>
                    </a:lnTo>
                    <a:lnTo>
                      <a:pt x="99786" y="393281"/>
                    </a:lnTo>
                    <a:lnTo>
                      <a:pt x="100291" y="392137"/>
                    </a:lnTo>
                    <a:lnTo>
                      <a:pt x="100863" y="390119"/>
                    </a:lnTo>
                    <a:lnTo>
                      <a:pt x="100930" y="387865"/>
                    </a:lnTo>
                    <a:lnTo>
                      <a:pt x="101200" y="382146"/>
                    </a:lnTo>
                    <a:lnTo>
                      <a:pt x="100728" y="376697"/>
                    </a:lnTo>
                    <a:lnTo>
                      <a:pt x="100728" y="371213"/>
                    </a:lnTo>
                    <a:lnTo>
                      <a:pt x="100728" y="367950"/>
                    </a:lnTo>
                    <a:lnTo>
                      <a:pt x="100728" y="327751"/>
                    </a:lnTo>
                    <a:lnTo>
                      <a:pt x="102546" y="325060"/>
                    </a:lnTo>
                    <a:lnTo>
                      <a:pt x="103791" y="320855"/>
                    </a:lnTo>
                    <a:lnTo>
                      <a:pt x="107628" y="313454"/>
                    </a:lnTo>
                    <a:lnTo>
                      <a:pt x="112339" y="305549"/>
                    </a:lnTo>
                    <a:lnTo>
                      <a:pt x="114796" y="300032"/>
                    </a:lnTo>
                    <a:lnTo>
                      <a:pt x="118565" y="293304"/>
                    </a:lnTo>
                    <a:lnTo>
                      <a:pt x="124084" y="285062"/>
                    </a:lnTo>
                    <a:cubicBezTo>
                      <a:pt x="124084" y="285062"/>
                      <a:pt x="127046" y="279781"/>
                      <a:pt x="127181" y="279545"/>
                    </a:cubicBezTo>
                    <a:cubicBezTo>
                      <a:pt x="127316" y="279343"/>
                      <a:pt x="129066" y="276652"/>
                      <a:pt x="129066" y="276652"/>
                    </a:cubicBezTo>
                    <a:lnTo>
                      <a:pt x="132599" y="270294"/>
                    </a:lnTo>
                    <a:lnTo>
                      <a:pt x="134618" y="264004"/>
                    </a:lnTo>
                    <a:lnTo>
                      <a:pt x="137075" y="258588"/>
                    </a:lnTo>
                    <a:lnTo>
                      <a:pt x="139970" y="253071"/>
                    </a:lnTo>
                    <a:cubicBezTo>
                      <a:pt x="139970" y="253071"/>
                      <a:pt x="144277" y="246108"/>
                      <a:pt x="144513" y="245838"/>
                    </a:cubicBezTo>
                    <a:cubicBezTo>
                      <a:pt x="144715" y="245536"/>
                      <a:pt x="145927" y="241869"/>
                      <a:pt x="145927" y="240557"/>
                    </a:cubicBezTo>
                    <a:cubicBezTo>
                      <a:pt x="145927" y="239245"/>
                      <a:pt x="145927" y="232147"/>
                      <a:pt x="145927" y="232147"/>
                    </a:cubicBezTo>
                    <a:lnTo>
                      <a:pt x="148451" y="213376"/>
                    </a:lnTo>
                    <a:lnTo>
                      <a:pt x="148013" y="200559"/>
                    </a:lnTo>
                    <a:lnTo>
                      <a:pt x="149157" y="193159"/>
                    </a:lnTo>
                    <a:lnTo>
                      <a:pt x="151109" y="165709"/>
                    </a:lnTo>
                    <a:lnTo>
                      <a:pt x="152859" y="155213"/>
                    </a:lnTo>
                    <a:lnTo>
                      <a:pt x="154542" y="138831"/>
                    </a:lnTo>
                    <a:lnTo>
                      <a:pt x="156292" y="131867"/>
                    </a:lnTo>
                    <a:lnTo>
                      <a:pt x="159489" y="124063"/>
                    </a:lnTo>
                    <a:lnTo>
                      <a:pt x="162754" y="112995"/>
                    </a:lnTo>
                    <a:lnTo>
                      <a:pt x="165446" y="108286"/>
                    </a:lnTo>
                    <a:lnTo>
                      <a:pt x="166893" y="105023"/>
                    </a:lnTo>
                    <a:lnTo>
                      <a:pt x="170090" y="99304"/>
                    </a:lnTo>
                    <a:lnTo>
                      <a:pt x="171672" y="96108"/>
                    </a:lnTo>
                    <a:lnTo>
                      <a:pt x="172749" y="92542"/>
                    </a:lnTo>
                    <a:lnTo>
                      <a:pt x="174331" y="88405"/>
                    </a:lnTo>
                    <a:lnTo>
                      <a:pt x="174028" y="81879"/>
                    </a:lnTo>
                    <a:lnTo>
                      <a:pt x="173893" y="78548"/>
                    </a:lnTo>
                    <a:lnTo>
                      <a:pt x="173254" y="69197"/>
                    </a:lnTo>
                    <a:lnTo>
                      <a:pt x="171571" y="64420"/>
                    </a:lnTo>
                    <a:lnTo>
                      <a:pt x="170427" y="59004"/>
                    </a:lnTo>
                    <a:lnTo>
                      <a:pt x="169485" y="54799"/>
                    </a:lnTo>
                    <a:lnTo>
                      <a:pt x="169922" y="49719"/>
                    </a:lnTo>
                    <a:lnTo>
                      <a:pt x="170293" y="46759"/>
                    </a:lnTo>
                    <a:cubicBezTo>
                      <a:pt x="170293" y="46759"/>
                      <a:pt x="171874" y="42722"/>
                      <a:pt x="172110" y="42420"/>
                    </a:cubicBezTo>
                    <a:cubicBezTo>
                      <a:pt x="172345" y="42117"/>
                      <a:pt x="175509" y="37273"/>
                      <a:pt x="175509" y="37273"/>
                    </a:cubicBezTo>
                    <a:lnTo>
                      <a:pt x="178336" y="32294"/>
                    </a:lnTo>
                    <a:lnTo>
                      <a:pt x="179514" y="28022"/>
                    </a:lnTo>
                    <a:lnTo>
                      <a:pt x="178942" y="21731"/>
                    </a:lnTo>
                    <a:lnTo>
                      <a:pt x="176620" y="18266"/>
                    </a:lnTo>
                    <a:cubicBezTo>
                      <a:pt x="176620" y="18266"/>
                      <a:pt x="173523" y="15306"/>
                      <a:pt x="173220" y="15306"/>
                    </a:cubicBezTo>
                    <a:cubicBezTo>
                      <a:pt x="172917" y="15306"/>
                      <a:pt x="168744" y="14431"/>
                      <a:pt x="168744" y="14431"/>
                    </a:cubicBezTo>
                    <a:lnTo>
                      <a:pt x="166287" y="12682"/>
                    </a:lnTo>
                    <a:cubicBezTo>
                      <a:pt x="166287" y="12682"/>
                      <a:pt x="161946" y="11942"/>
                      <a:pt x="160634" y="12615"/>
                    </a:cubicBezTo>
                    <a:cubicBezTo>
                      <a:pt x="159321" y="13254"/>
                      <a:pt x="156427" y="14061"/>
                      <a:pt x="156427" y="14061"/>
                    </a:cubicBezTo>
                    <a:lnTo>
                      <a:pt x="154239" y="14768"/>
                    </a:lnTo>
                    <a:lnTo>
                      <a:pt x="151648" y="13624"/>
                    </a:lnTo>
                    <a:lnTo>
                      <a:pt x="150335" y="11942"/>
                    </a:lnTo>
                    <a:lnTo>
                      <a:pt x="146128" y="8746"/>
                    </a:lnTo>
                    <a:cubicBezTo>
                      <a:pt x="146128" y="8746"/>
                      <a:pt x="144311" y="7064"/>
                      <a:pt x="144177" y="6728"/>
                    </a:cubicBezTo>
                    <a:cubicBezTo>
                      <a:pt x="144042" y="6358"/>
                      <a:pt x="142359" y="3902"/>
                      <a:pt x="142359" y="3902"/>
                    </a:cubicBezTo>
                    <a:lnTo>
                      <a:pt x="140037" y="1312"/>
                    </a:lnTo>
                    <a:lnTo>
                      <a:pt x="138455" y="673"/>
                    </a:lnTo>
                    <a:lnTo>
                      <a:pt x="136335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0" name="Freeform 916">
                <a:extLst>
                  <a:ext uri="{FF2B5EF4-FFF2-40B4-BE49-F238E27FC236}">
                    <a16:creationId xmlns:a16="http://schemas.microsoft.com/office/drawing/2014/main" id="{CA9C7E58-EBFE-BC3E-0DFD-649FE348D5F8}"/>
                  </a:ext>
                </a:extLst>
              </p:cNvPr>
              <p:cNvSpPr/>
              <p:nvPr/>
            </p:nvSpPr>
            <p:spPr>
              <a:xfrm>
                <a:off x="6399073" y="3562874"/>
                <a:ext cx="5216" cy="9015"/>
              </a:xfrm>
              <a:custGeom>
                <a:avLst/>
                <a:gdLst>
                  <a:gd name="connsiteX0" fmla="*/ 1414 w 5216"/>
                  <a:gd name="connsiteY0" fmla="*/ 9016 h 9015"/>
                  <a:gd name="connsiteX1" fmla="*/ 5216 w 5216"/>
                  <a:gd name="connsiteY1" fmla="*/ 7165 h 9015"/>
                  <a:gd name="connsiteX2" fmla="*/ 5216 w 5216"/>
                  <a:gd name="connsiteY2" fmla="*/ 4541 h 9015"/>
                  <a:gd name="connsiteX3" fmla="*/ 5216 w 5216"/>
                  <a:gd name="connsiteY3" fmla="*/ 1076 h 9015"/>
                  <a:gd name="connsiteX4" fmla="*/ 1414 w 5216"/>
                  <a:gd name="connsiteY4" fmla="*/ 0 h 9015"/>
                  <a:gd name="connsiteX5" fmla="*/ 0 w 5216"/>
                  <a:gd name="connsiteY5" fmla="*/ 2927 h 9015"/>
                  <a:gd name="connsiteX6" fmla="*/ 0 w 5216"/>
                  <a:gd name="connsiteY6" fmla="*/ 4541 h 9015"/>
                  <a:gd name="connsiteX7" fmla="*/ 0 w 5216"/>
                  <a:gd name="connsiteY7" fmla="*/ 6291 h 9015"/>
                  <a:gd name="connsiteX8" fmla="*/ 0 w 5216"/>
                  <a:gd name="connsiteY8" fmla="*/ 8006 h 9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16" h="9015">
                    <a:moveTo>
                      <a:pt x="1414" y="9016"/>
                    </a:moveTo>
                    <a:lnTo>
                      <a:pt x="5216" y="7165"/>
                    </a:lnTo>
                    <a:lnTo>
                      <a:pt x="5216" y="4541"/>
                    </a:lnTo>
                    <a:lnTo>
                      <a:pt x="5216" y="1076"/>
                    </a:lnTo>
                    <a:lnTo>
                      <a:pt x="1414" y="0"/>
                    </a:lnTo>
                    <a:lnTo>
                      <a:pt x="0" y="2927"/>
                    </a:lnTo>
                    <a:lnTo>
                      <a:pt x="0" y="4541"/>
                    </a:lnTo>
                    <a:lnTo>
                      <a:pt x="0" y="6291"/>
                    </a:lnTo>
                    <a:lnTo>
                      <a:pt x="0" y="8006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1" name="Freeform 917">
                <a:extLst>
                  <a:ext uri="{FF2B5EF4-FFF2-40B4-BE49-F238E27FC236}">
                    <a16:creationId xmlns:a16="http://schemas.microsoft.com/office/drawing/2014/main" id="{396C1476-8EA6-92C1-ADBD-7EE9313617A7}"/>
                  </a:ext>
                </a:extLst>
              </p:cNvPr>
              <p:cNvSpPr/>
              <p:nvPr/>
            </p:nvSpPr>
            <p:spPr>
              <a:xfrm>
                <a:off x="6390357" y="3588238"/>
                <a:ext cx="3499" cy="4372"/>
              </a:xfrm>
              <a:custGeom>
                <a:avLst/>
                <a:gdLst>
                  <a:gd name="connsiteX0" fmla="*/ 1312 w 3499"/>
                  <a:gd name="connsiteY0" fmla="*/ 0 h 4372"/>
                  <a:gd name="connsiteX1" fmla="*/ 0 w 3499"/>
                  <a:gd name="connsiteY1" fmla="*/ 807 h 4372"/>
                  <a:gd name="connsiteX2" fmla="*/ 0 w 3499"/>
                  <a:gd name="connsiteY2" fmla="*/ 4373 h 4372"/>
                  <a:gd name="connsiteX3" fmla="*/ 2625 w 3499"/>
                  <a:gd name="connsiteY3" fmla="*/ 4373 h 4372"/>
                  <a:gd name="connsiteX4" fmla="*/ 3500 w 3499"/>
                  <a:gd name="connsiteY4" fmla="*/ 2186 h 4372"/>
                  <a:gd name="connsiteX5" fmla="*/ 3500 w 3499"/>
                  <a:gd name="connsiteY5" fmla="*/ 34 h 4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99" h="4372">
                    <a:moveTo>
                      <a:pt x="1312" y="0"/>
                    </a:moveTo>
                    <a:lnTo>
                      <a:pt x="0" y="807"/>
                    </a:lnTo>
                    <a:lnTo>
                      <a:pt x="0" y="4373"/>
                    </a:lnTo>
                    <a:lnTo>
                      <a:pt x="2625" y="4373"/>
                    </a:lnTo>
                    <a:lnTo>
                      <a:pt x="3500" y="2186"/>
                    </a:lnTo>
                    <a:lnTo>
                      <a:pt x="3500" y="3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2" name="Freeform 918">
                <a:extLst>
                  <a:ext uri="{FF2B5EF4-FFF2-40B4-BE49-F238E27FC236}">
                    <a16:creationId xmlns:a16="http://schemas.microsoft.com/office/drawing/2014/main" id="{AA35942C-D84F-E37F-5722-7DCD6D97EF39}"/>
                  </a:ext>
                </a:extLst>
              </p:cNvPr>
              <p:cNvSpPr/>
              <p:nvPr/>
            </p:nvSpPr>
            <p:spPr>
              <a:xfrm>
                <a:off x="6410213" y="3629178"/>
                <a:ext cx="9692" cy="12480"/>
              </a:xfrm>
              <a:custGeom>
                <a:avLst/>
                <a:gdLst>
                  <a:gd name="connsiteX0" fmla="*/ 371 w 9692"/>
                  <a:gd name="connsiteY0" fmla="*/ 2624 h 12480"/>
                  <a:gd name="connsiteX1" fmla="*/ 0 w 9692"/>
                  <a:gd name="connsiteY1" fmla="*/ 4777 h 12480"/>
                  <a:gd name="connsiteX2" fmla="*/ 606 w 9692"/>
                  <a:gd name="connsiteY2" fmla="*/ 6997 h 12480"/>
                  <a:gd name="connsiteX3" fmla="*/ 1178 w 9692"/>
                  <a:gd name="connsiteY3" fmla="*/ 8545 h 12480"/>
                  <a:gd name="connsiteX4" fmla="*/ 2490 w 9692"/>
                  <a:gd name="connsiteY4" fmla="*/ 9655 h 12480"/>
                  <a:gd name="connsiteX5" fmla="*/ 5318 w 9692"/>
                  <a:gd name="connsiteY5" fmla="*/ 10967 h 12480"/>
                  <a:gd name="connsiteX6" fmla="*/ 7606 w 9692"/>
                  <a:gd name="connsiteY6" fmla="*/ 12481 h 12480"/>
                  <a:gd name="connsiteX7" fmla="*/ 7943 w 9692"/>
                  <a:gd name="connsiteY7" fmla="*/ 11303 h 12480"/>
                  <a:gd name="connsiteX8" fmla="*/ 7943 w 9692"/>
                  <a:gd name="connsiteY8" fmla="*/ 9554 h 12480"/>
                  <a:gd name="connsiteX9" fmla="*/ 9693 w 9692"/>
                  <a:gd name="connsiteY9" fmla="*/ 5652 h 12480"/>
                  <a:gd name="connsiteX10" fmla="*/ 9693 w 9692"/>
                  <a:gd name="connsiteY10" fmla="*/ 2624 h 12480"/>
                  <a:gd name="connsiteX11" fmla="*/ 9154 w 9692"/>
                  <a:gd name="connsiteY11" fmla="*/ 1144 h 12480"/>
                  <a:gd name="connsiteX12" fmla="*/ 6967 w 9692"/>
                  <a:gd name="connsiteY12" fmla="*/ 0 h 12480"/>
                  <a:gd name="connsiteX13" fmla="*/ 3601 w 9692"/>
                  <a:gd name="connsiteY13" fmla="*/ 0 h 12480"/>
                  <a:gd name="connsiteX14" fmla="*/ 2726 w 9692"/>
                  <a:gd name="connsiteY14" fmla="*/ 1077 h 12480"/>
                  <a:gd name="connsiteX15" fmla="*/ 976 w 9692"/>
                  <a:gd name="connsiteY15" fmla="*/ 1850 h 12480"/>
                  <a:gd name="connsiteX16" fmla="*/ 371 w 9692"/>
                  <a:gd name="connsiteY16" fmla="*/ 2624 h 12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692" h="12480">
                    <a:moveTo>
                      <a:pt x="371" y="2624"/>
                    </a:moveTo>
                    <a:lnTo>
                      <a:pt x="0" y="4777"/>
                    </a:lnTo>
                    <a:lnTo>
                      <a:pt x="606" y="6997"/>
                    </a:lnTo>
                    <a:lnTo>
                      <a:pt x="1178" y="8545"/>
                    </a:lnTo>
                    <a:lnTo>
                      <a:pt x="2490" y="9655"/>
                    </a:lnTo>
                    <a:lnTo>
                      <a:pt x="5318" y="10967"/>
                    </a:lnTo>
                    <a:lnTo>
                      <a:pt x="7606" y="12481"/>
                    </a:lnTo>
                    <a:cubicBezTo>
                      <a:pt x="7606" y="12481"/>
                      <a:pt x="7943" y="11740"/>
                      <a:pt x="7943" y="11303"/>
                    </a:cubicBezTo>
                    <a:cubicBezTo>
                      <a:pt x="7943" y="10866"/>
                      <a:pt x="7943" y="9554"/>
                      <a:pt x="7943" y="9554"/>
                    </a:cubicBezTo>
                    <a:lnTo>
                      <a:pt x="9693" y="5652"/>
                    </a:lnTo>
                    <a:lnTo>
                      <a:pt x="9693" y="2624"/>
                    </a:lnTo>
                    <a:lnTo>
                      <a:pt x="9154" y="1144"/>
                    </a:lnTo>
                    <a:lnTo>
                      <a:pt x="6967" y="0"/>
                    </a:lnTo>
                    <a:lnTo>
                      <a:pt x="3601" y="0"/>
                    </a:lnTo>
                    <a:lnTo>
                      <a:pt x="2726" y="1077"/>
                    </a:lnTo>
                    <a:lnTo>
                      <a:pt x="976" y="1850"/>
                    </a:lnTo>
                    <a:lnTo>
                      <a:pt x="371" y="262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3" name="Freeform 919">
                <a:extLst>
                  <a:ext uri="{FF2B5EF4-FFF2-40B4-BE49-F238E27FC236}">
                    <a16:creationId xmlns:a16="http://schemas.microsoft.com/office/drawing/2014/main" id="{666F751E-8831-21FD-E260-DD938A945EF1}"/>
                  </a:ext>
                </a:extLst>
              </p:cNvPr>
              <p:cNvSpPr/>
              <p:nvPr/>
            </p:nvSpPr>
            <p:spPr>
              <a:xfrm>
                <a:off x="6343913" y="3678359"/>
                <a:ext cx="3197" cy="3128"/>
              </a:xfrm>
              <a:custGeom>
                <a:avLst/>
                <a:gdLst>
                  <a:gd name="connsiteX0" fmla="*/ 0 w 3197"/>
                  <a:gd name="connsiteY0" fmla="*/ 1985 h 3128"/>
                  <a:gd name="connsiteX1" fmla="*/ 942 w 3197"/>
                  <a:gd name="connsiteY1" fmla="*/ 3129 h 3128"/>
                  <a:gd name="connsiteX2" fmla="*/ 2322 w 3197"/>
                  <a:gd name="connsiteY2" fmla="*/ 2557 h 3128"/>
                  <a:gd name="connsiteX3" fmla="*/ 3197 w 3197"/>
                  <a:gd name="connsiteY3" fmla="*/ 505 h 3128"/>
                  <a:gd name="connsiteX4" fmla="*/ 1615 w 3197"/>
                  <a:gd name="connsiteY4" fmla="*/ 0 h 3128"/>
                  <a:gd name="connsiteX5" fmla="*/ 808 w 3197"/>
                  <a:gd name="connsiteY5" fmla="*/ 1110 h 3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97" h="3128">
                    <a:moveTo>
                      <a:pt x="0" y="1985"/>
                    </a:moveTo>
                    <a:lnTo>
                      <a:pt x="942" y="3129"/>
                    </a:lnTo>
                    <a:lnTo>
                      <a:pt x="2322" y="2557"/>
                    </a:lnTo>
                    <a:lnTo>
                      <a:pt x="3197" y="505"/>
                    </a:lnTo>
                    <a:lnTo>
                      <a:pt x="1615" y="0"/>
                    </a:lnTo>
                    <a:lnTo>
                      <a:pt x="808" y="111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4" name="Freeform 920">
                <a:extLst>
                  <a:ext uri="{FF2B5EF4-FFF2-40B4-BE49-F238E27FC236}">
                    <a16:creationId xmlns:a16="http://schemas.microsoft.com/office/drawing/2014/main" id="{3AB1A6DB-995D-AD08-887B-3DA1994A2CCC}"/>
                  </a:ext>
                </a:extLst>
              </p:cNvPr>
              <p:cNvSpPr/>
              <p:nvPr/>
            </p:nvSpPr>
            <p:spPr>
              <a:xfrm>
                <a:off x="6167900" y="3531690"/>
                <a:ext cx="3668" cy="4103"/>
              </a:xfrm>
              <a:custGeom>
                <a:avLst/>
                <a:gdLst>
                  <a:gd name="connsiteX0" fmla="*/ 0 w 3668"/>
                  <a:gd name="connsiteY0" fmla="*/ 1951 h 4103"/>
                  <a:gd name="connsiteX1" fmla="*/ 1716 w 3668"/>
                  <a:gd name="connsiteY1" fmla="*/ 4104 h 4103"/>
                  <a:gd name="connsiteX2" fmla="*/ 3669 w 3668"/>
                  <a:gd name="connsiteY2" fmla="*/ 1951 h 4103"/>
                  <a:gd name="connsiteX3" fmla="*/ 2928 w 3668"/>
                  <a:gd name="connsiteY3" fmla="*/ 0 h 4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68" h="4103">
                    <a:moveTo>
                      <a:pt x="0" y="1951"/>
                    </a:moveTo>
                    <a:lnTo>
                      <a:pt x="1716" y="4104"/>
                    </a:lnTo>
                    <a:lnTo>
                      <a:pt x="3669" y="1951"/>
                    </a:lnTo>
                    <a:lnTo>
                      <a:pt x="2928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5" name="Freeform 921">
                <a:extLst>
                  <a:ext uri="{FF2B5EF4-FFF2-40B4-BE49-F238E27FC236}">
                    <a16:creationId xmlns:a16="http://schemas.microsoft.com/office/drawing/2014/main" id="{AE448082-AEB9-D1D1-B7AC-D425D19F4B44}"/>
                  </a:ext>
                </a:extLst>
              </p:cNvPr>
              <p:cNvSpPr/>
              <p:nvPr/>
            </p:nvSpPr>
            <p:spPr>
              <a:xfrm>
                <a:off x="6176482" y="3509993"/>
                <a:ext cx="5553" cy="6155"/>
              </a:xfrm>
              <a:custGeom>
                <a:avLst/>
                <a:gdLst>
                  <a:gd name="connsiteX0" fmla="*/ 0 w 5553"/>
                  <a:gd name="connsiteY0" fmla="*/ 3768 h 6155"/>
                  <a:gd name="connsiteX1" fmla="*/ 1043 w 5553"/>
                  <a:gd name="connsiteY1" fmla="*/ 5281 h 6155"/>
                  <a:gd name="connsiteX2" fmla="*/ 2759 w 5553"/>
                  <a:gd name="connsiteY2" fmla="*/ 6156 h 6155"/>
                  <a:gd name="connsiteX3" fmla="*/ 4342 w 5553"/>
                  <a:gd name="connsiteY3" fmla="*/ 6156 h 6155"/>
                  <a:gd name="connsiteX4" fmla="*/ 5553 w 5553"/>
                  <a:gd name="connsiteY4" fmla="*/ 3431 h 6155"/>
                  <a:gd name="connsiteX5" fmla="*/ 4712 w 5553"/>
                  <a:gd name="connsiteY5" fmla="*/ 1009 h 6155"/>
                  <a:gd name="connsiteX6" fmla="*/ 2861 w 5553"/>
                  <a:gd name="connsiteY6" fmla="*/ 0 h 6155"/>
                  <a:gd name="connsiteX7" fmla="*/ 673 w 5553"/>
                  <a:gd name="connsiteY7" fmla="*/ 875 h 6155"/>
                  <a:gd name="connsiteX8" fmla="*/ 0 w 5553"/>
                  <a:gd name="connsiteY8" fmla="*/ 2657 h 6155"/>
                  <a:gd name="connsiteX9" fmla="*/ 0 w 5553"/>
                  <a:gd name="connsiteY9" fmla="*/ 3768 h 6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553" h="6155">
                    <a:moveTo>
                      <a:pt x="0" y="3768"/>
                    </a:moveTo>
                    <a:lnTo>
                      <a:pt x="1043" y="5281"/>
                    </a:lnTo>
                    <a:lnTo>
                      <a:pt x="2759" y="6156"/>
                    </a:lnTo>
                    <a:lnTo>
                      <a:pt x="4342" y="6156"/>
                    </a:lnTo>
                    <a:cubicBezTo>
                      <a:pt x="4342" y="6156"/>
                      <a:pt x="5553" y="3599"/>
                      <a:pt x="5553" y="3431"/>
                    </a:cubicBezTo>
                    <a:cubicBezTo>
                      <a:pt x="5553" y="3297"/>
                      <a:pt x="4813" y="1043"/>
                      <a:pt x="4712" y="1009"/>
                    </a:cubicBezTo>
                    <a:cubicBezTo>
                      <a:pt x="4611" y="975"/>
                      <a:pt x="2861" y="0"/>
                      <a:pt x="2861" y="0"/>
                    </a:cubicBezTo>
                    <a:lnTo>
                      <a:pt x="673" y="875"/>
                    </a:lnTo>
                    <a:lnTo>
                      <a:pt x="0" y="2657"/>
                    </a:lnTo>
                    <a:lnTo>
                      <a:pt x="0" y="376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6" name="Freeform 922">
                <a:extLst>
                  <a:ext uri="{FF2B5EF4-FFF2-40B4-BE49-F238E27FC236}">
                    <a16:creationId xmlns:a16="http://schemas.microsoft.com/office/drawing/2014/main" id="{92A978BC-6072-FBA1-2AFA-76F0E1742022}"/>
                  </a:ext>
                </a:extLst>
              </p:cNvPr>
              <p:cNvSpPr/>
              <p:nvPr/>
            </p:nvSpPr>
            <p:spPr>
              <a:xfrm>
                <a:off x="6171345" y="3477343"/>
                <a:ext cx="21604" cy="21248"/>
              </a:xfrm>
              <a:custGeom>
                <a:avLst/>
                <a:gdLst>
                  <a:gd name="connsiteX0" fmla="*/ 10185 w 21604"/>
                  <a:gd name="connsiteY0" fmla="*/ 13812 h 21248"/>
                  <a:gd name="connsiteX1" fmla="*/ 8906 w 21604"/>
                  <a:gd name="connsiteY1" fmla="*/ 17108 h 21248"/>
                  <a:gd name="connsiteX2" fmla="*/ 9478 w 21604"/>
                  <a:gd name="connsiteY2" fmla="*/ 19967 h 21248"/>
                  <a:gd name="connsiteX3" fmla="*/ 15166 w 21604"/>
                  <a:gd name="connsiteY3" fmla="*/ 21010 h 21248"/>
                  <a:gd name="connsiteX4" fmla="*/ 19507 w 21604"/>
                  <a:gd name="connsiteY4" fmla="*/ 15695 h 21248"/>
                  <a:gd name="connsiteX5" fmla="*/ 19507 w 21604"/>
                  <a:gd name="connsiteY5" fmla="*/ 11625 h 21248"/>
                  <a:gd name="connsiteX6" fmla="*/ 19945 w 21604"/>
                  <a:gd name="connsiteY6" fmla="*/ 9438 h 21248"/>
                  <a:gd name="connsiteX7" fmla="*/ 21526 w 21604"/>
                  <a:gd name="connsiteY7" fmla="*/ 4729 h 21248"/>
                  <a:gd name="connsiteX8" fmla="*/ 21526 w 21604"/>
                  <a:gd name="connsiteY8" fmla="*/ 1836 h 21248"/>
                  <a:gd name="connsiteX9" fmla="*/ 17387 w 21604"/>
                  <a:gd name="connsiteY9" fmla="*/ 826 h 21248"/>
                  <a:gd name="connsiteX10" fmla="*/ 13819 w 21604"/>
                  <a:gd name="connsiteY10" fmla="*/ 86 h 21248"/>
                  <a:gd name="connsiteX11" fmla="*/ 7896 w 21604"/>
                  <a:gd name="connsiteY11" fmla="*/ 2609 h 21248"/>
                  <a:gd name="connsiteX12" fmla="*/ 6281 w 21604"/>
                  <a:gd name="connsiteY12" fmla="*/ 3686 h 21248"/>
                  <a:gd name="connsiteX13" fmla="*/ 5541 w 21604"/>
                  <a:gd name="connsiteY13" fmla="*/ 4830 h 21248"/>
                  <a:gd name="connsiteX14" fmla="*/ 1569 w 21604"/>
                  <a:gd name="connsiteY14" fmla="*/ 4830 h 21248"/>
                  <a:gd name="connsiteX15" fmla="*/ 761 w 21604"/>
                  <a:gd name="connsiteY15" fmla="*/ 5704 h 21248"/>
                  <a:gd name="connsiteX16" fmla="*/ 55 w 21604"/>
                  <a:gd name="connsiteY16" fmla="*/ 8025 h 21248"/>
                  <a:gd name="connsiteX17" fmla="*/ 324 w 21604"/>
                  <a:gd name="connsiteY17" fmla="*/ 11725 h 21248"/>
                  <a:gd name="connsiteX18" fmla="*/ 2344 w 21604"/>
                  <a:gd name="connsiteY18" fmla="*/ 12870 h 21248"/>
                  <a:gd name="connsiteX19" fmla="*/ 5810 w 21604"/>
                  <a:gd name="connsiteY19" fmla="*/ 11120 h 21248"/>
                  <a:gd name="connsiteX20" fmla="*/ 7863 w 21604"/>
                  <a:gd name="connsiteY20" fmla="*/ 9977 h 21248"/>
                  <a:gd name="connsiteX21" fmla="*/ 9445 w 21604"/>
                  <a:gd name="connsiteY21" fmla="*/ 10548 h 21248"/>
                  <a:gd name="connsiteX22" fmla="*/ 10320 w 21604"/>
                  <a:gd name="connsiteY22" fmla="*/ 11558 h 21248"/>
                  <a:gd name="connsiteX23" fmla="*/ 10320 w 21604"/>
                  <a:gd name="connsiteY23" fmla="*/ 13508 h 21248"/>
                  <a:gd name="connsiteX24" fmla="*/ 10185 w 21604"/>
                  <a:gd name="connsiteY24" fmla="*/ 13812 h 21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1604" h="21248">
                    <a:moveTo>
                      <a:pt x="10185" y="13812"/>
                    </a:moveTo>
                    <a:lnTo>
                      <a:pt x="8906" y="17108"/>
                    </a:lnTo>
                    <a:cubicBezTo>
                      <a:pt x="8906" y="17108"/>
                      <a:pt x="7829" y="18285"/>
                      <a:pt x="9478" y="19967"/>
                    </a:cubicBezTo>
                    <a:cubicBezTo>
                      <a:pt x="11127" y="21616"/>
                      <a:pt x="14863" y="21313"/>
                      <a:pt x="15166" y="21010"/>
                    </a:cubicBezTo>
                    <a:cubicBezTo>
                      <a:pt x="15435" y="20707"/>
                      <a:pt x="19507" y="15695"/>
                      <a:pt x="19507" y="15695"/>
                    </a:cubicBezTo>
                    <a:cubicBezTo>
                      <a:pt x="19507" y="15695"/>
                      <a:pt x="19205" y="12196"/>
                      <a:pt x="19507" y="11625"/>
                    </a:cubicBezTo>
                    <a:cubicBezTo>
                      <a:pt x="19776" y="11053"/>
                      <a:pt x="19945" y="9438"/>
                      <a:pt x="19945" y="9438"/>
                    </a:cubicBezTo>
                    <a:cubicBezTo>
                      <a:pt x="19945" y="9438"/>
                      <a:pt x="21459" y="5031"/>
                      <a:pt x="21526" y="4729"/>
                    </a:cubicBezTo>
                    <a:cubicBezTo>
                      <a:pt x="21594" y="4426"/>
                      <a:pt x="21661" y="1970"/>
                      <a:pt x="21526" y="1836"/>
                    </a:cubicBezTo>
                    <a:cubicBezTo>
                      <a:pt x="21392" y="1701"/>
                      <a:pt x="17690" y="826"/>
                      <a:pt x="17387" y="826"/>
                    </a:cubicBezTo>
                    <a:cubicBezTo>
                      <a:pt x="17084" y="826"/>
                      <a:pt x="14863" y="-317"/>
                      <a:pt x="13819" y="86"/>
                    </a:cubicBezTo>
                    <a:cubicBezTo>
                      <a:pt x="12810" y="524"/>
                      <a:pt x="8367" y="2273"/>
                      <a:pt x="7896" y="2609"/>
                    </a:cubicBezTo>
                    <a:cubicBezTo>
                      <a:pt x="7459" y="2979"/>
                      <a:pt x="6281" y="3686"/>
                      <a:pt x="6281" y="3686"/>
                    </a:cubicBezTo>
                    <a:cubicBezTo>
                      <a:pt x="6281" y="3686"/>
                      <a:pt x="6147" y="4561"/>
                      <a:pt x="5541" y="4830"/>
                    </a:cubicBezTo>
                    <a:cubicBezTo>
                      <a:pt x="4968" y="5132"/>
                      <a:pt x="1569" y="4830"/>
                      <a:pt x="1569" y="4830"/>
                    </a:cubicBezTo>
                    <a:cubicBezTo>
                      <a:pt x="1569" y="4830"/>
                      <a:pt x="1065" y="5402"/>
                      <a:pt x="761" y="5704"/>
                    </a:cubicBezTo>
                    <a:cubicBezTo>
                      <a:pt x="459" y="6007"/>
                      <a:pt x="55" y="8025"/>
                      <a:pt x="55" y="8025"/>
                    </a:cubicBezTo>
                    <a:cubicBezTo>
                      <a:pt x="55" y="8025"/>
                      <a:pt x="-181" y="11490"/>
                      <a:pt x="324" y="11725"/>
                    </a:cubicBezTo>
                    <a:cubicBezTo>
                      <a:pt x="829" y="11928"/>
                      <a:pt x="1637" y="13105"/>
                      <a:pt x="2344" y="12870"/>
                    </a:cubicBezTo>
                    <a:cubicBezTo>
                      <a:pt x="3050" y="12667"/>
                      <a:pt x="4968" y="11725"/>
                      <a:pt x="5810" y="11120"/>
                    </a:cubicBezTo>
                    <a:cubicBezTo>
                      <a:pt x="6685" y="10548"/>
                      <a:pt x="7425" y="9876"/>
                      <a:pt x="7863" y="9977"/>
                    </a:cubicBezTo>
                    <a:cubicBezTo>
                      <a:pt x="8267" y="10043"/>
                      <a:pt x="9445" y="10548"/>
                      <a:pt x="9445" y="10548"/>
                    </a:cubicBezTo>
                    <a:lnTo>
                      <a:pt x="10320" y="11558"/>
                    </a:lnTo>
                    <a:lnTo>
                      <a:pt x="10320" y="13508"/>
                    </a:lnTo>
                    <a:lnTo>
                      <a:pt x="10185" y="1381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</p:grpSp>
      <p:grpSp>
        <p:nvGrpSpPr>
          <p:cNvPr id="703" name="组合 146">
            <a:extLst>
              <a:ext uri="{FF2B5EF4-FFF2-40B4-BE49-F238E27FC236}">
                <a16:creationId xmlns:a16="http://schemas.microsoft.com/office/drawing/2014/main" id="{571FD134-FB8C-571C-B20E-7A8BBD419D8B}"/>
              </a:ext>
            </a:extLst>
          </p:cNvPr>
          <p:cNvGrpSpPr/>
          <p:nvPr/>
        </p:nvGrpSpPr>
        <p:grpSpPr>
          <a:xfrm>
            <a:off x="4622593" y="3239308"/>
            <a:ext cx="1244670" cy="875718"/>
            <a:chOff x="2280108" y="3691308"/>
            <a:chExt cx="1428841" cy="1005296"/>
          </a:xfrm>
          <a:solidFill>
            <a:schemeClr val="tx2"/>
          </a:solidFill>
        </p:grpSpPr>
        <p:sp>
          <p:nvSpPr>
            <p:cNvPr id="704" name="Freeform 934">
              <a:extLst>
                <a:ext uri="{FF2B5EF4-FFF2-40B4-BE49-F238E27FC236}">
                  <a16:creationId xmlns:a16="http://schemas.microsoft.com/office/drawing/2014/main" id="{06CAD720-D030-6BF7-1ABD-20E489FF2C76}"/>
                </a:ext>
              </a:extLst>
            </p:cNvPr>
            <p:cNvSpPr/>
            <p:nvPr/>
          </p:nvSpPr>
          <p:spPr>
            <a:xfrm>
              <a:off x="2855535" y="3793709"/>
              <a:ext cx="853414" cy="654905"/>
            </a:xfrm>
            <a:custGeom>
              <a:avLst/>
              <a:gdLst>
                <a:gd name="connsiteX0" fmla="*/ 780147 w 787079"/>
                <a:gd name="connsiteY0" fmla="*/ 183168 h 603999"/>
                <a:gd name="connsiteX1" fmla="*/ 776007 w 787079"/>
                <a:gd name="connsiteY1" fmla="*/ 177954 h 603999"/>
                <a:gd name="connsiteX2" fmla="*/ 773416 w 787079"/>
                <a:gd name="connsiteY2" fmla="*/ 170116 h 603999"/>
                <a:gd name="connsiteX3" fmla="*/ 771901 w 787079"/>
                <a:gd name="connsiteY3" fmla="*/ 162513 h 603999"/>
                <a:gd name="connsiteX4" fmla="*/ 769276 w 787079"/>
                <a:gd name="connsiteY4" fmla="*/ 156222 h 603999"/>
                <a:gd name="connsiteX5" fmla="*/ 769613 w 787079"/>
                <a:gd name="connsiteY5" fmla="*/ 151210 h 603999"/>
                <a:gd name="connsiteX6" fmla="*/ 766685 w 787079"/>
                <a:gd name="connsiteY6" fmla="*/ 143170 h 603999"/>
                <a:gd name="connsiteX7" fmla="*/ 766685 w 787079"/>
                <a:gd name="connsiteY7" fmla="*/ 137519 h 603999"/>
                <a:gd name="connsiteX8" fmla="*/ 766685 w 787079"/>
                <a:gd name="connsiteY8" fmla="*/ 132305 h 603999"/>
                <a:gd name="connsiteX9" fmla="*/ 764935 w 787079"/>
                <a:gd name="connsiteY9" fmla="*/ 124467 h 603999"/>
                <a:gd name="connsiteX10" fmla="*/ 761031 w 787079"/>
                <a:gd name="connsiteY10" fmla="*/ 119690 h 603999"/>
                <a:gd name="connsiteX11" fmla="*/ 759079 w 787079"/>
                <a:gd name="connsiteY11" fmla="*/ 115989 h 603999"/>
                <a:gd name="connsiteX12" fmla="*/ 755175 w 787079"/>
                <a:gd name="connsiteY12" fmla="*/ 107748 h 603999"/>
                <a:gd name="connsiteX13" fmla="*/ 749319 w 787079"/>
                <a:gd name="connsiteY13" fmla="*/ 99069 h 603999"/>
                <a:gd name="connsiteX14" fmla="*/ 742353 w 787079"/>
                <a:gd name="connsiteY14" fmla="*/ 93855 h 603999"/>
                <a:gd name="connsiteX15" fmla="*/ 742353 w 787079"/>
                <a:gd name="connsiteY15" fmla="*/ 85377 h 603999"/>
                <a:gd name="connsiteX16" fmla="*/ 747569 w 787079"/>
                <a:gd name="connsiteY16" fmla="*/ 80163 h 603999"/>
                <a:gd name="connsiteX17" fmla="*/ 747569 w 787079"/>
                <a:gd name="connsiteY17" fmla="*/ 74949 h 603999"/>
                <a:gd name="connsiteX18" fmla="*/ 747132 w 787079"/>
                <a:gd name="connsiteY18" fmla="*/ 72123 h 603999"/>
                <a:gd name="connsiteX19" fmla="*/ 742353 w 787079"/>
                <a:gd name="connsiteY19" fmla="*/ 69735 h 603999"/>
                <a:gd name="connsiteX20" fmla="*/ 739088 w 787079"/>
                <a:gd name="connsiteY20" fmla="*/ 73637 h 603999"/>
                <a:gd name="connsiteX21" fmla="*/ 733434 w 787079"/>
                <a:gd name="connsiteY21" fmla="*/ 77977 h 603999"/>
                <a:gd name="connsiteX22" fmla="*/ 728420 w 787079"/>
                <a:gd name="connsiteY22" fmla="*/ 82316 h 603999"/>
                <a:gd name="connsiteX23" fmla="*/ 722126 w 787079"/>
                <a:gd name="connsiteY23" fmla="*/ 85344 h 603999"/>
                <a:gd name="connsiteX24" fmla="*/ 718424 w 787079"/>
                <a:gd name="connsiteY24" fmla="*/ 82316 h 603999"/>
                <a:gd name="connsiteX25" fmla="*/ 712131 w 787079"/>
                <a:gd name="connsiteY25" fmla="*/ 77539 h 603999"/>
                <a:gd name="connsiteX26" fmla="*/ 708866 w 787079"/>
                <a:gd name="connsiteY26" fmla="*/ 72123 h 603999"/>
                <a:gd name="connsiteX27" fmla="*/ 704525 w 787079"/>
                <a:gd name="connsiteY27" fmla="*/ 67347 h 603999"/>
                <a:gd name="connsiteX28" fmla="*/ 704525 w 787079"/>
                <a:gd name="connsiteY28" fmla="*/ 63882 h 603999"/>
                <a:gd name="connsiteX29" fmla="*/ 696280 w 787079"/>
                <a:gd name="connsiteY29" fmla="*/ 61695 h 603999"/>
                <a:gd name="connsiteX30" fmla="*/ 689111 w 787079"/>
                <a:gd name="connsiteY30" fmla="*/ 63646 h 603999"/>
                <a:gd name="connsiteX31" fmla="*/ 683222 w 787079"/>
                <a:gd name="connsiteY31" fmla="*/ 66472 h 603999"/>
                <a:gd name="connsiteX32" fmla="*/ 674943 w 787079"/>
                <a:gd name="connsiteY32" fmla="*/ 66035 h 603999"/>
                <a:gd name="connsiteX33" fmla="*/ 663870 w 787079"/>
                <a:gd name="connsiteY33" fmla="*/ 61258 h 603999"/>
                <a:gd name="connsiteX34" fmla="*/ 652125 w 787079"/>
                <a:gd name="connsiteY34" fmla="*/ 54294 h 603999"/>
                <a:gd name="connsiteX35" fmla="*/ 648288 w 787079"/>
                <a:gd name="connsiteY35" fmla="*/ 56986 h 603999"/>
                <a:gd name="connsiteX36" fmla="*/ 646403 w 787079"/>
                <a:gd name="connsiteY36" fmla="*/ 59307 h 603999"/>
                <a:gd name="connsiteX37" fmla="*/ 643206 w 787079"/>
                <a:gd name="connsiteY37" fmla="*/ 61493 h 603999"/>
                <a:gd name="connsiteX38" fmla="*/ 641894 w 787079"/>
                <a:gd name="connsiteY38" fmla="*/ 63680 h 603999"/>
                <a:gd name="connsiteX39" fmla="*/ 637990 w 787079"/>
                <a:gd name="connsiteY39" fmla="*/ 66136 h 603999"/>
                <a:gd name="connsiteX40" fmla="*/ 635668 w 787079"/>
                <a:gd name="connsiteY40" fmla="*/ 69163 h 603999"/>
                <a:gd name="connsiteX41" fmla="*/ 634220 w 787079"/>
                <a:gd name="connsiteY41" fmla="*/ 74512 h 603999"/>
                <a:gd name="connsiteX42" fmla="*/ 637283 w 787079"/>
                <a:gd name="connsiteY42" fmla="*/ 78414 h 603999"/>
                <a:gd name="connsiteX43" fmla="*/ 639033 w 787079"/>
                <a:gd name="connsiteY43" fmla="*/ 81038 h 603999"/>
                <a:gd name="connsiteX44" fmla="*/ 643812 w 787079"/>
                <a:gd name="connsiteY44" fmla="*/ 86252 h 603999"/>
                <a:gd name="connsiteX45" fmla="*/ 644250 w 787079"/>
                <a:gd name="connsiteY45" fmla="*/ 91466 h 603999"/>
                <a:gd name="connsiteX46" fmla="*/ 643947 w 787079"/>
                <a:gd name="connsiteY46" fmla="*/ 94494 h 603999"/>
                <a:gd name="connsiteX47" fmla="*/ 642365 w 787079"/>
                <a:gd name="connsiteY47" fmla="*/ 98833 h 603999"/>
                <a:gd name="connsiteX48" fmla="*/ 639471 w 787079"/>
                <a:gd name="connsiteY48" fmla="*/ 100280 h 603999"/>
                <a:gd name="connsiteX49" fmla="*/ 635701 w 787079"/>
                <a:gd name="connsiteY49" fmla="*/ 99405 h 603999"/>
                <a:gd name="connsiteX50" fmla="*/ 630788 w 787079"/>
                <a:gd name="connsiteY50" fmla="*/ 97387 h 603999"/>
                <a:gd name="connsiteX51" fmla="*/ 627456 w 787079"/>
                <a:gd name="connsiteY51" fmla="*/ 96378 h 603999"/>
                <a:gd name="connsiteX52" fmla="*/ 623821 w 787079"/>
                <a:gd name="connsiteY52" fmla="*/ 94191 h 603999"/>
                <a:gd name="connsiteX53" fmla="*/ 620927 w 787079"/>
                <a:gd name="connsiteY53" fmla="*/ 91433 h 603999"/>
                <a:gd name="connsiteX54" fmla="*/ 614970 w 787079"/>
                <a:gd name="connsiteY54" fmla="*/ 85041 h 603999"/>
                <a:gd name="connsiteX55" fmla="*/ 608879 w 787079"/>
                <a:gd name="connsiteY55" fmla="*/ 79692 h 603999"/>
                <a:gd name="connsiteX56" fmla="*/ 604100 w 787079"/>
                <a:gd name="connsiteY56" fmla="*/ 75790 h 603999"/>
                <a:gd name="connsiteX57" fmla="*/ 598883 w 787079"/>
                <a:gd name="connsiteY57" fmla="*/ 75790 h 603999"/>
                <a:gd name="connsiteX58" fmla="*/ 597571 w 787079"/>
                <a:gd name="connsiteY58" fmla="*/ 76867 h 603999"/>
                <a:gd name="connsiteX59" fmla="*/ 591479 w 787079"/>
                <a:gd name="connsiteY59" fmla="*/ 79558 h 603999"/>
                <a:gd name="connsiteX60" fmla="*/ 589157 w 787079"/>
                <a:gd name="connsiteY60" fmla="*/ 81879 h 603999"/>
                <a:gd name="connsiteX61" fmla="*/ 584681 w 787079"/>
                <a:gd name="connsiteY61" fmla="*/ 83897 h 603999"/>
                <a:gd name="connsiteX62" fmla="*/ 581181 w 787079"/>
                <a:gd name="connsiteY62" fmla="*/ 84032 h 603999"/>
                <a:gd name="connsiteX63" fmla="*/ 577411 w 787079"/>
                <a:gd name="connsiteY63" fmla="*/ 83897 h 603999"/>
                <a:gd name="connsiteX64" fmla="*/ 572330 w 787079"/>
                <a:gd name="connsiteY64" fmla="*/ 84200 h 603999"/>
                <a:gd name="connsiteX65" fmla="*/ 570142 w 787079"/>
                <a:gd name="connsiteY65" fmla="*/ 84503 h 603999"/>
                <a:gd name="connsiteX66" fmla="*/ 566104 w 787079"/>
                <a:gd name="connsiteY66" fmla="*/ 85680 h 603999"/>
                <a:gd name="connsiteX67" fmla="*/ 564084 w 787079"/>
                <a:gd name="connsiteY67" fmla="*/ 88001 h 603999"/>
                <a:gd name="connsiteX68" fmla="*/ 561628 w 787079"/>
                <a:gd name="connsiteY68" fmla="*/ 88001 h 603999"/>
                <a:gd name="connsiteX69" fmla="*/ 556983 w 787079"/>
                <a:gd name="connsiteY69" fmla="*/ 88741 h 603999"/>
                <a:gd name="connsiteX70" fmla="*/ 554224 w 787079"/>
                <a:gd name="connsiteY70" fmla="*/ 91063 h 603999"/>
                <a:gd name="connsiteX71" fmla="*/ 552777 w 787079"/>
                <a:gd name="connsiteY71" fmla="*/ 92375 h 603999"/>
                <a:gd name="connsiteX72" fmla="*/ 552777 w 787079"/>
                <a:gd name="connsiteY72" fmla="*/ 95267 h 603999"/>
                <a:gd name="connsiteX73" fmla="*/ 552272 w 787079"/>
                <a:gd name="connsiteY73" fmla="*/ 98160 h 603999"/>
                <a:gd name="connsiteX74" fmla="*/ 549882 w 787079"/>
                <a:gd name="connsiteY74" fmla="*/ 100616 h 603999"/>
                <a:gd name="connsiteX75" fmla="*/ 545675 w 787079"/>
                <a:gd name="connsiteY75" fmla="*/ 100751 h 603999"/>
                <a:gd name="connsiteX76" fmla="*/ 543656 w 787079"/>
                <a:gd name="connsiteY76" fmla="*/ 99439 h 603999"/>
                <a:gd name="connsiteX77" fmla="*/ 539752 w 787079"/>
                <a:gd name="connsiteY77" fmla="*/ 98732 h 603999"/>
                <a:gd name="connsiteX78" fmla="*/ 537733 w 787079"/>
                <a:gd name="connsiteY78" fmla="*/ 99170 h 603999"/>
                <a:gd name="connsiteX79" fmla="*/ 536151 w 787079"/>
                <a:gd name="connsiteY79" fmla="*/ 100482 h 603999"/>
                <a:gd name="connsiteX80" fmla="*/ 533391 w 787079"/>
                <a:gd name="connsiteY80" fmla="*/ 102500 h 603999"/>
                <a:gd name="connsiteX81" fmla="*/ 530362 w 787079"/>
                <a:gd name="connsiteY81" fmla="*/ 102365 h 603999"/>
                <a:gd name="connsiteX82" fmla="*/ 526459 w 787079"/>
                <a:gd name="connsiteY82" fmla="*/ 101356 h 603999"/>
                <a:gd name="connsiteX83" fmla="*/ 524002 w 787079"/>
                <a:gd name="connsiteY83" fmla="*/ 103543 h 603999"/>
                <a:gd name="connsiteX84" fmla="*/ 521680 w 787079"/>
                <a:gd name="connsiteY84" fmla="*/ 104855 h 603999"/>
                <a:gd name="connsiteX85" fmla="*/ 518348 w 787079"/>
                <a:gd name="connsiteY85" fmla="*/ 106167 h 603999"/>
                <a:gd name="connsiteX86" fmla="*/ 510237 w 787079"/>
                <a:gd name="connsiteY86" fmla="*/ 107041 h 603999"/>
                <a:gd name="connsiteX87" fmla="*/ 504886 w 787079"/>
                <a:gd name="connsiteY87" fmla="*/ 107916 h 603999"/>
                <a:gd name="connsiteX88" fmla="*/ 499535 w 787079"/>
                <a:gd name="connsiteY88" fmla="*/ 108219 h 603999"/>
                <a:gd name="connsiteX89" fmla="*/ 492299 w 787079"/>
                <a:gd name="connsiteY89" fmla="*/ 104148 h 603999"/>
                <a:gd name="connsiteX90" fmla="*/ 489405 w 787079"/>
                <a:gd name="connsiteY90" fmla="*/ 103005 h 603999"/>
                <a:gd name="connsiteX91" fmla="*/ 487655 w 787079"/>
                <a:gd name="connsiteY91" fmla="*/ 101995 h 603999"/>
                <a:gd name="connsiteX92" fmla="*/ 481866 w 787079"/>
                <a:gd name="connsiteY92" fmla="*/ 98968 h 603999"/>
                <a:gd name="connsiteX93" fmla="*/ 477962 w 787079"/>
                <a:gd name="connsiteY93" fmla="*/ 96949 h 603999"/>
                <a:gd name="connsiteX94" fmla="*/ 476246 w 787079"/>
                <a:gd name="connsiteY94" fmla="*/ 93316 h 603999"/>
                <a:gd name="connsiteX95" fmla="*/ 478837 w 787079"/>
                <a:gd name="connsiteY95" fmla="*/ 90423 h 603999"/>
                <a:gd name="connsiteX96" fmla="*/ 482169 w 787079"/>
                <a:gd name="connsiteY96" fmla="*/ 89111 h 603999"/>
                <a:gd name="connsiteX97" fmla="*/ 486241 w 787079"/>
                <a:gd name="connsiteY97" fmla="*/ 87665 h 603999"/>
                <a:gd name="connsiteX98" fmla="*/ 489708 w 787079"/>
                <a:gd name="connsiteY98" fmla="*/ 84469 h 603999"/>
                <a:gd name="connsiteX99" fmla="*/ 491727 w 787079"/>
                <a:gd name="connsiteY99" fmla="*/ 81879 h 603999"/>
                <a:gd name="connsiteX100" fmla="*/ 495631 w 787079"/>
                <a:gd name="connsiteY100" fmla="*/ 77371 h 603999"/>
                <a:gd name="connsiteX101" fmla="*/ 498088 w 787079"/>
                <a:gd name="connsiteY101" fmla="*/ 68524 h 603999"/>
                <a:gd name="connsiteX102" fmla="*/ 497953 w 787079"/>
                <a:gd name="connsiteY102" fmla="*/ 66943 h 603999"/>
                <a:gd name="connsiteX103" fmla="*/ 498391 w 787079"/>
                <a:gd name="connsiteY103" fmla="*/ 63613 h 603999"/>
                <a:gd name="connsiteX104" fmla="*/ 499266 w 787079"/>
                <a:gd name="connsiteY104" fmla="*/ 60282 h 603999"/>
                <a:gd name="connsiteX105" fmla="*/ 503910 w 787079"/>
                <a:gd name="connsiteY105" fmla="*/ 56515 h 603999"/>
                <a:gd name="connsiteX106" fmla="*/ 506064 w 787079"/>
                <a:gd name="connsiteY106" fmla="*/ 53924 h 603999"/>
                <a:gd name="connsiteX107" fmla="*/ 509968 w 787079"/>
                <a:gd name="connsiteY107" fmla="*/ 49854 h 603999"/>
                <a:gd name="connsiteX108" fmla="*/ 513434 w 787079"/>
                <a:gd name="connsiteY108" fmla="*/ 47398 h 603999"/>
                <a:gd name="connsiteX109" fmla="*/ 515184 w 787079"/>
                <a:gd name="connsiteY109" fmla="*/ 46961 h 603999"/>
                <a:gd name="connsiteX110" fmla="*/ 522588 w 787079"/>
                <a:gd name="connsiteY110" fmla="*/ 44068 h 603999"/>
                <a:gd name="connsiteX111" fmla="*/ 524204 w 787079"/>
                <a:gd name="connsiteY111" fmla="*/ 42319 h 603999"/>
                <a:gd name="connsiteX112" fmla="*/ 528545 w 787079"/>
                <a:gd name="connsiteY112" fmla="*/ 39863 h 603999"/>
                <a:gd name="connsiteX113" fmla="*/ 529420 w 787079"/>
                <a:gd name="connsiteY113" fmla="*/ 38551 h 603999"/>
                <a:gd name="connsiteX114" fmla="*/ 528848 w 787079"/>
                <a:gd name="connsiteY114" fmla="*/ 35793 h 603999"/>
                <a:gd name="connsiteX115" fmla="*/ 527536 w 787079"/>
                <a:gd name="connsiteY115" fmla="*/ 32765 h 603999"/>
                <a:gd name="connsiteX116" fmla="*/ 527098 w 787079"/>
                <a:gd name="connsiteY116" fmla="*/ 30444 h 603999"/>
                <a:gd name="connsiteX117" fmla="*/ 527805 w 787079"/>
                <a:gd name="connsiteY117" fmla="*/ 28257 h 603999"/>
                <a:gd name="connsiteX118" fmla="*/ 527233 w 787079"/>
                <a:gd name="connsiteY118" fmla="*/ 24355 h 603999"/>
                <a:gd name="connsiteX119" fmla="*/ 524910 w 787079"/>
                <a:gd name="connsiteY119" fmla="*/ 20722 h 603999"/>
                <a:gd name="connsiteX120" fmla="*/ 522891 w 787079"/>
                <a:gd name="connsiteY120" fmla="*/ 17964 h 603999"/>
                <a:gd name="connsiteX121" fmla="*/ 520132 w 787079"/>
                <a:gd name="connsiteY121" fmla="*/ 15643 h 603999"/>
                <a:gd name="connsiteX122" fmla="*/ 516228 w 787079"/>
                <a:gd name="connsiteY122" fmla="*/ 11572 h 603999"/>
                <a:gd name="connsiteX123" fmla="*/ 512761 w 787079"/>
                <a:gd name="connsiteY123" fmla="*/ 9991 h 603999"/>
                <a:gd name="connsiteX124" fmla="*/ 508554 w 787079"/>
                <a:gd name="connsiteY124" fmla="*/ 6223 h 603999"/>
                <a:gd name="connsiteX125" fmla="*/ 506973 w 787079"/>
                <a:gd name="connsiteY125" fmla="*/ 6795 h 603999"/>
                <a:gd name="connsiteX126" fmla="*/ 504516 w 787079"/>
                <a:gd name="connsiteY126" fmla="*/ 8376 h 603999"/>
                <a:gd name="connsiteX127" fmla="*/ 501756 w 787079"/>
                <a:gd name="connsiteY127" fmla="*/ 11572 h 603999"/>
                <a:gd name="connsiteX128" fmla="*/ 496977 w 787079"/>
                <a:gd name="connsiteY128" fmla="*/ 14465 h 603999"/>
                <a:gd name="connsiteX129" fmla="*/ 492905 w 787079"/>
                <a:gd name="connsiteY129" fmla="*/ 17930 h 603999"/>
                <a:gd name="connsiteX130" fmla="*/ 488698 w 787079"/>
                <a:gd name="connsiteY130" fmla="*/ 19242 h 603999"/>
                <a:gd name="connsiteX131" fmla="*/ 486679 w 787079"/>
                <a:gd name="connsiteY131" fmla="*/ 18098 h 603999"/>
                <a:gd name="connsiteX132" fmla="*/ 480890 w 787079"/>
                <a:gd name="connsiteY132" fmla="*/ 12884 h 603999"/>
                <a:gd name="connsiteX133" fmla="*/ 477255 w 787079"/>
                <a:gd name="connsiteY133" fmla="*/ 11707 h 603999"/>
                <a:gd name="connsiteX134" fmla="*/ 474361 w 787079"/>
                <a:gd name="connsiteY134" fmla="*/ 13725 h 603999"/>
                <a:gd name="connsiteX135" fmla="*/ 471164 w 787079"/>
                <a:gd name="connsiteY135" fmla="*/ 17055 h 603999"/>
                <a:gd name="connsiteX136" fmla="*/ 465948 w 787079"/>
                <a:gd name="connsiteY136" fmla="*/ 23279 h 603999"/>
                <a:gd name="connsiteX137" fmla="*/ 460731 w 787079"/>
                <a:gd name="connsiteY137" fmla="*/ 23144 h 603999"/>
                <a:gd name="connsiteX138" fmla="*/ 458712 w 787079"/>
                <a:gd name="connsiteY138" fmla="*/ 19074 h 603999"/>
                <a:gd name="connsiteX139" fmla="*/ 459722 w 787079"/>
                <a:gd name="connsiteY139" fmla="*/ 18199 h 603999"/>
                <a:gd name="connsiteX140" fmla="*/ 458275 w 787079"/>
                <a:gd name="connsiteY140" fmla="*/ 11101 h 603999"/>
                <a:gd name="connsiteX141" fmla="*/ 451611 w 787079"/>
                <a:gd name="connsiteY141" fmla="*/ 6627 h 603999"/>
                <a:gd name="connsiteX142" fmla="*/ 446697 w 787079"/>
                <a:gd name="connsiteY142" fmla="*/ 6324 h 603999"/>
                <a:gd name="connsiteX143" fmla="*/ 444375 w 787079"/>
                <a:gd name="connsiteY143" fmla="*/ 9217 h 603999"/>
                <a:gd name="connsiteX144" fmla="*/ 442793 w 787079"/>
                <a:gd name="connsiteY144" fmla="*/ 10967 h 603999"/>
                <a:gd name="connsiteX145" fmla="*/ 439461 w 787079"/>
                <a:gd name="connsiteY145" fmla="*/ 12850 h 603999"/>
                <a:gd name="connsiteX146" fmla="*/ 435692 w 787079"/>
                <a:gd name="connsiteY146" fmla="*/ 15441 h 603999"/>
                <a:gd name="connsiteX147" fmla="*/ 433808 w 787079"/>
                <a:gd name="connsiteY147" fmla="*/ 16752 h 603999"/>
                <a:gd name="connsiteX148" fmla="*/ 426437 w 787079"/>
                <a:gd name="connsiteY148" fmla="*/ 16752 h 603999"/>
                <a:gd name="connsiteX149" fmla="*/ 422365 w 787079"/>
                <a:gd name="connsiteY149" fmla="*/ 17762 h 603999"/>
                <a:gd name="connsiteX150" fmla="*/ 417283 w 787079"/>
                <a:gd name="connsiteY150" fmla="*/ 19343 h 603999"/>
                <a:gd name="connsiteX151" fmla="*/ 409879 w 787079"/>
                <a:gd name="connsiteY151" fmla="*/ 18031 h 603999"/>
                <a:gd name="connsiteX152" fmla="*/ 403081 w 787079"/>
                <a:gd name="connsiteY152" fmla="*/ 17593 h 603999"/>
                <a:gd name="connsiteX153" fmla="*/ 397999 w 787079"/>
                <a:gd name="connsiteY153" fmla="*/ 17156 h 603999"/>
                <a:gd name="connsiteX154" fmla="*/ 392042 w 787079"/>
                <a:gd name="connsiteY154" fmla="*/ 14566 h 603999"/>
                <a:gd name="connsiteX155" fmla="*/ 388273 w 787079"/>
                <a:gd name="connsiteY155" fmla="*/ 10933 h 603999"/>
                <a:gd name="connsiteX156" fmla="*/ 386388 w 787079"/>
                <a:gd name="connsiteY156" fmla="*/ 7165 h 603999"/>
                <a:gd name="connsiteX157" fmla="*/ 383931 w 787079"/>
                <a:gd name="connsiteY157" fmla="*/ 2826 h 603999"/>
                <a:gd name="connsiteX158" fmla="*/ 381172 w 787079"/>
                <a:gd name="connsiteY158" fmla="*/ 0 h 603999"/>
                <a:gd name="connsiteX159" fmla="*/ 377268 w 787079"/>
                <a:gd name="connsiteY159" fmla="*/ 67 h 603999"/>
                <a:gd name="connsiteX160" fmla="*/ 371042 w 787079"/>
                <a:gd name="connsiteY160" fmla="*/ 67 h 603999"/>
                <a:gd name="connsiteX161" fmla="*/ 368450 w 787079"/>
                <a:gd name="connsiteY161" fmla="*/ 2388 h 603999"/>
                <a:gd name="connsiteX162" fmla="*/ 365825 w 787079"/>
                <a:gd name="connsiteY162" fmla="*/ 9049 h 603999"/>
                <a:gd name="connsiteX163" fmla="*/ 364378 w 787079"/>
                <a:gd name="connsiteY163" fmla="*/ 12817 h 603999"/>
                <a:gd name="connsiteX164" fmla="*/ 359162 w 787079"/>
                <a:gd name="connsiteY164" fmla="*/ 18031 h 603999"/>
                <a:gd name="connsiteX165" fmla="*/ 355695 w 787079"/>
                <a:gd name="connsiteY165" fmla="*/ 19343 h 603999"/>
                <a:gd name="connsiteX166" fmla="*/ 354113 w 787079"/>
                <a:gd name="connsiteY166" fmla="*/ 20083 h 603999"/>
                <a:gd name="connsiteX167" fmla="*/ 351354 w 787079"/>
                <a:gd name="connsiteY167" fmla="*/ 21832 h 603999"/>
                <a:gd name="connsiteX168" fmla="*/ 347585 w 787079"/>
                <a:gd name="connsiteY168" fmla="*/ 23851 h 603999"/>
                <a:gd name="connsiteX169" fmla="*/ 344690 w 787079"/>
                <a:gd name="connsiteY169" fmla="*/ 23851 h 603999"/>
                <a:gd name="connsiteX170" fmla="*/ 342065 w 787079"/>
                <a:gd name="connsiteY170" fmla="*/ 25162 h 603999"/>
                <a:gd name="connsiteX171" fmla="*/ 339743 w 787079"/>
                <a:gd name="connsiteY171" fmla="*/ 26609 h 603999"/>
                <a:gd name="connsiteX172" fmla="*/ 340618 w 787079"/>
                <a:gd name="connsiteY172" fmla="*/ 29805 h 603999"/>
                <a:gd name="connsiteX173" fmla="*/ 342065 w 787079"/>
                <a:gd name="connsiteY173" fmla="*/ 31251 h 603999"/>
                <a:gd name="connsiteX174" fmla="*/ 350041 w 787079"/>
                <a:gd name="connsiteY174" fmla="*/ 35153 h 603999"/>
                <a:gd name="connsiteX175" fmla="*/ 351791 w 787079"/>
                <a:gd name="connsiteY175" fmla="*/ 37340 h 603999"/>
                <a:gd name="connsiteX176" fmla="*/ 350647 w 787079"/>
                <a:gd name="connsiteY176" fmla="*/ 39089 h 603999"/>
                <a:gd name="connsiteX177" fmla="*/ 348762 w 787079"/>
                <a:gd name="connsiteY177" fmla="*/ 41276 h 603999"/>
                <a:gd name="connsiteX178" fmla="*/ 346878 w 787079"/>
                <a:gd name="connsiteY178" fmla="*/ 42453 h 603999"/>
                <a:gd name="connsiteX179" fmla="*/ 347753 w 787079"/>
                <a:gd name="connsiteY179" fmla="*/ 45481 h 603999"/>
                <a:gd name="connsiteX180" fmla="*/ 348325 w 787079"/>
                <a:gd name="connsiteY180" fmla="*/ 46927 h 603999"/>
                <a:gd name="connsiteX181" fmla="*/ 350344 w 787079"/>
                <a:gd name="connsiteY181" fmla="*/ 50258 h 603999"/>
                <a:gd name="connsiteX182" fmla="*/ 349604 w 787079"/>
                <a:gd name="connsiteY182" fmla="*/ 53016 h 603999"/>
                <a:gd name="connsiteX183" fmla="*/ 349166 w 787079"/>
                <a:gd name="connsiteY183" fmla="*/ 55203 h 603999"/>
                <a:gd name="connsiteX184" fmla="*/ 349604 w 787079"/>
                <a:gd name="connsiteY184" fmla="*/ 57793 h 603999"/>
                <a:gd name="connsiteX185" fmla="*/ 352801 w 787079"/>
                <a:gd name="connsiteY185" fmla="*/ 61998 h 603999"/>
                <a:gd name="connsiteX186" fmla="*/ 352498 w 787079"/>
                <a:gd name="connsiteY186" fmla="*/ 65194 h 603999"/>
                <a:gd name="connsiteX187" fmla="*/ 351185 w 787079"/>
                <a:gd name="connsiteY187" fmla="*/ 67649 h 603999"/>
                <a:gd name="connsiteX188" fmla="*/ 347113 w 787079"/>
                <a:gd name="connsiteY188" fmla="*/ 68221 h 603999"/>
                <a:gd name="connsiteX189" fmla="*/ 344084 w 787079"/>
                <a:gd name="connsiteY189" fmla="*/ 68524 h 603999"/>
                <a:gd name="connsiteX190" fmla="*/ 340618 w 787079"/>
                <a:gd name="connsiteY190" fmla="*/ 70542 h 603999"/>
                <a:gd name="connsiteX191" fmla="*/ 336142 w 787079"/>
                <a:gd name="connsiteY191" fmla="*/ 71552 h 603999"/>
                <a:gd name="connsiteX192" fmla="*/ 330791 w 787079"/>
                <a:gd name="connsiteY192" fmla="*/ 68928 h 603999"/>
                <a:gd name="connsiteX193" fmla="*/ 326315 w 787079"/>
                <a:gd name="connsiteY193" fmla="*/ 62536 h 603999"/>
                <a:gd name="connsiteX194" fmla="*/ 322545 w 787079"/>
                <a:gd name="connsiteY194" fmla="*/ 56750 h 603999"/>
                <a:gd name="connsiteX195" fmla="*/ 317901 w 787079"/>
                <a:gd name="connsiteY195" fmla="*/ 52108 h 603999"/>
                <a:gd name="connsiteX196" fmla="*/ 311675 w 787079"/>
                <a:gd name="connsiteY196" fmla="*/ 45885 h 603999"/>
                <a:gd name="connsiteX197" fmla="*/ 304843 w 787079"/>
                <a:gd name="connsiteY197" fmla="*/ 44573 h 603999"/>
                <a:gd name="connsiteX198" fmla="*/ 300939 w 787079"/>
                <a:gd name="connsiteY198" fmla="*/ 42823 h 603999"/>
                <a:gd name="connsiteX199" fmla="*/ 295420 w 787079"/>
                <a:gd name="connsiteY199" fmla="*/ 41242 h 603999"/>
                <a:gd name="connsiteX200" fmla="*/ 293838 w 787079"/>
                <a:gd name="connsiteY200" fmla="*/ 42823 h 603999"/>
                <a:gd name="connsiteX201" fmla="*/ 290809 w 787079"/>
                <a:gd name="connsiteY201" fmla="*/ 44135 h 603999"/>
                <a:gd name="connsiteX202" fmla="*/ 285155 w 787079"/>
                <a:gd name="connsiteY202" fmla="*/ 44135 h 603999"/>
                <a:gd name="connsiteX203" fmla="*/ 284280 w 787079"/>
                <a:gd name="connsiteY203" fmla="*/ 42823 h 603999"/>
                <a:gd name="connsiteX204" fmla="*/ 275597 w 787079"/>
                <a:gd name="connsiteY204" fmla="*/ 42823 h 603999"/>
                <a:gd name="connsiteX205" fmla="*/ 268227 w 787079"/>
                <a:gd name="connsiteY205" fmla="*/ 42823 h 603999"/>
                <a:gd name="connsiteX206" fmla="*/ 266342 w 787079"/>
                <a:gd name="connsiteY206" fmla="*/ 43900 h 603999"/>
                <a:gd name="connsiteX207" fmla="*/ 262270 w 787079"/>
                <a:gd name="connsiteY207" fmla="*/ 44976 h 603999"/>
                <a:gd name="connsiteX208" fmla="*/ 260688 w 787079"/>
                <a:gd name="connsiteY208" fmla="*/ 45851 h 603999"/>
                <a:gd name="connsiteX209" fmla="*/ 259982 w 787079"/>
                <a:gd name="connsiteY209" fmla="*/ 47432 h 603999"/>
                <a:gd name="connsiteX210" fmla="*/ 262136 w 787079"/>
                <a:gd name="connsiteY210" fmla="*/ 49013 h 603999"/>
                <a:gd name="connsiteX211" fmla="*/ 262573 w 787079"/>
                <a:gd name="connsiteY211" fmla="*/ 54093 h 603999"/>
                <a:gd name="connsiteX212" fmla="*/ 262573 w 787079"/>
                <a:gd name="connsiteY212" fmla="*/ 56548 h 603999"/>
                <a:gd name="connsiteX213" fmla="*/ 262573 w 787079"/>
                <a:gd name="connsiteY213" fmla="*/ 59307 h 603999"/>
                <a:gd name="connsiteX214" fmla="*/ 262573 w 787079"/>
                <a:gd name="connsiteY214" fmla="*/ 61493 h 603999"/>
                <a:gd name="connsiteX215" fmla="*/ 261866 w 787079"/>
                <a:gd name="connsiteY215" fmla="*/ 64083 h 603999"/>
                <a:gd name="connsiteX216" fmla="*/ 259982 w 787079"/>
                <a:gd name="connsiteY216" fmla="*/ 65227 h 603999"/>
                <a:gd name="connsiteX217" fmla="*/ 258972 w 787079"/>
                <a:gd name="connsiteY217" fmla="*/ 67986 h 603999"/>
                <a:gd name="connsiteX218" fmla="*/ 260116 w 787079"/>
                <a:gd name="connsiteY218" fmla="*/ 69870 h 603999"/>
                <a:gd name="connsiteX219" fmla="*/ 263886 w 787079"/>
                <a:gd name="connsiteY219" fmla="*/ 72460 h 603999"/>
                <a:gd name="connsiteX220" fmla="*/ 265333 w 787079"/>
                <a:gd name="connsiteY220" fmla="*/ 75656 h 603999"/>
                <a:gd name="connsiteX221" fmla="*/ 265198 w 787079"/>
                <a:gd name="connsiteY221" fmla="*/ 77842 h 603999"/>
                <a:gd name="connsiteX222" fmla="*/ 265064 w 787079"/>
                <a:gd name="connsiteY222" fmla="*/ 79289 h 603999"/>
                <a:gd name="connsiteX223" fmla="*/ 263919 w 787079"/>
                <a:gd name="connsiteY223" fmla="*/ 80601 h 603999"/>
                <a:gd name="connsiteX224" fmla="*/ 263482 w 787079"/>
                <a:gd name="connsiteY224" fmla="*/ 82754 h 603999"/>
                <a:gd name="connsiteX225" fmla="*/ 261159 w 787079"/>
                <a:gd name="connsiteY225" fmla="*/ 82754 h 603999"/>
                <a:gd name="connsiteX226" fmla="*/ 258400 w 787079"/>
                <a:gd name="connsiteY226" fmla="*/ 83628 h 603999"/>
                <a:gd name="connsiteX227" fmla="*/ 254496 w 787079"/>
                <a:gd name="connsiteY227" fmla="*/ 85815 h 603999"/>
                <a:gd name="connsiteX228" fmla="*/ 251467 w 787079"/>
                <a:gd name="connsiteY228" fmla="*/ 87396 h 603999"/>
                <a:gd name="connsiteX229" fmla="*/ 247832 w 787079"/>
                <a:gd name="connsiteY229" fmla="*/ 91029 h 603999"/>
                <a:gd name="connsiteX230" fmla="*/ 244635 w 787079"/>
                <a:gd name="connsiteY230" fmla="*/ 94225 h 603999"/>
                <a:gd name="connsiteX231" fmla="*/ 242751 w 787079"/>
                <a:gd name="connsiteY231" fmla="*/ 97252 h 603999"/>
                <a:gd name="connsiteX232" fmla="*/ 241606 w 787079"/>
                <a:gd name="connsiteY232" fmla="*/ 100280 h 603999"/>
                <a:gd name="connsiteX233" fmla="*/ 242178 w 787079"/>
                <a:gd name="connsiteY233" fmla="*/ 103913 h 603999"/>
                <a:gd name="connsiteX234" fmla="*/ 243491 w 787079"/>
                <a:gd name="connsiteY234" fmla="*/ 106671 h 603999"/>
                <a:gd name="connsiteX235" fmla="*/ 245376 w 787079"/>
                <a:gd name="connsiteY235" fmla="*/ 109564 h 603999"/>
                <a:gd name="connsiteX236" fmla="*/ 251164 w 787079"/>
                <a:gd name="connsiteY236" fmla="*/ 114038 h 603999"/>
                <a:gd name="connsiteX237" fmla="*/ 251736 w 787079"/>
                <a:gd name="connsiteY237" fmla="*/ 119118 h 603999"/>
                <a:gd name="connsiteX238" fmla="*/ 251433 w 787079"/>
                <a:gd name="connsiteY238" fmla="*/ 124197 h 603999"/>
                <a:gd name="connsiteX239" fmla="*/ 253621 w 787079"/>
                <a:gd name="connsiteY239" fmla="*/ 130286 h 603999"/>
                <a:gd name="connsiteX240" fmla="*/ 255506 w 787079"/>
                <a:gd name="connsiteY240" fmla="*/ 135501 h 603999"/>
                <a:gd name="connsiteX241" fmla="*/ 252611 w 787079"/>
                <a:gd name="connsiteY241" fmla="*/ 141152 h 603999"/>
                <a:gd name="connsiteX242" fmla="*/ 247092 w 787079"/>
                <a:gd name="connsiteY242" fmla="*/ 143170 h 603999"/>
                <a:gd name="connsiteX243" fmla="*/ 241303 w 787079"/>
                <a:gd name="connsiteY243" fmla="*/ 144751 h 603999"/>
                <a:gd name="connsiteX244" fmla="*/ 235649 w 787079"/>
                <a:gd name="connsiteY244" fmla="*/ 149226 h 603999"/>
                <a:gd name="connsiteX245" fmla="*/ 235212 w 787079"/>
                <a:gd name="connsiteY245" fmla="*/ 154877 h 603999"/>
                <a:gd name="connsiteX246" fmla="*/ 237803 w 787079"/>
                <a:gd name="connsiteY246" fmla="*/ 163421 h 603999"/>
                <a:gd name="connsiteX247" fmla="*/ 239116 w 787079"/>
                <a:gd name="connsiteY247" fmla="*/ 167054 h 603999"/>
                <a:gd name="connsiteX248" fmla="*/ 244770 w 787079"/>
                <a:gd name="connsiteY248" fmla="*/ 174455 h 603999"/>
                <a:gd name="connsiteX249" fmla="*/ 244635 w 787079"/>
                <a:gd name="connsiteY249" fmla="*/ 178795 h 603999"/>
                <a:gd name="connsiteX250" fmla="*/ 242010 w 787079"/>
                <a:gd name="connsiteY250" fmla="*/ 180107 h 603999"/>
                <a:gd name="connsiteX251" fmla="*/ 236221 w 787079"/>
                <a:gd name="connsiteY251" fmla="*/ 182428 h 603999"/>
                <a:gd name="connsiteX252" fmla="*/ 229120 w 787079"/>
                <a:gd name="connsiteY252" fmla="*/ 187776 h 603999"/>
                <a:gd name="connsiteX253" fmla="*/ 226226 w 787079"/>
                <a:gd name="connsiteY253" fmla="*/ 186464 h 603999"/>
                <a:gd name="connsiteX254" fmla="*/ 220707 w 787079"/>
                <a:gd name="connsiteY254" fmla="*/ 186464 h 603999"/>
                <a:gd name="connsiteX255" fmla="*/ 212899 w 787079"/>
                <a:gd name="connsiteY255" fmla="*/ 191241 h 603999"/>
                <a:gd name="connsiteX256" fmla="*/ 209399 w 787079"/>
                <a:gd name="connsiteY256" fmla="*/ 198474 h 603999"/>
                <a:gd name="connsiteX257" fmla="*/ 216062 w 787079"/>
                <a:gd name="connsiteY257" fmla="*/ 203823 h 603999"/>
                <a:gd name="connsiteX258" fmla="*/ 217947 w 787079"/>
                <a:gd name="connsiteY258" fmla="*/ 207590 h 603999"/>
                <a:gd name="connsiteX259" fmla="*/ 215625 w 787079"/>
                <a:gd name="connsiteY259" fmla="*/ 212670 h 603999"/>
                <a:gd name="connsiteX260" fmla="*/ 212159 w 787079"/>
                <a:gd name="connsiteY260" fmla="*/ 215698 h 603999"/>
                <a:gd name="connsiteX261" fmla="*/ 208389 w 787079"/>
                <a:gd name="connsiteY261" fmla="*/ 216841 h 603999"/>
                <a:gd name="connsiteX262" fmla="*/ 204048 w 787079"/>
                <a:gd name="connsiteY262" fmla="*/ 217547 h 603999"/>
                <a:gd name="connsiteX263" fmla="*/ 198091 w 787079"/>
                <a:gd name="connsiteY263" fmla="*/ 221181 h 603999"/>
                <a:gd name="connsiteX264" fmla="*/ 193749 w 787079"/>
                <a:gd name="connsiteY264" fmla="*/ 226260 h 603999"/>
                <a:gd name="connsiteX265" fmla="*/ 192740 w 787079"/>
                <a:gd name="connsiteY265" fmla="*/ 227269 h 603999"/>
                <a:gd name="connsiteX266" fmla="*/ 187826 w 787079"/>
                <a:gd name="connsiteY266" fmla="*/ 229591 h 603999"/>
                <a:gd name="connsiteX267" fmla="*/ 187826 w 787079"/>
                <a:gd name="connsiteY267" fmla="*/ 234367 h 603999"/>
                <a:gd name="connsiteX268" fmla="*/ 187557 w 787079"/>
                <a:gd name="connsiteY268" fmla="*/ 238438 h 603999"/>
                <a:gd name="connsiteX269" fmla="*/ 188264 w 787079"/>
                <a:gd name="connsiteY269" fmla="*/ 246107 h 603999"/>
                <a:gd name="connsiteX270" fmla="*/ 187254 w 787079"/>
                <a:gd name="connsiteY270" fmla="*/ 248731 h 603999"/>
                <a:gd name="connsiteX271" fmla="*/ 184360 w 787079"/>
                <a:gd name="connsiteY271" fmla="*/ 252364 h 603999"/>
                <a:gd name="connsiteX272" fmla="*/ 184360 w 787079"/>
                <a:gd name="connsiteY272" fmla="*/ 255998 h 603999"/>
                <a:gd name="connsiteX273" fmla="*/ 186817 w 787079"/>
                <a:gd name="connsiteY273" fmla="*/ 259328 h 603999"/>
                <a:gd name="connsiteX274" fmla="*/ 188398 w 787079"/>
                <a:gd name="connsiteY274" fmla="*/ 262221 h 603999"/>
                <a:gd name="connsiteX275" fmla="*/ 188836 w 787079"/>
                <a:gd name="connsiteY275" fmla="*/ 269756 h 603999"/>
                <a:gd name="connsiteX276" fmla="*/ 190418 w 787079"/>
                <a:gd name="connsiteY276" fmla="*/ 274264 h 603999"/>
                <a:gd name="connsiteX277" fmla="*/ 193043 w 787079"/>
                <a:gd name="connsiteY277" fmla="*/ 278335 h 603999"/>
                <a:gd name="connsiteX278" fmla="*/ 192302 w 787079"/>
                <a:gd name="connsiteY278" fmla="*/ 287013 h 603999"/>
                <a:gd name="connsiteX279" fmla="*/ 185504 w 787079"/>
                <a:gd name="connsiteY279" fmla="*/ 293539 h 603999"/>
                <a:gd name="connsiteX280" fmla="*/ 184629 w 787079"/>
                <a:gd name="connsiteY280" fmla="*/ 299056 h 603999"/>
                <a:gd name="connsiteX281" fmla="*/ 182172 w 787079"/>
                <a:gd name="connsiteY281" fmla="*/ 302252 h 603999"/>
                <a:gd name="connsiteX282" fmla="*/ 179850 w 787079"/>
                <a:gd name="connsiteY282" fmla="*/ 304573 h 603999"/>
                <a:gd name="connsiteX283" fmla="*/ 175509 w 787079"/>
                <a:gd name="connsiteY283" fmla="*/ 307903 h 603999"/>
                <a:gd name="connsiteX284" fmla="*/ 175071 w 787079"/>
                <a:gd name="connsiteY284" fmla="*/ 310090 h 603999"/>
                <a:gd name="connsiteX285" fmla="*/ 172009 w 787079"/>
                <a:gd name="connsiteY285" fmla="*/ 312849 h 603999"/>
                <a:gd name="connsiteX286" fmla="*/ 169989 w 787079"/>
                <a:gd name="connsiteY286" fmla="*/ 314026 h 603999"/>
                <a:gd name="connsiteX287" fmla="*/ 167532 w 787079"/>
                <a:gd name="connsiteY287" fmla="*/ 314732 h 603999"/>
                <a:gd name="connsiteX288" fmla="*/ 163023 w 787079"/>
                <a:gd name="connsiteY288" fmla="*/ 316482 h 603999"/>
                <a:gd name="connsiteX289" fmla="*/ 159994 w 787079"/>
                <a:gd name="connsiteY289" fmla="*/ 318063 h 603999"/>
                <a:gd name="connsiteX290" fmla="*/ 157672 w 787079"/>
                <a:gd name="connsiteY290" fmla="*/ 318937 h 603999"/>
                <a:gd name="connsiteX291" fmla="*/ 156662 w 787079"/>
                <a:gd name="connsiteY291" fmla="*/ 321999 h 603999"/>
                <a:gd name="connsiteX292" fmla="*/ 155215 w 787079"/>
                <a:gd name="connsiteY292" fmla="*/ 323580 h 603999"/>
                <a:gd name="connsiteX293" fmla="*/ 152893 w 787079"/>
                <a:gd name="connsiteY293" fmla="*/ 326204 h 603999"/>
                <a:gd name="connsiteX294" fmla="*/ 148820 w 787079"/>
                <a:gd name="connsiteY294" fmla="*/ 327347 h 603999"/>
                <a:gd name="connsiteX295" fmla="*/ 143604 w 787079"/>
                <a:gd name="connsiteY295" fmla="*/ 328222 h 603999"/>
                <a:gd name="connsiteX296" fmla="*/ 139700 w 787079"/>
                <a:gd name="connsiteY296" fmla="*/ 331115 h 603999"/>
                <a:gd name="connsiteX297" fmla="*/ 133609 w 787079"/>
                <a:gd name="connsiteY297" fmla="*/ 332730 h 603999"/>
                <a:gd name="connsiteX298" fmla="*/ 127652 w 787079"/>
                <a:gd name="connsiteY298" fmla="*/ 334748 h 603999"/>
                <a:gd name="connsiteX299" fmla="*/ 123883 w 787079"/>
                <a:gd name="connsiteY299" fmla="*/ 339390 h 603999"/>
                <a:gd name="connsiteX300" fmla="*/ 120988 w 787079"/>
                <a:gd name="connsiteY300" fmla="*/ 347060 h 603999"/>
                <a:gd name="connsiteX301" fmla="*/ 118969 w 787079"/>
                <a:gd name="connsiteY301" fmla="*/ 348809 h 603999"/>
                <a:gd name="connsiteX302" fmla="*/ 118834 w 787079"/>
                <a:gd name="connsiteY302" fmla="*/ 352846 h 603999"/>
                <a:gd name="connsiteX303" fmla="*/ 122469 w 787079"/>
                <a:gd name="connsiteY303" fmla="*/ 359944 h 603999"/>
                <a:gd name="connsiteX304" fmla="*/ 123916 w 787079"/>
                <a:gd name="connsiteY304" fmla="*/ 364587 h 603999"/>
                <a:gd name="connsiteX305" fmla="*/ 122604 w 787079"/>
                <a:gd name="connsiteY305" fmla="*/ 367042 h 603999"/>
                <a:gd name="connsiteX306" fmla="*/ 119575 w 787079"/>
                <a:gd name="connsiteY306" fmla="*/ 366470 h 603999"/>
                <a:gd name="connsiteX307" fmla="*/ 114796 w 787079"/>
                <a:gd name="connsiteY307" fmla="*/ 365024 h 603999"/>
                <a:gd name="connsiteX308" fmla="*/ 111464 w 787079"/>
                <a:gd name="connsiteY308" fmla="*/ 365024 h 603999"/>
                <a:gd name="connsiteX309" fmla="*/ 108704 w 787079"/>
                <a:gd name="connsiteY309" fmla="*/ 367210 h 603999"/>
                <a:gd name="connsiteX310" fmla="*/ 108839 w 787079"/>
                <a:gd name="connsiteY310" fmla="*/ 371685 h 603999"/>
                <a:gd name="connsiteX311" fmla="*/ 115065 w 787079"/>
                <a:gd name="connsiteY311" fmla="*/ 375755 h 603999"/>
                <a:gd name="connsiteX312" fmla="*/ 111430 w 787079"/>
                <a:gd name="connsiteY312" fmla="*/ 377638 h 603999"/>
                <a:gd name="connsiteX313" fmla="*/ 107089 w 787079"/>
                <a:gd name="connsiteY313" fmla="*/ 379388 h 603999"/>
                <a:gd name="connsiteX314" fmla="*/ 99416 w 787079"/>
                <a:gd name="connsiteY314" fmla="*/ 382146 h 603999"/>
                <a:gd name="connsiteX315" fmla="*/ 97262 w 787079"/>
                <a:gd name="connsiteY315" fmla="*/ 385342 h 603999"/>
                <a:gd name="connsiteX316" fmla="*/ 90733 w 787079"/>
                <a:gd name="connsiteY316" fmla="*/ 384030 h 603999"/>
                <a:gd name="connsiteX317" fmla="*/ 84944 w 787079"/>
                <a:gd name="connsiteY317" fmla="*/ 379825 h 603999"/>
                <a:gd name="connsiteX318" fmla="*/ 78718 w 787079"/>
                <a:gd name="connsiteY318" fmla="*/ 379522 h 603999"/>
                <a:gd name="connsiteX319" fmla="*/ 75386 w 787079"/>
                <a:gd name="connsiteY319" fmla="*/ 381709 h 603999"/>
                <a:gd name="connsiteX320" fmla="*/ 75521 w 787079"/>
                <a:gd name="connsiteY320" fmla="*/ 387495 h 603999"/>
                <a:gd name="connsiteX321" fmla="*/ 79290 w 787079"/>
                <a:gd name="connsiteY321" fmla="*/ 394593 h 603999"/>
                <a:gd name="connsiteX322" fmla="*/ 85516 w 787079"/>
                <a:gd name="connsiteY322" fmla="*/ 401691 h 603999"/>
                <a:gd name="connsiteX323" fmla="*/ 84944 w 787079"/>
                <a:gd name="connsiteY323" fmla="*/ 407780 h 603999"/>
                <a:gd name="connsiteX324" fmla="*/ 79593 w 787079"/>
                <a:gd name="connsiteY324" fmla="*/ 410235 h 603999"/>
                <a:gd name="connsiteX325" fmla="*/ 72054 w 787079"/>
                <a:gd name="connsiteY325" fmla="*/ 409663 h 603999"/>
                <a:gd name="connsiteX326" fmla="*/ 64651 w 787079"/>
                <a:gd name="connsiteY326" fmla="*/ 410807 h 603999"/>
                <a:gd name="connsiteX327" fmla="*/ 57246 w 787079"/>
                <a:gd name="connsiteY327" fmla="*/ 412119 h 603999"/>
                <a:gd name="connsiteX328" fmla="*/ 50145 w 787079"/>
                <a:gd name="connsiteY328" fmla="*/ 413431 h 603999"/>
                <a:gd name="connsiteX329" fmla="*/ 44626 w 787079"/>
                <a:gd name="connsiteY329" fmla="*/ 413566 h 603999"/>
                <a:gd name="connsiteX330" fmla="*/ 38400 w 787079"/>
                <a:gd name="connsiteY330" fmla="*/ 415012 h 603999"/>
                <a:gd name="connsiteX331" fmla="*/ 34058 w 787079"/>
                <a:gd name="connsiteY331" fmla="*/ 417636 h 603999"/>
                <a:gd name="connsiteX332" fmla="*/ 31029 w 787079"/>
                <a:gd name="connsiteY332" fmla="*/ 422985 h 603999"/>
                <a:gd name="connsiteX333" fmla="*/ 34058 w 787079"/>
                <a:gd name="connsiteY333" fmla="*/ 426887 h 603999"/>
                <a:gd name="connsiteX334" fmla="*/ 35203 w 787079"/>
                <a:gd name="connsiteY334" fmla="*/ 432404 h 603999"/>
                <a:gd name="connsiteX335" fmla="*/ 31871 w 787079"/>
                <a:gd name="connsiteY335" fmla="*/ 439199 h 603999"/>
                <a:gd name="connsiteX336" fmla="*/ 23457 w 787079"/>
                <a:gd name="connsiteY336" fmla="*/ 440948 h 603999"/>
                <a:gd name="connsiteX337" fmla="*/ 17097 w 787079"/>
                <a:gd name="connsiteY337" fmla="*/ 440948 h 603999"/>
                <a:gd name="connsiteX338" fmla="*/ 12890 w 787079"/>
                <a:gd name="connsiteY338" fmla="*/ 443034 h 603999"/>
                <a:gd name="connsiteX339" fmla="*/ 9995 w 787079"/>
                <a:gd name="connsiteY339" fmla="*/ 446734 h 603999"/>
                <a:gd name="connsiteX340" fmla="*/ 7539 w 787079"/>
                <a:gd name="connsiteY340" fmla="*/ 451377 h 603999"/>
                <a:gd name="connsiteX341" fmla="*/ 5957 w 787079"/>
                <a:gd name="connsiteY341" fmla="*/ 454270 h 603999"/>
                <a:gd name="connsiteX342" fmla="*/ 4947 w 787079"/>
                <a:gd name="connsiteY342" fmla="*/ 457163 h 603999"/>
                <a:gd name="connsiteX343" fmla="*/ 7404 w 787079"/>
                <a:gd name="connsiteY343" fmla="*/ 460055 h 603999"/>
                <a:gd name="connsiteX344" fmla="*/ 11308 w 787079"/>
                <a:gd name="connsiteY344" fmla="*/ 461805 h 603999"/>
                <a:gd name="connsiteX345" fmla="*/ 13933 w 787079"/>
                <a:gd name="connsiteY345" fmla="*/ 461805 h 603999"/>
                <a:gd name="connsiteX346" fmla="*/ 20462 w 787079"/>
                <a:gd name="connsiteY346" fmla="*/ 463554 h 603999"/>
                <a:gd name="connsiteX347" fmla="*/ 23928 w 787079"/>
                <a:gd name="connsiteY347" fmla="*/ 464563 h 603999"/>
                <a:gd name="connsiteX348" fmla="*/ 25813 w 787079"/>
                <a:gd name="connsiteY348" fmla="*/ 468634 h 603999"/>
                <a:gd name="connsiteX349" fmla="*/ 28001 w 787079"/>
                <a:gd name="connsiteY349" fmla="*/ 470955 h 603999"/>
                <a:gd name="connsiteX350" fmla="*/ 27429 w 787079"/>
                <a:gd name="connsiteY350" fmla="*/ 474151 h 603999"/>
                <a:gd name="connsiteX351" fmla="*/ 23222 w 787079"/>
                <a:gd name="connsiteY351" fmla="*/ 475732 h 603999"/>
                <a:gd name="connsiteX352" fmla="*/ 20630 w 787079"/>
                <a:gd name="connsiteY352" fmla="*/ 476875 h 603999"/>
                <a:gd name="connsiteX353" fmla="*/ 15111 w 787079"/>
                <a:gd name="connsiteY353" fmla="*/ 479062 h 603999"/>
                <a:gd name="connsiteX354" fmla="*/ 11039 w 787079"/>
                <a:gd name="connsiteY354" fmla="*/ 482392 h 603999"/>
                <a:gd name="connsiteX355" fmla="*/ 7842 w 787079"/>
                <a:gd name="connsiteY355" fmla="*/ 485588 h 603999"/>
                <a:gd name="connsiteX356" fmla="*/ 6394 w 787079"/>
                <a:gd name="connsiteY356" fmla="*/ 491239 h 603999"/>
                <a:gd name="connsiteX357" fmla="*/ 4072 w 787079"/>
                <a:gd name="connsiteY357" fmla="*/ 497026 h 603999"/>
                <a:gd name="connsiteX358" fmla="*/ 2760 w 787079"/>
                <a:gd name="connsiteY358" fmla="*/ 503417 h 603999"/>
                <a:gd name="connsiteX359" fmla="*/ 1885 w 787079"/>
                <a:gd name="connsiteY359" fmla="*/ 509943 h 603999"/>
                <a:gd name="connsiteX360" fmla="*/ 2019 w 787079"/>
                <a:gd name="connsiteY360" fmla="*/ 516167 h 603999"/>
                <a:gd name="connsiteX361" fmla="*/ 0 w 787079"/>
                <a:gd name="connsiteY361" fmla="*/ 525283 h 603999"/>
                <a:gd name="connsiteX362" fmla="*/ 0 w 787079"/>
                <a:gd name="connsiteY362" fmla="*/ 530800 h 603999"/>
                <a:gd name="connsiteX363" fmla="*/ 1649 w 787079"/>
                <a:gd name="connsiteY363" fmla="*/ 535879 h 603999"/>
                <a:gd name="connsiteX364" fmla="*/ 4476 w 787079"/>
                <a:gd name="connsiteY364" fmla="*/ 538772 h 603999"/>
                <a:gd name="connsiteX365" fmla="*/ 7101 w 787079"/>
                <a:gd name="connsiteY365" fmla="*/ 543247 h 603999"/>
                <a:gd name="connsiteX366" fmla="*/ 8111 w 787079"/>
                <a:gd name="connsiteY366" fmla="*/ 548764 h 603999"/>
                <a:gd name="connsiteX367" fmla="*/ 12149 w 787079"/>
                <a:gd name="connsiteY367" fmla="*/ 549033 h 603999"/>
                <a:gd name="connsiteX368" fmla="*/ 17500 w 787079"/>
                <a:gd name="connsiteY368" fmla="*/ 550042 h 603999"/>
                <a:gd name="connsiteX369" fmla="*/ 18241 w 787079"/>
                <a:gd name="connsiteY369" fmla="*/ 552800 h 603999"/>
                <a:gd name="connsiteX370" fmla="*/ 14606 w 787079"/>
                <a:gd name="connsiteY370" fmla="*/ 553675 h 603999"/>
                <a:gd name="connsiteX371" fmla="*/ 11577 w 787079"/>
                <a:gd name="connsiteY371" fmla="*/ 555693 h 603999"/>
                <a:gd name="connsiteX372" fmla="*/ 8683 w 787079"/>
                <a:gd name="connsiteY372" fmla="*/ 558149 h 603999"/>
                <a:gd name="connsiteX373" fmla="*/ 8111 w 787079"/>
                <a:gd name="connsiteY373" fmla="*/ 560167 h 603999"/>
                <a:gd name="connsiteX374" fmla="*/ 12149 w 787079"/>
                <a:gd name="connsiteY374" fmla="*/ 562926 h 603999"/>
                <a:gd name="connsiteX375" fmla="*/ 14034 w 787079"/>
                <a:gd name="connsiteY375" fmla="*/ 568005 h 603999"/>
                <a:gd name="connsiteX376" fmla="*/ 16625 w 787079"/>
                <a:gd name="connsiteY376" fmla="*/ 572782 h 603999"/>
                <a:gd name="connsiteX377" fmla="*/ 17366 w 787079"/>
                <a:gd name="connsiteY377" fmla="*/ 574363 h 603999"/>
                <a:gd name="connsiteX378" fmla="*/ 20428 w 787079"/>
                <a:gd name="connsiteY378" fmla="*/ 576819 h 603999"/>
                <a:gd name="connsiteX379" fmla="*/ 23188 w 787079"/>
                <a:gd name="connsiteY379" fmla="*/ 578568 h 603999"/>
                <a:gd name="connsiteX380" fmla="*/ 24500 w 787079"/>
                <a:gd name="connsiteY380" fmla="*/ 578434 h 603999"/>
                <a:gd name="connsiteX381" fmla="*/ 26654 w 787079"/>
                <a:gd name="connsiteY381" fmla="*/ 575978 h 603999"/>
                <a:gd name="connsiteX382" fmla="*/ 28404 w 787079"/>
                <a:gd name="connsiteY382" fmla="*/ 573960 h 603999"/>
                <a:gd name="connsiteX383" fmla="*/ 31029 w 787079"/>
                <a:gd name="connsiteY383" fmla="*/ 577155 h 603999"/>
                <a:gd name="connsiteX384" fmla="*/ 33924 w 787079"/>
                <a:gd name="connsiteY384" fmla="*/ 579611 h 603999"/>
                <a:gd name="connsiteX385" fmla="*/ 34664 w 787079"/>
                <a:gd name="connsiteY385" fmla="*/ 580620 h 603999"/>
                <a:gd name="connsiteX386" fmla="*/ 37558 w 787079"/>
                <a:gd name="connsiteY386" fmla="*/ 583379 h 603999"/>
                <a:gd name="connsiteX387" fmla="*/ 37693 w 787079"/>
                <a:gd name="connsiteY387" fmla="*/ 585700 h 603999"/>
                <a:gd name="connsiteX388" fmla="*/ 37121 w 787079"/>
                <a:gd name="connsiteY388" fmla="*/ 587752 h 603999"/>
                <a:gd name="connsiteX389" fmla="*/ 34092 w 787079"/>
                <a:gd name="connsiteY389" fmla="*/ 589333 h 603999"/>
                <a:gd name="connsiteX390" fmla="*/ 31904 w 787079"/>
                <a:gd name="connsiteY390" fmla="*/ 588593 h 603999"/>
                <a:gd name="connsiteX391" fmla="*/ 29145 w 787079"/>
                <a:gd name="connsiteY391" fmla="*/ 586271 h 603999"/>
                <a:gd name="connsiteX392" fmla="*/ 25510 w 787079"/>
                <a:gd name="connsiteY392" fmla="*/ 586137 h 603999"/>
                <a:gd name="connsiteX393" fmla="*/ 24063 w 787079"/>
                <a:gd name="connsiteY393" fmla="*/ 587012 h 603999"/>
                <a:gd name="connsiteX394" fmla="*/ 22616 w 787079"/>
                <a:gd name="connsiteY394" fmla="*/ 589635 h 603999"/>
                <a:gd name="connsiteX395" fmla="*/ 22616 w 787079"/>
                <a:gd name="connsiteY395" fmla="*/ 592663 h 603999"/>
                <a:gd name="connsiteX396" fmla="*/ 23154 w 787079"/>
                <a:gd name="connsiteY396" fmla="*/ 600468 h 603999"/>
                <a:gd name="connsiteX397" fmla="*/ 23491 w 787079"/>
                <a:gd name="connsiteY397" fmla="*/ 602351 h 603999"/>
                <a:gd name="connsiteX398" fmla="*/ 27126 w 787079"/>
                <a:gd name="connsiteY398" fmla="*/ 603966 h 603999"/>
                <a:gd name="connsiteX399" fmla="*/ 29313 w 787079"/>
                <a:gd name="connsiteY399" fmla="*/ 603226 h 603999"/>
                <a:gd name="connsiteX400" fmla="*/ 33217 w 787079"/>
                <a:gd name="connsiteY400" fmla="*/ 599761 h 603999"/>
                <a:gd name="connsiteX401" fmla="*/ 39174 w 787079"/>
                <a:gd name="connsiteY401" fmla="*/ 599189 h 603999"/>
                <a:gd name="connsiteX402" fmla="*/ 42943 w 787079"/>
                <a:gd name="connsiteY402" fmla="*/ 599189 h 603999"/>
                <a:gd name="connsiteX403" fmla="*/ 45972 w 787079"/>
                <a:gd name="connsiteY403" fmla="*/ 600501 h 603999"/>
                <a:gd name="connsiteX404" fmla="*/ 46713 w 787079"/>
                <a:gd name="connsiteY404" fmla="*/ 601073 h 603999"/>
                <a:gd name="connsiteX405" fmla="*/ 51054 w 787079"/>
                <a:gd name="connsiteY405" fmla="*/ 603832 h 603999"/>
                <a:gd name="connsiteX406" fmla="*/ 54520 w 787079"/>
                <a:gd name="connsiteY406" fmla="*/ 603832 h 603999"/>
                <a:gd name="connsiteX407" fmla="*/ 58020 w 787079"/>
                <a:gd name="connsiteY407" fmla="*/ 601645 h 603999"/>
                <a:gd name="connsiteX408" fmla="*/ 62497 w 787079"/>
                <a:gd name="connsiteY408" fmla="*/ 600064 h 603999"/>
                <a:gd name="connsiteX409" fmla="*/ 69463 w 787079"/>
                <a:gd name="connsiteY409" fmla="*/ 598752 h 603999"/>
                <a:gd name="connsiteX410" fmla="*/ 74680 w 787079"/>
                <a:gd name="connsiteY410" fmla="*/ 597440 h 603999"/>
                <a:gd name="connsiteX411" fmla="*/ 78449 w 787079"/>
                <a:gd name="connsiteY411" fmla="*/ 594412 h 603999"/>
                <a:gd name="connsiteX412" fmla="*/ 83531 w 787079"/>
                <a:gd name="connsiteY412" fmla="*/ 592528 h 603999"/>
                <a:gd name="connsiteX413" fmla="*/ 87165 w 787079"/>
                <a:gd name="connsiteY413" fmla="*/ 587886 h 603999"/>
                <a:gd name="connsiteX414" fmla="*/ 89622 w 787079"/>
                <a:gd name="connsiteY414" fmla="*/ 581966 h 603999"/>
                <a:gd name="connsiteX415" fmla="*/ 90935 w 787079"/>
                <a:gd name="connsiteY415" fmla="*/ 577761 h 603999"/>
                <a:gd name="connsiteX416" fmla="*/ 93391 w 787079"/>
                <a:gd name="connsiteY416" fmla="*/ 572109 h 603999"/>
                <a:gd name="connsiteX417" fmla="*/ 91069 w 787079"/>
                <a:gd name="connsiteY417" fmla="*/ 568342 h 603999"/>
                <a:gd name="connsiteX418" fmla="*/ 87738 w 787079"/>
                <a:gd name="connsiteY418" fmla="*/ 563868 h 603999"/>
                <a:gd name="connsiteX419" fmla="*/ 86156 w 787079"/>
                <a:gd name="connsiteY419" fmla="*/ 559393 h 603999"/>
                <a:gd name="connsiteX420" fmla="*/ 84406 w 787079"/>
                <a:gd name="connsiteY420" fmla="*/ 557947 h 603999"/>
                <a:gd name="connsiteX421" fmla="*/ 81074 w 787079"/>
                <a:gd name="connsiteY421" fmla="*/ 559393 h 603999"/>
                <a:gd name="connsiteX422" fmla="*/ 79189 w 787079"/>
                <a:gd name="connsiteY422" fmla="*/ 556938 h 603999"/>
                <a:gd name="connsiteX423" fmla="*/ 77742 w 787079"/>
                <a:gd name="connsiteY423" fmla="*/ 554347 h 603999"/>
                <a:gd name="connsiteX424" fmla="*/ 76867 w 787079"/>
                <a:gd name="connsiteY424" fmla="*/ 554617 h 603999"/>
                <a:gd name="connsiteX425" fmla="*/ 73973 w 787079"/>
                <a:gd name="connsiteY425" fmla="*/ 555760 h 603999"/>
                <a:gd name="connsiteX426" fmla="*/ 71078 w 787079"/>
                <a:gd name="connsiteY426" fmla="*/ 555760 h 603999"/>
                <a:gd name="connsiteX427" fmla="*/ 70069 w 787079"/>
                <a:gd name="connsiteY427" fmla="*/ 552935 h 603999"/>
                <a:gd name="connsiteX428" fmla="*/ 69328 w 787079"/>
                <a:gd name="connsiteY428" fmla="*/ 550681 h 603999"/>
                <a:gd name="connsiteX429" fmla="*/ 70473 w 787079"/>
                <a:gd name="connsiteY429" fmla="*/ 547048 h 603999"/>
                <a:gd name="connsiteX430" fmla="*/ 72223 w 787079"/>
                <a:gd name="connsiteY430" fmla="*/ 547048 h 603999"/>
                <a:gd name="connsiteX431" fmla="*/ 75992 w 787079"/>
                <a:gd name="connsiteY431" fmla="*/ 547048 h 603999"/>
                <a:gd name="connsiteX432" fmla="*/ 77574 w 787079"/>
                <a:gd name="connsiteY432" fmla="*/ 545736 h 603999"/>
                <a:gd name="connsiteX433" fmla="*/ 77002 w 787079"/>
                <a:gd name="connsiteY433" fmla="*/ 543549 h 603999"/>
                <a:gd name="connsiteX434" fmla="*/ 76564 w 787079"/>
                <a:gd name="connsiteY434" fmla="*/ 540084 h 603999"/>
                <a:gd name="connsiteX435" fmla="*/ 74982 w 787079"/>
                <a:gd name="connsiteY435" fmla="*/ 538201 h 603999"/>
                <a:gd name="connsiteX436" fmla="*/ 72660 w 787079"/>
                <a:gd name="connsiteY436" fmla="*/ 535005 h 603999"/>
                <a:gd name="connsiteX437" fmla="*/ 71482 w 787079"/>
                <a:gd name="connsiteY437" fmla="*/ 534197 h 603999"/>
                <a:gd name="connsiteX438" fmla="*/ 67578 w 787079"/>
                <a:gd name="connsiteY438" fmla="*/ 534130 h 603999"/>
                <a:gd name="connsiteX439" fmla="*/ 63102 w 787079"/>
                <a:gd name="connsiteY439" fmla="*/ 534130 h 603999"/>
                <a:gd name="connsiteX440" fmla="*/ 59905 w 787079"/>
                <a:gd name="connsiteY440" fmla="*/ 531506 h 603999"/>
                <a:gd name="connsiteX441" fmla="*/ 56439 w 787079"/>
                <a:gd name="connsiteY441" fmla="*/ 528613 h 603999"/>
                <a:gd name="connsiteX442" fmla="*/ 53847 w 787079"/>
                <a:gd name="connsiteY442" fmla="*/ 525417 h 603999"/>
                <a:gd name="connsiteX443" fmla="*/ 52838 w 787079"/>
                <a:gd name="connsiteY443" fmla="*/ 522659 h 603999"/>
                <a:gd name="connsiteX444" fmla="*/ 52265 w 787079"/>
                <a:gd name="connsiteY444" fmla="*/ 521785 h 603999"/>
                <a:gd name="connsiteX445" fmla="*/ 52265 w 787079"/>
                <a:gd name="connsiteY445" fmla="*/ 518892 h 603999"/>
                <a:gd name="connsiteX446" fmla="*/ 52703 w 787079"/>
                <a:gd name="connsiteY446" fmla="*/ 517008 h 603999"/>
                <a:gd name="connsiteX447" fmla="*/ 55025 w 787079"/>
                <a:gd name="connsiteY447" fmla="*/ 514115 h 603999"/>
                <a:gd name="connsiteX448" fmla="*/ 58054 w 787079"/>
                <a:gd name="connsiteY448" fmla="*/ 511356 h 603999"/>
                <a:gd name="connsiteX449" fmla="*/ 61958 w 787079"/>
                <a:gd name="connsiteY449" fmla="*/ 509910 h 603999"/>
                <a:gd name="connsiteX450" fmla="*/ 68487 w 787079"/>
                <a:gd name="connsiteY450" fmla="*/ 508329 h 603999"/>
                <a:gd name="connsiteX451" fmla="*/ 68622 w 787079"/>
                <a:gd name="connsiteY451" fmla="*/ 511524 h 603999"/>
                <a:gd name="connsiteX452" fmla="*/ 64852 w 787079"/>
                <a:gd name="connsiteY452" fmla="*/ 515595 h 603999"/>
                <a:gd name="connsiteX453" fmla="*/ 67006 w 787079"/>
                <a:gd name="connsiteY453" fmla="*/ 517479 h 603999"/>
                <a:gd name="connsiteX454" fmla="*/ 71785 w 787079"/>
                <a:gd name="connsiteY454" fmla="*/ 517479 h 603999"/>
                <a:gd name="connsiteX455" fmla="*/ 74545 w 787079"/>
                <a:gd name="connsiteY455" fmla="*/ 516335 h 603999"/>
                <a:gd name="connsiteX456" fmla="*/ 77742 w 787079"/>
                <a:gd name="connsiteY456" fmla="*/ 515460 h 603999"/>
                <a:gd name="connsiteX457" fmla="*/ 82252 w 787079"/>
                <a:gd name="connsiteY457" fmla="*/ 518051 h 603999"/>
                <a:gd name="connsiteX458" fmla="*/ 85718 w 787079"/>
                <a:gd name="connsiteY458" fmla="*/ 520944 h 603999"/>
                <a:gd name="connsiteX459" fmla="*/ 91372 w 787079"/>
                <a:gd name="connsiteY459" fmla="*/ 522659 h 603999"/>
                <a:gd name="connsiteX460" fmla="*/ 95714 w 787079"/>
                <a:gd name="connsiteY460" fmla="*/ 522659 h 603999"/>
                <a:gd name="connsiteX461" fmla="*/ 96016 w 787079"/>
                <a:gd name="connsiteY461" fmla="*/ 519463 h 603999"/>
                <a:gd name="connsiteX462" fmla="*/ 96891 w 787079"/>
                <a:gd name="connsiteY462" fmla="*/ 516570 h 603999"/>
                <a:gd name="connsiteX463" fmla="*/ 97026 w 787079"/>
                <a:gd name="connsiteY463" fmla="*/ 513946 h 603999"/>
                <a:gd name="connsiteX464" fmla="*/ 96319 w 787079"/>
                <a:gd name="connsiteY464" fmla="*/ 511928 h 603999"/>
                <a:gd name="connsiteX465" fmla="*/ 94267 w 787079"/>
                <a:gd name="connsiteY465" fmla="*/ 510179 h 603999"/>
                <a:gd name="connsiteX466" fmla="*/ 91675 w 787079"/>
                <a:gd name="connsiteY466" fmla="*/ 508295 h 603999"/>
                <a:gd name="connsiteX467" fmla="*/ 89050 w 787079"/>
                <a:gd name="connsiteY467" fmla="*/ 507151 h 603999"/>
                <a:gd name="connsiteX468" fmla="*/ 85415 w 787079"/>
                <a:gd name="connsiteY468" fmla="*/ 504527 h 603999"/>
                <a:gd name="connsiteX469" fmla="*/ 83396 w 787079"/>
                <a:gd name="connsiteY469" fmla="*/ 503383 h 603999"/>
                <a:gd name="connsiteX470" fmla="*/ 79761 w 787079"/>
                <a:gd name="connsiteY470" fmla="*/ 502206 h 603999"/>
                <a:gd name="connsiteX471" fmla="*/ 80636 w 787079"/>
                <a:gd name="connsiteY471" fmla="*/ 500760 h 603999"/>
                <a:gd name="connsiteX472" fmla="*/ 81713 w 787079"/>
                <a:gd name="connsiteY472" fmla="*/ 499448 h 603999"/>
                <a:gd name="connsiteX473" fmla="*/ 81814 w 787079"/>
                <a:gd name="connsiteY473" fmla="*/ 495680 h 603999"/>
                <a:gd name="connsiteX474" fmla="*/ 81814 w 787079"/>
                <a:gd name="connsiteY474" fmla="*/ 490331 h 603999"/>
                <a:gd name="connsiteX475" fmla="*/ 81882 w 787079"/>
                <a:gd name="connsiteY475" fmla="*/ 486698 h 603999"/>
                <a:gd name="connsiteX476" fmla="*/ 81814 w 787079"/>
                <a:gd name="connsiteY476" fmla="*/ 481787 h 603999"/>
                <a:gd name="connsiteX477" fmla="*/ 81814 w 787079"/>
                <a:gd name="connsiteY477" fmla="*/ 478322 h 603999"/>
                <a:gd name="connsiteX478" fmla="*/ 84002 w 787079"/>
                <a:gd name="connsiteY478" fmla="*/ 478457 h 603999"/>
                <a:gd name="connsiteX479" fmla="*/ 87636 w 787079"/>
                <a:gd name="connsiteY479" fmla="*/ 482090 h 603999"/>
                <a:gd name="connsiteX480" fmla="*/ 89959 w 787079"/>
                <a:gd name="connsiteY480" fmla="*/ 486295 h 603999"/>
                <a:gd name="connsiteX481" fmla="*/ 89084 w 787079"/>
                <a:gd name="connsiteY481" fmla="*/ 491643 h 603999"/>
                <a:gd name="connsiteX482" fmla="*/ 89084 w 787079"/>
                <a:gd name="connsiteY482" fmla="*/ 495108 h 603999"/>
                <a:gd name="connsiteX483" fmla="*/ 91271 w 787079"/>
                <a:gd name="connsiteY483" fmla="*/ 497295 h 603999"/>
                <a:gd name="connsiteX484" fmla="*/ 94738 w 787079"/>
                <a:gd name="connsiteY484" fmla="*/ 503653 h 603999"/>
                <a:gd name="connsiteX485" fmla="*/ 98945 w 787079"/>
                <a:gd name="connsiteY485" fmla="*/ 505099 h 603999"/>
                <a:gd name="connsiteX486" fmla="*/ 101267 w 787079"/>
                <a:gd name="connsiteY486" fmla="*/ 504224 h 603999"/>
                <a:gd name="connsiteX487" fmla="*/ 102848 w 787079"/>
                <a:gd name="connsiteY487" fmla="*/ 502475 h 603999"/>
                <a:gd name="connsiteX488" fmla="*/ 104430 w 787079"/>
                <a:gd name="connsiteY488" fmla="*/ 500894 h 603999"/>
                <a:gd name="connsiteX489" fmla="*/ 104430 w 787079"/>
                <a:gd name="connsiteY489" fmla="*/ 497429 h 603999"/>
                <a:gd name="connsiteX490" fmla="*/ 104430 w 787079"/>
                <a:gd name="connsiteY490" fmla="*/ 492215 h 603999"/>
                <a:gd name="connsiteX491" fmla="*/ 104430 w 787079"/>
                <a:gd name="connsiteY491" fmla="*/ 488750 h 603999"/>
                <a:gd name="connsiteX492" fmla="*/ 104430 w 787079"/>
                <a:gd name="connsiteY492" fmla="*/ 482662 h 603999"/>
                <a:gd name="connsiteX493" fmla="*/ 107325 w 787079"/>
                <a:gd name="connsiteY493" fmla="*/ 480206 h 603999"/>
                <a:gd name="connsiteX494" fmla="*/ 108772 w 787079"/>
                <a:gd name="connsiteY494" fmla="*/ 482662 h 603999"/>
                <a:gd name="connsiteX495" fmla="*/ 113719 w 787079"/>
                <a:gd name="connsiteY495" fmla="*/ 482662 h 603999"/>
                <a:gd name="connsiteX496" fmla="*/ 115603 w 787079"/>
                <a:gd name="connsiteY496" fmla="*/ 479634 h 603999"/>
                <a:gd name="connsiteX497" fmla="*/ 116478 w 787079"/>
                <a:gd name="connsiteY497" fmla="*/ 476741 h 603999"/>
                <a:gd name="connsiteX498" fmla="*/ 118060 w 787079"/>
                <a:gd name="connsiteY498" fmla="*/ 471964 h 603999"/>
                <a:gd name="connsiteX499" fmla="*/ 124589 w 787079"/>
                <a:gd name="connsiteY499" fmla="*/ 468499 h 603999"/>
                <a:gd name="connsiteX500" fmla="*/ 133138 w 787079"/>
                <a:gd name="connsiteY500" fmla="*/ 468768 h 603999"/>
                <a:gd name="connsiteX501" fmla="*/ 139094 w 787079"/>
                <a:gd name="connsiteY501" fmla="*/ 468768 h 603999"/>
                <a:gd name="connsiteX502" fmla="*/ 144883 w 787079"/>
                <a:gd name="connsiteY502" fmla="*/ 469273 h 603999"/>
                <a:gd name="connsiteX503" fmla="*/ 149224 w 787079"/>
                <a:gd name="connsiteY503" fmla="*/ 467019 h 603999"/>
                <a:gd name="connsiteX504" fmla="*/ 156898 w 787079"/>
                <a:gd name="connsiteY504" fmla="*/ 465270 h 603999"/>
                <a:gd name="connsiteX505" fmla="*/ 160801 w 787079"/>
                <a:gd name="connsiteY505" fmla="*/ 464260 h 603999"/>
                <a:gd name="connsiteX506" fmla="*/ 164268 w 787079"/>
                <a:gd name="connsiteY506" fmla="*/ 463117 h 603999"/>
                <a:gd name="connsiteX507" fmla="*/ 163561 w 787079"/>
                <a:gd name="connsiteY507" fmla="*/ 459214 h 603999"/>
                <a:gd name="connsiteX508" fmla="*/ 163561 w 787079"/>
                <a:gd name="connsiteY508" fmla="*/ 457903 h 603999"/>
                <a:gd name="connsiteX509" fmla="*/ 167263 w 787079"/>
                <a:gd name="connsiteY509" fmla="*/ 457331 h 603999"/>
                <a:gd name="connsiteX510" fmla="*/ 169787 w 787079"/>
                <a:gd name="connsiteY510" fmla="*/ 458643 h 603999"/>
                <a:gd name="connsiteX511" fmla="*/ 170528 w 787079"/>
                <a:gd name="connsiteY511" fmla="*/ 460964 h 603999"/>
                <a:gd name="connsiteX512" fmla="*/ 170528 w 787079"/>
                <a:gd name="connsiteY512" fmla="*/ 465034 h 603999"/>
                <a:gd name="connsiteX513" fmla="*/ 171470 w 787079"/>
                <a:gd name="connsiteY513" fmla="*/ 469677 h 603999"/>
                <a:gd name="connsiteX514" fmla="*/ 175038 w 787079"/>
                <a:gd name="connsiteY514" fmla="*/ 470686 h 603999"/>
                <a:gd name="connsiteX515" fmla="*/ 177225 w 787079"/>
                <a:gd name="connsiteY515" fmla="*/ 466783 h 603999"/>
                <a:gd name="connsiteX516" fmla="*/ 178235 w 787079"/>
                <a:gd name="connsiteY516" fmla="*/ 464160 h 603999"/>
                <a:gd name="connsiteX517" fmla="*/ 181432 w 787079"/>
                <a:gd name="connsiteY517" fmla="*/ 461838 h 603999"/>
                <a:gd name="connsiteX518" fmla="*/ 186783 w 787079"/>
                <a:gd name="connsiteY518" fmla="*/ 460089 h 603999"/>
                <a:gd name="connsiteX519" fmla="*/ 188398 w 787079"/>
                <a:gd name="connsiteY519" fmla="*/ 457331 h 603999"/>
                <a:gd name="connsiteX520" fmla="*/ 189845 w 787079"/>
                <a:gd name="connsiteY520" fmla="*/ 454135 h 603999"/>
                <a:gd name="connsiteX521" fmla="*/ 190418 w 787079"/>
                <a:gd name="connsiteY521" fmla="*/ 452520 h 603999"/>
                <a:gd name="connsiteX522" fmla="*/ 195197 w 787079"/>
                <a:gd name="connsiteY522" fmla="*/ 453967 h 603999"/>
                <a:gd name="connsiteX523" fmla="*/ 200278 w 787079"/>
                <a:gd name="connsiteY523" fmla="*/ 456423 h 603999"/>
                <a:gd name="connsiteX524" fmla="*/ 206235 w 787079"/>
                <a:gd name="connsiteY524" fmla="*/ 460022 h 603999"/>
                <a:gd name="connsiteX525" fmla="*/ 210005 w 787079"/>
                <a:gd name="connsiteY525" fmla="*/ 460022 h 603999"/>
                <a:gd name="connsiteX526" fmla="*/ 217543 w 787079"/>
                <a:gd name="connsiteY526" fmla="*/ 457196 h 603999"/>
                <a:gd name="connsiteX527" fmla="*/ 218284 w 787079"/>
                <a:gd name="connsiteY527" fmla="*/ 453664 h 603999"/>
                <a:gd name="connsiteX528" fmla="*/ 220740 w 787079"/>
                <a:gd name="connsiteY528" fmla="*/ 450771 h 603999"/>
                <a:gd name="connsiteX529" fmla="*/ 223063 w 787079"/>
                <a:gd name="connsiteY529" fmla="*/ 447575 h 603999"/>
                <a:gd name="connsiteX530" fmla="*/ 225250 w 787079"/>
                <a:gd name="connsiteY530" fmla="*/ 444380 h 603999"/>
                <a:gd name="connsiteX531" fmla="*/ 224947 w 787079"/>
                <a:gd name="connsiteY531" fmla="*/ 442799 h 603999"/>
                <a:gd name="connsiteX532" fmla="*/ 223635 w 787079"/>
                <a:gd name="connsiteY532" fmla="*/ 439165 h 603999"/>
                <a:gd name="connsiteX533" fmla="*/ 219562 w 787079"/>
                <a:gd name="connsiteY533" fmla="*/ 434389 h 603999"/>
                <a:gd name="connsiteX534" fmla="*/ 217543 w 787079"/>
                <a:gd name="connsiteY534" fmla="*/ 430049 h 603999"/>
                <a:gd name="connsiteX535" fmla="*/ 220135 w 787079"/>
                <a:gd name="connsiteY535" fmla="*/ 429747 h 603999"/>
                <a:gd name="connsiteX536" fmla="*/ 223029 w 787079"/>
                <a:gd name="connsiteY536" fmla="*/ 429443 h 603999"/>
                <a:gd name="connsiteX537" fmla="*/ 226664 w 787079"/>
                <a:gd name="connsiteY537" fmla="*/ 428737 h 603999"/>
                <a:gd name="connsiteX538" fmla="*/ 228111 w 787079"/>
                <a:gd name="connsiteY538" fmla="*/ 427156 h 603999"/>
                <a:gd name="connsiteX539" fmla="*/ 232183 w 787079"/>
                <a:gd name="connsiteY539" fmla="*/ 426282 h 603999"/>
                <a:gd name="connsiteX540" fmla="*/ 234774 w 787079"/>
                <a:gd name="connsiteY540" fmla="*/ 426416 h 603999"/>
                <a:gd name="connsiteX541" fmla="*/ 236356 w 787079"/>
                <a:gd name="connsiteY541" fmla="*/ 429006 h 603999"/>
                <a:gd name="connsiteX542" fmla="*/ 234774 w 787079"/>
                <a:gd name="connsiteY542" fmla="*/ 432908 h 603999"/>
                <a:gd name="connsiteX543" fmla="*/ 234337 w 787079"/>
                <a:gd name="connsiteY543" fmla="*/ 435230 h 603999"/>
                <a:gd name="connsiteX544" fmla="*/ 234068 w 787079"/>
                <a:gd name="connsiteY544" fmla="*/ 439435 h 603999"/>
                <a:gd name="connsiteX545" fmla="*/ 233193 w 787079"/>
                <a:gd name="connsiteY545" fmla="*/ 441756 h 603999"/>
                <a:gd name="connsiteX546" fmla="*/ 233193 w 787079"/>
                <a:gd name="connsiteY546" fmla="*/ 445086 h 603999"/>
                <a:gd name="connsiteX547" fmla="*/ 234269 w 787079"/>
                <a:gd name="connsiteY547" fmla="*/ 448988 h 603999"/>
                <a:gd name="connsiteX548" fmla="*/ 236794 w 787079"/>
                <a:gd name="connsiteY548" fmla="*/ 451612 h 603999"/>
                <a:gd name="connsiteX549" fmla="*/ 241000 w 787079"/>
                <a:gd name="connsiteY549" fmla="*/ 453631 h 603999"/>
                <a:gd name="connsiteX550" fmla="*/ 245780 w 787079"/>
                <a:gd name="connsiteY550" fmla="*/ 452756 h 603999"/>
                <a:gd name="connsiteX551" fmla="*/ 247799 w 787079"/>
                <a:gd name="connsiteY551" fmla="*/ 448686 h 603999"/>
                <a:gd name="connsiteX552" fmla="*/ 251265 w 787079"/>
                <a:gd name="connsiteY552" fmla="*/ 446230 h 603999"/>
                <a:gd name="connsiteX553" fmla="*/ 251837 w 787079"/>
                <a:gd name="connsiteY553" fmla="*/ 440578 h 603999"/>
                <a:gd name="connsiteX554" fmla="*/ 251703 w 787079"/>
                <a:gd name="connsiteY554" fmla="*/ 434489 h 603999"/>
                <a:gd name="connsiteX555" fmla="*/ 251130 w 787079"/>
                <a:gd name="connsiteY555" fmla="*/ 432303 h 603999"/>
                <a:gd name="connsiteX556" fmla="*/ 247933 w 787079"/>
                <a:gd name="connsiteY556" fmla="*/ 428266 h 603999"/>
                <a:gd name="connsiteX557" fmla="*/ 244029 w 787079"/>
                <a:gd name="connsiteY557" fmla="*/ 422918 h 603999"/>
                <a:gd name="connsiteX558" fmla="*/ 246049 w 787079"/>
                <a:gd name="connsiteY558" fmla="*/ 420025 h 603999"/>
                <a:gd name="connsiteX559" fmla="*/ 249515 w 787079"/>
                <a:gd name="connsiteY559" fmla="*/ 420159 h 603999"/>
                <a:gd name="connsiteX560" fmla="*/ 253587 w 787079"/>
                <a:gd name="connsiteY560" fmla="*/ 420025 h 603999"/>
                <a:gd name="connsiteX561" fmla="*/ 255035 w 787079"/>
                <a:gd name="connsiteY561" fmla="*/ 422043 h 603999"/>
                <a:gd name="connsiteX562" fmla="*/ 262438 w 787079"/>
                <a:gd name="connsiteY562" fmla="*/ 423355 h 603999"/>
                <a:gd name="connsiteX563" fmla="*/ 266510 w 787079"/>
                <a:gd name="connsiteY563" fmla="*/ 420159 h 603999"/>
                <a:gd name="connsiteX564" fmla="*/ 269270 w 787079"/>
                <a:gd name="connsiteY564" fmla="*/ 417973 h 603999"/>
                <a:gd name="connsiteX565" fmla="*/ 273915 w 787079"/>
                <a:gd name="connsiteY565" fmla="*/ 416829 h 603999"/>
                <a:gd name="connsiteX566" fmla="*/ 274621 w 787079"/>
                <a:gd name="connsiteY566" fmla="*/ 419587 h 603999"/>
                <a:gd name="connsiteX567" fmla="*/ 273040 w 787079"/>
                <a:gd name="connsiteY567" fmla="*/ 425508 h 603999"/>
                <a:gd name="connsiteX568" fmla="*/ 271896 w 787079"/>
                <a:gd name="connsiteY568" fmla="*/ 429410 h 603999"/>
                <a:gd name="connsiteX569" fmla="*/ 272905 w 787079"/>
                <a:gd name="connsiteY569" fmla="*/ 432875 h 603999"/>
                <a:gd name="connsiteX570" fmla="*/ 277549 w 787079"/>
                <a:gd name="connsiteY570" fmla="*/ 433884 h 603999"/>
                <a:gd name="connsiteX571" fmla="*/ 283641 w 787079"/>
                <a:gd name="connsiteY571" fmla="*/ 433884 h 603999"/>
                <a:gd name="connsiteX572" fmla="*/ 287982 w 787079"/>
                <a:gd name="connsiteY572" fmla="*/ 432875 h 603999"/>
                <a:gd name="connsiteX573" fmla="*/ 290877 w 787079"/>
                <a:gd name="connsiteY573" fmla="*/ 429242 h 603999"/>
                <a:gd name="connsiteX574" fmla="*/ 293333 w 787079"/>
                <a:gd name="connsiteY574" fmla="*/ 425037 h 603999"/>
                <a:gd name="connsiteX575" fmla="*/ 294780 w 787079"/>
                <a:gd name="connsiteY575" fmla="*/ 423456 h 603999"/>
                <a:gd name="connsiteX576" fmla="*/ 296228 w 787079"/>
                <a:gd name="connsiteY576" fmla="*/ 419823 h 603999"/>
                <a:gd name="connsiteX577" fmla="*/ 296497 w 787079"/>
                <a:gd name="connsiteY577" fmla="*/ 414777 h 603999"/>
                <a:gd name="connsiteX578" fmla="*/ 293468 w 787079"/>
                <a:gd name="connsiteY578" fmla="*/ 409697 h 603999"/>
                <a:gd name="connsiteX579" fmla="*/ 292761 w 787079"/>
                <a:gd name="connsiteY579" fmla="*/ 406232 h 603999"/>
                <a:gd name="connsiteX580" fmla="*/ 289429 w 787079"/>
                <a:gd name="connsiteY580" fmla="*/ 402902 h 603999"/>
                <a:gd name="connsiteX581" fmla="*/ 288723 w 787079"/>
                <a:gd name="connsiteY581" fmla="*/ 397688 h 603999"/>
                <a:gd name="connsiteX582" fmla="*/ 289598 w 787079"/>
                <a:gd name="connsiteY582" fmla="*/ 393617 h 603999"/>
                <a:gd name="connsiteX583" fmla="*/ 294074 w 787079"/>
                <a:gd name="connsiteY583" fmla="*/ 398259 h 603999"/>
                <a:gd name="connsiteX584" fmla="*/ 294074 w 787079"/>
                <a:gd name="connsiteY584" fmla="*/ 401724 h 603999"/>
                <a:gd name="connsiteX585" fmla="*/ 297103 w 787079"/>
                <a:gd name="connsiteY585" fmla="*/ 404046 h 603999"/>
                <a:gd name="connsiteX586" fmla="*/ 300435 w 787079"/>
                <a:gd name="connsiteY586" fmla="*/ 406064 h 603999"/>
                <a:gd name="connsiteX587" fmla="*/ 303632 w 787079"/>
                <a:gd name="connsiteY587" fmla="*/ 408385 h 603999"/>
                <a:gd name="connsiteX588" fmla="*/ 302319 w 787079"/>
                <a:gd name="connsiteY588" fmla="*/ 410269 h 603999"/>
                <a:gd name="connsiteX589" fmla="*/ 300435 w 787079"/>
                <a:gd name="connsiteY589" fmla="*/ 415046 h 603999"/>
                <a:gd name="connsiteX590" fmla="*/ 302319 w 787079"/>
                <a:gd name="connsiteY590" fmla="*/ 420563 h 603999"/>
                <a:gd name="connsiteX591" fmla="*/ 308848 w 787079"/>
                <a:gd name="connsiteY591" fmla="*/ 425071 h 603999"/>
                <a:gd name="connsiteX592" fmla="*/ 314939 w 787079"/>
                <a:gd name="connsiteY592" fmla="*/ 424330 h 603999"/>
                <a:gd name="connsiteX593" fmla="*/ 319146 w 787079"/>
                <a:gd name="connsiteY593" fmla="*/ 420697 h 603999"/>
                <a:gd name="connsiteX594" fmla="*/ 324094 w 787079"/>
                <a:gd name="connsiteY594" fmla="*/ 417502 h 603999"/>
                <a:gd name="connsiteX595" fmla="*/ 326988 w 787079"/>
                <a:gd name="connsiteY595" fmla="*/ 414609 h 603999"/>
                <a:gd name="connsiteX596" fmla="*/ 329007 w 787079"/>
                <a:gd name="connsiteY596" fmla="*/ 410841 h 603999"/>
                <a:gd name="connsiteX597" fmla="*/ 330454 w 787079"/>
                <a:gd name="connsiteY597" fmla="*/ 406064 h 603999"/>
                <a:gd name="connsiteX598" fmla="*/ 332204 w 787079"/>
                <a:gd name="connsiteY598" fmla="*/ 401287 h 603999"/>
                <a:gd name="connsiteX599" fmla="*/ 334527 w 787079"/>
                <a:gd name="connsiteY599" fmla="*/ 397957 h 603999"/>
                <a:gd name="connsiteX600" fmla="*/ 336411 w 787079"/>
                <a:gd name="connsiteY600" fmla="*/ 397385 h 603999"/>
                <a:gd name="connsiteX601" fmla="*/ 341190 w 787079"/>
                <a:gd name="connsiteY601" fmla="*/ 402464 h 603999"/>
                <a:gd name="connsiteX602" fmla="*/ 341190 w 787079"/>
                <a:gd name="connsiteY602" fmla="*/ 407813 h 603999"/>
                <a:gd name="connsiteX603" fmla="*/ 341930 w 787079"/>
                <a:gd name="connsiteY603" fmla="*/ 411715 h 603999"/>
                <a:gd name="connsiteX604" fmla="*/ 348291 w 787079"/>
                <a:gd name="connsiteY604" fmla="*/ 416055 h 603999"/>
                <a:gd name="connsiteX605" fmla="*/ 353373 w 787079"/>
                <a:gd name="connsiteY605" fmla="*/ 415315 h 603999"/>
                <a:gd name="connsiteX606" fmla="*/ 360474 w 787079"/>
                <a:gd name="connsiteY606" fmla="*/ 416055 h 603999"/>
                <a:gd name="connsiteX607" fmla="*/ 362662 w 787079"/>
                <a:gd name="connsiteY607" fmla="*/ 415315 h 603999"/>
                <a:gd name="connsiteX608" fmla="*/ 364412 w 787079"/>
                <a:gd name="connsiteY608" fmla="*/ 412859 h 603999"/>
                <a:gd name="connsiteX609" fmla="*/ 360508 w 787079"/>
                <a:gd name="connsiteY609" fmla="*/ 410101 h 603999"/>
                <a:gd name="connsiteX610" fmla="*/ 361383 w 787079"/>
                <a:gd name="connsiteY610" fmla="*/ 406905 h 603999"/>
                <a:gd name="connsiteX611" fmla="*/ 363133 w 787079"/>
                <a:gd name="connsiteY611" fmla="*/ 403272 h 603999"/>
                <a:gd name="connsiteX612" fmla="*/ 364446 w 787079"/>
                <a:gd name="connsiteY612" fmla="*/ 402128 h 603999"/>
                <a:gd name="connsiteX613" fmla="*/ 366330 w 787079"/>
                <a:gd name="connsiteY613" fmla="*/ 402868 h 603999"/>
                <a:gd name="connsiteX614" fmla="*/ 367912 w 787079"/>
                <a:gd name="connsiteY614" fmla="*/ 405055 h 603999"/>
                <a:gd name="connsiteX615" fmla="*/ 373297 w 787079"/>
                <a:gd name="connsiteY615" fmla="*/ 405055 h 603999"/>
                <a:gd name="connsiteX616" fmla="*/ 374744 w 787079"/>
                <a:gd name="connsiteY616" fmla="*/ 405055 h 603999"/>
                <a:gd name="connsiteX617" fmla="*/ 377806 w 787079"/>
                <a:gd name="connsiteY617" fmla="*/ 401590 h 603999"/>
                <a:gd name="connsiteX618" fmla="*/ 381576 w 787079"/>
                <a:gd name="connsiteY618" fmla="*/ 398529 h 603999"/>
                <a:gd name="connsiteX619" fmla="*/ 382888 w 787079"/>
                <a:gd name="connsiteY619" fmla="*/ 393752 h 603999"/>
                <a:gd name="connsiteX620" fmla="*/ 386523 w 787079"/>
                <a:gd name="connsiteY620" fmla="*/ 390556 h 603999"/>
                <a:gd name="connsiteX621" fmla="*/ 388980 w 787079"/>
                <a:gd name="connsiteY621" fmla="*/ 387798 h 603999"/>
                <a:gd name="connsiteX622" fmla="*/ 391436 w 787079"/>
                <a:gd name="connsiteY622" fmla="*/ 384165 h 603999"/>
                <a:gd name="connsiteX623" fmla="*/ 393321 w 787079"/>
                <a:gd name="connsiteY623" fmla="*/ 380700 h 603999"/>
                <a:gd name="connsiteX624" fmla="*/ 394903 w 787079"/>
                <a:gd name="connsiteY624" fmla="*/ 378076 h 603999"/>
                <a:gd name="connsiteX625" fmla="*/ 394465 w 787079"/>
                <a:gd name="connsiteY625" fmla="*/ 373433 h 603999"/>
                <a:gd name="connsiteX626" fmla="*/ 394331 w 787079"/>
                <a:gd name="connsiteY626" fmla="*/ 370238 h 603999"/>
                <a:gd name="connsiteX627" fmla="*/ 391706 w 787079"/>
                <a:gd name="connsiteY627" fmla="*/ 366168 h 603999"/>
                <a:gd name="connsiteX628" fmla="*/ 390696 w 787079"/>
                <a:gd name="connsiteY628" fmla="*/ 361256 h 603999"/>
                <a:gd name="connsiteX629" fmla="*/ 396922 w 787079"/>
                <a:gd name="connsiteY629" fmla="*/ 363140 h 603999"/>
                <a:gd name="connsiteX630" fmla="*/ 395913 w 787079"/>
                <a:gd name="connsiteY630" fmla="*/ 366033 h 603999"/>
                <a:gd name="connsiteX631" fmla="*/ 399110 w 787079"/>
                <a:gd name="connsiteY631" fmla="*/ 368926 h 603999"/>
                <a:gd name="connsiteX632" fmla="*/ 401566 w 787079"/>
                <a:gd name="connsiteY632" fmla="*/ 370810 h 603999"/>
                <a:gd name="connsiteX633" fmla="*/ 403451 w 787079"/>
                <a:gd name="connsiteY633" fmla="*/ 375015 h 603999"/>
                <a:gd name="connsiteX634" fmla="*/ 407523 w 787079"/>
                <a:gd name="connsiteY634" fmla="*/ 379522 h 603999"/>
                <a:gd name="connsiteX635" fmla="*/ 407086 w 787079"/>
                <a:gd name="connsiteY635" fmla="*/ 381978 h 603999"/>
                <a:gd name="connsiteX636" fmla="*/ 409846 w 787079"/>
                <a:gd name="connsiteY636" fmla="*/ 385174 h 603999"/>
                <a:gd name="connsiteX637" fmla="*/ 414759 w 787079"/>
                <a:gd name="connsiteY637" fmla="*/ 385174 h 603999"/>
                <a:gd name="connsiteX638" fmla="*/ 418831 w 787079"/>
                <a:gd name="connsiteY638" fmla="*/ 383223 h 603999"/>
                <a:gd name="connsiteX639" fmla="*/ 420851 w 787079"/>
                <a:gd name="connsiteY639" fmla="*/ 380969 h 603999"/>
                <a:gd name="connsiteX640" fmla="*/ 419976 w 787079"/>
                <a:gd name="connsiteY640" fmla="*/ 377773 h 603999"/>
                <a:gd name="connsiteX641" fmla="*/ 417788 w 787079"/>
                <a:gd name="connsiteY641" fmla="*/ 375015 h 603999"/>
                <a:gd name="connsiteX642" fmla="*/ 417519 w 787079"/>
                <a:gd name="connsiteY642" fmla="*/ 372828 h 603999"/>
                <a:gd name="connsiteX643" fmla="*/ 421153 w 787079"/>
                <a:gd name="connsiteY643" fmla="*/ 370810 h 603999"/>
                <a:gd name="connsiteX644" fmla="*/ 421423 w 787079"/>
                <a:gd name="connsiteY644" fmla="*/ 367345 h 603999"/>
                <a:gd name="connsiteX645" fmla="*/ 421557 w 787079"/>
                <a:gd name="connsiteY645" fmla="*/ 361122 h 603999"/>
                <a:gd name="connsiteX646" fmla="*/ 420380 w 787079"/>
                <a:gd name="connsiteY646" fmla="*/ 351265 h 603999"/>
                <a:gd name="connsiteX647" fmla="*/ 420817 w 787079"/>
                <a:gd name="connsiteY647" fmla="*/ 347060 h 603999"/>
                <a:gd name="connsiteX648" fmla="*/ 418797 w 787079"/>
                <a:gd name="connsiteY648" fmla="*/ 343595 h 603999"/>
                <a:gd name="connsiteX649" fmla="*/ 415600 w 787079"/>
                <a:gd name="connsiteY649" fmla="*/ 340131 h 603999"/>
                <a:gd name="connsiteX650" fmla="*/ 415028 w 787079"/>
                <a:gd name="connsiteY650" fmla="*/ 335354 h 603999"/>
                <a:gd name="connsiteX651" fmla="*/ 415466 w 787079"/>
                <a:gd name="connsiteY651" fmla="*/ 330711 h 603999"/>
                <a:gd name="connsiteX652" fmla="*/ 414322 w 787079"/>
                <a:gd name="connsiteY652" fmla="*/ 326944 h 603999"/>
                <a:gd name="connsiteX653" fmla="*/ 410687 w 787079"/>
                <a:gd name="connsiteY653" fmla="*/ 324488 h 603999"/>
                <a:gd name="connsiteX654" fmla="*/ 404730 w 787079"/>
                <a:gd name="connsiteY654" fmla="*/ 320586 h 603999"/>
                <a:gd name="connsiteX655" fmla="*/ 401836 w 787079"/>
                <a:gd name="connsiteY655" fmla="*/ 316515 h 603999"/>
                <a:gd name="connsiteX656" fmla="*/ 400220 w 787079"/>
                <a:gd name="connsiteY656" fmla="*/ 313050 h 603999"/>
                <a:gd name="connsiteX657" fmla="*/ 400220 w 787079"/>
                <a:gd name="connsiteY657" fmla="*/ 311301 h 603999"/>
                <a:gd name="connsiteX658" fmla="*/ 405235 w 787079"/>
                <a:gd name="connsiteY658" fmla="*/ 315069 h 603999"/>
                <a:gd name="connsiteX659" fmla="*/ 410519 w 787079"/>
                <a:gd name="connsiteY659" fmla="*/ 317087 h 603999"/>
                <a:gd name="connsiteX660" fmla="*/ 413548 w 787079"/>
                <a:gd name="connsiteY660" fmla="*/ 318836 h 603999"/>
                <a:gd name="connsiteX661" fmla="*/ 417317 w 787079"/>
                <a:gd name="connsiteY661" fmla="*/ 318971 h 603999"/>
                <a:gd name="connsiteX662" fmla="*/ 419067 w 787079"/>
                <a:gd name="connsiteY662" fmla="*/ 317524 h 603999"/>
                <a:gd name="connsiteX663" fmla="*/ 419336 w 787079"/>
                <a:gd name="connsiteY663" fmla="*/ 313050 h 603999"/>
                <a:gd name="connsiteX664" fmla="*/ 419336 w 787079"/>
                <a:gd name="connsiteY664" fmla="*/ 307265 h 603999"/>
                <a:gd name="connsiteX665" fmla="*/ 416879 w 787079"/>
                <a:gd name="connsiteY665" fmla="*/ 303934 h 603999"/>
                <a:gd name="connsiteX666" fmla="*/ 412538 w 787079"/>
                <a:gd name="connsiteY666" fmla="*/ 300604 h 603999"/>
                <a:gd name="connsiteX667" fmla="*/ 408197 w 787079"/>
                <a:gd name="connsiteY667" fmla="*/ 295962 h 603999"/>
                <a:gd name="connsiteX668" fmla="*/ 403720 w 787079"/>
                <a:gd name="connsiteY668" fmla="*/ 290445 h 603999"/>
                <a:gd name="connsiteX669" fmla="*/ 403720 w 787079"/>
                <a:gd name="connsiteY669" fmla="*/ 286980 h 603999"/>
                <a:gd name="connsiteX670" fmla="*/ 403720 w 787079"/>
                <a:gd name="connsiteY670" fmla="*/ 281765 h 603999"/>
                <a:gd name="connsiteX671" fmla="*/ 405672 w 787079"/>
                <a:gd name="connsiteY671" fmla="*/ 280622 h 603999"/>
                <a:gd name="connsiteX672" fmla="*/ 410687 w 787079"/>
                <a:gd name="connsiteY672" fmla="*/ 286408 h 603999"/>
                <a:gd name="connsiteX673" fmla="*/ 413009 w 787079"/>
                <a:gd name="connsiteY673" fmla="*/ 291487 h 603999"/>
                <a:gd name="connsiteX674" fmla="*/ 417519 w 787079"/>
                <a:gd name="connsiteY674" fmla="*/ 296702 h 603999"/>
                <a:gd name="connsiteX675" fmla="*/ 421725 w 787079"/>
                <a:gd name="connsiteY675" fmla="*/ 301041 h 603999"/>
                <a:gd name="connsiteX676" fmla="*/ 425360 w 787079"/>
                <a:gd name="connsiteY676" fmla="*/ 306390 h 603999"/>
                <a:gd name="connsiteX677" fmla="*/ 426673 w 787079"/>
                <a:gd name="connsiteY677" fmla="*/ 308139 h 603999"/>
                <a:gd name="connsiteX678" fmla="*/ 432327 w 787079"/>
                <a:gd name="connsiteY678" fmla="*/ 309283 h 603999"/>
                <a:gd name="connsiteX679" fmla="*/ 433774 w 787079"/>
                <a:gd name="connsiteY679" fmla="*/ 311032 h 603999"/>
                <a:gd name="connsiteX680" fmla="*/ 436837 w 787079"/>
                <a:gd name="connsiteY680" fmla="*/ 316818 h 603999"/>
                <a:gd name="connsiteX681" fmla="*/ 438586 w 787079"/>
                <a:gd name="connsiteY681" fmla="*/ 321326 h 603999"/>
                <a:gd name="connsiteX682" fmla="*/ 442188 w 787079"/>
                <a:gd name="connsiteY682" fmla="*/ 328424 h 603999"/>
                <a:gd name="connsiteX683" fmla="*/ 443500 w 787079"/>
                <a:gd name="connsiteY683" fmla="*/ 331317 h 603999"/>
                <a:gd name="connsiteX684" fmla="*/ 444813 w 787079"/>
                <a:gd name="connsiteY684" fmla="*/ 334647 h 603999"/>
                <a:gd name="connsiteX685" fmla="*/ 446866 w 787079"/>
                <a:gd name="connsiteY685" fmla="*/ 337406 h 603999"/>
                <a:gd name="connsiteX686" fmla="*/ 449895 w 787079"/>
                <a:gd name="connsiteY686" fmla="*/ 338280 h 603999"/>
                <a:gd name="connsiteX687" fmla="*/ 455246 w 787079"/>
                <a:gd name="connsiteY687" fmla="*/ 338280 h 603999"/>
                <a:gd name="connsiteX688" fmla="*/ 458005 w 787079"/>
                <a:gd name="connsiteY688" fmla="*/ 337406 h 603999"/>
                <a:gd name="connsiteX689" fmla="*/ 462347 w 787079"/>
                <a:gd name="connsiteY689" fmla="*/ 336397 h 603999"/>
                <a:gd name="connsiteX690" fmla="*/ 466116 w 787079"/>
                <a:gd name="connsiteY690" fmla="*/ 335959 h 603999"/>
                <a:gd name="connsiteX691" fmla="*/ 468135 w 787079"/>
                <a:gd name="connsiteY691" fmla="*/ 334647 h 603999"/>
                <a:gd name="connsiteX692" fmla="*/ 470895 w 787079"/>
                <a:gd name="connsiteY692" fmla="*/ 331451 h 603999"/>
                <a:gd name="connsiteX693" fmla="*/ 474227 w 787079"/>
                <a:gd name="connsiteY693" fmla="*/ 329568 h 603999"/>
                <a:gd name="connsiteX694" fmla="*/ 480453 w 787079"/>
                <a:gd name="connsiteY694" fmla="*/ 329568 h 603999"/>
                <a:gd name="connsiteX695" fmla="*/ 484525 w 787079"/>
                <a:gd name="connsiteY695" fmla="*/ 329332 h 603999"/>
                <a:gd name="connsiteX696" fmla="*/ 487116 w 787079"/>
                <a:gd name="connsiteY696" fmla="*/ 329837 h 603999"/>
                <a:gd name="connsiteX697" fmla="*/ 491761 w 787079"/>
                <a:gd name="connsiteY697" fmla="*/ 329971 h 603999"/>
                <a:gd name="connsiteX698" fmla="*/ 493646 w 787079"/>
                <a:gd name="connsiteY698" fmla="*/ 327213 h 603999"/>
                <a:gd name="connsiteX699" fmla="*/ 498997 w 787079"/>
                <a:gd name="connsiteY699" fmla="*/ 326775 h 603999"/>
                <a:gd name="connsiteX700" fmla="*/ 504650 w 787079"/>
                <a:gd name="connsiteY700" fmla="*/ 328087 h 603999"/>
                <a:gd name="connsiteX701" fmla="*/ 508252 w 787079"/>
                <a:gd name="connsiteY701" fmla="*/ 331855 h 603999"/>
                <a:gd name="connsiteX702" fmla="*/ 510877 w 787079"/>
                <a:gd name="connsiteY702" fmla="*/ 334883 h 603999"/>
                <a:gd name="connsiteX703" fmla="*/ 514646 w 787079"/>
                <a:gd name="connsiteY703" fmla="*/ 338785 h 603999"/>
                <a:gd name="connsiteX704" fmla="*/ 519559 w 787079"/>
                <a:gd name="connsiteY704" fmla="*/ 337036 h 603999"/>
                <a:gd name="connsiteX705" fmla="*/ 523194 w 787079"/>
                <a:gd name="connsiteY705" fmla="*/ 335724 h 603999"/>
                <a:gd name="connsiteX706" fmla="*/ 525819 w 787079"/>
                <a:gd name="connsiteY706" fmla="*/ 333537 h 603999"/>
                <a:gd name="connsiteX707" fmla="*/ 525684 w 787079"/>
                <a:gd name="connsiteY707" fmla="*/ 329769 h 603999"/>
                <a:gd name="connsiteX708" fmla="*/ 523362 w 787079"/>
                <a:gd name="connsiteY708" fmla="*/ 325867 h 603999"/>
                <a:gd name="connsiteX709" fmla="*/ 519458 w 787079"/>
                <a:gd name="connsiteY709" fmla="*/ 322537 h 603999"/>
                <a:gd name="connsiteX710" fmla="*/ 515252 w 787079"/>
                <a:gd name="connsiteY710" fmla="*/ 319341 h 603999"/>
                <a:gd name="connsiteX711" fmla="*/ 512357 w 787079"/>
                <a:gd name="connsiteY711" fmla="*/ 313690 h 603999"/>
                <a:gd name="connsiteX712" fmla="*/ 514511 w 787079"/>
                <a:gd name="connsiteY712" fmla="*/ 309182 h 603999"/>
                <a:gd name="connsiteX713" fmla="*/ 517540 w 787079"/>
                <a:gd name="connsiteY713" fmla="*/ 306995 h 603999"/>
                <a:gd name="connsiteX714" fmla="*/ 523194 w 787079"/>
                <a:gd name="connsiteY714" fmla="*/ 305986 h 603999"/>
                <a:gd name="connsiteX715" fmla="*/ 528983 w 787079"/>
                <a:gd name="connsiteY715" fmla="*/ 303362 h 603999"/>
                <a:gd name="connsiteX716" fmla="*/ 532449 w 787079"/>
                <a:gd name="connsiteY716" fmla="*/ 299729 h 603999"/>
                <a:gd name="connsiteX717" fmla="*/ 535343 w 787079"/>
                <a:gd name="connsiteY717" fmla="*/ 296533 h 603999"/>
                <a:gd name="connsiteX718" fmla="*/ 543454 w 787079"/>
                <a:gd name="connsiteY718" fmla="*/ 296971 h 603999"/>
                <a:gd name="connsiteX719" fmla="*/ 544329 w 787079"/>
                <a:gd name="connsiteY719" fmla="*/ 302488 h 603999"/>
                <a:gd name="connsiteX720" fmla="*/ 544901 w 787079"/>
                <a:gd name="connsiteY720" fmla="*/ 306558 h 603999"/>
                <a:gd name="connsiteX721" fmla="*/ 542142 w 787079"/>
                <a:gd name="connsiteY721" fmla="*/ 309148 h 603999"/>
                <a:gd name="connsiteX722" fmla="*/ 538945 w 787079"/>
                <a:gd name="connsiteY722" fmla="*/ 312781 h 603999"/>
                <a:gd name="connsiteX723" fmla="*/ 536488 w 787079"/>
                <a:gd name="connsiteY723" fmla="*/ 316852 h 603999"/>
                <a:gd name="connsiteX724" fmla="*/ 536488 w 787079"/>
                <a:gd name="connsiteY724" fmla="*/ 320922 h 603999"/>
                <a:gd name="connsiteX725" fmla="*/ 539247 w 787079"/>
                <a:gd name="connsiteY725" fmla="*/ 323546 h 603999"/>
                <a:gd name="connsiteX726" fmla="*/ 544026 w 787079"/>
                <a:gd name="connsiteY726" fmla="*/ 325127 h 603999"/>
                <a:gd name="connsiteX727" fmla="*/ 549108 w 787079"/>
                <a:gd name="connsiteY727" fmla="*/ 326271 h 603999"/>
                <a:gd name="connsiteX728" fmla="*/ 553753 w 787079"/>
                <a:gd name="connsiteY728" fmla="*/ 328289 h 603999"/>
                <a:gd name="connsiteX729" fmla="*/ 556815 w 787079"/>
                <a:gd name="connsiteY729" fmla="*/ 326843 h 603999"/>
                <a:gd name="connsiteX730" fmla="*/ 558969 w 787079"/>
                <a:gd name="connsiteY730" fmla="*/ 323815 h 603999"/>
                <a:gd name="connsiteX731" fmla="*/ 558531 w 787079"/>
                <a:gd name="connsiteY731" fmla="*/ 318601 h 603999"/>
                <a:gd name="connsiteX732" fmla="*/ 558094 w 787079"/>
                <a:gd name="connsiteY732" fmla="*/ 316414 h 603999"/>
                <a:gd name="connsiteX733" fmla="*/ 554628 w 787079"/>
                <a:gd name="connsiteY733" fmla="*/ 309889 h 603999"/>
                <a:gd name="connsiteX734" fmla="*/ 552440 w 787079"/>
                <a:gd name="connsiteY734" fmla="*/ 308139 h 603999"/>
                <a:gd name="connsiteX735" fmla="*/ 555032 w 787079"/>
                <a:gd name="connsiteY735" fmla="*/ 304674 h 603999"/>
                <a:gd name="connsiteX736" fmla="*/ 557185 w 787079"/>
                <a:gd name="connsiteY736" fmla="*/ 306424 h 603999"/>
                <a:gd name="connsiteX737" fmla="*/ 560248 w 787079"/>
                <a:gd name="connsiteY737" fmla="*/ 309889 h 603999"/>
                <a:gd name="connsiteX738" fmla="*/ 562839 w 787079"/>
                <a:gd name="connsiteY738" fmla="*/ 312041 h 603999"/>
                <a:gd name="connsiteX739" fmla="*/ 564589 w 787079"/>
                <a:gd name="connsiteY739" fmla="*/ 312041 h 603999"/>
                <a:gd name="connsiteX740" fmla="*/ 567181 w 787079"/>
                <a:gd name="connsiteY740" fmla="*/ 312041 h 603999"/>
                <a:gd name="connsiteX741" fmla="*/ 567181 w 787079"/>
                <a:gd name="connsiteY741" fmla="*/ 307702 h 603999"/>
                <a:gd name="connsiteX742" fmla="*/ 567181 w 787079"/>
                <a:gd name="connsiteY742" fmla="*/ 304237 h 603999"/>
                <a:gd name="connsiteX743" fmla="*/ 567181 w 787079"/>
                <a:gd name="connsiteY743" fmla="*/ 300772 h 603999"/>
                <a:gd name="connsiteX744" fmla="*/ 567181 w 787079"/>
                <a:gd name="connsiteY744" fmla="*/ 298182 h 603999"/>
                <a:gd name="connsiteX745" fmla="*/ 573474 w 787079"/>
                <a:gd name="connsiteY745" fmla="*/ 296870 h 603999"/>
                <a:gd name="connsiteX746" fmla="*/ 579768 w 787079"/>
                <a:gd name="connsiteY746" fmla="*/ 295995 h 603999"/>
                <a:gd name="connsiteX747" fmla="*/ 584984 w 787079"/>
                <a:gd name="connsiteY747" fmla="*/ 292093 h 603999"/>
                <a:gd name="connsiteX748" fmla="*/ 588450 w 787079"/>
                <a:gd name="connsiteY748" fmla="*/ 291218 h 603999"/>
                <a:gd name="connsiteX749" fmla="*/ 593229 w 787079"/>
                <a:gd name="connsiteY749" fmla="*/ 286879 h 603999"/>
                <a:gd name="connsiteX750" fmla="*/ 596696 w 787079"/>
                <a:gd name="connsiteY750" fmla="*/ 288628 h 603999"/>
                <a:gd name="connsiteX751" fmla="*/ 596696 w 787079"/>
                <a:gd name="connsiteY751" fmla="*/ 290377 h 603999"/>
                <a:gd name="connsiteX752" fmla="*/ 593229 w 787079"/>
                <a:gd name="connsiteY752" fmla="*/ 292127 h 603999"/>
                <a:gd name="connsiteX753" fmla="*/ 593229 w 787079"/>
                <a:gd name="connsiteY753" fmla="*/ 293876 h 603999"/>
                <a:gd name="connsiteX754" fmla="*/ 593229 w 787079"/>
                <a:gd name="connsiteY754" fmla="*/ 299090 h 603999"/>
                <a:gd name="connsiteX755" fmla="*/ 595619 w 787079"/>
                <a:gd name="connsiteY755" fmla="*/ 305179 h 603999"/>
                <a:gd name="connsiteX756" fmla="*/ 602350 w 787079"/>
                <a:gd name="connsiteY756" fmla="*/ 306491 h 603999"/>
                <a:gd name="connsiteX757" fmla="*/ 609316 w 787079"/>
                <a:gd name="connsiteY757" fmla="*/ 307668 h 603999"/>
                <a:gd name="connsiteX758" fmla="*/ 616720 w 787079"/>
                <a:gd name="connsiteY758" fmla="*/ 310393 h 603999"/>
                <a:gd name="connsiteX759" fmla="*/ 625403 w 787079"/>
                <a:gd name="connsiteY759" fmla="*/ 310393 h 603999"/>
                <a:gd name="connsiteX760" fmla="*/ 630182 w 787079"/>
                <a:gd name="connsiteY760" fmla="*/ 307769 h 603999"/>
                <a:gd name="connsiteX761" fmla="*/ 628432 w 787079"/>
                <a:gd name="connsiteY761" fmla="*/ 299931 h 603999"/>
                <a:gd name="connsiteX762" fmla="*/ 626682 w 787079"/>
                <a:gd name="connsiteY762" fmla="*/ 297744 h 603999"/>
                <a:gd name="connsiteX763" fmla="*/ 621903 w 787079"/>
                <a:gd name="connsiteY763" fmla="*/ 292093 h 603999"/>
                <a:gd name="connsiteX764" fmla="*/ 617562 w 787079"/>
                <a:gd name="connsiteY764" fmla="*/ 288628 h 603999"/>
                <a:gd name="connsiteX765" fmla="*/ 617562 w 787079"/>
                <a:gd name="connsiteY765" fmla="*/ 284288 h 603999"/>
                <a:gd name="connsiteX766" fmla="*/ 621466 w 787079"/>
                <a:gd name="connsiteY766" fmla="*/ 282977 h 603999"/>
                <a:gd name="connsiteX767" fmla="*/ 628869 w 787079"/>
                <a:gd name="connsiteY767" fmla="*/ 284726 h 603999"/>
                <a:gd name="connsiteX768" fmla="*/ 631057 w 787079"/>
                <a:gd name="connsiteY768" fmla="*/ 282539 h 603999"/>
                <a:gd name="connsiteX769" fmla="*/ 633649 w 787079"/>
                <a:gd name="connsiteY769" fmla="*/ 277762 h 603999"/>
                <a:gd name="connsiteX770" fmla="*/ 636711 w 787079"/>
                <a:gd name="connsiteY770" fmla="*/ 278200 h 603999"/>
                <a:gd name="connsiteX771" fmla="*/ 636711 w 787079"/>
                <a:gd name="connsiteY771" fmla="*/ 281665 h 603999"/>
                <a:gd name="connsiteX772" fmla="*/ 636711 w 787079"/>
                <a:gd name="connsiteY772" fmla="*/ 287316 h 603999"/>
                <a:gd name="connsiteX773" fmla="*/ 643240 w 787079"/>
                <a:gd name="connsiteY773" fmla="*/ 293842 h 603999"/>
                <a:gd name="connsiteX774" fmla="*/ 650610 w 787079"/>
                <a:gd name="connsiteY774" fmla="*/ 299931 h 603999"/>
                <a:gd name="connsiteX775" fmla="*/ 659327 w 787079"/>
                <a:gd name="connsiteY775" fmla="*/ 294280 h 603999"/>
                <a:gd name="connsiteX776" fmla="*/ 665418 w 787079"/>
                <a:gd name="connsiteY776" fmla="*/ 289940 h 603999"/>
                <a:gd name="connsiteX777" fmla="*/ 671072 w 787079"/>
                <a:gd name="connsiteY777" fmla="*/ 286038 h 603999"/>
                <a:gd name="connsiteX778" fmla="*/ 673260 w 787079"/>
                <a:gd name="connsiteY778" fmla="*/ 283447 h 603999"/>
                <a:gd name="connsiteX779" fmla="*/ 673260 w 787079"/>
                <a:gd name="connsiteY779" fmla="*/ 279983 h 603999"/>
                <a:gd name="connsiteX780" fmla="*/ 673260 w 787079"/>
                <a:gd name="connsiteY780" fmla="*/ 274399 h 603999"/>
                <a:gd name="connsiteX781" fmla="*/ 678476 w 787079"/>
                <a:gd name="connsiteY781" fmla="*/ 276585 h 603999"/>
                <a:gd name="connsiteX782" fmla="*/ 678476 w 787079"/>
                <a:gd name="connsiteY782" fmla="*/ 282674 h 603999"/>
                <a:gd name="connsiteX783" fmla="*/ 683491 w 787079"/>
                <a:gd name="connsiteY783" fmla="*/ 286139 h 603999"/>
                <a:gd name="connsiteX784" fmla="*/ 688943 w 787079"/>
                <a:gd name="connsiteY784" fmla="*/ 282674 h 603999"/>
                <a:gd name="connsiteX785" fmla="*/ 694159 w 787079"/>
                <a:gd name="connsiteY785" fmla="*/ 276148 h 603999"/>
                <a:gd name="connsiteX786" fmla="*/ 698501 w 787079"/>
                <a:gd name="connsiteY786" fmla="*/ 270496 h 603999"/>
                <a:gd name="connsiteX787" fmla="*/ 700251 w 787079"/>
                <a:gd name="connsiteY787" fmla="*/ 270496 h 603999"/>
                <a:gd name="connsiteX788" fmla="*/ 710684 w 787079"/>
                <a:gd name="connsiteY788" fmla="*/ 268747 h 603999"/>
                <a:gd name="connsiteX789" fmla="*/ 720242 w 787079"/>
                <a:gd name="connsiteY789" fmla="*/ 268747 h 603999"/>
                <a:gd name="connsiteX790" fmla="*/ 727208 w 787079"/>
                <a:gd name="connsiteY790" fmla="*/ 262658 h 603999"/>
                <a:gd name="connsiteX791" fmla="*/ 727208 w 787079"/>
                <a:gd name="connsiteY791" fmla="*/ 257444 h 603999"/>
                <a:gd name="connsiteX792" fmla="*/ 727208 w 787079"/>
                <a:gd name="connsiteY792" fmla="*/ 246578 h 603999"/>
                <a:gd name="connsiteX793" fmla="*/ 733300 w 787079"/>
                <a:gd name="connsiteY793" fmla="*/ 240927 h 603999"/>
                <a:gd name="connsiteX794" fmla="*/ 744170 w 787079"/>
                <a:gd name="connsiteY794" fmla="*/ 240927 h 603999"/>
                <a:gd name="connsiteX795" fmla="*/ 751574 w 787079"/>
                <a:gd name="connsiteY795" fmla="*/ 237900 h 603999"/>
                <a:gd name="connsiteX796" fmla="*/ 748949 w 787079"/>
                <a:gd name="connsiteY796" fmla="*/ 232248 h 603999"/>
                <a:gd name="connsiteX797" fmla="*/ 745920 w 787079"/>
                <a:gd name="connsiteY797" fmla="*/ 232248 h 603999"/>
                <a:gd name="connsiteX798" fmla="*/ 745483 w 787079"/>
                <a:gd name="connsiteY798" fmla="*/ 225722 h 603999"/>
                <a:gd name="connsiteX799" fmla="*/ 740704 w 787079"/>
                <a:gd name="connsiteY799" fmla="*/ 222257 h 603999"/>
                <a:gd name="connsiteX800" fmla="*/ 748545 w 787079"/>
                <a:gd name="connsiteY800" fmla="*/ 217480 h 603999"/>
                <a:gd name="connsiteX801" fmla="*/ 750699 w 787079"/>
                <a:gd name="connsiteY801" fmla="*/ 225318 h 603999"/>
                <a:gd name="connsiteX802" fmla="*/ 756791 w 787079"/>
                <a:gd name="connsiteY802" fmla="*/ 225318 h 603999"/>
                <a:gd name="connsiteX803" fmla="*/ 756791 w 787079"/>
                <a:gd name="connsiteY803" fmla="*/ 218355 h 603999"/>
                <a:gd name="connsiteX804" fmla="*/ 764598 w 787079"/>
                <a:gd name="connsiteY804" fmla="*/ 218355 h 603999"/>
                <a:gd name="connsiteX805" fmla="*/ 767190 w 787079"/>
                <a:gd name="connsiteY805" fmla="*/ 212266 h 603999"/>
                <a:gd name="connsiteX806" fmla="*/ 767190 w 787079"/>
                <a:gd name="connsiteY806" fmla="*/ 205303 h 603999"/>
                <a:gd name="connsiteX807" fmla="*/ 767190 w 787079"/>
                <a:gd name="connsiteY807" fmla="*/ 200963 h 603999"/>
                <a:gd name="connsiteX808" fmla="*/ 769815 w 787079"/>
                <a:gd name="connsiteY808" fmla="*/ 195749 h 603999"/>
                <a:gd name="connsiteX809" fmla="*/ 776781 w 787079"/>
                <a:gd name="connsiteY809" fmla="*/ 195749 h 603999"/>
                <a:gd name="connsiteX810" fmla="*/ 784623 w 787079"/>
                <a:gd name="connsiteY810" fmla="*/ 195749 h 603999"/>
                <a:gd name="connsiteX811" fmla="*/ 784623 w 787079"/>
                <a:gd name="connsiteY811" fmla="*/ 193159 h 603999"/>
                <a:gd name="connsiteX812" fmla="*/ 787080 w 787079"/>
                <a:gd name="connsiteY812" fmla="*/ 188987 h 603999"/>
                <a:gd name="connsiteX813" fmla="*/ 780147 w 787079"/>
                <a:gd name="connsiteY813" fmla="*/ 183168 h 60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</a:cxnLst>
              <a:rect l="l" t="t" r="r" b="b"/>
              <a:pathLst>
                <a:path w="787079" h="603999">
                  <a:moveTo>
                    <a:pt x="780147" y="183168"/>
                  </a:moveTo>
                  <a:lnTo>
                    <a:pt x="776007" y="177954"/>
                  </a:lnTo>
                  <a:cubicBezTo>
                    <a:pt x="776007" y="177954"/>
                    <a:pt x="773416" y="170990"/>
                    <a:pt x="773416" y="170116"/>
                  </a:cubicBezTo>
                  <a:cubicBezTo>
                    <a:pt x="773416" y="169241"/>
                    <a:pt x="771901" y="162513"/>
                    <a:pt x="771901" y="162513"/>
                  </a:cubicBezTo>
                  <a:lnTo>
                    <a:pt x="769276" y="156222"/>
                  </a:lnTo>
                  <a:cubicBezTo>
                    <a:pt x="769276" y="156222"/>
                    <a:pt x="770252" y="152085"/>
                    <a:pt x="769613" y="151210"/>
                  </a:cubicBezTo>
                  <a:cubicBezTo>
                    <a:pt x="768974" y="150336"/>
                    <a:pt x="766685" y="143170"/>
                    <a:pt x="766685" y="143170"/>
                  </a:cubicBezTo>
                  <a:lnTo>
                    <a:pt x="766685" y="137519"/>
                  </a:lnTo>
                  <a:lnTo>
                    <a:pt x="766685" y="132305"/>
                  </a:lnTo>
                  <a:lnTo>
                    <a:pt x="764935" y="124467"/>
                  </a:lnTo>
                  <a:cubicBezTo>
                    <a:pt x="764935" y="124467"/>
                    <a:pt x="761233" y="120329"/>
                    <a:pt x="761031" y="119690"/>
                  </a:cubicBezTo>
                  <a:cubicBezTo>
                    <a:pt x="760795" y="119051"/>
                    <a:pt x="759079" y="117301"/>
                    <a:pt x="759079" y="115989"/>
                  </a:cubicBezTo>
                  <a:cubicBezTo>
                    <a:pt x="759079" y="114678"/>
                    <a:pt x="755175" y="107748"/>
                    <a:pt x="755175" y="107748"/>
                  </a:cubicBezTo>
                  <a:lnTo>
                    <a:pt x="749319" y="99069"/>
                  </a:lnTo>
                  <a:lnTo>
                    <a:pt x="742353" y="93855"/>
                  </a:lnTo>
                  <a:lnTo>
                    <a:pt x="742353" y="85377"/>
                  </a:lnTo>
                  <a:lnTo>
                    <a:pt x="747569" y="80163"/>
                  </a:lnTo>
                  <a:lnTo>
                    <a:pt x="747569" y="74949"/>
                  </a:lnTo>
                  <a:lnTo>
                    <a:pt x="747132" y="72123"/>
                  </a:lnTo>
                  <a:lnTo>
                    <a:pt x="742353" y="69735"/>
                  </a:lnTo>
                  <a:lnTo>
                    <a:pt x="739088" y="73637"/>
                  </a:lnTo>
                  <a:lnTo>
                    <a:pt x="733434" y="77977"/>
                  </a:lnTo>
                  <a:lnTo>
                    <a:pt x="728420" y="82316"/>
                  </a:lnTo>
                  <a:lnTo>
                    <a:pt x="722126" y="85344"/>
                  </a:lnTo>
                  <a:cubicBezTo>
                    <a:pt x="722126" y="85344"/>
                    <a:pt x="719098" y="82720"/>
                    <a:pt x="718424" y="82316"/>
                  </a:cubicBezTo>
                  <a:cubicBezTo>
                    <a:pt x="717785" y="81879"/>
                    <a:pt x="712131" y="77539"/>
                    <a:pt x="712131" y="77539"/>
                  </a:cubicBezTo>
                  <a:cubicBezTo>
                    <a:pt x="712131" y="77539"/>
                    <a:pt x="709742" y="72123"/>
                    <a:pt x="708866" y="72123"/>
                  </a:cubicBezTo>
                  <a:cubicBezTo>
                    <a:pt x="707991" y="72123"/>
                    <a:pt x="704525" y="67347"/>
                    <a:pt x="704525" y="67347"/>
                  </a:cubicBezTo>
                  <a:cubicBezTo>
                    <a:pt x="704525" y="67347"/>
                    <a:pt x="705165" y="64521"/>
                    <a:pt x="704525" y="63882"/>
                  </a:cubicBezTo>
                  <a:cubicBezTo>
                    <a:pt x="703886" y="63242"/>
                    <a:pt x="696280" y="61695"/>
                    <a:pt x="696280" y="61695"/>
                  </a:cubicBezTo>
                  <a:lnTo>
                    <a:pt x="689111" y="63646"/>
                  </a:lnTo>
                  <a:lnTo>
                    <a:pt x="683222" y="66472"/>
                  </a:lnTo>
                  <a:lnTo>
                    <a:pt x="674943" y="66035"/>
                  </a:lnTo>
                  <a:lnTo>
                    <a:pt x="663870" y="61258"/>
                  </a:lnTo>
                  <a:lnTo>
                    <a:pt x="652125" y="54294"/>
                  </a:lnTo>
                  <a:lnTo>
                    <a:pt x="648288" y="56986"/>
                  </a:lnTo>
                  <a:cubicBezTo>
                    <a:pt x="648288" y="56986"/>
                    <a:pt x="646841" y="59172"/>
                    <a:pt x="646403" y="59307"/>
                  </a:cubicBezTo>
                  <a:cubicBezTo>
                    <a:pt x="645966" y="59441"/>
                    <a:pt x="643206" y="61493"/>
                    <a:pt x="643206" y="61493"/>
                  </a:cubicBezTo>
                  <a:lnTo>
                    <a:pt x="641894" y="63680"/>
                  </a:lnTo>
                  <a:lnTo>
                    <a:pt x="637990" y="66136"/>
                  </a:lnTo>
                  <a:cubicBezTo>
                    <a:pt x="637990" y="66136"/>
                    <a:pt x="635971" y="68759"/>
                    <a:pt x="635668" y="69163"/>
                  </a:cubicBezTo>
                  <a:cubicBezTo>
                    <a:pt x="635365" y="69600"/>
                    <a:pt x="634355" y="73368"/>
                    <a:pt x="634220" y="74512"/>
                  </a:cubicBezTo>
                  <a:cubicBezTo>
                    <a:pt x="634086" y="75656"/>
                    <a:pt x="635803" y="76833"/>
                    <a:pt x="637283" y="78414"/>
                  </a:cubicBezTo>
                  <a:cubicBezTo>
                    <a:pt x="638730" y="79995"/>
                    <a:pt x="639033" y="81038"/>
                    <a:pt x="639033" y="81038"/>
                  </a:cubicBezTo>
                  <a:lnTo>
                    <a:pt x="643812" y="86252"/>
                  </a:lnTo>
                  <a:cubicBezTo>
                    <a:pt x="643812" y="86252"/>
                    <a:pt x="644250" y="90592"/>
                    <a:pt x="644250" y="91466"/>
                  </a:cubicBezTo>
                  <a:cubicBezTo>
                    <a:pt x="644250" y="92341"/>
                    <a:pt x="644250" y="93787"/>
                    <a:pt x="643947" y="94494"/>
                  </a:cubicBezTo>
                  <a:cubicBezTo>
                    <a:pt x="643644" y="95234"/>
                    <a:pt x="642365" y="98833"/>
                    <a:pt x="642365" y="98833"/>
                  </a:cubicBezTo>
                  <a:lnTo>
                    <a:pt x="639471" y="100280"/>
                  </a:lnTo>
                  <a:cubicBezTo>
                    <a:pt x="639471" y="100280"/>
                    <a:pt x="636846" y="100414"/>
                    <a:pt x="635701" y="99405"/>
                  </a:cubicBezTo>
                  <a:cubicBezTo>
                    <a:pt x="634557" y="98396"/>
                    <a:pt x="631360" y="97387"/>
                    <a:pt x="630788" y="97387"/>
                  </a:cubicBezTo>
                  <a:cubicBezTo>
                    <a:pt x="630216" y="97387"/>
                    <a:pt x="628028" y="96680"/>
                    <a:pt x="627456" y="96378"/>
                  </a:cubicBezTo>
                  <a:cubicBezTo>
                    <a:pt x="626884" y="96075"/>
                    <a:pt x="623821" y="94191"/>
                    <a:pt x="623821" y="94191"/>
                  </a:cubicBezTo>
                  <a:cubicBezTo>
                    <a:pt x="623821" y="94191"/>
                    <a:pt x="621196" y="92173"/>
                    <a:pt x="620927" y="91433"/>
                  </a:cubicBezTo>
                  <a:cubicBezTo>
                    <a:pt x="620624" y="90726"/>
                    <a:pt x="614970" y="85041"/>
                    <a:pt x="614970" y="85041"/>
                  </a:cubicBezTo>
                  <a:lnTo>
                    <a:pt x="608879" y="79692"/>
                  </a:lnTo>
                  <a:lnTo>
                    <a:pt x="604100" y="75790"/>
                  </a:lnTo>
                  <a:lnTo>
                    <a:pt x="598883" y="75790"/>
                  </a:lnTo>
                  <a:lnTo>
                    <a:pt x="597571" y="76867"/>
                  </a:lnTo>
                  <a:lnTo>
                    <a:pt x="591479" y="79558"/>
                  </a:lnTo>
                  <a:cubicBezTo>
                    <a:pt x="591479" y="79558"/>
                    <a:pt x="590167" y="81744"/>
                    <a:pt x="589157" y="81879"/>
                  </a:cubicBezTo>
                  <a:cubicBezTo>
                    <a:pt x="588148" y="82013"/>
                    <a:pt x="585825" y="83763"/>
                    <a:pt x="584681" y="83897"/>
                  </a:cubicBezTo>
                  <a:cubicBezTo>
                    <a:pt x="583537" y="84032"/>
                    <a:pt x="583368" y="84335"/>
                    <a:pt x="581181" y="84032"/>
                  </a:cubicBezTo>
                  <a:cubicBezTo>
                    <a:pt x="579027" y="83729"/>
                    <a:pt x="578724" y="83897"/>
                    <a:pt x="577411" y="83897"/>
                  </a:cubicBezTo>
                  <a:cubicBezTo>
                    <a:pt x="576099" y="83897"/>
                    <a:pt x="573642" y="84200"/>
                    <a:pt x="572330" y="84200"/>
                  </a:cubicBezTo>
                  <a:cubicBezTo>
                    <a:pt x="571017" y="84200"/>
                    <a:pt x="570748" y="84503"/>
                    <a:pt x="570142" y="84503"/>
                  </a:cubicBezTo>
                  <a:cubicBezTo>
                    <a:pt x="569570" y="84503"/>
                    <a:pt x="567382" y="85680"/>
                    <a:pt x="566104" y="85680"/>
                  </a:cubicBezTo>
                  <a:cubicBezTo>
                    <a:pt x="564791" y="85680"/>
                    <a:pt x="564084" y="88001"/>
                    <a:pt x="564084" y="88001"/>
                  </a:cubicBezTo>
                  <a:lnTo>
                    <a:pt x="561628" y="88001"/>
                  </a:lnTo>
                  <a:lnTo>
                    <a:pt x="556983" y="88741"/>
                  </a:lnTo>
                  <a:lnTo>
                    <a:pt x="554224" y="91063"/>
                  </a:lnTo>
                  <a:lnTo>
                    <a:pt x="552777" y="92375"/>
                  </a:lnTo>
                  <a:lnTo>
                    <a:pt x="552777" y="95267"/>
                  </a:lnTo>
                  <a:lnTo>
                    <a:pt x="552272" y="98160"/>
                  </a:lnTo>
                  <a:lnTo>
                    <a:pt x="549882" y="100616"/>
                  </a:lnTo>
                  <a:lnTo>
                    <a:pt x="545675" y="100751"/>
                  </a:lnTo>
                  <a:cubicBezTo>
                    <a:pt x="545675" y="100751"/>
                    <a:pt x="545675" y="100751"/>
                    <a:pt x="543656" y="99439"/>
                  </a:cubicBezTo>
                  <a:cubicBezTo>
                    <a:pt x="541637" y="98127"/>
                    <a:pt x="540627" y="98867"/>
                    <a:pt x="539752" y="98732"/>
                  </a:cubicBezTo>
                  <a:cubicBezTo>
                    <a:pt x="538877" y="98598"/>
                    <a:pt x="537733" y="99170"/>
                    <a:pt x="537733" y="99170"/>
                  </a:cubicBezTo>
                  <a:lnTo>
                    <a:pt x="536151" y="100482"/>
                  </a:lnTo>
                  <a:lnTo>
                    <a:pt x="533391" y="102500"/>
                  </a:lnTo>
                  <a:lnTo>
                    <a:pt x="530362" y="102365"/>
                  </a:lnTo>
                  <a:lnTo>
                    <a:pt x="526459" y="101356"/>
                  </a:lnTo>
                  <a:cubicBezTo>
                    <a:pt x="526459" y="101356"/>
                    <a:pt x="524574" y="103543"/>
                    <a:pt x="524002" y="103543"/>
                  </a:cubicBezTo>
                  <a:cubicBezTo>
                    <a:pt x="523430" y="103543"/>
                    <a:pt x="521680" y="104855"/>
                    <a:pt x="521680" y="104855"/>
                  </a:cubicBezTo>
                  <a:cubicBezTo>
                    <a:pt x="521680" y="104855"/>
                    <a:pt x="519088" y="105864"/>
                    <a:pt x="518348" y="106167"/>
                  </a:cubicBezTo>
                  <a:cubicBezTo>
                    <a:pt x="517608" y="106470"/>
                    <a:pt x="510237" y="107041"/>
                    <a:pt x="510237" y="107041"/>
                  </a:cubicBezTo>
                  <a:cubicBezTo>
                    <a:pt x="510237" y="107041"/>
                    <a:pt x="506030" y="107613"/>
                    <a:pt x="504886" y="107916"/>
                  </a:cubicBezTo>
                  <a:cubicBezTo>
                    <a:pt x="503708" y="108219"/>
                    <a:pt x="499535" y="108219"/>
                    <a:pt x="499535" y="108219"/>
                  </a:cubicBezTo>
                  <a:lnTo>
                    <a:pt x="492299" y="104148"/>
                  </a:lnTo>
                  <a:lnTo>
                    <a:pt x="489405" y="103005"/>
                  </a:lnTo>
                  <a:lnTo>
                    <a:pt x="487655" y="101995"/>
                  </a:lnTo>
                  <a:cubicBezTo>
                    <a:pt x="487655" y="101995"/>
                    <a:pt x="482304" y="99102"/>
                    <a:pt x="481866" y="98968"/>
                  </a:cubicBezTo>
                  <a:cubicBezTo>
                    <a:pt x="481429" y="98833"/>
                    <a:pt x="478400" y="97084"/>
                    <a:pt x="477962" y="96949"/>
                  </a:cubicBezTo>
                  <a:cubicBezTo>
                    <a:pt x="477525" y="96815"/>
                    <a:pt x="476246" y="93888"/>
                    <a:pt x="476246" y="93316"/>
                  </a:cubicBezTo>
                  <a:cubicBezTo>
                    <a:pt x="476246" y="92744"/>
                    <a:pt x="478703" y="90995"/>
                    <a:pt x="478837" y="90423"/>
                  </a:cubicBezTo>
                  <a:cubicBezTo>
                    <a:pt x="478972" y="89852"/>
                    <a:pt x="482035" y="89549"/>
                    <a:pt x="482169" y="89111"/>
                  </a:cubicBezTo>
                  <a:cubicBezTo>
                    <a:pt x="482304" y="88674"/>
                    <a:pt x="486241" y="87665"/>
                    <a:pt x="486241" y="87665"/>
                  </a:cubicBezTo>
                  <a:lnTo>
                    <a:pt x="489708" y="84469"/>
                  </a:lnTo>
                  <a:lnTo>
                    <a:pt x="491727" y="81879"/>
                  </a:lnTo>
                  <a:lnTo>
                    <a:pt x="495631" y="77371"/>
                  </a:lnTo>
                  <a:cubicBezTo>
                    <a:pt x="495631" y="77371"/>
                    <a:pt x="498391" y="68961"/>
                    <a:pt x="498088" y="68524"/>
                  </a:cubicBezTo>
                  <a:cubicBezTo>
                    <a:pt x="497785" y="68087"/>
                    <a:pt x="497953" y="66943"/>
                    <a:pt x="497953" y="66943"/>
                  </a:cubicBezTo>
                  <a:cubicBezTo>
                    <a:pt x="497953" y="66943"/>
                    <a:pt x="498088" y="64319"/>
                    <a:pt x="498391" y="63613"/>
                  </a:cubicBezTo>
                  <a:cubicBezTo>
                    <a:pt x="498694" y="62872"/>
                    <a:pt x="499266" y="60282"/>
                    <a:pt x="499266" y="60282"/>
                  </a:cubicBezTo>
                  <a:cubicBezTo>
                    <a:pt x="499266" y="60282"/>
                    <a:pt x="502901" y="58398"/>
                    <a:pt x="503910" y="56515"/>
                  </a:cubicBezTo>
                  <a:cubicBezTo>
                    <a:pt x="504920" y="54631"/>
                    <a:pt x="506064" y="54496"/>
                    <a:pt x="506064" y="53924"/>
                  </a:cubicBezTo>
                  <a:cubicBezTo>
                    <a:pt x="506064" y="53352"/>
                    <a:pt x="509530" y="50459"/>
                    <a:pt x="509968" y="49854"/>
                  </a:cubicBezTo>
                  <a:cubicBezTo>
                    <a:pt x="510406" y="49282"/>
                    <a:pt x="513030" y="47667"/>
                    <a:pt x="513434" y="47398"/>
                  </a:cubicBezTo>
                  <a:cubicBezTo>
                    <a:pt x="513872" y="47095"/>
                    <a:pt x="515184" y="46961"/>
                    <a:pt x="515184" y="46961"/>
                  </a:cubicBezTo>
                  <a:cubicBezTo>
                    <a:pt x="515184" y="46961"/>
                    <a:pt x="521982" y="44371"/>
                    <a:pt x="522588" y="44068"/>
                  </a:cubicBezTo>
                  <a:cubicBezTo>
                    <a:pt x="523160" y="43765"/>
                    <a:pt x="524204" y="42319"/>
                    <a:pt x="524204" y="42319"/>
                  </a:cubicBezTo>
                  <a:cubicBezTo>
                    <a:pt x="524204" y="42319"/>
                    <a:pt x="528108" y="40300"/>
                    <a:pt x="528545" y="39863"/>
                  </a:cubicBezTo>
                  <a:cubicBezTo>
                    <a:pt x="528983" y="39426"/>
                    <a:pt x="529420" y="38551"/>
                    <a:pt x="529420" y="38551"/>
                  </a:cubicBezTo>
                  <a:cubicBezTo>
                    <a:pt x="529420" y="38551"/>
                    <a:pt x="528983" y="36533"/>
                    <a:pt x="528848" y="35793"/>
                  </a:cubicBezTo>
                  <a:cubicBezTo>
                    <a:pt x="528713" y="35052"/>
                    <a:pt x="528142" y="34211"/>
                    <a:pt x="527536" y="32765"/>
                  </a:cubicBezTo>
                  <a:cubicBezTo>
                    <a:pt x="526963" y="31318"/>
                    <a:pt x="527098" y="30444"/>
                    <a:pt x="527098" y="30444"/>
                  </a:cubicBezTo>
                  <a:cubicBezTo>
                    <a:pt x="527098" y="30444"/>
                    <a:pt x="527805" y="28695"/>
                    <a:pt x="527805" y="28257"/>
                  </a:cubicBezTo>
                  <a:cubicBezTo>
                    <a:pt x="527805" y="27820"/>
                    <a:pt x="527233" y="24355"/>
                    <a:pt x="527233" y="24355"/>
                  </a:cubicBezTo>
                  <a:cubicBezTo>
                    <a:pt x="527233" y="24355"/>
                    <a:pt x="525213" y="21462"/>
                    <a:pt x="524910" y="20722"/>
                  </a:cubicBezTo>
                  <a:cubicBezTo>
                    <a:pt x="524608" y="20016"/>
                    <a:pt x="523329" y="18704"/>
                    <a:pt x="522891" y="17964"/>
                  </a:cubicBezTo>
                  <a:cubicBezTo>
                    <a:pt x="522454" y="17257"/>
                    <a:pt x="520132" y="15643"/>
                    <a:pt x="520132" y="15643"/>
                  </a:cubicBezTo>
                  <a:lnTo>
                    <a:pt x="516228" y="11572"/>
                  </a:lnTo>
                  <a:lnTo>
                    <a:pt x="512761" y="9991"/>
                  </a:lnTo>
                  <a:cubicBezTo>
                    <a:pt x="512761" y="9991"/>
                    <a:pt x="508992" y="6223"/>
                    <a:pt x="508554" y="6223"/>
                  </a:cubicBezTo>
                  <a:cubicBezTo>
                    <a:pt x="508117" y="6223"/>
                    <a:pt x="506973" y="6795"/>
                    <a:pt x="506973" y="6795"/>
                  </a:cubicBezTo>
                  <a:cubicBezTo>
                    <a:pt x="506973" y="6795"/>
                    <a:pt x="504953" y="8376"/>
                    <a:pt x="504516" y="8376"/>
                  </a:cubicBezTo>
                  <a:cubicBezTo>
                    <a:pt x="504078" y="8376"/>
                    <a:pt x="502328" y="11404"/>
                    <a:pt x="501756" y="11572"/>
                  </a:cubicBezTo>
                  <a:cubicBezTo>
                    <a:pt x="501184" y="11707"/>
                    <a:pt x="497415" y="14331"/>
                    <a:pt x="496977" y="14465"/>
                  </a:cubicBezTo>
                  <a:cubicBezTo>
                    <a:pt x="496540" y="14600"/>
                    <a:pt x="493646" y="17661"/>
                    <a:pt x="492905" y="17930"/>
                  </a:cubicBezTo>
                  <a:cubicBezTo>
                    <a:pt x="492165" y="18233"/>
                    <a:pt x="488698" y="19242"/>
                    <a:pt x="488698" y="19242"/>
                  </a:cubicBezTo>
                  <a:lnTo>
                    <a:pt x="486679" y="18098"/>
                  </a:lnTo>
                  <a:cubicBezTo>
                    <a:pt x="486679" y="18098"/>
                    <a:pt x="481328" y="13321"/>
                    <a:pt x="480890" y="12884"/>
                  </a:cubicBezTo>
                  <a:cubicBezTo>
                    <a:pt x="480453" y="12447"/>
                    <a:pt x="477828" y="11707"/>
                    <a:pt x="477255" y="11707"/>
                  </a:cubicBezTo>
                  <a:cubicBezTo>
                    <a:pt x="476684" y="11707"/>
                    <a:pt x="474361" y="13725"/>
                    <a:pt x="474361" y="13725"/>
                  </a:cubicBezTo>
                  <a:cubicBezTo>
                    <a:pt x="474361" y="13725"/>
                    <a:pt x="471736" y="16921"/>
                    <a:pt x="471164" y="17055"/>
                  </a:cubicBezTo>
                  <a:cubicBezTo>
                    <a:pt x="470592" y="17190"/>
                    <a:pt x="465948" y="23279"/>
                    <a:pt x="465948" y="23279"/>
                  </a:cubicBezTo>
                  <a:lnTo>
                    <a:pt x="460731" y="23144"/>
                  </a:lnTo>
                  <a:lnTo>
                    <a:pt x="458712" y="19074"/>
                  </a:lnTo>
                  <a:lnTo>
                    <a:pt x="459722" y="18199"/>
                  </a:lnTo>
                  <a:lnTo>
                    <a:pt x="458275" y="11101"/>
                  </a:lnTo>
                  <a:lnTo>
                    <a:pt x="451611" y="6627"/>
                  </a:lnTo>
                  <a:lnTo>
                    <a:pt x="446697" y="6324"/>
                  </a:lnTo>
                  <a:cubicBezTo>
                    <a:pt x="446697" y="6324"/>
                    <a:pt x="445116" y="8645"/>
                    <a:pt x="444375" y="9217"/>
                  </a:cubicBezTo>
                  <a:cubicBezTo>
                    <a:pt x="443668" y="9789"/>
                    <a:pt x="442793" y="10967"/>
                    <a:pt x="442793" y="10967"/>
                  </a:cubicBezTo>
                  <a:cubicBezTo>
                    <a:pt x="442793" y="10967"/>
                    <a:pt x="439899" y="12716"/>
                    <a:pt x="439461" y="12850"/>
                  </a:cubicBezTo>
                  <a:cubicBezTo>
                    <a:pt x="439024" y="12985"/>
                    <a:pt x="437139" y="15172"/>
                    <a:pt x="435692" y="15441"/>
                  </a:cubicBezTo>
                  <a:cubicBezTo>
                    <a:pt x="434245" y="15743"/>
                    <a:pt x="433808" y="16752"/>
                    <a:pt x="433808" y="16752"/>
                  </a:cubicBezTo>
                  <a:cubicBezTo>
                    <a:pt x="433808" y="16752"/>
                    <a:pt x="427009" y="16752"/>
                    <a:pt x="426437" y="16752"/>
                  </a:cubicBezTo>
                  <a:cubicBezTo>
                    <a:pt x="425865" y="16752"/>
                    <a:pt x="422365" y="17762"/>
                    <a:pt x="422365" y="17762"/>
                  </a:cubicBezTo>
                  <a:lnTo>
                    <a:pt x="417283" y="19343"/>
                  </a:lnTo>
                  <a:lnTo>
                    <a:pt x="409879" y="18031"/>
                  </a:lnTo>
                  <a:cubicBezTo>
                    <a:pt x="409879" y="18031"/>
                    <a:pt x="404225" y="17896"/>
                    <a:pt x="403081" y="17593"/>
                  </a:cubicBezTo>
                  <a:cubicBezTo>
                    <a:pt x="401937" y="17291"/>
                    <a:pt x="398437" y="17156"/>
                    <a:pt x="397999" y="17156"/>
                  </a:cubicBezTo>
                  <a:cubicBezTo>
                    <a:pt x="397562" y="17156"/>
                    <a:pt x="392042" y="14566"/>
                    <a:pt x="392042" y="14566"/>
                  </a:cubicBezTo>
                  <a:cubicBezTo>
                    <a:pt x="392042" y="14566"/>
                    <a:pt x="388576" y="11370"/>
                    <a:pt x="388273" y="10933"/>
                  </a:cubicBezTo>
                  <a:cubicBezTo>
                    <a:pt x="387970" y="10496"/>
                    <a:pt x="386388" y="7603"/>
                    <a:pt x="386388" y="7165"/>
                  </a:cubicBezTo>
                  <a:cubicBezTo>
                    <a:pt x="386388" y="6728"/>
                    <a:pt x="384201" y="3263"/>
                    <a:pt x="383931" y="2826"/>
                  </a:cubicBezTo>
                  <a:cubicBezTo>
                    <a:pt x="383662" y="2388"/>
                    <a:pt x="381172" y="0"/>
                    <a:pt x="381172" y="0"/>
                  </a:cubicBezTo>
                  <a:cubicBezTo>
                    <a:pt x="381172" y="0"/>
                    <a:pt x="379287" y="202"/>
                    <a:pt x="377268" y="67"/>
                  </a:cubicBezTo>
                  <a:cubicBezTo>
                    <a:pt x="375249" y="-67"/>
                    <a:pt x="371614" y="67"/>
                    <a:pt x="371042" y="67"/>
                  </a:cubicBezTo>
                  <a:cubicBezTo>
                    <a:pt x="370469" y="67"/>
                    <a:pt x="368450" y="2388"/>
                    <a:pt x="368450" y="2388"/>
                  </a:cubicBezTo>
                  <a:cubicBezTo>
                    <a:pt x="368450" y="2388"/>
                    <a:pt x="365825" y="8477"/>
                    <a:pt x="365825" y="9049"/>
                  </a:cubicBezTo>
                  <a:cubicBezTo>
                    <a:pt x="365825" y="9621"/>
                    <a:pt x="364378" y="12817"/>
                    <a:pt x="364378" y="12817"/>
                  </a:cubicBezTo>
                  <a:lnTo>
                    <a:pt x="359162" y="18031"/>
                  </a:lnTo>
                  <a:lnTo>
                    <a:pt x="355695" y="19343"/>
                  </a:lnTo>
                  <a:cubicBezTo>
                    <a:pt x="355695" y="19343"/>
                    <a:pt x="354551" y="19915"/>
                    <a:pt x="354113" y="20083"/>
                  </a:cubicBezTo>
                  <a:cubicBezTo>
                    <a:pt x="353676" y="20217"/>
                    <a:pt x="351354" y="21832"/>
                    <a:pt x="351354" y="21832"/>
                  </a:cubicBezTo>
                  <a:cubicBezTo>
                    <a:pt x="351354" y="21832"/>
                    <a:pt x="348022" y="23716"/>
                    <a:pt x="347585" y="23851"/>
                  </a:cubicBezTo>
                  <a:cubicBezTo>
                    <a:pt x="347147" y="23985"/>
                    <a:pt x="345565" y="23851"/>
                    <a:pt x="344690" y="23851"/>
                  </a:cubicBezTo>
                  <a:cubicBezTo>
                    <a:pt x="343815" y="23851"/>
                    <a:pt x="342503" y="24725"/>
                    <a:pt x="342065" y="25162"/>
                  </a:cubicBezTo>
                  <a:cubicBezTo>
                    <a:pt x="341628" y="25600"/>
                    <a:pt x="339743" y="26609"/>
                    <a:pt x="339743" y="26609"/>
                  </a:cubicBezTo>
                  <a:lnTo>
                    <a:pt x="340618" y="29805"/>
                  </a:lnTo>
                  <a:lnTo>
                    <a:pt x="342065" y="31251"/>
                  </a:lnTo>
                  <a:cubicBezTo>
                    <a:pt x="342065" y="31251"/>
                    <a:pt x="349032" y="35019"/>
                    <a:pt x="350041" y="35153"/>
                  </a:cubicBezTo>
                  <a:cubicBezTo>
                    <a:pt x="351051" y="35288"/>
                    <a:pt x="351791" y="37340"/>
                    <a:pt x="351791" y="37340"/>
                  </a:cubicBezTo>
                  <a:lnTo>
                    <a:pt x="350647" y="39089"/>
                  </a:lnTo>
                  <a:lnTo>
                    <a:pt x="348762" y="41276"/>
                  </a:lnTo>
                  <a:lnTo>
                    <a:pt x="346878" y="42453"/>
                  </a:lnTo>
                  <a:lnTo>
                    <a:pt x="347753" y="45481"/>
                  </a:lnTo>
                  <a:lnTo>
                    <a:pt x="348325" y="46927"/>
                  </a:lnTo>
                  <a:lnTo>
                    <a:pt x="350344" y="50258"/>
                  </a:lnTo>
                  <a:lnTo>
                    <a:pt x="349604" y="53016"/>
                  </a:lnTo>
                  <a:cubicBezTo>
                    <a:pt x="349604" y="53016"/>
                    <a:pt x="349166" y="54765"/>
                    <a:pt x="349166" y="55203"/>
                  </a:cubicBezTo>
                  <a:cubicBezTo>
                    <a:pt x="349166" y="55640"/>
                    <a:pt x="349604" y="57793"/>
                    <a:pt x="349604" y="57793"/>
                  </a:cubicBezTo>
                  <a:cubicBezTo>
                    <a:pt x="349604" y="57793"/>
                    <a:pt x="352363" y="61695"/>
                    <a:pt x="352801" y="61998"/>
                  </a:cubicBezTo>
                  <a:cubicBezTo>
                    <a:pt x="353238" y="62301"/>
                    <a:pt x="352498" y="65194"/>
                    <a:pt x="352498" y="65194"/>
                  </a:cubicBezTo>
                  <a:lnTo>
                    <a:pt x="351185" y="67649"/>
                  </a:lnTo>
                  <a:cubicBezTo>
                    <a:pt x="351185" y="67649"/>
                    <a:pt x="347719" y="68221"/>
                    <a:pt x="347113" y="68221"/>
                  </a:cubicBezTo>
                  <a:cubicBezTo>
                    <a:pt x="346541" y="68221"/>
                    <a:pt x="344084" y="68524"/>
                    <a:pt x="344084" y="68524"/>
                  </a:cubicBezTo>
                  <a:cubicBezTo>
                    <a:pt x="344084" y="68524"/>
                    <a:pt x="341762" y="70273"/>
                    <a:pt x="340618" y="70542"/>
                  </a:cubicBezTo>
                  <a:cubicBezTo>
                    <a:pt x="339474" y="70845"/>
                    <a:pt x="336142" y="71552"/>
                    <a:pt x="336142" y="71552"/>
                  </a:cubicBezTo>
                  <a:lnTo>
                    <a:pt x="330791" y="68928"/>
                  </a:lnTo>
                  <a:lnTo>
                    <a:pt x="326315" y="62536"/>
                  </a:lnTo>
                  <a:lnTo>
                    <a:pt x="322545" y="56750"/>
                  </a:lnTo>
                  <a:lnTo>
                    <a:pt x="317901" y="52108"/>
                  </a:lnTo>
                  <a:lnTo>
                    <a:pt x="311675" y="45885"/>
                  </a:lnTo>
                  <a:lnTo>
                    <a:pt x="304843" y="44573"/>
                  </a:lnTo>
                  <a:lnTo>
                    <a:pt x="300939" y="42823"/>
                  </a:lnTo>
                  <a:lnTo>
                    <a:pt x="295420" y="41242"/>
                  </a:lnTo>
                  <a:lnTo>
                    <a:pt x="293838" y="42823"/>
                  </a:lnTo>
                  <a:cubicBezTo>
                    <a:pt x="293838" y="42823"/>
                    <a:pt x="291381" y="43967"/>
                    <a:pt x="290809" y="44135"/>
                  </a:cubicBezTo>
                  <a:cubicBezTo>
                    <a:pt x="290237" y="44270"/>
                    <a:pt x="285155" y="44135"/>
                    <a:pt x="285155" y="44135"/>
                  </a:cubicBezTo>
                  <a:lnTo>
                    <a:pt x="284280" y="42823"/>
                  </a:lnTo>
                  <a:lnTo>
                    <a:pt x="275597" y="42823"/>
                  </a:lnTo>
                  <a:lnTo>
                    <a:pt x="268227" y="42823"/>
                  </a:lnTo>
                  <a:lnTo>
                    <a:pt x="266342" y="43900"/>
                  </a:lnTo>
                  <a:lnTo>
                    <a:pt x="262270" y="44976"/>
                  </a:lnTo>
                  <a:lnTo>
                    <a:pt x="260688" y="45851"/>
                  </a:lnTo>
                  <a:lnTo>
                    <a:pt x="259982" y="47432"/>
                  </a:lnTo>
                  <a:lnTo>
                    <a:pt x="262136" y="49013"/>
                  </a:lnTo>
                  <a:lnTo>
                    <a:pt x="262573" y="54093"/>
                  </a:lnTo>
                  <a:lnTo>
                    <a:pt x="262573" y="56548"/>
                  </a:lnTo>
                  <a:lnTo>
                    <a:pt x="262573" y="59307"/>
                  </a:lnTo>
                  <a:lnTo>
                    <a:pt x="262573" y="61493"/>
                  </a:lnTo>
                  <a:lnTo>
                    <a:pt x="261866" y="64083"/>
                  </a:lnTo>
                  <a:lnTo>
                    <a:pt x="259982" y="65227"/>
                  </a:lnTo>
                  <a:lnTo>
                    <a:pt x="258972" y="67986"/>
                  </a:lnTo>
                  <a:lnTo>
                    <a:pt x="260116" y="69870"/>
                  </a:lnTo>
                  <a:lnTo>
                    <a:pt x="263886" y="72460"/>
                  </a:lnTo>
                  <a:lnTo>
                    <a:pt x="265333" y="75656"/>
                  </a:lnTo>
                  <a:lnTo>
                    <a:pt x="265198" y="77842"/>
                  </a:lnTo>
                  <a:lnTo>
                    <a:pt x="265064" y="79289"/>
                  </a:lnTo>
                  <a:lnTo>
                    <a:pt x="263919" y="80601"/>
                  </a:lnTo>
                  <a:lnTo>
                    <a:pt x="263482" y="82754"/>
                  </a:lnTo>
                  <a:lnTo>
                    <a:pt x="261159" y="82754"/>
                  </a:lnTo>
                  <a:lnTo>
                    <a:pt x="258400" y="83628"/>
                  </a:lnTo>
                  <a:lnTo>
                    <a:pt x="254496" y="85815"/>
                  </a:lnTo>
                  <a:lnTo>
                    <a:pt x="251467" y="87396"/>
                  </a:lnTo>
                  <a:lnTo>
                    <a:pt x="247832" y="91029"/>
                  </a:lnTo>
                  <a:lnTo>
                    <a:pt x="244635" y="94225"/>
                  </a:lnTo>
                  <a:lnTo>
                    <a:pt x="242751" y="97252"/>
                  </a:lnTo>
                  <a:lnTo>
                    <a:pt x="241606" y="100280"/>
                  </a:lnTo>
                  <a:lnTo>
                    <a:pt x="242178" y="103913"/>
                  </a:lnTo>
                  <a:lnTo>
                    <a:pt x="243491" y="106671"/>
                  </a:lnTo>
                  <a:lnTo>
                    <a:pt x="245376" y="109564"/>
                  </a:lnTo>
                  <a:lnTo>
                    <a:pt x="251164" y="114038"/>
                  </a:lnTo>
                  <a:lnTo>
                    <a:pt x="251736" y="119118"/>
                  </a:lnTo>
                  <a:lnTo>
                    <a:pt x="251433" y="124197"/>
                  </a:lnTo>
                  <a:lnTo>
                    <a:pt x="253621" y="130286"/>
                  </a:lnTo>
                  <a:lnTo>
                    <a:pt x="255506" y="135501"/>
                  </a:lnTo>
                  <a:lnTo>
                    <a:pt x="252611" y="141152"/>
                  </a:lnTo>
                  <a:lnTo>
                    <a:pt x="247092" y="143170"/>
                  </a:lnTo>
                  <a:lnTo>
                    <a:pt x="241303" y="144751"/>
                  </a:lnTo>
                  <a:lnTo>
                    <a:pt x="235649" y="149226"/>
                  </a:lnTo>
                  <a:lnTo>
                    <a:pt x="235212" y="154877"/>
                  </a:lnTo>
                  <a:cubicBezTo>
                    <a:pt x="235212" y="154877"/>
                    <a:pt x="237803" y="162849"/>
                    <a:pt x="237803" y="163421"/>
                  </a:cubicBezTo>
                  <a:cubicBezTo>
                    <a:pt x="237803" y="163993"/>
                    <a:pt x="239116" y="167054"/>
                    <a:pt x="239116" y="167054"/>
                  </a:cubicBezTo>
                  <a:cubicBezTo>
                    <a:pt x="239116" y="167054"/>
                    <a:pt x="243895" y="172841"/>
                    <a:pt x="244770" y="174455"/>
                  </a:cubicBezTo>
                  <a:cubicBezTo>
                    <a:pt x="245645" y="176036"/>
                    <a:pt x="244635" y="178795"/>
                    <a:pt x="244635" y="178795"/>
                  </a:cubicBezTo>
                  <a:cubicBezTo>
                    <a:pt x="244635" y="178795"/>
                    <a:pt x="243626" y="179804"/>
                    <a:pt x="242010" y="180107"/>
                  </a:cubicBezTo>
                  <a:cubicBezTo>
                    <a:pt x="240428" y="180410"/>
                    <a:pt x="236928" y="182428"/>
                    <a:pt x="236221" y="182428"/>
                  </a:cubicBezTo>
                  <a:cubicBezTo>
                    <a:pt x="235481" y="182428"/>
                    <a:pt x="229120" y="187776"/>
                    <a:pt x="229120" y="187776"/>
                  </a:cubicBezTo>
                  <a:lnTo>
                    <a:pt x="226226" y="186464"/>
                  </a:lnTo>
                  <a:cubicBezTo>
                    <a:pt x="226226" y="186464"/>
                    <a:pt x="222322" y="186330"/>
                    <a:pt x="220707" y="186464"/>
                  </a:cubicBezTo>
                  <a:cubicBezTo>
                    <a:pt x="219125" y="186599"/>
                    <a:pt x="213740" y="190938"/>
                    <a:pt x="212899" y="191241"/>
                  </a:cubicBezTo>
                  <a:cubicBezTo>
                    <a:pt x="212024" y="191544"/>
                    <a:pt x="209399" y="198474"/>
                    <a:pt x="209399" y="198474"/>
                  </a:cubicBezTo>
                  <a:lnTo>
                    <a:pt x="216062" y="203823"/>
                  </a:lnTo>
                  <a:lnTo>
                    <a:pt x="217947" y="207590"/>
                  </a:lnTo>
                  <a:cubicBezTo>
                    <a:pt x="217947" y="207590"/>
                    <a:pt x="216365" y="212670"/>
                    <a:pt x="215625" y="212670"/>
                  </a:cubicBezTo>
                  <a:cubicBezTo>
                    <a:pt x="214918" y="212670"/>
                    <a:pt x="213303" y="215428"/>
                    <a:pt x="212159" y="215698"/>
                  </a:cubicBezTo>
                  <a:cubicBezTo>
                    <a:pt x="211014" y="216000"/>
                    <a:pt x="208389" y="216841"/>
                    <a:pt x="208389" y="216841"/>
                  </a:cubicBezTo>
                  <a:lnTo>
                    <a:pt x="204048" y="217547"/>
                  </a:lnTo>
                  <a:cubicBezTo>
                    <a:pt x="204048" y="217547"/>
                    <a:pt x="198831" y="221181"/>
                    <a:pt x="198091" y="221181"/>
                  </a:cubicBezTo>
                  <a:cubicBezTo>
                    <a:pt x="197351" y="221181"/>
                    <a:pt x="194894" y="225823"/>
                    <a:pt x="193749" y="226260"/>
                  </a:cubicBezTo>
                  <a:cubicBezTo>
                    <a:pt x="192571" y="226697"/>
                    <a:pt x="192740" y="227269"/>
                    <a:pt x="192740" y="227269"/>
                  </a:cubicBezTo>
                  <a:lnTo>
                    <a:pt x="187826" y="229591"/>
                  </a:lnTo>
                  <a:lnTo>
                    <a:pt x="187826" y="234367"/>
                  </a:lnTo>
                  <a:lnTo>
                    <a:pt x="187557" y="238438"/>
                  </a:lnTo>
                  <a:cubicBezTo>
                    <a:pt x="187557" y="238438"/>
                    <a:pt x="188432" y="245670"/>
                    <a:pt x="188264" y="246107"/>
                  </a:cubicBezTo>
                  <a:cubicBezTo>
                    <a:pt x="188129" y="246545"/>
                    <a:pt x="187826" y="248429"/>
                    <a:pt x="187254" y="248731"/>
                  </a:cubicBezTo>
                  <a:cubicBezTo>
                    <a:pt x="186682" y="249034"/>
                    <a:pt x="185235" y="251322"/>
                    <a:pt x="184360" y="252364"/>
                  </a:cubicBezTo>
                  <a:cubicBezTo>
                    <a:pt x="183485" y="253374"/>
                    <a:pt x="184360" y="254988"/>
                    <a:pt x="184360" y="255998"/>
                  </a:cubicBezTo>
                  <a:cubicBezTo>
                    <a:pt x="184360" y="257007"/>
                    <a:pt x="186817" y="259328"/>
                    <a:pt x="186817" y="259328"/>
                  </a:cubicBezTo>
                  <a:cubicBezTo>
                    <a:pt x="186817" y="259328"/>
                    <a:pt x="188398" y="261784"/>
                    <a:pt x="188398" y="262221"/>
                  </a:cubicBezTo>
                  <a:cubicBezTo>
                    <a:pt x="188398" y="262658"/>
                    <a:pt x="188836" y="268579"/>
                    <a:pt x="188836" y="269756"/>
                  </a:cubicBezTo>
                  <a:cubicBezTo>
                    <a:pt x="188836" y="270900"/>
                    <a:pt x="190418" y="273827"/>
                    <a:pt x="190418" y="274264"/>
                  </a:cubicBezTo>
                  <a:cubicBezTo>
                    <a:pt x="190418" y="274701"/>
                    <a:pt x="193043" y="278335"/>
                    <a:pt x="193043" y="278335"/>
                  </a:cubicBezTo>
                  <a:lnTo>
                    <a:pt x="192302" y="287013"/>
                  </a:lnTo>
                  <a:lnTo>
                    <a:pt x="185504" y="293539"/>
                  </a:lnTo>
                  <a:lnTo>
                    <a:pt x="184629" y="299056"/>
                  </a:lnTo>
                  <a:lnTo>
                    <a:pt x="182172" y="302252"/>
                  </a:lnTo>
                  <a:lnTo>
                    <a:pt x="179850" y="304573"/>
                  </a:lnTo>
                  <a:lnTo>
                    <a:pt x="175509" y="307903"/>
                  </a:lnTo>
                  <a:lnTo>
                    <a:pt x="175071" y="310090"/>
                  </a:lnTo>
                  <a:lnTo>
                    <a:pt x="172009" y="312849"/>
                  </a:lnTo>
                  <a:cubicBezTo>
                    <a:pt x="172009" y="312849"/>
                    <a:pt x="171133" y="313420"/>
                    <a:pt x="169989" y="314026"/>
                  </a:cubicBezTo>
                  <a:cubicBezTo>
                    <a:pt x="168845" y="314598"/>
                    <a:pt x="167532" y="314732"/>
                    <a:pt x="167532" y="314732"/>
                  </a:cubicBezTo>
                  <a:cubicBezTo>
                    <a:pt x="167532" y="314732"/>
                    <a:pt x="164773" y="316044"/>
                    <a:pt x="163023" y="316482"/>
                  </a:cubicBezTo>
                  <a:cubicBezTo>
                    <a:pt x="161273" y="316919"/>
                    <a:pt x="159994" y="318063"/>
                    <a:pt x="159994" y="318063"/>
                  </a:cubicBezTo>
                  <a:lnTo>
                    <a:pt x="157672" y="318937"/>
                  </a:lnTo>
                  <a:lnTo>
                    <a:pt x="156662" y="321999"/>
                  </a:lnTo>
                  <a:lnTo>
                    <a:pt x="155215" y="323580"/>
                  </a:lnTo>
                  <a:lnTo>
                    <a:pt x="152893" y="326204"/>
                  </a:lnTo>
                  <a:cubicBezTo>
                    <a:pt x="152893" y="326204"/>
                    <a:pt x="149426" y="327347"/>
                    <a:pt x="148820" y="327347"/>
                  </a:cubicBezTo>
                  <a:cubicBezTo>
                    <a:pt x="148248" y="327347"/>
                    <a:pt x="144042" y="328054"/>
                    <a:pt x="143604" y="328222"/>
                  </a:cubicBezTo>
                  <a:cubicBezTo>
                    <a:pt x="143167" y="328357"/>
                    <a:pt x="139700" y="331115"/>
                    <a:pt x="139700" y="331115"/>
                  </a:cubicBezTo>
                  <a:lnTo>
                    <a:pt x="133609" y="332730"/>
                  </a:lnTo>
                  <a:lnTo>
                    <a:pt x="127652" y="334748"/>
                  </a:lnTo>
                  <a:lnTo>
                    <a:pt x="123883" y="339390"/>
                  </a:lnTo>
                  <a:lnTo>
                    <a:pt x="120988" y="347060"/>
                  </a:lnTo>
                  <a:lnTo>
                    <a:pt x="118969" y="348809"/>
                  </a:lnTo>
                  <a:lnTo>
                    <a:pt x="118834" y="352846"/>
                  </a:lnTo>
                  <a:cubicBezTo>
                    <a:pt x="118834" y="352846"/>
                    <a:pt x="122301" y="359372"/>
                    <a:pt x="122469" y="359944"/>
                  </a:cubicBezTo>
                  <a:cubicBezTo>
                    <a:pt x="122604" y="360516"/>
                    <a:pt x="123916" y="364587"/>
                    <a:pt x="123916" y="364587"/>
                  </a:cubicBezTo>
                  <a:lnTo>
                    <a:pt x="122604" y="367042"/>
                  </a:lnTo>
                  <a:lnTo>
                    <a:pt x="119575" y="366470"/>
                  </a:lnTo>
                  <a:cubicBezTo>
                    <a:pt x="119575" y="366470"/>
                    <a:pt x="116512" y="365158"/>
                    <a:pt x="114796" y="365024"/>
                  </a:cubicBezTo>
                  <a:cubicBezTo>
                    <a:pt x="113046" y="364889"/>
                    <a:pt x="112036" y="365024"/>
                    <a:pt x="111464" y="365024"/>
                  </a:cubicBezTo>
                  <a:cubicBezTo>
                    <a:pt x="110892" y="365024"/>
                    <a:pt x="108704" y="367210"/>
                    <a:pt x="108704" y="367210"/>
                  </a:cubicBezTo>
                  <a:lnTo>
                    <a:pt x="108839" y="371685"/>
                  </a:lnTo>
                  <a:lnTo>
                    <a:pt x="115065" y="375755"/>
                  </a:lnTo>
                  <a:lnTo>
                    <a:pt x="111430" y="377638"/>
                  </a:lnTo>
                  <a:lnTo>
                    <a:pt x="107089" y="379388"/>
                  </a:lnTo>
                  <a:lnTo>
                    <a:pt x="99416" y="382146"/>
                  </a:lnTo>
                  <a:lnTo>
                    <a:pt x="97262" y="385342"/>
                  </a:lnTo>
                  <a:lnTo>
                    <a:pt x="90733" y="384030"/>
                  </a:lnTo>
                  <a:lnTo>
                    <a:pt x="84944" y="379825"/>
                  </a:lnTo>
                  <a:lnTo>
                    <a:pt x="78718" y="379522"/>
                  </a:lnTo>
                  <a:lnTo>
                    <a:pt x="75386" y="381709"/>
                  </a:lnTo>
                  <a:cubicBezTo>
                    <a:pt x="75386" y="381709"/>
                    <a:pt x="75521" y="386789"/>
                    <a:pt x="75521" y="387495"/>
                  </a:cubicBezTo>
                  <a:cubicBezTo>
                    <a:pt x="75521" y="388201"/>
                    <a:pt x="79290" y="394593"/>
                    <a:pt x="79290" y="394593"/>
                  </a:cubicBezTo>
                  <a:lnTo>
                    <a:pt x="85516" y="401691"/>
                  </a:lnTo>
                  <a:lnTo>
                    <a:pt x="84944" y="407780"/>
                  </a:lnTo>
                  <a:lnTo>
                    <a:pt x="79593" y="410235"/>
                  </a:lnTo>
                  <a:lnTo>
                    <a:pt x="72054" y="409663"/>
                  </a:lnTo>
                  <a:cubicBezTo>
                    <a:pt x="72054" y="409663"/>
                    <a:pt x="65256" y="410807"/>
                    <a:pt x="64651" y="410807"/>
                  </a:cubicBezTo>
                  <a:cubicBezTo>
                    <a:pt x="64078" y="410807"/>
                    <a:pt x="57246" y="412119"/>
                    <a:pt x="57246" y="412119"/>
                  </a:cubicBezTo>
                  <a:lnTo>
                    <a:pt x="50145" y="413431"/>
                  </a:lnTo>
                  <a:lnTo>
                    <a:pt x="44626" y="413566"/>
                  </a:lnTo>
                  <a:lnTo>
                    <a:pt x="38400" y="415012"/>
                  </a:lnTo>
                  <a:lnTo>
                    <a:pt x="34058" y="417636"/>
                  </a:lnTo>
                  <a:lnTo>
                    <a:pt x="31029" y="422985"/>
                  </a:lnTo>
                  <a:lnTo>
                    <a:pt x="34058" y="426887"/>
                  </a:lnTo>
                  <a:lnTo>
                    <a:pt x="35203" y="432404"/>
                  </a:lnTo>
                  <a:lnTo>
                    <a:pt x="31871" y="439199"/>
                  </a:lnTo>
                  <a:lnTo>
                    <a:pt x="23457" y="440948"/>
                  </a:lnTo>
                  <a:cubicBezTo>
                    <a:pt x="23457" y="440948"/>
                    <a:pt x="17669" y="440948"/>
                    <a:pt x="17097" y="440948"/>
                  </a:cubicBezTo>
                  <a:cubicBezTo>
                    <a:pt x="16524" y="440948"/>
                    <a:pt x="12890" y="443034"/>
                    <a:pt x="12890" y="443034"/>
                  </a:cubicBezTo>
                  <a:lnTo>
                    <a:pt x="9995" y="446734"/>
                  </a:lnTo>
                  <a:lnTo>
                    <a:pt x="7539" y="451377"/>
                  </a:lnTo>
                  <a:lnTo>
                    <a:pt x="5957" y="454270"/>
                  </a:lnTo>
                  <a:lnTo>
                    <a:pt x="4947" y="457163"/>
                  </a:lnTo>
                  <a:lnTo>
                    <a:pt x="7404" y="460055"/>
                  </a:lnTo>
                  <a:lnTo>
                    <a:pt x="11308" y="461805"/>
                  </a:lnTo>
                  <a:lnTo>
                    <a:pt x="13933" y="461805"/>
                  </a:lnTo>
                  <a:lnTo>
                    <a:pt x="20462" y="463554"/>
                  </a:lnTo>
                  <a:lnTo>
                    <a:pt x="23928" y="464563"/>
                  </a:lnTo>
                  <a:lnTo>
                    <a:pt x="25813" y="468634"/>
                  </a:lnTo>
                  <a:lnTo>
                    <a:pt x="28001" y="470955"/>
                  </a:lnTo>
                  <a:lnTo>
                    <a:pt x="27429" y="474151"/>
                  </a:lnTo>
                  <a:lnTo>
                    <a:pt x="23222" y="475732"/>
                  </a:lnTo>
                  <a:lnTo>
                    <a:pt x="20630" y="476875"/>
                  </a:lnTo>
                  <a:lnTo>
                    <a:pt x="15111" y="479062"/>
                  </a:lnTo>
                  <a:lnTo>
                    <a:pt x="11039" y="482392"/>
                  </a:lnTo>
                  <a:lnTo>
                    <a:pt x="7842" y="485588"/>
                  </a:lnTo>
                  <a:lnTo>
                    <a:pt x="6394" y="491239"/>
                  </a:lnTo>
                  <a:lnTo>
                    <a:pt x="4072" y="497026"/>
                  </a:lnTo>
                  <a:lnTo>
                    <a:pt x="2760" y="503417"/>
                  </a:lnTo>
                  <a:lnTo>
                    <a:pt x="1885" y="509943"/>
                  </a:lnTo>
                  <a:lnTo>
                    <a:pt x="2019" y="516167"/>
                  </a:lnTo>
                  <a:lnTo>
                    <a:pt x="0" y="525283"/>
                  </a:lnTo>
                  <a:lnTo>
                    <a:pt x="0" y="530800"/>
                  </a:lnTo>
                  <a:lnTo>
                    <a:pt x="1649" y="535879"/>
                  </a:lnTo>
                  <a:lnTo>
                    <a:pt x="4476" y="538772"/>
                  </a:lnTo>
                  <a:lnTo>
                    <a:pt x="7101" y="543247"/>
                  </a:lnTo>
                  <a:lnTo>
                    <a:pt x="8111" y="548764"/>
                  </a:lnTo>
                  <a:lnTo>
                    <a:pt x="12149" y="549033"/>
                  </a:lnTo>
                  <a:lnTo>
                    <a:pt x="17500" y="550042"/>
                  </a:lnTo>
                  <a:lnTo>
                    <a:pt x="18241" y="552800"/>
                  </a:lnTo>
                  <a:cubicBezTo>
                    <a:pt x="18241" y="552800"/>
                    <a:pt x="15178" y="553405"/>
                    <a:pt x="14606" y="553675"/>
                  </a:cubicBezTo>
                  <a:cubicBezTo>
                    <a:pt x="14034" y="553977"/>
                    <a:pt x="11577" y="555693"/>
                    <a:pt x="11577" y="555693"/>
                  </a:cubicBezTo>
                  <a:lnTo>
                    <a:pt x="8683" y="558149"/>
                  </a:lnTo>
                  <a:lnTo>
                    <a:pt x="8111" y="560167"/>
                  </a:lnTo>
                  <a:lnTo>
                    <a:pt x="12149" y="562926"/>
                  </a:lnTo>
                  <a:lnTo>
                    <a:pt x="14034" y="568005"/>
                  </a:lnTo>
                  <a:cubicBezTo>
                    <a:pt x="14034" y="568005"/>
                    <a:pt x="16053" y="571773"/>
                    <a:pt x="16625" y="572782"/>
                  </a:cubicBezTo>
                  <a:cubicBezTo>
                    <a:pt x="17231" y="573791"/>
                    <a:pt x="17366" y="574363"/>
                    <a:pt x="17366" y="574363"/>
                  </a:cubicBezTo>
                  <a:lnTo>
                    <a:pt x="20428" y="576819"/>
                  </a:lnTo>
                  <a:lnTo>
                    <a:pt x="23188" y="578568"/>
                  </a:lnTo>
                  <a:lnTo>
                    <a:pt x="24500" y="578434"/>
                  </a:lnTo>
                  <a:cubicBezTo>
                    <a:pt x="24500" y="578434"/>
                    <a:pt x="26520" y="576415"/>
                    <a:pt x="26654" y="575978"/>
                  </a:cubicBezTo>
                  <a:cubicBezTo>
                    <a:pt x="26789" y="575541"/>
                    <a:pt x="28404" y="573960"/>
                    <a:pt x="28404" y="573960"/>
                  </a:cubicBezTo>
                  <a:lnTo>
                    <a:pt x="31029" y="577155"/>
                  </a:lnTo>
                  <a:lnTo>
                    <a:pt x="33924" y="579611"/>
                  </a:lnTo>
                  <a:lnTo>
                    <a:pt x="34664" y="580620"/>
                  </a:lnTo>
                  <a:lnTo>
                    <a:pt x="37558" y="583379"/>
                  </a:lnTo>
                  <a:lnTo>
                    <a:pt x="37693" y="585700"/>
                  </a:lnTo>
                  <a:lnTo>
                    <a:pt x="37121" y="587752"/>
                  </a:lnTo>
                  <a:cubicBezTo>
                    <a:pt x="37121" y="587752"/>
                    <a:pt x="34664" y="589333"/>
                    <a:pt x="34092" y="589333"/>
                  </a:cubicBezTo>
                  <a:cubicBezTo>
                    <a:pt x="33520" y="589333"/>
                    <a:pt x="31904" y="588593"/>
                    <a:pt x="31904" y="588593"/>
                  </a:cubicBezTo>
                  <a:lnTo>
                    <a:pt x="29145" y="586271"/>
                  </a:lnTo>
                  <a:lnTo>
                    <a:pt x="25510" y="586137"/>
                  </a:lnTo>
                  <a:lnTo>
                    <a:pt x="24063" y="587012"/>
                  </a:lnTo>
                  <a:lnTo>
                    <a:pt x="22616" y="589635"/>
                  </a:lnTo>
                  <a:lnTo>
                    <a:pt x="22616" y="592663"/>
                  </a:lnTo>
                  <a:cubicBezTo>
                    <a:pt x="22616" y="592663"/>
                    <a:pt x="23592" y="598617"/>
                    <a:pt x="23154" y="600468"/>
                  </a:cubicBezTo>
                  <a:cubicBezTo>
                    <a:pt x="22717" y="602351"/>
                    <a:pt x="23491" y="602351"/>
                    <a:pt x="23491" y="602351"/>
                  </a:cubicBezTo>
                  <a:lnTo>
                    <a:pt x="27126" y="603966"/>
                  </a:lnTo>
                  <a:cubicBezTo>
                    <a:pt x="27126" y="603966"/>
                    <a:pt x="28842" y="603226"/>
                    <a:pt x="29313" y="603226"/>
                  </a:cubicBezTo>
                  <a:cubicBezTo>
                    <a:pt x="29751" y="603226"/>
                    <a:pt x="32948" y="600165"/>
                    <a:pt x="33217" y="599761"/>
                  </a:cubicBezTo>
                  <a:cubicBezTo>
                    <a:pt x="33520" y="599324"/>
                    <a:pt x="39174" y="599189"/>
                    <a:pt x="39174" y="599189"/>
                  </a:cubicBezTo>
                  <a:lnTo>
                    <a:pt x="42943" y="599189"/>
                  </a:lnTo>
                  <a:lnTo>
                    <a:pt x="45972" y="600501"/>
                  </a:lnTo>
                  <a:lnTo>
                    <a:pt x="46713" y="601073"/>
                  </a:lnTo>
                  <a:cubicBezTo>
                    <a:pt x="46713" y="601073"/>
                    <a:pt x="50482" y="603966"/>
                    <a:pt x="51054" y="603832"/>
                  </a:cubicBezTo>
                  <a:cubicBezTo>
                    <a:pt x="51626" y="603697"/>
                    <a:pt x="53948" y="604269"/>
                    <a:pt x="54520" y="603832"/>
                  </a:cubicBezTo>
                  <a:cubicBezTo>
                    <a:pt x="55093" y="603394"/>
                    <a:pt x="58020" y="601645"/>
                    <a:pt x="58020" y="601645"/>
                  </a:cubicBezTo>
                  <a:lnTo>
                    <a:pt x="62497" y="600064"/>
                  </a:lnTo>
                  <a:cubicBezTo>
                    <a:pt x="62497" y="600064"/>
                    <a:pt x="68857" y="598752"/>
                    <a:pt x="69463" y="598752"/>
                  </a:cubicBezTo>
                  <a:cubicBezTo>
                    <a:pt x="70035" y="598752"/>
                    <a:pt x="74107" y="597743"/>
                    <a:pt x="74680" y="597440"/>
                  </a:cubicBezTo>
                  <a:cubicBezTo>
                    <a:pt x="75252" y="597137"/>
                    <a:pt x="78449" y="594412"/>
                    <a:pt x="78449" y="594412"/>
                  </a:cubicBezTo>
                  <a:lnTo>
                    <a:pt x="83531" y="592528"/>
                  </a:lnTo>
                  <a:cubicBezTo>
                    <a:pt x="83531" y="592528"/>
                    <a:pt x="86862" y="588323"/>
                    <a:pt x="87165" y="587886"/>
                  </a:cubicBezTo>
                  <a:cubicBezTo>
                    <a:pt x="87468" y="587449"/>
                    <a:pt x="89622" y="581966"/>
                    <a:pt x="89622" y="581966"/>
                  </a:cubicBezTo>
                  <a:lnTo>
                    <a:pt x="90935" y="577761"/>
                  </a:lnTo>
                  <a:lnTo>
                    <a:pt x="93391" y="572109"/>
                  </a:lnTo>
                  <a:lnTo>
                    <a:pt x="91069" y="568342"/>
                  </a:lnTo>
                  <a:lnTo>
                    <a:pt x="87738" y="563868"/>
                  </a:lnTo>
                  <a:lnTo>
                    <a:pt x="86156" y="559393"/>
                  </a:lnTo>
                  <a:lnTo>
                    <a:pt x="84406" y="557947"/>
                  </a:lnTo>
                  <a:lnTo>
                    <a:pt x="81074" y="559393"/>
                  </a:lnTo>
                  <a:lnTo>
                    <a:pt x="79189" y="556938"/>
                  </a:lnTo>
                  <a:lnTo>
                    <a:pt x="77742" y="554347"/>
                  </a:lnTo>
                  <a:lnTo>
                    <a:pt x="76867" y="554617"/>
                  </a:lnTo>
                  <a:lnTo>
                    <a:pt x="73973" y="555760"/>
                  </a:lnTo>
                  <a:lnTo>
                    <a:pt x="71078" y="555760"/>
                  </a:lnTo>
                  <a:lnTo>
                    <a:pt x="70069" y="552935"/>
                  </a:lnTo>
                  <a:lnTo>
                    <a:pt x="69328" y="550681"/>
                  </a:lnTo>
                  <a:lnTo>
                    <a:pt x="70473" y="547048"/>
                  </a:lnTo>
                  <a:lnTo>
                    <a:pt x="72223" y="547048"/>
                  </a:lnTo>
                  <a:lnTo>
                    <a:pt x="75992" y="547048"/>
                  </a:lnTo>
                  <a:lnTo>
                    <a:pt x="77574" y="545736"/>
                  </a:lnTo>
                  <a:lnTo>
                    <a:pt x="77002" y="543549"/>
                  </a:lnTo>
                  <a:lnTo>
                    <a:pt x="76564" y="540084"/>
                  </a:lnTo>
                  <a:lnTo>
                    <a:pt x="74982" y="538201"/>
                  </a:lnTo>
                  <a:lnTo>
                    <a:pt x="72660" y="535005"/>
                  </a:lnTo>
                  <a:lnTo>
                    <a:pt x="71482" y="534197"/>
                  </a:lnTo>
                  <a:cubicBezTo>
                    <a:pt x="71482" y="534197"/>
                    <a:pt x="68723" y="533996"/>
                    <a:pt x="67578" y="534130"/>
                  </a:cubicBezTo>
                  <a:cubicBezTo>
                    <a:pt x="66434" y="534265"/>
                    <a:pt x="63102" y="534130"/>
                    <a:pt x="63102" y="534130"/>
                  </a:cubicBezTo>
                  <a:lnTo>
                    <a:pt x="59905" y="531506"/>
                  </a:lnTo>
                  <a:lnTo>
                    <a:pt x="56439" y="528613"/>
                  </a:lnTo>
                  <a:cubicBezTo>
                    <a:pt x="56439" y="528613"/>
                    <a:pt x="54117" y="525990"/>
                    <a:pt x="53847" y="525417"/>
                  </a:cubicBezTo>
                  <a:cubicBezTo>
                    <a:pt x="53544" y="524845"/>
                    <a:pt x="52838" y="522659"/>
                    <a:pt x="52838" y="522659"/>
                  </a:cubicBezTo>
                  <a:lnTo>
                    <a:pt x="52265" y="521785"/>
                  </a:lnTo>
                  <a:lnTo>
                    <a:pt x="52265" y="518892"/>
                  </a:lnTo>
                  <a:lnTo>
                    <a:pt x="52703" y="517008"/>
                  </a:lnTo>
                  <a:lnTo>
                    <a:pt x="55025" y="514115"/>
                  </a:lnTo>
                  <a:lnTo>
                    <a:pt x="58054" y="511356"/>
                  </a:lnTo>
                  <a:lnTo>
                    <a:pt x="61958" y="509910"/>
                  </a:lnTo>
                  <a:cubicBezTo>
                    <a:pt x="61958" y="509910"/>
                    <a:pt x="66030" y="508766"/>
                    <a:pt x="68487" y="508329"/>
                  </a:cubicBezTo>
                  <a:cubicBezTo>
                    <a:pt x="70944" y="507891"/>
                    <a:pt x="68622" y="511524"/>
                    <a:pt x="68622" y="511524"/>
                  </a:cubicBezTo>
                  <a:cubicBezTo>
                    <a:pt x="68622" y="511524"/>
                    <a:pt x="65290" y="515292"/>
                    <a:pt x="64852" y="515595"/>
                  </a:cubicBezTo>
                  <a:cubicBezTo>
                    <a:pt x="64415" y="515898"/>
                    <a:pt x="67006" y="517479"/>
                    <a:pt x="67006" y="517479"/>
                  </a:cubicBezTo>
                  <a:lnTo>
                    <a:pt x="71785" y="517479"/>
                  </a:lnTo>
                  <a:lnTo>
                    <a:pt x="74545" y="516335"/>
                  </a:lnTo>
                  <a:lnTo>
                    <a:pt x="77742" y="515460"/>
                  </a:lnTo>
                  <a:lnTo>
                    <a:pt x="82252" y="518051"/>
                  </a:lnTo>
                  <a:lnTo>
                    <a:pt x="85718" y="520944"/>
                  </a:lnTo>
                  <a:lnTo>
                    <a:pt x="91372" y="522659"/>
                  </a:lnTo>
                  <a:lnTo>
                    <a:pt x="95714" y="522659"/>
                  </a:lnTo>
                  <a:lnTo>
                    <a:pt x="96016" y="519463"/>
                  </a:lnTo>
                  <a:lnTo>
                    <a:pt x="96891" y="516570"/>
                  </a:lnTo>
                  <a:lnTo>
                    <a:pt x="97026" y="513946"/>
                  </a:lnTo>
                  <a:lnTo>
                    <a:pt x="96319" y="511928"/>
                  </a:lnTo>
                  <a:lnTo>
                    <a:pt x="94267" y="510179"/>
                  </a:lnTo>
                  <a:cubicBezTo>
                    <a:pt x="94267" y="510179"/>
                    <a:pt x="91944" y="508867"/>
                    <a:pt x="91675" y="508295"/>
                  </a:cubicBezTo>
                  <a:cubicBezTo>
                    <a:pt x="91372" y="507723"/>
                    <a:pt x="90531" y="508160"/>
                    <a:pt x="89050" y="507151"/>
                  </a:cubicBezTo>
                  <a:cubicBezTo>
                    <a:pt x="87603" y="506142"/>
                    <a:pt x="86021" y="504830"/>
                    <a:pt x="85415" y="504527"/>
                  </a:cubicBezTo>
                  <a:cubicBezTo>
                    <a:pt x="84843" y="504258"/>
                    <a:pt x="83396" y="503383"/>
                    <a:pt x="83396" y="503383"/>
                  </a:cubicBezTo>
                  <a:lnTo>
                    <a:pt x="79761" y="502206"/>
                  </a:lnTo>
                  <a:lnTo>
                    <a:pt x="80636" y="500760"/>
                  </a:lnTo>
                  <a:lnTo>
                    <a:pt x="81713" y="499448"/>
                  </a:lnTo>
                  <a:lnTo>
                    <a:pt x="81814" y="495680"/>
                  </a:lnTo>
                  <a:lnTo>
                    <a:pt x="81814" y="490331"/>
                  </a:lnTo>
                  <a:cubicBezTo>
                    <a:pt x="81814" y="490331"/>
                    <a:pt x="82184" y="487270"/>
                    <a:pt x="81882" y="486698"/>
                  </a:cubicBezTo>
                  <a:cubicBezTo>
                    <a:pt x="81579" y="486126"/>
                    <a:pt x="81814" y="481787"/>
                    <a:pt x="81814" y="481787"/>
                  </a:cubicBezTo>
                  <a:lnTo>
                    <a:pt x="81814" y="478322"/>
                  </a:lnTo>
                  <a:lnTo>
                    <a:pt x="84002" y="478457"/>
                  </a:lnTo>
                  <a:lnTo>
                    <a:pt x="87636" y="482090"/>
                  </a:lnTo>
                  <a:cubicBezTo>
                    <a:pt x="87636" y="482090"/>
                    <a:pt x="89959" y="485723"/>
                    <a:pt x="89959" y="486295"/>
                  </a:cubicBezTo>
                  <a:cubicBezTo>
                    <a:pt x="89959" y="486867"/>
                    <a:pt x="89521" y="491206"/>
                    <a:pt x="89084" y="491643"/>
                  </a:cubicBezTo>
                  <a:cubicBezTo>
                    <a:pt x="88646" y="492080"/>
                    <a:pt x="89252" y="494671"/>
                    <a:pt x="89084" y="495108"/>
                  </a:cubicBezTo>
                  <a:cubicBezTo>
                    <a:pt x="88949" y="495545"/>
                    <a:pt x="91271" y="497295"/>
                    <a:pt x="91271" y="497295"/>
                  </a:cubicBezTo>
                  <a:lnTo>
                    <a:pt x="94738" y="503653"/>
                  </a:lnTo>
                  <a:cubicBezTo>
                    <a:pt x="94738" y="503653"/>
                    <a:pt x="98372" y="505099"/>
                    <a:pt x="98945" y="505099"/>
                  </a:cubicBezTo>
                  <a:cubicBezTo>
                    <a:pt x="99517" y="505099"/>
                    <a:pt x="101267" y="504662"/>
                    <a:pt x="101267" y="504224"/>
                  </a:cubicBezTo>
                  <a:cubicBezTo>
                    <a:pt x="101267" y="503787"/>
                    <a:pt x="102848" y="502475"/>
                    <a:pt x="102848" y="502475"/>
                  </a:cubicBezTo>
                  <a:lnTo>
                    <a:pt x="104430" y="500894"/>
                  </a:lnTo>
                  <a:lnTo>
                    <a:pt x="104430" y="497429"/>
                  </a:lnTo>
                  <a:lnTo>
                    <a:pt x="104430" y="492215"/>
                  </a:lnTo>
                  <a:lnTo>
                    <a:pt x="104430" y="488750"/>
                  </a:lnTo>
                  <a:lnTo>
                    <a:pt x="104430" y="482662"/>
                  </a:lnTo>
                  <a:lnTo>
                    <a:pt x="107325" y="480206"/>
                  </a:lnTo>
                  <a:lnTo>
                    <a:pt x="108772" y="482662"/>
                  </a:lnTo>
                  <a:lnTo>
                    <a:pt x="113719" y="482662"/>
                  </a:lnTo>
                  <a:lnTo>
                    <a:pt x="115603" y="479634"/>
                  </a:lnTo>
                  <a:lnTo>
                    <a:pt x="116478" y="476741"/>
                  </a:lnTo>
                  <a:lnTo>
                    <a:pt x="118060" y="471964"/>
                  </a:lnTo>
                  <a:lnTo>
                    <a:pt x="124589" y="468499"/>
                  </a:lnTo>
                  <a:lnTo>
                    <a:pt x="133138" y="468768"/>
                  </a:lnTo>
                  <a:lnTo>
                    <a:pt x="139094" y="468768"/>
                  </a:lnTo>
                  <a:lnTo>
                    <a:pt x="144883" y="469273"/>
                  </a:lnTo>
                  <a:lnTo>
                    <a:pt x="149224" y="467019"/>
                  </a:lnTo>
                  <a:lnTo>
                    <a:pt x="156898" y="465270"/>
                  </a:lnTo>
                  <a:lnTo>
                    <a:pt x="160801" y="464260"/>
                  </a:lnTo>
                  <a:lnTo>
                    <a:pt x="164268" y="463117"/>
                  </a:lnTo>
                  <a:lnTo>
                    <a:pt x="163561" y="459214"/>
                  </a:lnTo>
                  <a:lnTo>
                    <a:pt x="163561" y="457903"/>
                  </a:lnTo>
                  <a:lnTo>
                    <a:pt x="167263" y="457331"/>
                  </a:lnTo>
                  <a:lnTo>
                    <a:pt x="169787" y="458643"/>
                  </a:lnTo>
                  <a:lnTo>
                    <a:pt x="170528" y="460964"/>
                  </a:lnTo>
                  <a:lnTo>
                    <a:pt x="170528" y="465034"/>
                  </a:lnTo>
                  <a:lnTo>
                    <a:pt x="171470" y="469677"/>
                  </a:lnTo>
                  <a:lnTo>
                    <a:pt x="175038" y="470686"/>
                  </a:lnTo>
                  <a:cubicBezTo>
                    <a:pt x="175038" y="470686"/>
                    <a:pt x="177057" y="467221"/>
                    <a:pt x="177225" y="466783"/>
                  </a:cubicBezTo>
                  <a:cubicBezTo>
                    <a:pt x="177360" y="466346"/>
                    <a:pt x="178235" y="464160"/>
                    <a:pt x="178235" y="464160"/>
                  </a:cubicBezTo>
                  <a:lnTo>
                    <a:pt x="181432" y="461838"/>
                  </a:lnTo>
                  <a:lnTo>
                    <a:pt x="186783" y="460089"/>
                  </a:lnTo>
                  <a:lnTo>
                    <a:pt x="188398" y="457331"/>
                  </a:lnTo>
                  <a:lnTo>
                    <a:pt x="189845" y="454135"/>
                  </a:lnTo>
                  <a:lnTo>
                    <a:pt x="190418" y="452520"/>
                  </a:lnTo>
                  <a:lnTo>
                    <a:pt x="195197" y="453967"/>
                  </a:lnTo>
                  <a:lnTo>
                    <a:pt x="200278" y="456423"/>
                  </a:lnTo>
                  <a:lnTo>
                    <a:pt x="206235" y="460022"/>
                  </a:lnTo>
                  <a:lnTo>
                    <a:pt x="210005" y="460022"/>
                  </a:lnTo>
                  <a:lnTo>
                    <a:pt x="217543" y="457196"/>
                  </a:lnTo>
                  <a:lnTo>
                    <a:pt x="218284" y="453664"/>
                  </a:lnTo>
                  <a:cubicBezTo>
                    <a:pt x="218284" y="453664"/>
                    <a:pt x="220740" y="451209"/>
                    <a:pt x="220740" y="450771"/>
                  </a:cubicBezTo>
                  <a:cubicBezTo>
                    <a:pt x="220740" y="450334"/>
                    <a:pt x="223063" y="447575"/>
                    <a:pt x="223063" y="447575"/>
                  </a:cubicBezTo>
                  <a:lnTo>
                    <a:pt x="225250" y="444380"/>
                  </a:lnTo>
                  <a:lnTo>
                    <a:pt x="224947" y="442799"/>
                  </a:lnTo>
                  <a:lnTo>
                    <a:pt x="223635" y="439165"/>
                  </a:lnTo>
                  <a:lnTo>
                    <a:pt x="219562" y="434389"/>
                  </a:lnTo>
                  <a:lnTo>
                    <a:pt x="217543" y="430049"/>
                  </a:lnTo>
                  <a:lnTo>
                    <a:pt x="220135" y="429747"/>
                  </a:lnTo>
                  <a:lnTo>
                    <a:pt x="223029" y="429443"/>
                  </a:lnTo>
                  <a:cubicBezTo>
                    <a:pt x="223029" y="429443"/>
                    <a:pt x="226226" y="429006"/>
                    <a:pt x="226664" y="428737"/>
                  </a:cubicBezTo>
                  <a:cubicBezTo>
                    <a:pt x="227101" y="428435"/>
                    <a:pt x="228111" y="427156"/>
                    <a:pt x="228111" y="427156"/>
                  </a:cubicBezTo>
                  <a:lnTo>
                    <a:pt x="232183" y="426282"/>
                  </a:lnTo>
                  <a:lnTo>
                    <a:pt x="234774" y="426416"/>
                  </a:lnTo>
                  <a:lnTo>
                    <a:pt x="236356" y="429006"/>
                  </a:lnTo>
                  <a:lnTo>
                    <a:pt x="234774" y="432908"/>
                  </a:lnTo>
                  <a:lnTo>
                    <a:pt x="234337" y="435230"/>
                  </a:lnTo>
                  <a:lnTo>
                    <a:pt x="234068" y="439435"/>
                  </a:lnTo>
                  <a:lnTo>
                    <a:pt x="233193" y="441756"/>
                  </a:lnTo>
                  <a:lnTo>
                    <a:pt x="233193" y="445086"/>
                  </a:lnTo>
                  <a:lnTo>
                    <a:pt x="234269" y="448988"/>
                  </a:lnTo>
                  <a:lnTo>
                    <a:pt x="236794" y="451612"/>
                  </a:lnTo>
                  <a:lnTo>
                    <a:pt x="241000" y="453631"/>
                  </a:lnTo>
                  <a:lnTo>
                    <a:pt x="245780" y="452756"/>
                  </a:lnTo>
                  <a:lnTo>
                    <a:pt x="247799" y="448686"/>
                  </a:lnTo>
                  <a:lnTo>
                    <a:pt x="251265" y="446230"/>
                  </a:lnTo>
                  <a:cubicBezTo>
                    <a:pt x="251265" y="446230"/>
                    <a:pt x="251568" y="441150"/>
                    <a:pt x="251837" y="440578"/>
                  </a:cubicBezTo>
                  <a:cubicBezTo>
                    <a:pt x="252107" y="440006"/>
                    <a:pt x="251703" y="434489"/>
                    <a:pt x="251703" y="434489"/>
                  </a:cubicBezTo>
                  <a:lnTo>
                    <a:pt x="251130" y="432303"/>
                  </a:lnTo>
                  <a:lnTo>
                    <a:pt x="247933" y="428266"/>
                  </a:lnTo>
                  <a:lnTo>
                    <a:pt x="244029" y="422918"/>
                  </a:lnTo>
                  <a:lnTo>
                    <a:pt x="246049" y="420025"/>
                  </a:lnTo>
                  <a:lnTo>
                    <a:pt x="249515" y="420159"/>
                  </a:lnTo>
                  <a:lnTo>
                    <a:pt x="253587" y="420025"/>
                  </a:lnTo>
                  <a:lnTo>
                    <a:pt x="255035" y="422043"/>
                  </a:lnTo>
                  <a:lnTo>
                    <a:pt x="262438" y="423355"/>
                  </a:lnTo>
                  <a:lnTo>
                    <a:pt x="266510" y="420159"/>
                  </a:lnTo>
                  <a:lnTo>
                    <a:pt x="269270" y="417973"/>
                  </a:lnTo>
                  <a:lnTo>
                    <a:pt x="273915" y="416829"/>
                  </a:lnTo>
                  <a:lnTo>
                    <a:pt x="274621" y="419587"/>
                  </a:lnTo>
                  <a:lnTo>
                    <a:pt x="273040" y="425508"/>
                  </a:lnTo>
                  <a:lnTo>
                    <a:pt x="271896" y="429410"/>
                  </a:lnTo>
                  <a:lnTo>
                    <a:pt x="272905" y="432875"/>
                  </a:lnTo>
                  <a:lnTo>
                    <a:pt x="277549" y="433884"/>
                  </a:lnTo>
                  <a:lnTo>
                    <a:pt x="283641" y="433884"/>
                  </a:lnTo>
                  <a:lnTo>
                    <a:pt x="287982" y="432875"/>
                  </a:lnTo>
                  <a:lnTo>
                    <a:pt x="290877" y="429242"/>
                  </a:lnTo>
                  <a:lnTo>
                    <a:pt x="293333" y="425037"/>
                  </a:lnTo>
                  <a:lnTo>
                    <a:pt x="294780" y="423456"/>
                  </a:lnTo>
                  <a:lnTo>
                    <a:pt x="296228" y="419823"/>
                  </a:lnTo>
                  <a:lnTo>
                    <a:pt x="296497" y="414777"/>
                  </a:lnTo>
                  <a:lnTo>
                    <a:pt x="293468" y="409697"/>
                  </a:lnTo>
                  <a:lnTo>
                    <a:pt x="292761" y="406232"/>
                  </a:lnTo>
                  <a:lnTo>
                    <a:pt x="289429" y="402902"/>
                  </a:lnTo>
                  <a:lnTo>
                    <a:pt x="288723" y="397688"/>
                  </a:lnTo>
                  <a:lnTo>
                    <a:pt x="289598" y="393617"/>
                  </a:lnTo>
                  <a:lnTo>
                    <a:pt x="294074" y="398259"/>
                  </a:lnTo>
                  <a:lnTo>
                    <a:pt x="294074" y="401724"/>
                  </a:lnTo>
                  <a:lnTo>
                    <a:pt x="297103" y="404046"/>
                  </a:lnTo>
                  <a:lnTo>
                    <a:pt x="300435" y="406064"/>
                  </a:lnTo>
                  <a:lnTo>
                    <a:pt x="303632" y="408385"/>
                  </a:lnTo>
                  <a:lnTo>
                    <a:pt x="302319" y="410269"/>
                  </a:lnTo>
                  <a:lnTo>
                    <a:pt x="300435" y="415046"/>
                  </a:lnTo>
                  <a:lnTo>
                    <a:pt x="302319" y="420563"/>
                  </a:lnTo>
                  <a:lnTo>
                    <a:pt x="308848" y="425071"/>
                  </a:lnTo>
                  <a:lnTo>
                    <a:pt x="314939" y="424330"/>
                  </a:lnTo>
                  <a:lnTo>
                    <a:pt x="319146" y="420697"/>
                  </a:lnTo>
                  <a:cubicBezTo>
                    <a:pt x="319146" y="420697"/>
                    <a:pt x="323623" y="417939"/>
                    <a:pt x="324094" y="417502"/>
                  </a:cubicBezTo>
                  <a:cubicBezTo>
                    <a:pt x="324531" y="417064"/>
                    <a:pt x="326416" y="415450"/>
                    <a:pt x="326988" y="414609"/>
                  </a:cubicBezTo>
                  <a:cubicBezTo>
                    <a:pt x="327560" y="413734"/>
                    <a:pt x="329007" y="410841"/>
                    <a:pt x="329007" y="410841"/>
                  </a:cubicBezTo>
                  <a:lnTo>
                    <a:pt x="330454" y="406064"/>
                  </a:lnTo>
                  <a:lnTo>
                    <a:pt x="332204" y="401287"/>
                  </a:lnTo>
                  <a:lnTo>
                    <a:pt x="334527" y="397957"/>
                  </a:lnTo>
                  <a:lnTo>
                    <a:pt x="336411" y="397385"/>
                  </a:lnTo>
                  <a:cubicBezTo>
                    <a:pt x="336411" y="397385"/>
                    <a:pt x="340618" y="401859"/>
                    <a:pt x="341190" y="402464"/>
                  </a:cubicBezTo>
                  <a:cubicBezTo>
                    <a:pt x="341762" y="403036"/>
                    <a:pt x="341055" y="405492"/>
                    <a:pt x="341190" y="407813"/>
                  </a:cubicBezTo>
                  <a:cubicBezTo>
                    <a:pt x="341325" y="410134"/>
                    <a:pt x="341930" y="411715"/>
                    <a:pt x="341930" y="411715"/>
                  </a:cubicBezTo>
                  <a:cubicBezTo>
                    <a:pt x="341930" y="411715"/>
                    <a:pt x="347416" y="416358"/>
                    <a:pt x="348291" y="416055"/>
                  </a:cubicBezTo>
                  <a:cubicBezTo>
                    <a:pt x="349166" y="415752"/>
                    <a:pt x="353373" y="415315"/>
                    <a:pt x="353373" y="415315"/>
                  </a:cubicBezTo>
                  <a:lnTo>
                    <a:pt x="360474" y="416055"/>
                  </a:lnTo>
                  <a:cubicBezTo>
                    <a:pt x="360474" y="416055"/>
                    <a:pt x="362662" y="415752"/>
                    <a:pt x="362662" y="415315"/>
                  </a:cubicBezTo>
                  <a:cubicBezTo>
                    <a:pt x="362662" y="414878"/>
                    <a:pt x="364412" y="412859"/>
                    <a:pt x="364412" y="412859"/>
                  </a:cubicBezTo>
                  <a:lnTo>
                    <a:pt x="360508" y="410101"/>
                  </a:lnTo>
                  <a:lnTo>
                    <a:pt x="361383" y="406905"/>
                  </a:lnTo>
                  <a:cubicBezTo>
                    <a:pt x="361383" y="406905"/>
                    <a:pt x="363133" y="403877"/>
                    <a:pt x="363133" y="403272"/>
                  </a:cubicBezTo>
                  <a:cubicBezTo>
                    <a:pt x="363133" y="402700"/>
                    <a:pt x="364446" y="402128"/>
                    <a:pt x="364446" y="402128"/>
                  </a:cubicBezTo>
                  <a:lnTo>
                    <a:pt x="366330" y="402868"/>
                  </a:lnTo>
                  <a:lnTo>
                    <a:pt x="367912" y="405055"/>
                  </a:lnTo>
                  <a:cubicBezTo>
                    <a:pt x="367912" y="405055"/>
                    <a:pt x="372691" y="405627"/>
                    <a:pt x="373297" y="405055"/>
                  </a:cubicBezTo>
                  <a:cubicBezTo>
                    <a:pt x="373869" y="404483"/>
                    <a:pt x="374744" y="405055"/>
                    <a:pt x="374744" y="405055"/>
                  </a:cubicBezTo>
                  <a:cubicBezTo>
                    <a:pt x="374744" y="405055"/>
                    <a:pt x="377638" y="402027"/>
                    <a:pt x="377806" y="401590"/>
                  </a:cubicBezTo>
                  <a:cubicBezTo>
                    <a:pt x="377941" y="401153"/>
                    <a:pt x="381138" y="399269"/>
                    <a:pt x="381576" y="398529"/>
                  </a:cubicBezTo>
                  <a:cubicBezTo>
                    <a:pt x="382013" y="397822"/>
                    <a:pt x="382888" y="393752"/>
                    <a:pt x="382888" y="393752"/>
                  </a:cubicBezTo>
                  <a:lnTo>
                    <a:pt x="386523" y="390556"/>
                  </a:lnTo>
                  <a:lnTo>
                    <a:pt x="388980" y="387798"/>
                  </a:lnTo>
                  <a:lnTo>
                    <a:pt x="391436" y="384165"/>
                  </a:lnTo>
                  <a:lnTo>
                    <a:pt x="393321" y="380700"/>
                  </a:lnTo>
                  <a:lnTo>
                    <a:pt x="394903" y="378076"/>
                  </a:lnTo>
                  <a:lnTo>
                    <a:pt x="394465" y="373433"/>
                  </a:lnTo>
                  <a:lnTo>
                    <a:pt x="394331" y="370238"/>
                  </a:lnTo>
                  <a:lnTo>
                    <a:pt x="391706" y="366168"/>
                  </a:lnTo>
                  <a:lnTo>
                    <a:pt x="390696" y="361256"/>
                  </a:lnTo>
                  <a:lnTo>
                    <a:pt x="396922" y="363140"/>
                  </a:lnTo>
                  <a:lnTo>
                    <a:pt x="395913" y="366033"/>
                  </a:lnTo>
                  <a:lnTo>
                    <a:pt x="399110" y="368926"/>
                  </a:lnTo>
                  <a:lnTo>
                    <a:pt x="401566" y="370810"/>
                  </a:lnTo>
                  <a:lnTo>
                    <a:pt x="403451" y="375015"/>
                  </a:lnTo>
                  <a:lnTo>
                    <a:pt x="407523" y="379522"/>
                  </a:lnTo>
                  <a:lnTo>
                    <a:pt x="407086" y="381978"/>
                  </a:lnTo>
                  <a:lnTo>
                    <a:pt x="409846" y="385174"/>
                  </a:lnTo>
                  <a:lnTo>
                    <a:pt x="414759" y="385174"/>
                  </a:lnTo>
                  <a:lnTo>
                    <a:pt x="418831" y="383223"/>
                  </a:lnTo>
                  <a:lnTo>
                    <a:pt x="420851" y="380969"/>
                  </a:lnTo>
                  <a:lnTo>
                    <a:pt x="419976" y="377773"/>
                  </a:lnTo>
                  <a:lnTo>
                    <a:pt x="417788" y="375015"/>
                  </a:lnTo>
                  <a:lnTo>
                    <a:pt x="417519" y="372828"/>
                  </a:lnTo>
                  <a:lnTo>
                    <a:pt x="421153" y="370810"/>
                  </a:lnTo>
                  <a:lnTo>
                    <a:pt x="421423" y="367345"/>
                  </a:lnTo>
                  <a:lnTo>
                    <a:pt x="421557" y="361122"/>
                  </a:lnTo>
                  <a:lnTo>
                    <a:pt x="420380" y="351265"/>
                  </a:lnTo>
                  <a:lnTo>
                    <a:pt x="420817" y="347060"/>
                  </a:lnTo>
                  <a:lnTo>
                    <a:pt x="418797" y="343595"/>
                  </a:lnTo>
                  <a:lnTo>
                    <a:pt x="415600" y="340131"/>
                  </a:lnTo>
                  <a:lnTo>
                    <a:pt x="415028" y="335354"/>
                  </a:lnTo>
                  <a:lnTo>
                    <a:pt x="415466" y="330711"/>
                  </a:lnTo>
                  <a:lnTo>
                    <a:pt x="414322" y="326944"/>
                  </a:lnTo>
                  <a:lnTo>
                    <a:pt x="410687" y="324488"/>
                  </a:lnTo>
                  <a:cubicBezTo>
                    <a:pt x="410687" y="324488"/>
                    <a:pt x="405168" y="320855"/>
                    <a:pt x="404730" y="320586"/>
                  </a:cubicBezTo>
                  <a:cubicBezTo>
                    <a:pt x="404293" y="320283"/>
                    <a:pt x="401836" y="316515"/>
                    <a:pt x="401836" y="316515"/>
                  </a:cubicBezTo>
                  <a:lnTo>
                    <a:pt x="400220" y="313050"/>
                  </a:lnTo>
                  <a:lnTo>
                    <a:pt x="400220" y="311301"/>
                  </a:lnTo>
                  <a:lnTo>
                    <a:pt x="405235" y="315069"/>
                  </a:lnTo>
                  <a:lnTo>
                    <a:pt x="410519" y="317087"/>
                  </a:lnTo>
                  <a:lnTo>
                    <a:pt x="413548" y="318836"/>
                  </a:lnTo>
                  <a:lnTo>
                    <a:pt x="417317" y="318971"/>
                  </a:lnTo>
                  <a:lnTo>
                    <a:pt x="419067" y="317524"/>
                  </a:lnTo>
                  <a:lnTo>
                    <a:pt x="419336" y="313050"/>
                  </a:lnTo>
                  <a:lnTo>
                    <a:pt x="419336" y="307265"/>
                  </a:lnTo>
                  <a:lnTo>
                    <a:pt x="416879" y="303934"/>
                  </a:lnTo>
                  <a:lnTo>
                    <a:pt x="412538" y="300604"/>
                  </a:lnTo>
                  <a:lnTo>
                    <a:pt x="408197" y="295962"/>
                  </a:lnTo>
                  <a:lnTo>
                    <a:pt x="403720" y="290445"/>
                  </a:lnTo>
                  <a:lnTo>
                    <a:pt x="403720" y="286980"/>
                  </a:lnTo>
                  <a:lnTo>
                    <a:pt x="403720" y="281765"/>
                  </a:lnTo>
                  <a:lnTo>
                    <a:pt x="405672" y="280622"/>
                  </a:lnTo>
                  <a:cubicBezTo>
                    <a:pt x="405672" y="280622"/>
                    <a:pt x="410081" y="285970"/>
                    <a:pt x="410687" y="286408"/>
                  </a:cubicBezTo>
                  <a:cubicBezTo>
                    <a:pt x="411259" y="286845"/>
                    <a:pt x="413009" y="291487"/>
                    <a:pt x="413009" y="291487"/>
                  </a:cubicBezTo>
                  <a:lnTo>
                    <a:pt x="417519" y="296702"/>
                  </a:lnTo>
                  <a:lnTo>
                    <a:pt x="421725" y="301041"/>
                  </a:lnTo>
                  <a:lnTo>
                    <a:pt x="425360" y="306390"/>
                  </a:lnTo>
                  <a:lnTo>
                    <a:pt x="426673" y="308139"/>
                  </a:lnTo>
                  <a:lnTo>
                    <a:pt x="432327" y="309283"/>
                  </a:lnTo>
                  <a:lnTo>
                    <a:pt x="433774" y="311032"/>
                  </a:lnTo>
                  <a:cubicBezTo>
                    <a:pt x="433774" y="311032"/>
                    <a:pt x="436533" y="316246"/>
                    <a:pt x="436837" y="316818"/>
                  </a:cubicBezTo>
                  <a:cubicBezTo>
                    <a:pt x="437106" y="317390"/>
                    <a:pt x="438586" y="321326"/>
                    <a:pt x="438586" y="321326"/>
                  </a:cubicBezTo>
                  <a:cubicBezTo>
                    <a:pt x="438586" y="321326"/>
                    <a:pt x="441918" y="326977"/>
                    <a:pt x="442188" y="328424"/>
                  </a:cubicBezTo>
                  <a:cubicBezTo>
                    <a:pt x="442490" y="329870"/>
                    <a:pt x="443500" y="331317"/>
                    <a:pt x="443500" y="331317"/>
                  </a:cubicBezTo>
                  <a:cubicBezTo>
                    <a:pt x="443500" y="331317"/>
                    <a:pt x="444678" y="334210"/>
                    <a:pt x="444813" y="334647"/>
                  </a:cubicBezTo>
                  <a:cubicBezTo>
                    <a:pt x="444947" y="335085"/>
                    <a:pt x="446866" y="337406"/>
                    <a:pt x="446866" y="337406"/>
                  </a:cubicBezTo>
                  <a:lnTo>
                    <a:pt x="449895" y="338280"/>
                  </a:lnTo>
                  <a:lnTo>
                    <a:pt x="455246" y="338280"/>
                  </a:lnTo>
                  <a:cubicBezTo>
                    <a:pt x="455246" y="338280"/>
                    <a:pt x="457568" y="337708"/>
                    <a:pt x="458005" y="337406"/>
                  </a:cubicBezTo>
                  <a:cubicBezTo>
                    <a:pt x="458443" y="337103"/>
                    <a:pt x="462347" y="336397"/>
                    <a:pt x="462347" y="336397"/>
                  </a:cubicBezTo>
                  <a:lnTo>
                    <a:pt x="466116" y="335959"/>
                  </a:lnTo>
                  <a:lnTo>
                    <a:pt x="468135" y="334647"/>
                  </a:lnTo>
                  <a:lnTo>
                    <a:pt x="470895" y="331451"/>
                  </a:lnTo>
                  <a:lnTo>
                    <a:pt x="474227" y="329568"/>
                  </a:lnTo>
                  <a:lnTo>
                    <a:pt x="480453" y="329568"/>
                  </a:lnTo>
                  <a:lnTo>
                    <a:pt x="484525" y="329332"/>
                  </a:lnTo>
                  <a:lnTo>
                    <a:pt x="487116" y="329837"/>
                  </a:lnTo>
                  <a:lnTo>
                    <a:pt x="491761" y="329971"/>
                  </a:lnTo>
                  <a:lnTo>
                    <a:pt x="493646" y="327213"/>
                  </a:lnTo>
                  <a:lnTo>
                    <a:pt x="498997" y="326775"/>
                  </a:lnTo>
                  <a:lnTo>
                    <a:pt x="504650" y="328087"/>
                  </a:lnTo>
                  <a:lnTo>
                    <a:pt x="508252" y="331855"/>
                  </a:lnTo>
                  <a:lnTo>
                    <a:pt x="510877" y="334883"/>
                  </a:lnTo>
                  <a:lnTo>
                    <a:pt x="514646" y="338785"/>
                  </a:lnTo>
                  <a:lnTo>
                    <a:pt x="519559" y="337036"/>
                  </a:lnTo>
                  <a:lnTo>
                    <a:pt x="523194" y="335724"/>
                  </a:lnTo>
                  <a:lnTo>
                    <a:pt x="525819" y="333537"/>
                  </a:lnTo>
                  <a:lnTo>
                    <a:pt x="525684" y="329769"/>
                  </a:lnTo>
                  <a:lnTo>
                    <a:pt x="523362" y="325867"/>
                  </a:lnTo>
                  <a:lnTo>
                    <a:pt x="519458" y="322537"/>
                  </a:lnTo>
                  <a:lnTo>
                    <a:pt x="515252" y="319341"/>
                  </a:lnTo>
                  <a:lnTo>
                    <a:pt x="512357" y="313690"/>
                  </a:lnTo>
                  <a:lnTo>
                    <a:pt x="514511" y="309182"/>
                  </a:lnTo>
                  <a:lnTo>
                    <a:pt x="517540" y="306995"/>
                  </a:lnTo>
                  <a:lnTo>
                    <a:pt x="523194" y="305986"/>
                  </a:lnTo>
                  <a:lnTo>
                    <a:pt x="528983" y="303362"/>
                  </a:lnTo>
                  <a:lnTo>
                    <a:pt x="532449" y="299729"/>
                  </a:lnTo>
                  <a:lnTo>
                    <a:pt x="535343" y="296533"/>
                  </a:lnTo>
                  <a:lnTo>
                    <a:pt x="543454" y="296971"/>
                  </a:lnTo>
                  <a:lnTo>
                    <a:pt x="544329" y="302488"/>
                  </a:lnTo>
                  <a:lnTo>
                    <a:pt x="544901" y="306558"/>
                  </a:lnTo>
                  <a:lnTo>
                    <a:pt x="542142" y="309148"/>
                  </a:lnTo>
                  <a:lnTo>
                    <a:pt x="538945" y="312781"/>
                  </a:lnTo>
                  <a:cubicBezTo>
                    <a:pt x="538945" y="312781"/>
                    <a:pt x="537060" y="316246"/>
                    <a:pt x="536488" y="316852"/>
                  </a:cubicBezTo>
                  <a:cubicBezTo>
                    <a:pt x="535916" y="317457"/>
                    <a:pt x="536488" y="320922"/>
                    <a:pt x="536488" y="320922"/>
                  </a:cubicBezTo>
                  <a:lnTo>
                    <a:pt x="539247" y="323546"/>
                  </a:lnTo>
                  <a:lnTo>
                    <a:pt x="544026" y="325127"/>
                  </a:lnTo>
                  <a:lnTo>
                    <a:pt x="549108" y="326271"/>
                  </a:lnTo>
                  <a:lnTo>
                    <a:pt x="553753" y="328289"/>
                  </a:lnTo>
                  <a:lnTo>
                    <a:pt x="556815" y="326843"/>
                  </a:lnTo>
                  <a:lnTo>
                    <a:pt x="558969" y="323815"/>
                  </a:lnTo>
                  <a:lnTo>
                    <a:pt x="558531" y="318601"/>
                  </a:lnTo>
                  <a:lnTo>
                    <a:pt x="558094" y="316414"/>
                  </a:lnTo>
                  <a:lnTo>
                    <a:pt x="554628" y="309889"/>
                  </a:lnTo>
                  <a:lnTo>
                    <a:pt x="552440" y="308139"/>
                  </a:lnTo>
                  <a:lnTo>
                    <a:pt x="555032" y="304674"/>
                  </a:lnTo>
                  <a:lnTo>
                    <a:pt x="557185" y="306424"/>
                  </a:lnTo>
                  <a:lnTo>
                    <a:pt x="560248" y="309889"/>
                  </a:lnTo>
                  <a:lnTo>
                    <a:pt x="562839" y="312041"/>
                  </a:lnTo>
                  <a:lnTo>
                    <a:pt x="564589" y="312041"/>
                  </a:lnTo>
                  <a:lnTo>
                    <a:pt x="567181" y="312041"/>
                  </a:lnTo>
                  <a:lnTo>
                    <a:pt x="567181" y="307702"/>
                  </a:lnTo>
                  <a:lnTo>
                    <a:pt x="567181" y="304237"/>
                  </a:lnTo>
                  <a:lnTo>
                    <a:pt x="567181" y="300772"/>
                  </a:lnTo>
                  <a:lnTo>
                    <a:pt x="567181" y="298182"/>
                  </a:lnTo>
                  <a:lnTo>
                    <a:pt x="573474" y="296870"/>
                  </a:lnTo>
                  <a:lnTo>
                    <a:pt x="579768" y="295995"/>
                  </a:lnTo>
                  <a:lnTo>
                    <a:pt x="584984" y="292093"/>
                  </a:lnTo>
                  <a:lnTo>
                    <a:pt x="588450" y="291218"/>
                  </a:lnTo>
                  <a:lnTo>
                    <a:pt x="593229" y="286879"/>
                  </a:lnTo>
                  <a:lnTo>
                    <a:pt x="596696" y="288628"/>
                  </a:lnTo>
                  <a:lnTo>
                    <a:pt x="596696" y="290377"/>
                  </a:lnTo>
                  <a:lnTo>
                    <a:pt x="593229" y="292127"/>
                  </a:lnTo>
                  <a:lnTo>
                    <a:pt x="593229" y="293876"/>
                  </a:lnTo>
                  <a:lnTo>
                    <a:pt x="593229" y="299090"/>
                  </a:lnTo>
                  <a:lnTo>
                    <a:pt x="595619" y="305179"/>
                  </a:lnTo>
                  <a:lnTo>
                    <a:pt x="602350" y="306491"/>
                  </a:lnTo>
                  <a:lnTo>
                    <a:pt x="609316" y="307668"/>
                  </a:lnTo>
                  <a:lnTo>
                    <a:pt x="616720" y="310393"/>
                  </a:lnTo>
                  <a:lnTo>
                    <a:pt x="625403" y="310393"/>
                  </a:lnTo>
                  <a:lnTo>
                    <a:pt x="630182" y="307769"/>
                  </a:lnTo>
                  <a:lnTo>
                    <a:pt x="628432" y="299931"/>
                  </a:lnTo>
                  <a:lnTo>
                    <a:pt x="626682" y="297744"/>
                  </a:lnTo>
                  <a:lnTo>
                    <a:pt x="621903" y="292093"/>
                  </a:lnTo>
                  <a:lnTo>
                    <a:pt x="617562" y="288628"/>
                  </a:lnTo>
                  <a:lnTo>
                    <a:pt x="617562" y="284288"/>
                  </a:lnTo>
                  <a:lnTo>
                    <a:pt x="621466" y="282977"/>
                  </a:lnTo>
                  <a:lnTo>
                    <a:pt x="628869" y="284726"/>
                  </a:lnTo>
                  <a:lnTo>
                    <a:pt x="631057" y="282539"/>
                  </a:lnTo>
                  <a:lnTo>
                    <a:pt x="633649" y="277762"/>
                  </a:lnTo>
                  <a:lnTo>
                    <a:pt x="636711" y="278200"/>
                  </a:lnTo>
                  <a:lnTo>
                    <a:pt x="636711" y="281665"/>
                  </a:lnTo>
                  <a:lnTo>
                    <a:pt x="636711" y="287316"/>
                  </a:lnTo>
                  <a:lnTo>
                    <a:pt x="643240" y="293842"/>
                  </a:lnTo>
                  <a:lnTo>
                    <a:pt x="650610" y="299931"/>
                  </a:lnTo>
                  <a:lnTo>
                    <a:pt x="659327" y="294280"/>
                  </a:lnTo>
                  <a:lnTo>
                    <a:pt x="665418" y="289940"/>
                  </a:lnTo>
                  <a:lnTo>
                    <a:pt x="671072" y="286038"/>
                  </a:lnTo>
                  <a:lnTo>
                    <a:pt x="673260" y="283447"/>
                  </a:lnTo>
                  <a:lnTo>
                    <a:pt x="673260" y="279983"/>
                  </a:lnTo>
                  <a:lnTo>
                    <a:pt x="673260" y="274399"/>
                  </a:lnTo>
                  <a:lnTo>
                    <a:pt x="678476" y="276585"/>
                  </a:lnTo>
                  <a:lnTo>
                    <a:pt x="678476" y="282674"/>
                  </a:lnTo>
                  <a:lnTo>
                    <a:pt x="683491" y="286139"/>
                  </a:lnTo>
                  <a:lnTo>
                    <a:pt x="688943" y="282674"/>
                  </a:lnTo>
                  <a:lnTo>
                    <a:pt x="694159" y="276148"/>
                  </a:lnTo>
                  <a:lnTo>
                    <a:pt x="698501" y="270496"/>
                  </a:lnTo>
                  <a:lnTo>
                    <a:pt x="700251" y="270496"/>
                  </a:lnTo>
                  <a:lnTo>
                    <a:pt x="710684" y="268747"/>
                  </a:lnTo>
                  <a:lnTo>
                    <a:pt x="720242" y="268747"/>
                  </a:lnTo>
                  <a:lnTo>
                    <a:pt x="727208" y="262658"/>
                  </a:lnTo>
                  <a:lnTo>
                    <a:pt x="727208" y="257444"/>
                  </a:lnTo>
                  <a:lnTo>
                    <a:pt x="727208" y="246578"/>
                  </a:lnTo>
                  <a:lnTo>
                    <a:pt x="733300" y="240927"/>
                  </a:lnTo>
                  <a:lnTo>
                    <a:pt x="744170" y="240927"/>
                  </a:lnTo>
                  <a:lnTo>
                    <a:pt x="751574" y="237900"/>
                  </a:lnTo>
                  <a:lnTo>
                    <a:pt x="748949" y="232248"/>
                  </a:lnTo>
                  <a:lnTo>
                    <a:pt x="745920" y="232248"/>
                  </a:lnTo>
                  <a:lnTo>
                    <a:pt x="745483" y="225722"/>
                  </a:lnTo>
                  <a:lnTo>
                    <a:pt x="740704" y="222257"/>
                  </a:lnTo>
                  <a:lnTo>
                    <a:pt x="748545" y="217480"/>
                  </a:lnTo>
                  <a:lnTo>
                    <a:pt x="750699" y="225318"/>
                  </a:lnTo>
                  <a:lnTo>
                    <a:pt x="756791" y="225318"/>
                  </a:lnTo>
                  <a:lnTo>
                    <a:pt x="756791" y="218355"/>
                  </a:lnTo>
                  <a:lnTo>
                    <a:pt x="764598" y="218355"/>
                  </a:lnTo>
                  <a:lnTo>
                    <a:pt x="767190" y="212266"/>
                  </a:lnTo>
                  <a:lnTo>
                    <a:pt x="767190" y="205303"/>
                  </a:lnTo>
                  <a:lnTo>
                    <a:pt x="767190" y="200963"/>
                  </a:lnTo>
                  <a:lnTo>
                    <a:pt x="769815" y="195749"/>
                  </a:lnTo>
                  <a:lnTo>
                    <a:pt x="776781" y="195749"/>
                  </a:lnTo>
                  <a:lnTo>
                    <a:pt x="784623" y="195749"/>
                  </a:lnTo>
                  <a:lnTo>
                    <a:pt x="784623" y="193159"/>
                  </a:lnTo>
                  <a:lnTo>
                    <a:pt x="787080" y="188987"/>
                  </a:lnTo>
                  <a:lnTo>
                    <a:pt x="780147" y="183168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705" name="Freeform 889">
              <a:extLst>
                <a:ext uri="{FF2B5EF4-FFF2-40B4-BE49-F238E27FC236}">
                  <a16:creationId xmlns:a16="http://schemas.microsoft.com/office/drawing/2014/main" id="{5F75BF8A-6C64-E295-18C1-9CED680AD52F}"/>
                </a:ext>
              </a:extLst>
            </p:cNvPr>
            <p:cNvSpPr/>
            <p:nvPr/>
          </p:nvSpPr>
          <p:spPr>
            <a:xfrm>
              <a:off x="2280108" y="3691308"/>
              <a:ext cx="852246" cy="609037"/>
            </a:xfrm>
            <a:custGeom>
              <a:avLst/>
              <a:gdLst>
                <a:gd name="connsiteX0" fmla="*/ 537464 w 786002"/>
                <a:gd name="connsiteY0" fmla="*/ 558770 h 561696"/>
                <a:gd name="connsiteX1" fmla="*/ 537464 w 786002"/>
                <a:gd name="connsiteY1" fmla="*/ 555305 h 561696"/>
                <a:gd name="connsiteX2" fmla="*/ 538877 w 786002"/>
                <a:gd name="connsiteY2" fmla="*/ 554868 h 561696"/>
                <a:gd name="connsiteX3" fmla="*/ 537901 w 786002"/>
                <a:gd name="connsiteY3" fmla="*/ 554430 h 561696"/>
                <a:gd name="connsiteX4" fmla="*/ 535444 w 786002"/>
                <a:gd name="connsiteY4" fmla="*/ 551537 h 561696"/>
                <a:gd name="connsiteX5" fmla="*/ 536454 w 786002"/>
                <a:gd name="connsiteY5" fmla="*/ 548644 h 561696"/>
                <a:gd name="connsiteX6" fmla="*/ 538036 w 786002"/>
                <a:gd name="connsiteY6" fmla="*/ 545751 h 561696"/>
                <a:gd name="connsiteX7" fmla="*/ 540493 w 786002"/>
                <a:gd name="connsiteY7" fmla="*/ 541109 h 561696"/>
                <a:gd name="connsiteX8" fmla="*/ 543387 w 786002"/>
                <a:gd name="connsiteY8" fmla="*/ 537408 h 561696"/>
                <a:gd name="connsiteX9" fmla="*/ 547594 w 786002"/>
                <a:gd name="connsiteY9" fmla="*/ 535323 h 561696"/>
                <a:gd name="connsiteX10" fmla="*/ 553954 w 786002"/>
                <a:gd name="connsiteY10" fmla="*/ 535323 h 561696"/>
                <a:gd name="connsiteX11" fmla="*/ 562368 w 786002"/>
                <a:gd name="connsiteY11" fmla="*/ 533573 h 561696"/>
                <a:gd name="connsiteX12" fmla="*/ 565700 w 786002"/>
                <a:gd name="connsiteY12" fmla="*/ 526778 h 561696"/>
                <a:gd name="connsiteX13" fmla="*/ 564556 w 786002"/>
                <a:gd name="connsiteY13" fmla="*/ 521262 h 561696"/>
                <a:gd name="connsiteX14" fmla="*/ 561527 w 786002"/>
                <a:gd name="connsiteY14" fmla="*/ 517359 h 561696"/>
                <a:gd name="connsiteX15" fmla="*/ 564556 w 786002"/>
                <a:gd name="connsiteY15" fmla="*/ 512011 h 561696"/>
                <a:gd name="connsiteX16" fmla="*/ 568897 w 786002"/>
                <a:gd name="connsiteY16" fmla="*/ 509387 h 561696"/>
                <a:gd name="connsiteX17" fmla="*/ 575123 w 786002"/>
                <a:gd name="connsiteY17" fmla="*/ 507940 h 561696"/>
                <a:gd name="connsiteX18" fmla="*/ 580642 w 786002"/>
                <a:gd name="connsiteY18" fmla="*/ 507806 h 561696"/>
                <a:gd name="connsiteX19" fmla="*/ 587744 w 786002"/>
                <a:gd name="connsiteY19" fmla="*/ 506494 h 561696"/>
                <a:gd name="connsiteX20" fmla="*/ 595148 w 786002"/>
                <a:gd name="connsiteY20" fmla="*/ 505182 h 561696"/>
                <a:gd name="connsiteX21" fmla="*/ 602552 w 786002"/>
                <a:gd name="connsiteY21" fmla="*/ 504038 h 561696"/>
                <a:gd name="connsiteX22" fmla="*/ 610090 w 786002"/>
                <a:gd name="connsiteY22" fmla="*/ 504610 h 561696"/>
                <a:gd name="connsiteX23" fmla="*/ 615441 w 786002"/>
                <a:gd name="connsiteY23" fmla="*/ 502154 h 561696"/>
                <a:gd name="connsiteX24" fmla="*/ 616013 w 786002"/>
                <a:gd name="connsiteY24" fmla="*/ 496065 h 561696"/>
                <a:gd name="connsiteX25" fmla="*/ 609787 w 786002"/>
                <a:gd name="connsiteY25" fmla="*/ 488967 h 561696"/>
                <a:gd name="connsiteX26" fmla="*/ 606018 w 786002"/>
                <a:gd name="connsiteY26" fmla="*/ 481869 h 561696"/>
                <a:gd name="connsiteX27" fmla="*/ 605883 w 786002"/>
                <a:gd name="connsiteY27" fmla="*/ 476083 h 561696"/>
                <a:gd name="connsiteX28" fmla="*/ 609215 w 786002"/>
                <a:gd name="connsiteY28" fmla="*/ 473897 h 561696"/>
                <a:gd name="connsiteX29" fmla="*/ 615441 w 786002"/>
                <a:gd name="connsiteY29" fmla="*/ 474199 h 561696"/>
                <a:gd name="connsiteX30" fmla="*/ 621230 w 786002"/>
                <a:gd name="connsiteY30" fmla="*/ 478404 h 561696"/>
                <a:gd name="connsiteX31" fmla="*/ 627759 w 786002"/>
                <a:gd name="connsiteY31" fmla="*/ 479716 h 561696"/>
                <a:gd name="connsiteX32" fmla="*/ 629913 w 786002"/>
                <a:gd name="connsiteY32" fmla="*/ 476521 h 561696"/>
                <a:gd name="connsiteX33" fmla="*/ 637586 w 786002"/>
                <a:gd name="connsiteY33" fmla="*/ 473762 h 561696"/>
                <a:gd name="connsiteX34" fmla="*/ 641927 w 786002"/>
                <a:gd name="connsiteY34" fmla="*/ 472013 h 561696"/>
                <a:gd name="connsiteX35" fmla="*/ 645562 w 786002"/>
                <a:gd name="connsiteY35" fmla="*/ 470129 h 561696"/>
                <a:gd name="connsiteX36" fmla="*/ 639336 w 786002"/>
                <a:gd name="connsiteY36" fmla="*/ 466059 h 561696"/>
                <a:gd name="connsiteX37" fmla="*/ 639201 w 786002"/>
                <a:gd name="connsiteY37" fmla="*/ 461585 h 561696"/>
                <a:gd name="connsiteX38" fmla="*/ 641961 w 786002"/>
                <a:gd name="connsiteY38" fmla="*/ 459398 h 561696"/>
                <a:gd name="connsiteX39" fmla="*/ 645293 w 786002"/>
                <a:gd name="connsiteY39" fmla="*/ 459398 h 561696"/>
                <a:gd name="connsiteX40" fmla="*/ 650072 w 786002"/>
                <a:gd name="connsiteY40" fmla="*/ 460845 h 561696"/>
                <a:gd name="connsiteX41" fmla="*/ 653101 w 786002"/>
                <a:gd name="connsiteY41" fmla="*/ 461417 h 561696"/>
                <a:gd name="connsiteX42" fmla="*/ 654413 w 786002"/>
                <a:gd name="connsiteY42" fmla="*/ 458961 h 561696"/>
                <a:gd name="connsiteX43" fmla="*/ 652966 w 786002"/>
                <a:gd name="connsiteY43" fmla="*/ 454319 h 561696"/>
                <a:gd name="connsiteX44" fmla="*/ 649332 w 786002"/>
                <a:gd name="connsiteY44" fmla="*/ 447221 h 561696"/>
                <a:gd name="connsiteX45" fmla="*/ 649466 w 786002"/>
                <a:gd name="connsiteY45" fmla="*/ 443184 h 561696"/>
                <a:gd name="connsiteX46" fmla="*/ 651485 w 786002"/>
                <a:gd name="connsiteY46" fmla="*/ 441434 h 561696"/>
                <a:gd name="connsiteX47" fmla="*/ 654380 w 786002"/>
                <a:gd name="connsiteY47" fmla="*/ 433765 h 561696"/>
                <a:gd name="connsiteX48" fmla="*/ 658149 w 786002"/>
                <a:gd name="connsiteY48" fmla="*/ 429123 h 561696"/>
                <a:gd name="connsiteX49" fmla="*/ 664106 w 786002"/>
                <a:gd name="connsiteY49" fmla="*/ 427104 h 561696"/>
                <a:gd name="connsiteX50" fmla="*/ 670197 w 786002"/>
                <a:gd name="connsiteY50" fmla="*/ 425489 h 561696"/>
                <a:gd name="connsiteX51" fmla="*/ 674101 w 786002"/>
                <a:gd name="connsiteY51" fmla="*/ 422596 h 561696"/>
                <a:gd name="connsiteX52" fmla="*/ 679318 w 786002"/>
                <a:gd name="connsiteY52" fmla="*/ 421722 h 561696"/>
                <a:gd name="connsiteX53" fmla="*/ 683390 w 786002"/>
                <a:gd name="connsiteY53" fmla="*/ 420578 h 561696"/>
                <a:gd name="connsiteX54" fmla="*/ 685712 w 786002"/>
                <a:gd name="connsiteY54" fmla="*/ 417954 h 561696"/>
                <a:gd name="connsiteX55" fmla="*/ 687159 w 786002"/>
                <a:gd name="connsiteY55" fmla="*/ 416373 h 561696"/>
                <a:gd name="connsiteX56" fmla="*/ 688169 w 786002"/>
                <a:gd name="connsiteY56" fmla="*/ 413312 h 561696"/>
                <a:gd name="connsiteX57" fmla="*/ 690491 w 786002"/>
                <a:gd name="connsiteY57" fmla="*/ 412437 h 561696"/>
                <a:gd name="connsiteX58" fmla="*/ 693520 w 786002"/>
                <a:gd name="connsiteY58" fmla="*/ 410856 h 561696"/>
                <a:gd name="connsiteX59" fmla="*/ 698030 w 786002"/>
                <a:gd name="connsiteY59" fmla="*/ 409107 h 561696"/>
                <a:gd name="connsiteX60" fmla="*/ 700487 w 786002"/>
                <a:gd name="connsiteY60" fmla="*/ 408401 h 561696"/>
                <a:gd name="connsiteX61" fmla="*/ 702506 w 786002"/>
                <a:gd name="connsiteY61" fmla="*/ 407223 h 561696"/>
                <a:gd name="connsiteX62" fmla="*/ 705568 w 786002"/>
                <a:gd name="connsiteY62" fmla="*/ 404465 h 561696"/>
                <a:gd name="connsiteX63" fmla="*/ 706006 w 786002"/>
                <a:gd name="connsiteY63" fmla="*/ 402278 h 561696"/>
                <a:gd name="connsiteX64" fmla="*/ 710347 w 786002"/>
                <a:gd name="connsiteY64" fmla="*/ 398948 h 561696"/>
                <a:gd name="connsiteX65" fmla="*/ 712669 w 786002"/>
                <a:gd name="connsiteY65" fmla="*/ 396627 h 561696"/>
                <a:gd name="connsiteX66" fmla="*/ 715126 w 786002"/>
                <a:gd name="connsiteY66" fmla="*/ 393431 h 561696"/>
                <a:gd name="connsiteX67" fmla="*/ 716001 w 786002"/>
                <a:gd name="connsiteY67" fmla="*/ 387914 h 561696"/>
                <a:gd name="connsiteX68" fmla="*/ 722800 w 786002"/>
                <a:gd name="connsiteY68" fmla="*/ 381388 h 561696"/>
                <a:gd name="connsiteX69" fmla="*/ 723540 w 786002"/>
                <a:gd name="connsiteY69" fmla="*/ 372709 h 561696"/>
                <a:gd name="connsiteX70" fmla="*/ 720915 w 786002"/>
                <a:gd name="connsiteY70" fmla="*/ 368638 h 561696"/>
                <a:gd name="connsiteX71" fmla="*/ 719333 w 786002"/>
                <a:gd name="connsiteY71" fmla="*/ 364131 h 561696"/>
                <a:gd name="connsiteX72" fmla="*/ 718895 w 786002"/>
                <a:gd name="connsiteY72" fmla="*/ 356595 h 561696"/>
                <a:gd name="connsiteX73" fmla="*/ 717314 w 786002"/>
                <a:gd name="connsiteY73" fmla="*/ 353702 h 561696"/>
                <a:gd name="connsiteX74" fmla="*/ 714857 w 786002"/>
                <a:gd name="connsiteY74" fmla="*/ 350372 h 561696"/>
                <a:gd name="connsiteX75" fmla="*/ 714857 w 786002"/>
                <a:gd name="connsiteY75" fmla="*/ 346739 h 561696"/>
                <a:gd name="connsiteX76" fmla="*/ 717751 w 786002"/>
                <a:gd name="connsiteY76" fmla="*/ 343106 h 561696"/>
                <a:gd name="connsiteX77" fmla="*/ 718761 w 786002"/>
                <a:gd name="connsiteY77" fmla="*/ 340482 h 561696"/>
                <a:gd name="connsiteX78" fmla="*/ 718054 w 786002"/>
                <a:gd name="connsiteY78" fmla="*/ 332812 h 561696"/>
                <a:gd name="connsiteX79" fmla="*/ 718323 w 786002"/>
                <a:gd name="connsiteY79" fmla="*/ 328742 h 561696"/>
                <a:gd name="connsiteX80" fmla="*/ 718323 w 786002"/>
                <a:gd name="connsiteY80" fmla="*/ 323965 h 561696"/>
                <a:gd name="connsiteX81" fmla="*/ 723237 w 786002"/>
                <a:gd name="connsiteY81" fmla="*/ 321644 h 561696"/>
                <a:gd name="connsiteX82" fmla="*/ 724247 w 786002"/>
                <a:gd name="connsiteY82" fmla="*/ 320635 h 561696"/>
                <a:gd name="connsiteX83" fmla="*/ 728588 w 786002"/>
                <a:gd name="connsiteY83" fmla="*/ 315555 h 561696"/>
                <a:gd name="connsiteX84" fmla="*/ 734545 w 786002"/>
                <a:gd name="connsiteY84" fmla="*/ 311922 h 561696"/>
                <a:gd name="connsiteX85" fmla="*/ 738886 w 786002"/>
                <a:gd name="connsiteY85" fmla="*/ 311216 h 561696"/>
                <a:gd name="connsiteX86" fmla="*/ 742656 w 786002"/>
                <a:gd name="connsiteY86" fmla="*/ 310072 h 561696"/>
                <a:gd name="connsiteX87" fmla="*/ 746122 w 786002"/>
                <a:gd name="connsiteY87" fmla="*/ 307044 h 561696"/>
                <a:gd name="connsiteX88" fmla="*/ 748444 w 786002"/>
                <a:gd name="connsiteY88" fmla="*/ 301965 h 561696"/>
                <a:gd name="connsiteX89" fmla="*/ 746560 w 786002"/>
                <a:gd name="connsiteY89" fmla="*/ 298197 h 561696"/>
                <a:gd name="connsiteX90" fmla="*/ 739896 w 786002"/>
                <a:gd name="connsiteY90" fmla="*/ 292848 h 561696"/>
                <a:gd name="connsiteX91" fmla="*/ 743396 w 786002"/>
                <a:gd name="connsiteY91" fmla="*/ 285616 h 561696"/>
                <a:gd name="connsiteX92" fmla="*/ 751204 w 786002"/>
                <a:gd name="connsiteY92" fmla="*/ 280839 h 561696"/>
                <a:gd name="connsiteX93" fmla="*/ 756723 w 786002"/>
                <a:gd name="connsiteY93" fmla="*/ 280839 h 561696"/>
                <a:gd name="connsiteX94" fmla="*/ 759618 w 786002"/>
                <a:gd name="connsiteY94" fmla="*/ 282151 h 561696"/>
                <a:gd name="connsiteX95" fmla="*/ 766719 w 786002"/>
                <a:gd name="connsiteY95" fmla="*/ 276802 h 561696"/>
                <a:gd name="connsiteX96" fmla="*/ 772507 w 786002"/>
                <a:gd name="connsiteY96" fmla="*/ 274481 h 561696"/>
                <a:gd name="connsiteX97" fmla="*/ 775132 w 786002"/>
                <a:gd name="connsiteY97" fmla="*/ 273169 h 561696"/>
                <a:gd name="connsiteX98" fmla="*/ 775267 w 786002"/>
                <a:gd name="connsiteY98" fmla="*/ 268830 h 561696"/>
                <a:gd name="connsiteX99" fmla="*/ 769613 w 786002"/>
                <a:gd name="connsiteY99" fmla="*/ 261429 h 561696"/>
                <a:gd name="connsiteX100" fmla="*/ 768300 w 786002"/>
                <a:gd name="connsiteY100" fmla="*/ 257796 h 561696"/>
                <a:gd name="connsiteX101" fmla="*/ 765709 w 786002"/>
                <a:gd name="connsiteY101" fmla="*/ 249251 h 561696"/>
                <a:gd name="connsiteX102" fmla="*/ 766146 w 786002"/>
                <a:gd name="connsiteY102" fmla="*/ 243600 h 561696"/>
                <a:gd name="connsiteX103" fmla="*/ 771801 w 786002"/>
                <a:gd name="connsiteY103" fmla="*/ 239126 h 561696"/>
                <a:gd name="connsiteX104" fmla="*/ 777589 w 786002"/>
                <a:gd name="connsiteY104" fmla="*/ 237545 h 561696"/>
                <a:gd name="connsiteX105" fmla="*/ 783108 w 786002"/>
                <a:gd name="connsiteY105" fmla="*/ 235526 h 561696"/>
                <a:gd name="connsiteX106" fmla="*/ 786003 w 786002"/>
                <a:gd name="connsiteY106" fmla="*/ 229875 h 561696"/>
                <a:gd name="connsiteX107" fmla="*/ 784118 w 786002"/>
                <a:gd name="connsiteY107" fmla="*/ 224661 h 561696"/>
                <a:gd name="connsiteX108" fmla="*/ 781931 w 786002"/>
                <a:gd name="connsiteY108" fmla="*/ 218572 h 561696"/>
                <a:gd name="connsiteX109" fmla="*/ 782233 w 786002"/>
                <a:gd name="connsiteY109" fmla="*/ 213492 h 561696"/>
                <a:gd name="connsiteX110" fmla="*/ 781661 w 786002"/>
                <a:gd name="connsiteY110" fmla="*/ 208413 h 561696"/>
                <a:gd name="connsiteX111" fmla="*/ 775873 w 786002"/>
                <a:gd name="connsiteY111" fmla="*/ 203939 h 561696"/>
                <a:gd name="connsiteX112" fmla="*/ 773988 w 786002"/>
                <a:gd name="connsiteY112" fmla="*/ 201046 h 561696"/>
                <a:gd name="connsiteX113" fmla="*/ 772676 w 786002"/>
                <a:gd name="connsiteY113" fmla="*/ 198287 h 561696"/>
                <a:gd name="connsiteX114" fmla="*/ 772103 w 786002"/>
                <a:gd name="connsiteY114" fmla="*/ 194654 h 561696"/>
                <a:gd name="connsiteX115" fmla="*/ 773248 w 786002"/>
                <a:gd name="connsiteY115" fmla="*/ 191627 h 561696"/>
                <a:gd name="connsiteX116" fmla="*/ 775132 w 786002"/>
                <a:gd name="connsiteY116" fmla="*/ 188599 h 561696"/>
                <a:gd name="connsiteX117" fmla="*/ 778329 w 786002"/>
                <a:gd name="connsiteY117" fmla="*/ 185403 h 561696"/>
                <a:gd name="connsiteX118" fmla="*/ 781964 w 786002"/>
                <a:gd name="connsiteY118" fmla="*/ 181770 h 561696"/>
                <a:gd name="connsiteX119" fmla="*/ 778633 w 786002"/>
                <a:gd name="connsiteY119" fmla="*/ 181030 h 561696"/>
                <a:gd name="connsiteX120" fmla="*/ 774863 w 786002"/>
                <a:gd name="connsiteY120" fmla="*/ 181602 h 561696"/>
                <a:gd name="connsiteX121" fmla="*/ 770219 w 786002"/>
                <a:gd name="connsiteY121" fmla="*/ 182174 h 561696"/>
                <a:gd name="connsiteX122" fmla="*/ 765575 w 786002"/>
                <a:gd name="connsiteY122" fmla="*/ 181165 h 561696"/>
                <a:gd name="connsiteX123" fmla="*/ 761368 w 786002"/>
                <a:gd name="connsiteY123" fmla="*/ 180862 h 561696"/>
                <a:gd name="connsiteX124" fmla="*/ 757733 w 786002"/>
                <a:gd name="connsiteY124" fmla="*/ 180727 h 561696"/>
                <a:gd name="connsiteX125" fmla="*/ 754401 w 786002"/>
                <a:gd name="connsiteY125" fmla="*/ 180727 h 561696"/>
                <a:gd name="connsiteX126" fmla="*/ 750766 w 786002"/>
                <a:gd name="connsiteY126" fmla="*/ 181737 h 561696"/>
                <a:gd name="connsiteX127" fmla="*/ 746122 w 786002"/>
                <a:gd name="connsiteY127" fmla="*/ 183318 h 561696"/>
                <a:gd name="connsiteX128" fmla="*/ 742218 w 786002"/>
                <a:gd name="connsiteY128" fmla="*/ 186345 h 561696"/>
                <a:gd name="connsiteX129" fmla="*/ 738314 w 786002"/>
                <a:gd name="connsiteY129" fmla="*/ 187926 h 561696"/>
                <a:gd name="connsiteX130" fmla="*/ 733098 w 786002"/>
                <a:gd name="connsiteY130" fmla="*/ 191694 h 561696"/>
                <a:gd name="connsiteX131" fmla="*/ 729631 w 786002"/>
                <a:gd name="connsiteY131" fmla="*/ 191694 h 561696"/>
                <a:gd name="connsiteX132" fmla="*/ 728050 w 786002"/>
                <a:gd name="connsiteY132" fmla="*/ 190819 h 561696"/>
                <a:gd name="connsiteX133" fmla="*/ 723708 w 786002"/>
                <a:gd name="connsiteY133" fmla="*/ 188633 h 561696"/>
                <a:gd name="connsiteX134" fmla="*/ 719939 w 786002"/>
                <a:gd name="connsiteY134" fmla="*/ 186312 h 561696"/>
                <a:gd name="connsiteX135" fmla="*/ 719064 w 786002"/>
                <a:gd name="connsiteY135" fmla="*/ 183856 h 561696"/>
                <a:gd name="connsiteX136" fmla="*/ 719501 w 786002"/>
                <a:gd name="connsiteY136" fmla="*/ 181097 h 561696"/>
                <a:gd name="connsiteX137" fmla="*/ 719636 w 786002"/>
                <a:gd name="connsiteY137" fmla="*/ 175177 h 561696"/>
                <a:gd name="connsiteX138" fmla="*/ 720074 w 786002"/>
                <a:gd name="connsiteY138" fmla="*/ 170669 h 561696"/>
                <a:gd name="connsiteX139" fmla="*/ 719939 w 786002"/>
                <a:gd name="connsiteY139" fmla="*/ 167339 h 561696"/>
                <a:gd name="connsiteX140" fmla="*/ 720074 w 786002"/>
                <a:gd name="connsiteY140" fmla="*/ 164143 h 561696"/>
                <a:gd name="connsiteX141" fmla="*/ 720074 w 786002"/>
                <a:gd name="connsiteY141" fmla="*/ 161519 h 561696"/>
                <a:gd name="connsiteX142" fmla="*/ 720646 w 786002"/>
                <a:gd name="connsiteY142" fmla="*/ 155565 h 561696"/>
                <a:gd name="connsiteX143" fmla="*/ 720074 w 786002"/>
                <a:gd name="connsiteY143" fmla="*/ 151797 h 561696"/>
                <a:gd name="connsiteX144" fmla="*/ 720074 w 786002"/>
                <a:gd name="connsiteY144" fmla="*/ 148602 h 561696"/>
                <a:gd name="connsiteX145" fmla="*/ 718761 w 786002"/>
                <a:gd name="connsiteY145" fmla="*/ 144094 h 561696"/>
                <a:gd name="connsiteX146" fmla="*/ 717011 w 786002"/>
                <a:gd name="connsiteY146" fmla="*/ 143219 h 561696"/>
                <a:gd name="connsiteX147" fmla="*/ 713107 w 786002"/>
                <a:gd name="connsiteY147" fmla="*/ 142076 h 561696"/>
                <a:gd name="connsiteX148" fmla="*/ 708765 w 786002"/>
                <a:gd name="connsiteY148" fmla="*/ 141504 h 561696"/>
                <a:gd name="connsiteX149" fmla="*/ 705299 w 786002"/>
                <a:gd name="connsiteY149" fmla="*/ 142244 h 561696"/>
                <a:gd name="connsiteX150" fmla="*/ 702539 w 786002"/>
                <a:gd name="connsiteY150" fmla="*/ 142244 h 561696"/>
                <a:gd name="connsiteX151" fmla="*/ 700352 w 786002"/>
                <a:gd name="connsiteY151" fmla="*/ 143993 h 561696"/>
                <a:gd name="connsiteX152" fmla="*/ 699208 w 786002"/>
                <a:gd name="connsiteY152" fmla="*/ 145170 h 561696"/>
                <a:gd name="connsiteX153" fmla="*/ 697054 w 786002"/>
                <a:gd name="connsiteY153" fmla="*/ 147626 h 561696"/>
                <a:gd name="connsiteX154" fmla="*/ 693587 w 786002"/>
                <a:gd name="connsiteY154" fmla="*/ 149813 h 561696"/>
                <a:gd name="connsiteX155" fmla="*/ 690693 w 786002"/>
                <a:gd name="connsiteY155" fmla="*/ 151562 h 561696"/>
                <a:gd name="connsiteX156" fmla="*/ 688068 w 786002"/>
                <a:gd name="connsiteY156" fmla="*/ 154589 h 561696"/>
                <a:gd name="connsiteX157" fmla="*/ 688203 w 786002"/>
                <a:gd name="connsiteY157" fmla="*/ 159501 h 561696"/>
                <a:gd name="connsiteX158" fmla="*/ 688068 w 786002"/>
                <a:gd name="connsiteY158" fmla="*/ 162091 h 561696"/>
                <a:gd name="connsiteX159" fmla="*/ 685746 w 786002"/>
                <a:gd name="connsiteY159" fmla="*/ 166565 h 561696"/>
                <a:gd name="connsiteX160" fmla="*/ 680529 w 786002"/>
                <a:gd name="connsiteY160" fmla="*/ 167742 h 561696"/>
                <a:gd name="connsiteX161" fmla="*/ 675178 w 786002"/>
                <a:gd name="connsiteY161" fmla="*/ 165724 h 561696"/>
                <a:gd name="connsiteX162" fmla="*/ 672284 w 786002"/>
                <a:gd name="connsiteY162" fmla="*/ 162394 h 561696"/>
                <a:gd name="connsiteX163" fmla="*/ 671409 w 786002"/>
                <a:gd name="connsiteY163" fmla="*/ 158929 h 561696"/>
                <a:gd name="connsiteX164" fmla="*/ 671274 w 786002"/>
                <a:gd name="connsiteY164" fmla="*/ 155027 h 561696"/>
                <a:gd name="connsiteX165" fmla="*/ 670837 w 786002"/>
                <a:gd name="connsiteY165" fmla="*/ 151999 h 561696"/>
                <a:gd name="connsiteX166" fmla="*/ 670702 w 786002"/>
                <a:gd name="connsiteY166" fmla="*/ 148097 h 561696"/>
                <a:gd name="connsiteX167" fmla="*/ 671005 w 786002"/>
                <a:gd name="connsiteY167" fmla="*/ 143758 h 561696"/>
                <a:gd name="connsiteX168" fmla="*/ 676087 w 786002"/>
                <a:gd name="connsiteY168" fmla="*/ 137534 h 561696"/>
                <a:gd name="connsiteX169" fmla="*/ 676524 w 786002"/>
                <a:gd name="connsiteY169" fmla="*/ 137400 h 561696"/>
                <a:gd name="connsiteX170" fmla="*/ 677669 w 786002"/>
                <a:gd name="connsiteY170" fmla="*/ 134069 h 561696"/>
                <a:gd name="connsiteX171" fmla="*/ 681741 w 786002"/>
                <a:gd name="connsiteY171" fmla="*/ 131311 h 561696"/>
                <a:gd name="connsiteX172" fmla="*/ 683053 w 786002"/>
                <a:gd name="connsiteY172" fmla="*/ 130167 h 561696"/>
                <a:gd name="connsiteX173" fmla="*/ 688842 w 786002"/>
                <a:gd name="connsiteY173" fmla="*/ 128283 h 561696"/>
                <a:gd name="connsiteX174" fmla="*/ 688707 w 786002"/>
                <a:gd name="connsiteY174" fmla="*/ 125828 h 561696"/>
                <a:gd name="connsiteX175" fmla="*/ 688842 w 786002"/>
                <a:gd name="connsiteY175" fmla="*/ 123237 h 561696"/>
                <a:gd name="connsiteX176" fmla="*/ 689145 w 786002"/>
                <a:gd name="connsiteY176" fmla="*/ 121353 h 561696"/>
                <a:gd name="connsiteX177" fmla="*/ 691030 w 786002"/>
                <a:gd name="connsiteY177" fmla="*/ 118326 h 561696"/>
                <a:gd name="connsiteX178" fmla="*/ 691332 w 786002"/>
                <a:gd name="connsiteY178" fmla="*/ 117889 h 561696"/>
                <a:gd name="connsiteX179" fmla="*/ 695236 w 786002"/>
                <a:gd name="connsiteY179" fmla="*/ 116005 h 561696"/>
                <a:gd name="connsiteX180" fmla="*/ 697693 w 786002"/>
                <a:gd name="connsiteY180" fmla="*/ 113684 h 561696"/>
                <a:gd name="connsiteX181" fmla="*/ 699578 w 786002"/>
                <a:gd name="connsiteY181" fmla="*/ 111800 h 561696"/>
                <a:gd name="connsiteX182" fmla="*/ 701765 w 786002"/>
                <a:gd name="connsiteY182" fmla="*/ 111228 h 561696"/>
                <a:gd name="connsiteX183" fmla="*/ 704660 w 786002"/>
                <a:gd name="connsiteY183" fmla="*/ 109647 h 561696"/>
                <a:gd name="connsiteX184" fmla="*/ 706241 w 786002"/>
                <a:gd name="connsiteY184" fmla="*/ 107628 h 561696"/>
                <a:gd name="connsiteX185" fmla="*/ 706814 w 786002"/>
                <a:gd name="connsiteY185" fmla="*/ 106047 h 561696"/>
                <a:gd name="connsiteX186" fmla="*/ 707823 w 786002"/>
                <a:gd name="connsiteY186" fmla="*/ 101405 h 561696"/>
                <a:gd name="connsiteX187" fmla="*/ 708530 w 786002"/>
                <a:gd name="connsiteY187" fmla="*/ 95888 h 561696"/>
                <a:gd name="connsiteX188" fmla="*/ 705636 w 786002"/>
                <a:gd name="connsiteY188" fmla="*/ 85157 h 561696"/>
                <a:gd name="connsiteX189" fmla="*/ 706208 w 786002"/>
                <a:gd name="connsiteY189" fmla="*/ 80818 h 561696"/>
                <a:gd name="connsiteX190" fmla="*/ 706645 w 786002"/>
                <a:gd name="connsiteY190" fmla="*/ 77050 h 561696"/>
                <a:gd name="connsiteX191" fmla="*/ 708833 w 786002"/>
                <a:gd name="connsiteY191" fmla="*/ 74022 h 561696"/>
                <a:gd name="connsiteX192" fmla="*/ 710583 w 786002"/>
                <a:gd name="connsiteY192" fmla="*/ 71399 h 561696"/>
                <a:gd name="connsiteX193" fmla="*/ 712468 w 786002"/>
                <a:gd name="connsiteY193" fmla="*/ 69380 h 561696"/>
                <a:gd name="connsiteX194" fmla="*/ 714790 w 786002"/>
                <a:gd name="connsiteY194" fmla="*/ 67799 h 561696"/>
                <a:gd name="connsiteX195" fmla="*/ 716371 w 786002"/>
                <a:gd name="connsiteY195" fmla="*/ 67059 h 561696"/>
                <a:gd name="connsiteX196" fmla="*/ 717987 w 786002"/>
                <a:gd name="connsiteY196" fmla="*/ 66353 h 561696"/>
                <a:gd name="connsiteX197" fmla="*/ 719434 w 786002"/>
                <a:gd name="connsiteY197" fmla="*/ 64166 h 561696"/>
                <a:gd name="connsiteX198" fmla="*/ 721891 w 786002"/>
                <a:gd name="connsiteY198" fmla="*/ 61542 h 561696"/>
                <a:gd name="connsiteX199" fmla="*/ 721891 w 786002"/>
                <a:gd name="connsiteY199" fmla="*/ 57472 h 561696"/>
                <a:gd name="connsiteX200" fmla="*/ 719939 w 786002"/>
                <a:gd name="connsiteY200" fmla="*/ 55722 h 561696"/>
                <a:gd name="connsiteX201" fmla="*/ 717549 w 786002"/>
                <a:gd name="connsiteY201" fmla="*/ 54579 h 561696"/>
                <a:gd name="connsiteX202" fmla="*/ 715227 w 786002"/>
                <a:gd name="connsiteY202" fmla="*/ 54007 h 561696"/>
                <a:gd name="connsiteX203" fmla="*/ 712468 w 786002"/>
                <a:gd name="connsiteY203" fmla="*/ 54007 h 561696"/>
                <a:gd name="connsiteX204" fmla="*/ 710145 w 786002"/>
                <a:gd name="connsiteY204" fmla="*/ 53872 h 561696"/>
                <a:gd name="connsiteX205" fmla="*/ 706241 w 786002"/>
                <a:gd name="connsiteY205" fmla="*/ 54310 h 561696"/>
                <a:gd name="connsiteX206" fmla="*/ 704222 w 786002"/>
                <a:gd name="connsiteY206" fmla="*/ 54747 h 561696"/>
                <a:gd name="connsiteX207" fmla="*/ 701025 w 786002"/>
                <a:gd name="connsiteY207" fmla="*/ 55891 h 561696"/>
                <a:gd name="connsiteX208" fmla="*/ 698265 w 786002"/>
                <a:gd name="connsiteY208" fmla="*/ 55016 h 561696"/>
                <a:gd name="connsiteX209" fmla="*/ 696381 w 786002"/>
                <a:gd name="connsiteY209" fmla="*/ 52392 h 561696"/>
                <a:gd name="connsiteX210" fmla="*/ 694933 w 786002"/>
                <a:gd name="connsiteY210" fmla="*/ 50206 h 561696"/>
                <a:gd name="connsiteX211" fmla="*/ 693789 w 786002"/>
                <a:gd name="connsiteY211" fmla="*/ 48456 h 561696"/>
                <a:gd name="connsiteX212" fmla="*/ 693520 w 786002"/>
                <a:gd name="connsiteY212" fmla="*/ 44823 h 561696"/>
                <a:gd name="connsiteX213" fmla="*/ 695102 w 786002"/>
                <a:gd name="connsiteY213" fmla="*/ 40484 h 561696"/>
                <a:gd name="connsiteX214" fmla="*/ 697121 w 786002"/>
                <a:gd name="connsiteY214" fmla="*/ 37591 h 561696"/>
                <a:gd name="connsiteX215" fmla="*/ 698131 w 786002"/>
                <a:gd name="connsiteY215" fmla="*/ 35572 h 561696"/>
                <a:gd name="connsiteX216" fmla="*/ 700285 w 786002"/>
                <a:gd name="connsiteY216" fmla="*/ 32511 h 561696"/>
                <a:gd name="connsiteX217" fmla="*/ 700015 w 786002"/>
                <a:gd name="connsiteY217" fmla="*/ 31065 h 561696"/>
                <a:gd name="connsiteX218" fmla="*/ 699578 w 786002"/>
                <a:gd name="connsiteY218" fmla="*/ 28037 h 561696"/>
                <a:gd name="connsiteX219" fmla="*/ 699275 w 786002"/>
                <a:gd name="connsiteY219" fmla="*/ 25279 h 561696"/>
                <a:gd name="connsiteX220" fmla="*/ 700150 w 786002"/>
                <a:gd name="connsiteY220" fmla="*/ 22251 h 561696"/>
                <a:gd name="connsiteX221" fmla="*/ 701025 w 786002"/>
                <a:gd name="connsiteY221" fmla="*/ 18046 h 561696"/>
                <a:gd name="connsiteX222" fmla="*/ 701025 w 786002"/>
                <a:gd name="connsiteY222" fmla="*/ 14144 h 561696"/>
                <a:gd name="connsiteX223" fmla="*/ 699510 w 786002"/>
                <a:gd name="connsiteY223" fmla="*/ 11957 h 561696"/>
                <a:gd name="connsiteX224" fmla="*/ 696852 w 786002"/>
                <a:gd name="connsiteY224" fmla="*/ 8930 h 561696"/>
                <a:gd name="connsiteX225" fmla="*/ 693789 w 786002"/>
                <a:gd name="connsiteY225" fmla="*/ 6306 h 561696"/>
                <a:gd name="connsiteX226" fmla="*/ 690020 w 786002"/>
                <a:gd name="connsiteY226" fmla="*/ 7181 h 561696"/>
                <a:gd name="connsiteX227" fmla="*/ 688270 w 786002"/>
                <a:gd name="connsiteY227" fmla="*/ 8930 h 561696"/>
                <a:gd name="connsiteX228" fmla="*/ 684669 w 786002"/>
                <a:gd name="connsiteY228" fmla="*/ 9064 h 561696"/>
                <a:gd name="connsiteX229" fmla="*/ 678712 w 786002"/>
                <a:gd name="connsiteY229" fmla="*/ 6609 h 561696"/>
                <a:gd name="connsiteX230" fmla="*/ 676524 w 786002"/>
                <a:gd name="connsiteY230" fmla="*/ 4590 h 561696"/>
                <a:gd name="connsiteX231" fmla="*/ 673495 w 786002"/>
                <a:gd name="connsiteY231" fmla="*/ 2572 h 561696"/>
                <a:gd name="connsiteX232" fmla="*/ 670601 w 786002"/>
                <a:gd name="connsiteY232" fmla="*/ 116 h 561696"/>
                <a:gd name="connsiteX233" fmla="*/ 668582 w 786002"/>
                <a:gd name="connsiteY233" fmla="*/ 1428 h 561696"/>
                <a:gd name="connsiteX234" fmla="*/ 668010 w 786002"/>
                <a:gd name="connsiteY234" fmla="*/ 2303 h 561696"/>
                <a:gd name="connsiteX235" fmla="*/ 666697 w 786002"/>
                <a:gd name="connsiteY235" fmla="*/ 4759 h 561696"/>
                <a:gd name="connsiteX236" fmla="*/ 665519 w 786002"/>
                <a:gd name="connsiteY236" fmla="*/ 8089 h 561696"/>
                <a:gd name="connsiteX237" fmla="*/ 664813 w 786002"/>
                <a:gd name="connsiteY237" fmla="*/ 10107 h 561696"/>
                <a:gd name="connsiteX238" fmla="*/ 663063 w 786002"/>
                <a:gd name="connsiteY238" fmla="*/ 12294 h 561696"/>
                <a:gd name="connsiteX239" fmla="*/ 659865 w 786002"/>
                <a:gd name="connsiteY239" fmla="*/ 14312 h 561696"/>
                <a:gd name="connsiteX240" fmla="*/ 654077 w 786002"/>
                <a:gd name="connsiteY240" fmla="*/ 14615 h 561696"/>
                <a:gd name="connsiteX241" fmla="*/ 651889 w 786002"/>
                <a:gd name="connsiteY241" fmla="*/ 13606 h 561696"/>
                <a:gd name="connsiteX242" fmla="*/ 646538 w 786002"/>
                <a:gd name="connsiteY242" fmla="*/ 8257 h 561696"/>
                <a:gd name="connsiteX243" fmla="*/ 644519 w 786002"/>
                <a:gd name="connsiteY243" fmla="*/ 6811 h 561696"/>
                <a:gd name="connsiteX244" fmla="*/ 641322 w 786002"/>
                <a:gd name="connsiteY244" fmla="*/ 6811 h 561696"/>
                <a:gd name="connsiteX245" fmla="*/ 637687 w 786002"/>
                <a:gd name="connsiteY245" fmla="*/ 8627 h 561696"/>
                <a:gd name="connsiteX246" fmla="*/ 629711 w 786002"/>
                <a:gd name="connsiteY246" fmla="*/ 9569 h 561696"/>
                <a:gd name="connsiteX247" fmla="*/ 628836 w 786002"/>
                <a:gd name="connsiteY247" fmla="*/ 14346 h 561696"/>
                <a:gd name="connsiteX248" fmla="*/ 627389 w 786002"/>
                <a:gd name="connsiteY248" fmla="*/ 17811 h 561696"/>
                <a:gd name="connsiteX249" fmla="*/ 623922 w 786002"/>
                <a:gd name="connsiteY249" fmla="*/ 20838 h 561696"/>
                <a:gd name="connsiteX250" fmla="*/ 620288 w 786002"/>
                <a:gd name="connsiteY250" fmla="*/ 22857 h 561696"/>
                <a:gd name="connsiteX251" fmla="*/ 617965 w 786002"/>
                <a:gd name="connsiteY251" fmla="*/ 25480 h 561696"/>
                <a:gd name="connsiteX252" fmla="*/ 616081 w 786002"/>
                <a:gd name="connsiteY252" fmla="*/ 26490 h 561696"/>
                <a:gd name="connsiteX253" fmla="*/ 613893 w 786002"/>
                <a:gd name="connsiteY253" fmla="*/ 27936 h 561696"/>
                <a:gd name="connsiteX254" fmla="*/ 612143 w 786002"/>
                <a:gd name="connsiteY254" fmla="*/ 29685 h 561696"/>
                <a:gd name="connsiteX255" fmla="*/ 610561 w 786002"/>
                <a:gd name="connsiteY255" fmla="*/ 32444 h 561696"/>
                <a:gd name="connsiteX256" fmla="*/ 609686 w 786002"/>
                <a:gd name="connsiteY256" fmla="*/ 35640 h 561696"/>
                <a:gd name="connsiteX257" fmla="*/ 608239 w 786002"/>
                <a:gd name="connsiteY257" fmla="*/ 38095 h 561696"/>
                <a:gd name="connsiteX258" fmla="*/ 607364 w 786002"/>
                <a:gd name="connsiteY258" fmla="*/ 43007 h 561696"/>
                <a:gd name="connsiteX259" fmla="*/ 605648 w 786002"/>
                <a:gd name="connsiteY259" fmla="*/ 45328 h 561696"/>
                <a:gd name="connsiteX260" fmla="*/ 602451 w 786002"/>
                <a:gd name="connsiteY260" fmla="*/ 45631 h 561696"/>
                <a:gd name="connsiteX261" fmla="*/ 600566 w 786002"/>
                <a:gd name="connsiteY261" fmla="*/ 43040 h 561696"/>
                <a:gd name="connsiteX262" fmla="*/ 599388 w 786002"/>
                <a:gd name="connsiteY262" fmla="*/ 40585 h 561696"/>
                <a:gd name="connsiteX263" fmla="*/ 598076 w 786002"/>
                <a:gd name="connsiteY263" fmla="*/ 38701 h 561696"/>
                <a:gd name="connsiteX264" fmla="*/ 594609 w 786002"/>
                <a:gd name="connsiteY264" fmla="*/ 37254 h 561696"/>
                <a:gd name="connsiteX265" fmla="*/ 592724 w 786002"/>
                <a:gd name="connsiteY265" fmla="*/ 37389 h 561696"/>
                <a:gd name="connsiteX266" fmla="*/ 591580 w 786002"/>
                <a:gd name="connsiteY266" fmla="*/ 38970 h 561696"/>
                <a:gd name="connsiteX267" fmla="*/ 586061 w 786002"/>
                <a:gd name="connsiteY267" fmla="*/ 41426 h 561696"/>
                <a:gd name="connsiteX268" fmla="*/ 583604 w 786002"/>
                <a:gd name="connsiteY268" fmla="*/ 38230 h 561696"/>
                <a:gd name="connsiteX269" fmla="*/ 582729 w 786002"/>
                <a:gd name="connsiteY269" fmla="*/ 33722 h 561696"/>
                <a:gd name="connsiteX270" fmla="*/ 582729 w 786002"/>
                <a:gd name="connsiteY270" fmla="*/ 27062 h 561696"/>
                <a:gd name="connsiteX271" fmla="*/ 574181 w 786002"/>
                <a:gd name="connsiteY271" fmla="*/ 23866 h 561696"/>
                <a:gd name="connsiteX272" fmla="*/ 571859 w 786002"/>
                <a:gd name="connsiteY272" fmla="*/ 22857 h 561696"/>
                <a:gd name="connsiteX273" fmla="*/ 567080 w 786002"/>
                <a:gd name="connsiteY273" fmla="*/ 24606 h 561696"/>
                <a:gd name="connsiteX274" fmla="*/ 561863 w 786002"/>
                <a:gd name="connsiteY274" fmla="*/ 29080 h 561696"/>
                <a:gd name="connsiteX275" fmla="*/ 560281 w 786002"/>
                <a:gd name="connsiteY275" fmla="*/ 31401 h 561696"/>
                <a:gd name="connsiteX276" fmla="*/ 560281 w 786002"/>
                <a:gd name="connsiteY276" fmla="*/ 37860 h 561696"/>
                <a:gd name="connsiteX277" fmla="*/ 559272 w 786002"/>
                <a:gd name="connsiteY277" fmla="*/ 40215 h 561696"/>
                <a:gd name="connsiteX278" fmla="*/ 557690 w 786002"/>
                <a:gd name="connsiteY278" fmla="*/ 41527 h 561696"/>
                <a:gd name="connsiteX279" fmla="*/ 554055 w 786002"/>
                <a:gd name="connsiteY279" fmla="*/ 45429 h 561696"/>
                <a:gd name="connsiteX280" fmla="*/ 553483 w 786002"/>
                <a:gd name="connsiteY280" fmla="*/ 46001 h 561696"/>
                <a:gd name="connsiteX281" fmla="*/ 553887 w 786002"/>
                <a:gd name="connsiteY281" fmla="*/ 50643 h 561696"/>
                <a:gd name="connsiteX282" fmla="*/ 554156 w 786002"/>
                <a:gd name="connsiteY282" fmla="*/ 51518 h 561696"/>
                <a:gd name="connsiteX283" fmla="*/ 555334 w 786002"/>
                <a:gd name="connsiteY283" fmla="*/ 53704 h 561696"/>
                <a:gd name="connsiteX284" fmla="*/ 556007 w 786002"/>
                <a:gd name="connsiteY284" fmla="*/ 54377 h 561696"/>
                <a:gd name="connsiteX285" fmla="*/ 554459 w 786002"/>
                <a:gd name="connsiteY285" fmla="*/ 57304 h 561696"/>
                <a:gd name="connsiteX286" fmla="*/ 552272 w 786002"/>
                <a:gd name="connsiteY286" fmla="*/ 58178 h 561696"/>
                <a:gd name="connsiteX287" fmla="*/ 547190 w 786002"/>
                <a:gd name="connsiteY287" fmla="*/ 58616 h 561696"/>
                <a:gd name="connsiteX288" fmla="*/ 540829 w 786002"/>
                <a:gd name="connsiteY288" fmla="*/ 57304 h 561696"/>
                <a:gd name="connsiteX289" fmla="*/ 538069 w 786002"/>
                <a:gd name="connsiteY289" fmla="*/ 53671 h 561696"/>
                <a:gd name="connsiteX290" fmla="*/ 539954 w 786002"/>
                <a:gd name="connsiteY290" fmla="*/ 50912 h 561696"/>
                <a:gd name="connsiteX291" fmla="*/ 544868 w 786002"/>
                <a:gd name="connsiteY291" fmla="*/ 47010 h 561696"/>
                <a:gd name="connsiteX292" fmla="*/ 543993 w 786002"/>
                <a:gd name="connsiteY292" fmla="*/ 43680 h 561696"/>
                <a:gd name="connsiteX293" fmla="*/ 538473 w 786002"/>
                <a:gd name="connsiteY293" fmla="*/ 41493 h 561696"/>
                <a:gd name="connsiteX294" fmla="*/ 535848 w 786002"/>
                <a:gd name="connsiteY294" fmla="*/ 39306 h 561696"/>
                <a:gd name="connsiteX295" fmla="*/ 531507 w 786002"/>
                <a:gd name="connsiteY295" fmla="*/ 41493 h 561696"/>
                <a:gd name="connsiteX296" fmla="*/ 526997 w 786002"/>
                <a:gd name="connsiteY296" fmla="*/ 41627 h 561696"/>
                <a:gd name="connsiteX297" fmla="*/ 524540 w 786002"/>
                <a:gd name="connsiteY297" fmla="*/ 40753 h 561696"/>
                <a:gd name="connsiteX298" fmla="*/ 523665 w 786002"/>
                <a:gd name="connsiteY298" fmla="*/ 37995 h 561696"/>
                <a:gd name="connsiteX299" fmla="*/ 519189 w 786002"/>
                <a:gd name="connsiteY299" fmla="*/ 37995 h 561696"/>
                <a:gd name="connsiteX300" fmla="*/ 516598 w 786002"/>
                <a:gd name="connsiteY300" fmla="*/ 37995 h 561696"/>
                <a:gd name="connsiteX301" fmla="*/ 514276 w 786002"/>
                <a:gd name="connsiteY301" fmla="*/ 39138 h 561696"/>
                <a:gd name="connsiteX302" fmla="*/ 513973 w 786002"/>
                <a:gd name="connsiteY302" fmla="*/ 46371 h 561696"/>
                <a:gd name="connsiteX303" fmla="*/ 511785 w 786002"/>
                <a:gd name="connsiteY303" fmla="*/ 49129 h 561696"/>
                <a:gd name="connsiteX304" fmla="*/ 508891 w 786002"/>
                <a:gd name="connsiteY304" fmla="*/ 52325 h 561696"/>
                <a:gd name="connsiteX305" fmla="*/ 506737 w 786002"/>
                <a:gd name="connsiteY305" fmla="*/ 55790 h 561696"/>
                <a:gd name="connsiteX306" fmla="*/ 505593 w 786002"/>
                <a:gd name="connsiteY306" fmla="*/ 58986 h 561696"/>
                <a:gd name="connsiteX307" fmla="*/ 505021 w 786002"/>
                <a:gd name="connsiteY307" fmla="*/ 60869 h 561696"/>
                <a:gd name="connsiteX308" fmla="*/ 502698 w 786002"/>
                <a:gd name="connsiteY308" fmla="*/ 62181 h 561696"/>
                <a:gd name="connsiteX309" fmla="*/ 501386 w 786002"/>
                <a:gd name="connsiteY309" fmla="*/ 64065 h 561696"/>
                <a:gd name="connsiteX310" fmla="*/ 501689 w 786002"/>
                <a:gd name="connsiteY310" fmla="*/ 64940 h 561696"/>
                <a:gd name="connsiteX311" fmla="*/ 503439 w 786002"/>
                <a:gd name="connsiteY311" fmla="*/ 66958 h 561696"/>
                <a:gd name="connsiteX312" fmla="*/ 503574 w 786002"/>
                <a:gd name="connsiteY312" fmla="*/ 67967 h 561696"/>
                <a:gd name="connsiteX313" fmla="*/ 503708 w 786002"/>
                <a:gd name="connsiteY313" fmla="*/ 70154 h 561696"/>
                <a:gd name="connsiteX314" fmla="*/ 502698 w 786002"/>
                <a:gd name="connsiteY314" fmla="*/ 70591 h 561696"/>
                <a:gd name="connsiteX315" fmla="*/ 501386 w 786002"/>
                <a:gd name="connsiteY315" fmla="*/ 73350 h 561696"/>
                <a:gd name="connsiteX316" fmla="*/ 498357 w 786002"/>
                <a:gd name="connsiteY316" fmla="*/ 73787 h 561696"/>
                <a:gd name="connsiteX317" fmla="*/ 494722 w 786002"/>
                <a:gd name="connsiteY317" fmla="*/ 73215 h 561696"/>
                <a:gd name="connsiteX318" fmla="*/ 491088 w 786002"/>
                <a:gd name="connsiteY318" fmla="*/ 72778 h 561696"/>
                <a:gd name="connsiteX319" fmla="*/ 488765 w 786002"/>
                <a:gd name="connsiteY319" fmla="*/ 72038 h 561696"/>
                <a:gd name="connsiteX320" fmla="*/ 486881 w 786002"/>
                <a:gd name="connsiteY320" fmla="*/ 71028 h 561696"/>
                <a:gd name="connsiteX321" fmla="*/ 484996 w 786002"/>
                <a:gd name="connsiteY321" fmla="*/ 69145 h 561696"/>
                <a:gd name="connsiteX322" fmla="*/ 482809 w 786002"/>
                <a:gd name="connsiteY322" fmla="*/ 66386 h 561696"/>
                <a:gd name="connsiteX323" fmla="*/ 482102 w 786002"/>
                <a:gd name="connsiteY323" fmla="*/ 64940 h 561696"/>
                <a:gd name="connsiteX324" fmla="*/ 480924 w 786002"/>
                <a:gd name="connsiteY324" fmla="*/ 64065 h 561696"/>
                <a:gd name="connsiteX325" fmla="*/ 478770 w 786002"/>
                <a:gd name="connsiteY325" fmla="*/ 64065 h 561696"/>
                <a:gd name="connsiteX326" fmla="*/ 476717 w 786002"/>
                <a:gd name="connsiteY326" fmla="*/ 64637 h 561696"/>
                <a:gd name="connsiteX327" fmla="*/ 475135 w 786002"/>
                <a:gd name="connsiteY327" fmla="*/ 65512 h 561696"/>
                <a:gd name="connsiteX328" fmla="*/ 472376 w 786002"/>
                <a:gd name="connsiteY328" fmla="*/ 67261 h 561696"/>
                <a:gd name="connsiteX329" fmla="*/ 470929 w 786002"/>
                <a:gd name="connsiteY329" fmla="*/ 68136 h 561696"/>
                <a:gd name="connsiteX330" fmla="*/ 466587 w 786002"/>
                <a:gd name="connsiteY330" fmla="*/ 70457 h 561696"/>
                <a:gd name="connsiteX331" fmla="*/ 464433 w 786002"/>
                <a:gd name="connsiteY331" fmla="*/ 71769 h 561696"/>
                <a:gd name="connsiteX332" fmla="*/ 462851 w 786002"/>
                <a:gd name="connsiteY332" fmla="*/ 72778 h 561696"/>
                <a:gd name="connsiteX333" fmla="*/ 461404 w 786002"/>
                <a:gd name="connsiteY333" fmla="*/ 74090 h 561696"/>
                <a:gd name="connsiteX334" fmla="*/ 459957 w 786002"/>
                <a:gd name="connsiteY334" fmla="*/ 75402 h 561696"/>
                <a:gd name="connsiteX335" fmla="*/ 459217 w 786002"/>
                <a:gd name="connsiteY335" fmla="*/ 77151 h 561696"/>
                <a:gd name="connsiteX336" fmla="*/ 459217 w 786002"/>
                <a:gd name="connsiteY336" fmla="*/ 78463 h 561696"/>
                <a:gd name="connsiteX337" fmla="*/ 461034 w 786002"/>
                <a:gd name="connsiteY337" fmla="*/ 79035 h 561696"/>
                <a:gd name="connsiteX338" fmla="*/ 462986 w 786002"/>
                <a:gd name="connsiteY338" fmla="*/ 78732 h 561696"/>
                <a:gd name="connsiteX339" fmla="*/ 466621 w 786002"/>
                <a:gd name="connsiteY339" fmla="*/ 77857 h 561696"/>
                <a:gd name="connsiteX340" fmla="*/ 470828 w 786002"/>
                <a:gd name="connsiteY340" fmla="*/ 78867 h 561696"/>
                <a:gd name="connsiteX341" fmla="*/ 471703 w 786002"/>
                <a:gd name="connsiteY341" fmla="*/ 81457 h 561696"/>
                <a:gd name="connsiteX342" fmla="*/ 471837 w 786002"/>
                <a:gd name="connsiteY342" fmla="*/ 84484 h 561696"/>
                <a:gd name="connsiteX343" fmla="*/ 470659 w 786002"/>
                <a:gd name="connsiteY343" fmla="*/ 88689 h 561696"/>
                <a:gd name="connsiteX344" fmla="*/ 468909 w 786002"/>
                <a:gd name="connsiteY344" fmla="*/ 91717 h 561696"/>
                <a:gd name="connsiteX345" fmla="*/ 467765 w 786002"/>
                <a:gd name="connsiteY345" fmla="*/ 92289 h 561696"/>
                <a:gd name="connsiteX346" fmla="*/ 463861 w 786002"/>
                <a:gd name="connsiteY346" fmla="*/ 96494 h 561696"/>
                <a:gd name="connsiteX347" fmla="*/ 458510 w 786002"/>
                <a:gd name="connsiteY347" fmla="*/ 96931 h 561696"/>
                <a:gd name="connsiteX348" fmla="*/ 454034 w 786002"/>
                <a:gd name="connsiteY348" fmla="*/ 96797 h 561696"/>
                <a:gd name="connsiteX349" fmla="*/ 449390 w 786002"/>
                <a:gd name="connsiteY349" fmla="*/ 92322 h 561696"/>
                <a:gd name="connsiteX350" fmla="*/ 449524 w 786002"/>
                <a:gd name="connsiteY350" fmla="*/ 88252 h 561696"/>
                <a:gd name="connsiteX351" fmla="*/ 448212 w 786002"/>
                <a:gd name="connsiteY351" fmla="*/ 85796 h 561696"/>
                <a:gd name="connsiteX352" fmla="*/ 445317 w 786002"/>
                <a:gd name="connsiteY352" fmla="*/ 84484 h 561696"/>
                <a:gd name="connsiteX353" fmla="*/ 443433 w 786002"/>
                <a:gd name="connsiteY353" fmla="*/ 85359 h 561696"/>
                <a:gd name="connsiteX354" fmla="*/ 442120 w 786002"/>
                <a:gd name="connsiteY354" fmla="*/ 86099 h 561696"/>
                <a:gd name="connsiteX355" fmla="*/ 436769 w 786002"/>
                <a:gd name="connsiteY355" fmla="*/ 92020 h 561696"/>
                <a:gd name="connsiteX356" fmla="*/ 436635 w 786002"/>
                <a:gd name="connsiteY356" fmla="*/ 95922 h 561696"/>
                <a:gd name="connsiteX357" fmla="*/ 433875 w 786002"/>
                <a:gd name="connsiteY357" fmla="*/ 98243 h 561696"/>
                <a:gd name="connsiteX358" fmla="*/ 431687 w 786002"/>
                <a:gd name="connsiteY358" fmla="*/ 100261 h 561696"/>
                <a:gd name="connsiteX359" fmla="*/ 429937 w 786002"/>
                <a:gd name="connsiteY359" fmla="*/ 102448 h 561696"/>
                <a:gd name="connsiteX360" fmla="*/ 429634 w 786002"/>
                <a:gd name="connsiteY360" fmla="*/ 106653 h 561696"/>
                <a:gd name="connsiteX361" fmla="*/ 429634 w 786002"/>
                <a:gd name="connsiteY361" fmla="*/ 109714 h 561696"/>
                <a:gd name="connsiteX362" fmla="*/ 429769 w 786002"/>
                <a:gd name="connsiteY362" fmla="*/ 112035 h 561696"/>
                <a:gd name="connsiteX363" fmla="*/ 429197 w 786002"/>
                <a:gd name="connsiteY363" fmla="*/ 115803 h 561696"/>
                <a:gd name="connsiteX364" fmla="*/ 428322 w 786002"/>
                <a:gd name="connsiteY364" fmla="*/ 118427 h 561696"/>
                <a:gd name="connsiteX365" fmla="*/ 425562 w 786002"/>
                <a:gd name="connsiteY365" fmla="*/ 118999 h 561696"/>
                <a:gd name="connsiteX366" fmla="*/ 424250 w 786002"/>
                <a:gd name="connsiteY366" fmla="*/ 118427 h 561696"/>
                <a:gd name="connsiteX367" fmla="*/ 421793 w 786002"/>
                <a:gd name="connsiteY367" fmla="*/ 114659 h 561696"/>
                <a:gd name="connsiteX368" fmla="*/ 420783 w 786002"/>
                <a:gd name="connsiteY368" fmla="*/ 111463 h 561696"/>
                <a:gd name="connsiteX369" fmla="*/ 417149 w 786002"/>
                <a:gd name="connsiteY369" fmla="*/ 109580 h 561696"/>
                <a:gd name="connsiteX370" fmla="*/ 414389 w 786002"/>
                <a:gd name="connsiteY370" fmla="*/ 106821 h 561696"/>
                <a:gd name="connsiteX371" fmla="*/ 408735 w 786002"/>
                <a:gd name="connsiteY371" fmla="*/ 102919 h 561696"/>
                <a:gd name="connsiteX372" fmla="*/ 403216 w 786002"/>
                <a:gd name="connsiteY372" fmla="*/ 99017 h 561696"/>
                <a:gd name="connsiteX373" fmla="*/ 398302 w 786002"/>
                <a:gd name="connsiteY373" fmla="*/ 96258 h 561696"/>
                <a:gd name="connsiteX374" fmla="*/ 390898 w 786002"/>
                <a:gd name="connsiteY374" fmla="*/ 99454 h 561696"/>
                <a:gd name="connsiteX375" fmla="*/ 385681 w 786002"/>
                <a:gd name="connsiteY375" fmla="*/ 103962 h 561696"/>
                <a:gd name="connsiteX376" fmla="*/ 382484 w 786002"/>
                <a:gd name="connsiteY376" fmla="*/ 108739 h 561696"/>
                <a:gd name="connsiteX377" fmla="*/ 381172 w 786002"/>
                <a:gd name="connsiteY377" fmla="*/ 110925 h 561696"/>
                <a:gd name="connsiteX378" fmla="*/ 379994 w 786002"/>
                <a:gd name="connsiteY378" fmla="*/ 116005 h 561696"/>
                <a:gd name="connsiteX379" fmla="*/ 380129 w 786002"/>
                <a:gd name="connsiteY379" fmla="*/ 119772 h 561696"/>
                <a:gd name="connsiteX380" fmla="*/ 381138 w 786002"/>
                <a:gd name="connsiteY380" fmla="*/ 124280 h 561696"/>
                <a:gd name="connsiteX381" fmla="*/ 380263 w 786002"/>
                <a:gd name="connsiteY381" fmla="*/ 127913 h 561696"/>
                <a:gd name="connsiteX382" fmla="*/ 376359 w 786002"/>
                <a:gd name="connsiteY382" fmla="*/ 131378 h 561696"/>
                <a:gd name="connsiteX383" fmla="*/ 373027 w 786002"/>
                <a:gd name="connsiteY383" fmla="*/ 134574 h 561696"/>
                <a:gd name="connsiteX384" fmla="*/ 367373 w 786002"/>
                <a:gd name="connsiteY384" fmla="*/ 136458 h 561696"/>
                <a:gd name="connsiteX385" fmla="*/ 361585 w 786002"/>
                <a:gd name="connsiteY385" fmla="*/ 137198 h 561696"/>
                <a:gd name="connsiteX386" fmla="*/ 354921 w 786002"/>
                <a:gd name="connsiteY386" fmla="*/ 138510 h 561696"/>
                <a:gd name="connsiteX387" fmla="*/ 351455 w 786002"/>
                <a:gd name="connsiteY387" fmla="*/ 139216 h 561696"/>
                <a:gd name="connsiteX388" fmla="*/ 348258 w 786002"/>
                <a:gd name="connsiteY388" fmla="*/ 138644 h 561696"/>
                <a:gd name="connsiteX389" fmla="*/ 343613 w 786002"/>
                <a:gd name="connsiteY389" fmla="*/ 137063 h 561696"/>
                <a:gd name="connsiteX390" fmla="*/ 340281 w 786002"/>
                <a:gd name="connsiteY390" fmla="*/ 135751 h 561696"/>
                <a:gd name="connsiteX391" fmla="*/ 337690 w 786002"/>
                <a:gd name="connsiteY391" fmla="*/ 131849 h 561696"/>
                <a:gd name="connsiteX392" fmla="*/ 336108 w 786002"/>
                <a:gd name="connsiteY392" fmla="*/ 128216 h 561696"/>
                <a:gd name="connsiteX393" fmla="*/ 335233 w 786002"/>
                <a:gd name="connsiteY393" fmla="*/ 124314 h 561696"/>
                <a:gd name="connsiteX394" fmla="*/ 329579 w 786002"/>
                <a:gd name="connsiteY394" fmla="*/ 121993 h 561696"/>
                <a:gd name="connsiteX395" fmla="*/ 328132 w 786002"/>
                <a:gd name="connsiteY395" fmla="*/ 122867 h 561696"/>
                <a:gd name="connsiteX396" fmla="*/ 325541 w 786002"/>
                <a:gd name="connsiteY396" fmla="*/ 125626 h 561696"/>
                <a:gd name="connsiteX397" fmla="*/ 321637 w 786002"/>
                <a:gd name="connsiteY397" fmla="*/ 127644 h 561696"/>
                <a:gd name="connsiteX398" fmla="*/ 318743 w 786002"/>
                <a:gd name="connsiteY398" fmla="*/ 128081 h 561696"/>
                <a:gd name="connsiteX399" fmla="*/ 315108 w 786002"/>
                <a:gd name="connsiteY399" fmla="*/ 128519 h 561696"/>
                <a:gd name="connsiteX400" fmla="*/ 311473 w 786002"/>
                <a:gd name="connsiteY400" fmla="*/ 127644 h 561696"/>
                <a:gd name="connsiteX401" fmla="*/ 308579 w 786002"/>
                <a:gd name="connsiteY401" fmla="*/ 122733 h 561696"/>
                <a:gd name="connsiteX402" fmla="*/ 308713 w 786002"/>
                <a:gd name="connsiteY402" fmla="*/ 116779 h 561696"/>
                <a:gd name="connsiteX403" fmla="*/ 301747 w 786002"/>
                <a:gd name="connsiteY403" fmla="*/ 111127 h 561696"/>
                <a:gd name="connsiteX404" fmla="*/ 300569 w 786002"/>
                <a:gd name="connsiteY404" fmla="*/ 105038 h 561696"/>
                <a:gd name="connsiteX405" fmla="*/ 298112 w 786002"/>
                <a:gd name="connsiteY405" fmla="*/ 99118 h 561696"/>
                <a:gd name="connsiteX406" fmla="*/ 293199 w 786002"/>
                <a:gd name="connsiteY406" fmla="*/ 93769 h 561696"/>
                <a:gd name="connsiteX407" fmla="*/ 289732 w 786002"/>
                <a:gd name="connsiteY407" fmla="*/ 90001 h 561696"/>
                <a:gd name="connsiteX408" fmla="*/ 287107 w 786002"/>
                <a:gd name="connsiteY408" fmla="*/ 89261 h 561696"/>
                <a:gd name="connsiteX409" fmla="*/ 280578 w 786002"/>
                <a:gd name="connsiteY409" fmla="*/ 89261 h 561696"/>
                <a:gd name="connsiteX410" fmla="*/ 273612 w 786002"/>
                <a:gd name="connsiteY410" fmla="*/ 92020 h 561696"/>
                <a:gd name="connsiteX411" fmla="*/ 268698 w 786002"/>
                <a:gd name="connsiteY411" fmla="*/ 95350 h 561696"/>
                <a:gd name="connsiteX412" fmla="*/ 266073 w 786002"/>
                <a:gd name="connsiteY412" fmla="*/ 98680 h 561696"/>
                <a:gd name="connsiteX413" fmla="*/ 261563 w 786002"/>
                <a:gd name="connsiteY413" fmla="*/ 102145 h 561696"/>
                <a:gd name="connsiteX414" fmla="*/ 260823 w 786002"/>
                <a:gd name="connsiteY414" fmla="*/ 106485 h 561696"/>
                <a:gd name="connsiteX415" fmla="*/ 262573 w 786002"/>
                <a:gd name="connsiteY415" fmla="*/ 110824 h 561696"/>
                <a:gd name="connsiteX416" fmla="*/ 263885 w 786002"/>
                <a:gd name="connsiteY416" fmla="*/ 113583 h 561696"/>
                <a:gd name="connsiteX417" fmla="*/ 264020 w 786002"/>
                <a:gd name="connsiteY417" fmla="*/ 118057 h 561696"/>
                <a:gd name="connsiteX418" fmla="*/ 263583 w 786002"/>
                <a:gd name="connsiteY418" fmla="*/ 122396 h 561696"/>
                <a:gd name="connsiteX419" fmla="*/ 261261 w 786002"/>
                <a:gd name="connsiteY419" fmla="*/ 125424 h 561696"/>
                <a:gd name="connsiteX420" fmla="*/ 256044 w 786002"/>
                <a:gd name="connsiteY420" fmla="*/ 130504 h 561696"/>
                <a:gd name="connsiteX421" fmla="*/ 254597 w 786002"/>
                <a:gd name="connsiteY421" fmla="*/ 131244 h 561696"/>
                <a:gd name="connsiteX422" fmla="*/ 252140 w 786002"/>
                <a:gd name="connsiteY422" fmla="*/ 133262 h 561696"/>
                <a:gd name="connsiteX423" fmla="*/ 243592 w 786002"/>
                <a:gd name="connsiteY423" fmla="*/ 134002 h 561696"/>
                <a:gd name="connsiteX424" fmla="*/ 235481 w 786002"/>
                <a:gd name="connsiteY424" fmla="*/ 135146 h 561696"/>
                <a:gd name="connsiteX425" fmla="*/ 231274 w 786002"/>
                <a:gd name="connsiteY425" fmla="*/ 135146 h 561696"/>
                <a:gd name="connsiteX426" fmla="*/ 228952 w 786002"/>
                <a:gd name="connsiteY426" fmla="*/ 136895 h 561696"/>
                <a:gd name="connsiteX427" fmla="*/ 223298 w 786002"/>
                <a:gd name="connsiteY427" fmla="*/ 140663 h 561696"/>
                <a:gd name="connsiteX428" fmla="*/ 219966 w 786002"/>
                <a:gd name="connsiteY428" fmla="*/ 142546 h 561696"/>
                <a:gd name="connsiteX429" fmla="*/ 217375 w 786002"/>
                <a:gd name="connsiteY429" fmla="*/ 143556 h 561696"/>
                <a:gd name="connsiteX430" fmla="*/ 212731 w 786002"/>
                <a:gd name="connsiteY430" fmla="*/ 145305 h 561696"/>
                <a:gd name="connsiteX431" fmla="*/ 206639 w 786002"/>
                <a:gd name="connsiteY431" fmla="*/ 148770 h 561696"/>
                <a:gd name="connsiteX432" fmla="*/ 204317 w 786002"/>
                <a:gd name="connsiteY432" fmla="*/ 150216 h 561696"/>
                <a:gd name="connsiteX433" fmla="*/ 201995 w 786002"/>
                <a:gd name="connsiteY433" fmla="*/ 152672 h 561696"/>
                <a:gd name="connsiteX434" fmla="*/ 198528 w 786002"/>
                <a:gd name="connsiteY434" fmla="*/ 155128 h 561696"/>
                <a:gd name="connsiteX435" fmla="*/ 187086 w 786002"/>
                <a:gd name="connsiteY435" fmla="*/ 155430 h 561696"/>
                <a:gd name="connsiteX436" fmla="*/ 182307 w 786002"/>
                <a:gd name="connsiteY436" fmla="*/ 156002 h 561696"/>
                <a:gd name="connsiteX437" fmla="*/ 179985 w 786002"/>
                <a:gd name="connsiteY437" fmla="*/ 157449 h 561696"/>
                <a:gd name="connsiteX438" fmla="*/ 178538 w 786002"/>
                <a:gd name="connsiteY438" fmla="*/ 161217 h 561696"/>
                <a:gd name="connsiteX439" fmla="*/ 179985 w 786002"/>
                <a:gd name="connsiteY439" fmla="*/ 162663 h 561696"/>
                <a:gd name="connsiteX440" fmla="*/ 183889 w 786002"/>
                <a:gd name="connsiteY440" fmla="*/ 166868 h 561696"/>
                <a:gd name="connsiteX441" fmla="*/ 185201 w 786002"/>
                <a:gd name="connsiteY441" fmla="*/ 172385 h 561696"/>
                <a:gd name="connsiteX442" fmla="*/ 181163 w 786002"/>
                <a:gd name="connsiteY442" fmla="*/ 174841 h 561696"/>
                <a:gd name="connsiteX443" fmla="*/ 177662 w 786002"/>
                <a:gd name="connsiteY443" fmla="*/ 182241 h 561696"/>
                <a:gd name="connsiteX444" fmla="*/ 175340 w 786002"/>
                <a:gd name="connsiteY444" fmla="*/ 185000 h 561696"/>
                <a:gd name="connsiteX445" fmla="*/ 170124 w 786002"/>
                <a:gd name="connsiteY445" fmla="*/ 192535 h 561696"/>
                <a:gd name="connsiteX446" fmla="*/ 164907 w 786002"/>
                <a:gd name="connsiteY446" fmla="*/ 193982 h 561696"/>
                <a:gd name="connsiteX447" fmla="*/ 160398 w 786002"/>
                <a:gd name="connsiteY447" fmla="*/ 193107 h 561696"/>
                <a:gd name="connsiteX448" fmla="*/ 156628 w 786002"/>
                <a:gd name="connsiteY448" fmla="*/ 191223 h 561696"/>
                <a:gd name="connsiteX449" fmla="*/ 155181 w 786002"/>
                <a:gd name="connsiteY449" fmla="*/ 187758 h 561696"/>
                <a:gd name="connsiteX450" fmla="*/ 152994 w 786002"/>
                <a:gd name="connsiteY450" fmla="*/ 183116 h 561696"/>
                <a:gd name="connsiteX451" fmla="*/ 150974 w 786002"/>
                <a:gd name="connsiteY451" fmla="*/ 182981 h 561696"/>
                <a:gd name="connsiteX452" fmla="*/ 148080 w 786002"/>
                <a:gd name="connsiteY452" fmla="*/ 183553 h 561696"/>
                <a:gd name="connsiteX453" fmla="*/ 143301 w 786002"/>
                <a:gd name="connsiteY453" fmla="*/ 184428 h 561696"/>
                <a:gd name="connsiteX454" fmla="*/ 138219 w 786002"/>
                <a:gd name="connsiteY454" fmla="*/ 184125 h 561696"/>
                <a:gd name="connsiteX455" fmla="*/ 137075 w 786002"/>
                <a:gd name="connsiteY455" fmla="*/ 182678 h 561696"/>
                <a:gd name="connsiteX456" fmla="*/ 135190 w 786002"/>
                <a:gd name="connsiteY456" fmla="*/ 180088 h 561696"/>
                <a:gd name="connsiteX457" fmla="*/ 133878 w 786002"/>
                <a:gd name="connsiteY457" fmla="*/ 179214 h 561696"/>
                <a:gd name="connsiteX458" fmla="*/ 127786 w 786002"/>
                <a:gd name="connsiteY458" fmla="*/ 175143 h 561696"/>
                <a:gd name="connsiteX459" fmla="*/ 125902 w 786002"/>
                <a:gd name="connsiteY459" fmla="*/ 174269 h 561696"/>
                <a:gd name="connsiteX460" fmla="*/ 121695 w 786002"/>
                <a:gd name="connsiteY460" fmla="*/ 174000 h 561696"/>
                <a:gd name="connsiteX461" fmla="*/ 115906 w 786002"/>
                <a:gd name="connsiteY461" fmla="*/ 172990 h 561696"/>
                <a:gd name="connsiteX462" fmla="*/ 111868 w 786002"/>
                <a:gd name="connsiteY462" fmla="*/ 170232 h 561696"/>
                <a:gd name="connsiteX463" fmla="*/ 109849 w 786002"/>
                <a:gd name="connsiteY463" fmla="*/ 167911 h 561696"/>
                <a:gd name="connsiteX464" fmla="*/ 106820 w 786002"/>
                <a:gd name="connsiteY464" fmla="*/ 164278 h 561696"/>
                <a:gd name="connsiteX465" fmla="*/ 105238 w 786002"/>
                <a:gd name="connsiteY465" fmla="*/ 161519 h 561696"/>
                <a:gd name="connsiteX466" fmla="*/ 104800 w 786002"/>
                <a:gd name="connsiteY466" fmla="*/ 157886 h 561696"/>
                <a:gd name="connsiteX467" fmla="*/ 105507 w 786002"/>
                <a:gd name="connsiteY467" fmla="*/ 156742 h 561696"/>
                <a:gd name="connsiteX468" fmla="*/ 106820 w 786002"/>
                <a:gd name="connsiteY468" fmla="*/ 154118 h 561696"/>
                <a:gd name="connsiteX469" fmla="*/ 105238 w 786002"/>
                <a:gd name="connsiteY469" fmla="*/ 152672 h 561696"/>
                <a:gd name="connsiteX470" fmla="*/ 100762 w 786002"/>
                <a:gd name="connsiteY470" fmla="*/ 152975 h 561696"/>
                <a:gd name="connsiteX471" fmla="*/ 98574 w 786002"/>
                <a:gd name="connsiteY471" fmla="*/ 154118 h 561696"/>
                <a:gd name="connsiteX472" fmla="*/ 93795 w 786002"/>
                <a:gd name="connsiteY472" fmla="*/ 155868 h 561696"/>
                <a:gd name="connsiteX473" fmla="*/ 88579 w 786002"/>
                <a:gd name="connsiteY473" fmla="*/ 156002 h 561696"/>
                <a:gd name="connsiteX474" fmla="*/ 84810 w 786002"/>
                <a:gd name="connsiteY474" fmla="*/ 154993 h 561696"/>
                <a:gd name="connsiteX475" fmla="*/ 84675 w 786002"/>
                <a:gd name="connsiteY475" fmla="*/ 152235 h 561696"/>
                <a:gd name="connsiteX476" fmla="*/ 84810 w 786002"/>
                <a:gd name="connsiteY476" fmla="*/ 149207 h 561696"/>
                <a:gd name="connsiteX477" fmla="*/ 84237 w 786002"/>
                <a:gd name="connsiteY477" fmla="*/ 145742 h 561696"/>
                <a:gd name="connsiteX478" fmla="*/ 81781 w 786002"/>
                <a:gd name="connsiteY478" fmla="*/ 143152 h 561696"/>
                <a:gd name="connsiteX479" fmla="*/ 78583 w 786002"/>
                <a:gd name="connsiteY479" fmla="*/ 141403 h 561696"/>
                <a:gd name="connsiteX480" fmla="*/ 77439 w 786002"/>
                <a:gd name="connsiteY480" fmla="*/ 142546 h 561696"/>
                <a:gd name="connsiteX481" fmla="*/ 72795 w 786002"/>
                <a:gd name="connsiteY481" fmla="*/ 146449 h 561696"/>
                <a:gd name="connsiteX482" fmla="*/ 69901 w 786002"/>
                <a:gd name="connsiteY482" fmla="*/ 148333 h 561696"/>
                <a:gd name="connsiteX483" fmla="*/ 67309 w 786002"/>
                <a:gd name="connsiteY483" fmla="*/ 150351 h 561696"/>
                <a:gd name="connsiteX484" fmla="*/ 61083 w 786002"/>
                <a:gd name="connsiteY484" fmla="*/ 152369 h 561696"/>
                <a:gd name="connsiteX485" fmla="*/ 59064 w 786002"/>
                <a:gd name="connsiteY485" fmla="*/ 153378 h 561696"/>
                <a:gd name="connsiteX486" fmla="*/ 60208 w 786002"/>
                <a:gd name="connsiteY486" fmla="*/ 155700 h 561696"/>
                <a:gd name="connsiteX487" fmla="*/ 62362 w 786002"/>
                <a:gd name="connsiteY487" fmla="*/ 157449 h 561696"/>
                <a:gd name="connsiteX488" fmla="*/ 62665 w 786002"/>
                <a:gd name="connsiteY488" fmla="*/ 158155 h 561696"/>
                <a:gd name="connsiteX489" fmla="*/ 59905 w 786002"/>
                <a:gd name="connsiteY489" fmla="*/ 161923 h 561696"/>
                <a:gd name="connsiteX490" fmla="*/ 51794 w 786002"/>
                <a:gd name="connsiteY490" fmla="*/ 169895 h 561696"/>
                <a:gd name="connsiteX491" fmla="*/ 50482 w 786002"/>
                <a:gd name="connsiteY491" fmla="*/ 171577 h 561696"/>
                <a:gd name="connsiteX492" fmla="*/ 47722 w 786002"/>
                <a:gd name="connsiteY492" fmla="*/ 173831 h 561696"/>
                <a:gd name="connsiteX493" fmla="*/ 46477 w 786002"/>
                <a:gd name="connsiteY493" fmla="*/ 175211 h 561696"/>
                <a:gd name="connsiteX494" fmla="*/ 45232 w 786002"/>
                <a:gd name="connsiteY494" fmla="*/ 177229 h 561696"/>
                <a:gd name="connsiteX495" fmla="*/ 44491 w 786002"/>
                <a:gd name="connsiteY495" fmla="*/ 179415 h 561696"/>
                <a:gd name="connsiteX496" fmla="*/ 43785 w 786002"/>
                <a:gd name="connsiteY496" fmla="*/ 183049 h 561696"/>
                <a:gd name="connsiteX497" fmla="*/ 42640 w 786002"/>
                <a:gd name="connsiteY497" fmla="*/ 184125 h 561696"/>
                <a:gd name="connsiteX498" fmla="*/ 40015 w 786002"/>
                <a:gd name="connsiteY498" fmla="*/ 184125 h 561696"/>
                <a:gd name="connsiteX499" fmla="*/ 37323 w 786002"/>
                <a:gd name="connsiteY499" fmla="*/ 184293 h 561696"/>
                <a:gd name="connsiteX500" fmla="*/ 34630 w 786002"/>
                <a:gd name="connsiteY500" fmla="*/ 184630 h 561696"/>
                <a:gd name="connsiteX501" fmla="*/ 30861 w 786002"/>
                <a:gd name="connsiteY501" fmla="*/ 186076 h 561696"/>
                <a:gd name="connsiteX502" fmla="*/ 27529 w 786002"/>
                <a:gd name="connsiteY502" fmla="*/ 188162 h 561696"/>
                <a:gd name="connsiteX503" fmla="*/ 24770 w 786002"/>
                <a:gd name="connsiteY503" fmla="*/ 188801 h 561696"/>
                <a:gd name="connsiteX504" fmla="*/ 23525 w 786002"/>
                <a:gd name="connsiteY504" fmla="*/ 188734 h 561696"/>
                <a:gd name="connsiteX505" fmla="*/ 20327 w 786002"/>
                <a:gd name="connsiteY505" fmla="*/ 185841 h 561696"/>
                <a:gd name="connsiteX506" fmla="*/ 17702 w 786002"/>
                <a:gd name="connsiteY506" fmla="*/ 183452 h 561696"/>
                <a:gd name="connsiteX507" fmla="*/ 14303 w 786002"/>
                <a:gd name="connsiteY507" fmla="*/ 179113 h 561696"/>
                <a:gd name="connsiteX508" fmla="*/ 12351 w 786002"/>
                <a:gd name="connsiteY508" fmla="*/ 176926 h 561696"/>
                <a:gd name="connsiteX509" fmla="*/ 10197 w 786002"/>
                <a:gd name="connsiteY509" fmla="*/ 175850 h 561696"/>
                <a:gd name="connsiteX510" fmla="*/ 6058 w 786002"/>
                <a:gd name="connsiteY510" fmla="*/ 177431 h 561696"/>
                <a:gd name="connsiteX511" fmla="*/ 4745 w 786002"/>
                <a:gd name="connsiteY511" fmla="*/ 178440 h 561696"/>
                <a:gd name="connsiteX512" fmla="*/ 2423 w 786002"/>
                <a:gd name="connsiteY512" fmla="*/ 179886 h 561696"/>
                <a:gd name="connsiteX513" fmla="*/ 1716 w 786002"/>
                <a:gd name="connsiteY513" fmla="*/ 181467 h 561696"/>
                <a:gd name="connsiteX514" fmla="*/ 1716 w 786002"/>
                <a:gd name="connsiteY514" fmla="*/ 184663 h 561696"/>
                <a:gd name="connsiteX515" fmla="*/ 639 w 786002"/>
                <a:gd name="connsiteY515" fmla="*/ 187254 h 561696"/>
                <a:gd name="connsiteX516" fmla="*/ 0 w 786002"/>
                <a:gd name="connsiteY516" fmla="*/ 190147 h 561696"/>
                <a:gd name="connsiteX517" fmla="*/ 0 w 786002"/>
                <a:gd name="connsiteY517" fmla="*/ 192165 h 561696"/>
                <a:gd name="connsiteX518" fmla="*/ 1750 w 786002"/>
                <a:gd name="connsiteY518" fmla="*/ 193611 h 561696"/>
                <a:gd name="connsiteX519" fmla="*/ 1750 w 786002"/>
                <a:gd name="connsiteY519" fmla="*/ 195495 h 561696"/>
                <a:gd name="connsiteX520" fmla="*/ 3500 w 786002"/>
                <a:gd name="connsiteY520" fmla="*/ 198691 h 561696"/>
                <a:gd name="connsiteX521" fmla="*/ 2322 w 786002"/>
                <a:gd name="connsiteY521" fmla="*/ 201584 h 561696"/>
                <a:gd name="connsiteX522" fmla="*/ 3500 w 786002"/>
                <a:gd name="connsiteY522" fmla="*/ 205486 h 561696"/>
                <a:gd name="connsiteX523" fmla="*/ 5688 w 786002"/>
                <a:gd name="connsiteY523" fmla="*/ 209119 h 561696"/>
                <a:gd name="connsiteX524" fmla="*/ 7707 w 786002"/>
                <a:gd name="connsiteY524" fmla="*/ 211743 h 561696"/>
                <a:gd name="connsiteX525" fmla="*/ 10904 w 786002"/>
                <a:gd name="connsiteY525" fmla="*/ 214199 h 561696"/>
                <a:gd name="connsiteX526" fmla="*/ 14539 w 786002"/>
                <a:gd name="connsiteY526" fmla="*/ 217664 h 561696"/>
                <a:gd name="connsiteX527" fmla="*/ 16693 w 786002"/>
                <a:gd name="connsiteY527" fmla="*/ 222306 h 561696"/>
                <a:gd name="connsiteX528" fmla="*/ 22649 w 786002"/>
                <a:gd name="connsiteY528" fmla="*/ 223181 h 561696"/>
                <a:gd name="connsiteX529" fmla="*/ 22649 w 786002"/>
                <a:gd name="connsiteY529" fmla="*/ 215780 h 561696"/>
                <a:gd name="connsiteX530" fmla="*/ 23726 w 786002"/>
                <a:gd name="connsiteY530" fmla="*/ 211709 h 561696"/>
                <a:gd name="connsiteX531" fmla="*/ 27698 w 786002"/>
                <a:gd name="connsiteY531" fmla="*/ 208951 h 561696"/>
                <a:gd name="connsiteX532" fmla="*/ 31770 w 786002"/>
                <a:gd name="connsiteY532" fmla="*/ 208379 h 561696"/>
                <a:gd name="connsiteX533" fmla="*/ 35102 w 786002"/>
                <a:gd name="connsiteY533" fmla="*/ 208379 h 561696"/>
                <a:gd name="connsiteX534" fmla="*/ 37727 w 786002"/>
                <a:gd name="connsiteY534" fmla="*/ 209523 h 561696"/>
                <a:gd name="connsiteX535" fmla="*/ 41193 w 786002"/>
                <a:gd name="connsiteY535" fmla="*/ 212147 h 561696"/>
                <a:gd name="connsiteX536" fmla="*/ 43515 w 786002"/>
                <a:gd name="connsiteY536" fmla="*/ 212281 h 561696"/>
                <a:gd name="connsiteX537" fmla="*/ 47991 w 786002"/>
                <a:gd name="connsiteY537" fmla="*/ 211272 h 561696"/>
                <a:gd name="connsiteX538" fmla="*/ 52333 w 786002"/>
                <a:gd name="connsiteY538" fmla="*/ 211138 h 561696"/>
                <a:gd name="connsiteX539" fmla="*/ 59131 w 786002"/>
                <a:gd name="connsiteY539" fmla="*/ 209557 h 561696"/>
                <a:gd name="connsiteX540" fmla="*/ 64785 w 786002"/>
                <a:gd name="connsiteY540" fmla="*/ 211878 h 561696"/>
                <a:gd name="connsiteX541" fmla="*/ 70001 w 786002"/>
                <a:gd name="connsiteY541" fmla="*/ 214905 h 561696"/>
                <a:gd name="connsiteX542" fmla="*/ 73636 w 786002"/>
                <a:gd name="connsiteY542" fmla="*/ 220422 h 561696"/>
                <a:gd name="connsiteX543" fmla="*/ 72929 w 786002"/>
                <a:gd name="connsiteY543" fmla="*/ 224190 h 561696"/>
                <a:gd name="connsiteX544" fmla="*/ 72627 w 786002"/>
                <a:gd name="connsiteY544" fmla="*/ 229976 h 561696"/>
                <a:gd name="connsiteX545" fmla="*/ 74949 w 786002"/>
                <a:gd name="connsiteY545" fmla="*/ 231725 h 561696"/>
                <a:gd name="connsiteX546" fmla="*/ 75958 w 786002"/>
                <a:gd name="connsiteY546" fmla="*/ 234046 h 561696"/>
                <a:gd name="connsiteX547" fmla="*/ 75655 w 786002"/>
                <a:gd name="connsiteY547" fmla="*/ 236367 h 561696"/>
                <a:gd name="connsiteX548" fmla="*/ 74208 w 786002"/>
                <a:gd name="connsiteY548" fmla="*/ 239126 h 561696"/>
                <a:gd name="connsiteX549" fmla="*/ 72324 w 786002"/>
                <a:gd name="connsiteY549" fmla="*/ 240135 h 561696"/>
                <a:gd name="connsiteX550" fmla="*/ 71011 w 786002"/>
                <a:gd name="connsiteY550" fmla="*/ 241279 h 561696"/>
                <a:gd name="connsiteX551" fmla="*/ 69564 w 786002"/>
                <a:gd name="connsiteY551" fmla="*/ 242860 h 561696"/>
                <a:gd name="connsiteX552" fmla="*/ 67814 w 786002"/>
                <a:gd name="connsiteY552" fmla="*/ 244004 h 561696"/>
                <a:gd name="connsiteX553" fmla="*/ 67814 w 786002"/>
                <a:gd name="connsiteY553" fmla="*/ 245719 h 561696"/>
                <a:gd name="connsiteX554" fmla="*/ 69631 w 786002"/>
                <a:gd name="connsiteY554" fmla="*/ 247469 h 561696"/>
                <a:gd name="connsiteX555" fmla="*/ 73030 w 786002"/>
                <a:gd name="connsiteY555" fmla="*/ 250227 h 561696"/>
                <a:gd name="connsiteX556" fmla="*/ 76059 w 786002"/>
                <a:gd name="connsiteY556" fmla="*/ 252548 h 561696"/>
                <a:gd name="connsiteX557" fmla="*/ 79122 w 786002"/>
                <a:gd name="connsiteY557" fmla="*/ 253557 h 561696"/>
                <a:gd name="connsiteX558" fmla="*/ 83194 w 786002"/>
                <a:gd name="connsiteY558" fmla="*/ 253557 h 561696"/>
                <a:gd name="connsiteX559" fmla="*/ 87536 w 786002"/>
                <a:gd name="connsiteY559" fmla="*/ 253625 h 561696"/>
                <a:gd name="connsiteX560" fmla="*/ 90161 w 786002"/>
                <a:gd name="connsiteY560" fmla="*/ 253995 h 561696"/>
                <a:gd name="connsiteX561" fmla="*/ 92752 w 786002"/>
                <a:gd name="connsiteY561" fmla="*/ 255441 h 561696"/>
                <a:gd name="connsiteX562" fmla="*/ 96656 w 786002"/>
                <a:gd name="connsiteY562" fmla="*/ 258906 h 561696"/>
                <a:gd name="connsiteX563" fmla="*/ 97800 w 786002"/>
                <a:gd name="connsiteY563" fmla="*/ 260218 h 561696"/>
                <a:gd name="connsiteX564" fmla="*/ 100122 w 786002"/>
                <a:gd name="connsiteY564" fmla="*/ 262539 h 561696"/>
                <a:gd name="connsiteX565" fmla="*/ 102142 w 786002"/>
                <a:gd name="connsiteY565" fmla="*/ 260218 h 561696"/>
                <a:gd name="connsiteX566" fmla="*/ 103723 w 786002"/>
                <a:gd name="connsiteY566" fmla="*/ 257459 h 561696"/>
                <a:gd name="connsiteX567" fmla="*/ 106348 w 786002"/>
                <a:gd name="connsiteY567" fmla="*/ 255138 h 561696"/>
                <a:gd name="connsiteX568" fmla="*/ 108805 w 786002"/>
                <a:gd name="connsiteY568" fmla="*/ 251808 h 561696"/>
                <a:gd name="connsiteX569" fmla="*/ 112440 w 786002"/>
                <a:gd name="connsiteY569" fmla="*/ 250664 h 561696"/>
                <a:gd name="connsiteX570" fmla="*/ 114762 w 786002"/>
                <a:gd name="connsiteY570" fmla="*/ 251976 h 561696"/>
                <a:gd name="connsiteX571" fmla="*/ 117387 w 786002"/>
                <a:gd name="connsiteY571" fmla="*/ 257056 h 561696"/>
                <a:gd name="connsiteX572" fmla="*/ 119137 w 786002"/>
                <a:gd name="connsiteY572" fmla="*/ 257056 h 561696"/>
                <a:gd name="connsiteX573" fmla="*/ 122907 w 786002"/>
                <a:gd name="connsiteY573" fmla="*/ 256114 h 561696"/>
                <a:gd name="connsiteX574" fmla="*/ 126979 w 786002"/>
                <a:gd name="connsiteY574" fmla="*/ 254869 h 561696"/>
                <a:gd name="connsiteX575" fmla="*/ 131185 w 786002"/>
                <a:gd name="connsiteY575" fmla="*/ 255172 h 561696"/>
                <a:gd name="connsiteX576" fmla="*/ 133945 w 786002"/>
                <a:gd name="connsiteY576" fmla="*/ 255744 h 561696"/>
                <a:gd name="connsiteX577" fmla="*/ 136402 w 786002"/>
                <a:gd name="connsiteY577" fmla="*/ 258502 h 561696"/>
                <a:gd name="connsiteX578" fmla="*/ 138590 w 786002"/>
                <a:gd name="connsiteY578" fmla="*/ 259209 h 561696"/>
                <a:gd name="connsiteX579" fmla="*/ 141215 w 786002"/>
                <a:gd name="connsiteY579" fmla="*/ 258637 h 561696"/>
                <a:gd name="connsiteX580" fmla="*/ 142359 w 786002"/>
                <a:gd name="connsiteY580" fmla="*/ 254869 h 561696"/>
                <a:gd name="connsiteX581" fmla="*/ 143368 w 786002"/>
                <a:gd name="connsiteY581" fmla="*/ 252851 h 561696"/>
                <a:gd name="connsiteX582" fmla="*/ 144378 w 786002"/>
                <a:gd name="connsiteY582" fmla="*/ 249958 h 561696"/>
                <a:gd name="connsiteX583" fmla="*/ 147575 w 786002"/>
                <a:gd name="connsiteY583" fmla="*/ 248377 h 561696"/>
                <a:gd name="connsiteX584" fmla="*/ 150200 w 786002"/>
                <a:gd name="connsiteY584" fmla="*/ 246190 h 561696"/>
                <a:gd name="connsiteX585" fmla="*/ 152220 w 786002"/>
                <a:gd name="connsiteY585" fmla="*/ 246190 h 561696"/>
                <a:gd name="connsiteX586" fmla="*/ 156292 w 786002"/>
                <a:gd name="connsiteY586" fmla="*/ 248949 h 561696"/>
                <a:gd name="connsiteX587" fmla="*/ 157604 w 786002"/>
                <a:gd name="connsiteY587" fmla="*/ 252414 h 561696"/>
                <a:gd name="connsiteX588" fmla="*/ 159354 w 786002"/>
                <a:gd name="connsiteY588" fmla="*/ 256753 h 561696"/>
                <a:gd name="connsiteX589" fmla="*/ 162552 w 786002"/>
                <a:gd name="connsiteY589" fmla="*/ 260958 h 561696"/>
                <a:gd name="connsiteX590" fmla="*/ 165008 w 786002"/>
                <a:gd name="connsiteY590" fmla="*/ 262404 h 561696"/>
                <a:gd name="connsiteX591" fmla="*/ 165883 w 786002"/>
                <a:gd name="connsiteY591" fmla="*/ 264591 h 561696"/>
                <a:gd name="connsiteX592" fmla="*/ 165446 w 786002"/>
                <a:gd name="connsiteY592" fmla="*/ 267619 h 561696"/>
                <a:gd name="connsiteX593" fmla="*/ 164739 w 786002"/>
                <a:gd name="connsiteY593" fmla="*/ 270074 h 561696"/>
                <a:gd name="connsiteX594" fmla="*/ 165042 w 786002"/>
                <a:gd name="connsiteY594" fmla="*/ 272967 h 561696"/>
                <a:gd name="connsiteX595" fmla="*/ 167364 w 786002"/>
                <a:gd name="connsiteY595" fmla="*/ 273674 h 561696"/>
                <a:gd name="connsiteX596" fmla="*/ 171706 w 786002"/>
                <a:gd name="connsiteY596" fmla="*/ 277139 h 561696"/>
                <a:gd name="connsiteX597" fmla="*/ 174903 w 786002"/>
                <a:gd name="connsiteY597" fmla="*/ 279897 h 561696"/>
                <a:gd name="connsiteX598" fmla="*/ 173590 w 786002"/>
                <a:gd name="connsiteY598" fmla="*/ 282218 h 561696"/>
                <a:gd name="connsiteX599" fmla="*/ 170831 w 786002"/>
                <a:gd name="connsiteY599" fmla="*/ 286121 h 561696"/>
                <a:gd name="connsiteX600" fmla="*/ 169821 w 786002"/>
                <a:gd name="connsiteY600" fmla="*/ 289888 h 561696"/>
                <a:gd name="connsiteX601" fmla="*/ 170393 w 786002"/>
                <a:gd name="connsiteY601" fmla="*/ 294227 h 561696"/>
                <a:gd name="connsiteX602" fmla="*/ 170528 w 786002"/>
                <a:gd name="connsiteY602" fmla="*/ 298298 h 561696"/>
                <a:gd name="connsiteX603" fmla="*/ 167061 w 786002"/>
                <a:gd name="connsiteY603" fmla="*/ 301326 h 561696"/>
                <a:gd name="connsiteX604" fmla="*/ 167061 w 786002"/>
                <a:gd name="connsiteY604" fmla="*/ 304219 h 561696"/>
                <a:gd name="connsiteX605" fmla="*/ 167061 w 786002"/>
                <a:gd name="connsiteY605" fmla="*/ 308289 h 561696"/>
                <a:gd name="connsiteX606" fmla="*/ 167061 w 786002"/>
                <a:gd name="connsiteY606" fmla="*/ 311047 h 561696"/>
                <a:gd name="connsiteX607" fmla="*/ 166254 w 786002"/>
                <a:gd name="connsiteY607" fmla="*/ 314950 h 561696"/>
                <a:gd name="connsiteX608" fmla="*/ 164436 w 786002"/>
                <a:gd name="connsiteY608" fmla="*/ 316968 h 561696"/>
                <a:gd name="connsiteX609" fmla="*/ 160801 w 786002"/>
                <a:gd name="connsiteY609" fmla="*/ 320735 h 561696"/>
                <a:gd name="connsiteX610" fmla="*/ 156898 w 786002"/>
                <a:gd name="connsiteY610" fmla="*/ 323629 h 561696"/>
                <a:gd name="connsiteX611" fmla="*/ 154575 w 786002"/>
                <a:gd name="connsiteY611" fmla="*/ 323326 h 561696"/>
                <a:gd name="connsiteX612" fmla="*/ 151681 w 786002"/>
                <a:gd name="connsiteY612" fmla="*/ 322317 h 561696"/>
                <a:gd name="connsiteX613" fmla="*/ 149225 w 786002"/>
                <a:gd name="connsiteY613" fmla="*/ 320298 h 561696"/>
                <a:gd name="connsiteX614" fmla="*/ 145893 w 786002"/>
                <a:gd name="connsiteY614" fmla="*/ 317540 h 561696"/>
                <a:gd name="connsiteX615" fmla="*/ 141854 w 786002"/>
                <a:gd name="connsiteY615" fmla="*/ 316093 h 561696"/>
                <a:gd name="connsiteX616" fmla="*/ 140844 w 786002"/>
                <a:gd name="connsiteY616" fmla="*/ 316093 h 561696"/>
                <a:gd name="connsiteX617" fmla="*/ 139835 w 786002"/>
                <a:gd name="connsiteY617" fmla="*/ 319424 h 561696"/>
                <a:gd name="connsiteX618" fmla="*/ 135628 w 786002"/>
                <a:gd name="connsiteY618" fmla="*/ 322047 h 561696"/>
                <a:gd name="connsiteX619" fmla="*/ 130546 w 786002"/>
                <a:gd name="connsiteY619" fmla="*/ 325512 h 561696"/>
                <a:gd name="connsiteX620" fmla="*/ 124758 w 786002"/>
                <a:gd name="connsiteY620" fmla="*/ 328271 h 561696"/>
                <a:gd name="connsiteX621" fmla="*/ 120854 w 786002"/>
                <a:gd name="connsiteY621" fmla="*/ 329415 h 561696"/>
                <a:gd name="connsiteX622" fmla="*/ 119406 w 786002"/>
                <a:gd name="connsiteY622" fmla="*/ 330558 h 561696"/>
                <a:gd name="connsiteX623" fmla="*/ 118969 w 786002"/>
                <a:gd name="connsiteY623" fmla="*/ 332880 h 561696"/>
                <a:gd name="connsiteX624" fmla="*/ 120416 w 786002"/>
                <a:gd name="connsiteY624" fmla="*/ 334629 h 561696"/>
                <a:gd name="connsiteX625" fmla="*/ 121998 w 786002"/>
                <a:gd name="connsiteY625" fmla="*/ 335773 h 561696"/>
                <a:gd name="connsiteX626" fmla="*/ 120248 w 786002"/>
                <a:gd name="connsiteY626" fmla="*/ 338666 h 561696"/>
                <a:gd name="connsiteX627" fmla="*/ 118229 w 786002"/>
                <a:gd name="connsiteY627" fmla="*/ 338968 h 561696"/>
                <a:gd name="connsiteX628" fmla="*/ 117219 w 786002"/>
                <a:gd name="connsiteY628" fmla="*/ 337219 h 561696"/>
                <a:gd name="connsiteX629" fmla="*/ 110252 w 786002"/>
                <a:gd name="connsiteY629" fmla="*/ 339540 h 561696"/>
                <a:gd name="connsiteX630" fmla="*/ 107358 w 786002"/>
                <a:gd name="connsiteY630" fmla="*/ 344183 h 561696"/>
                <a:gd name="connsiteX631" fmla="*/ 103454 w 786002"/>
                <a:gd name="connsiteY631" fmla="*/ 347950 h 561696"/>
                <a:gd name="connsiteX632" fmla="*/ 99954 w 786002"/>
                <a:gd name="connsiteY632" fmla="*/ 350541 h 561696"/>
                <a:gd name="connsiteX633" fmla="*/ 96757 w 786002"/>
                <a:gd name="connsiteY633" fmla="*/ 354308 h 561696"/>
                <a:gd name="connsiteX634" fmla="*/ 95444 w 786002"/>
                <a:gd name="connsiteY634" fmla="*/ 359387 h 561696"/>
                <a:gd name="connsiteX635" fmla="*/ 97026 w 786002"/>
                <a:gd name="connsiteY635" fmla="*/ 363727 h 561696"/>
                <a:gd name="connsiteX636" fmla="*/ 99483 w 786002"/>
                <a:gd name="connsiteY636" fmla="*/ 364736 h 561696"/>
                <a:gd name="connsiteX637" fmla="*/ 100930 w 786002"/>
                <a:gd name="connsiteY637" fmla="*/ 365611 h 561696"/>
                <a:gd name="connsiteX638" fmla="*/ 100930 w 786002"/>
                <a:gd name="connsiteY638" fmla="*/ 369816 h 561696"/>
                <a:gd name="connsiteX639" fmla="*/ 105002 w 786002"/>
                <a:gd name="connsiteY639" fmla="*/ 371834 h 561696"/>
                <a:gd name="connsiteX640" fmla="*/ 109647 w 786002"/>
                <a:gd name="connsiteY640" fmla="*/ 372709 h 561696"/>
                <a:gd name="connsiteX641" fmla="*/ 117623 w 786002"/>
                <a:gd name="connsiteY641" fmla="*/ 374155 h 561696"/>
                <a:gd name="connsiteX642" fmla="*/ 120214 w 786002"/>
                <a:gd name="connsiteY642" fmla="*/ 376477 h 561696"/>
                <a:gd name="connsiteX643" fmla="*/ 122671 w 786002"/>
                <a:gd name="connsiteY643" fmla="*/ 378663 h 561696"/>
                <a:gd name="connsiteX644" fmla="*/ 127450 w 786002"/>
                <a:gd name="connsiteY644" fmla="*/ 383743 h 561696"/>
                <a:gd name="connsiteX645" fmla="*/ 132532 w 786002"/>
                <a:gd name="connsiteY645" fmla="*/ 385626 h 561696"/>
                <a:gd name="connsiteX646" fmla="*/ 137748 w 786002"/>
                <a:gd name="connsiteY646" fmla="*/ 386366 h 561696"/>
                <a:gd name="connsiteX647" fmla="*/ 143402 w 786002"/>
                <a:gd name="connsiteY647" fmla="*/ 388385 h 561696"/>
                <a:gd name="connsiteX648" fmla="*/ 147744 w 786002"/>
                <a:gd name="connsiteY648" fmla="*/ 387376 h 561696"/>
                <a:gd name="connsiteX649" fmla="*/ 153970 w 786002"/>
                <a:gd name="connsiteY649" fmla="*/ 385626 h 561696"/>
                <a:gd name="connsiteX650" fmla="*/ 161508 w 786002"/>
                <a:gd name="connsiteY650" fmla="*/ 385626 h 561696"/>
                <a:gd name="connsiteX651" fmla="*/ 164537 w 786002"/>
                <a:gd name="connsiteY651" fmla="*/ 387006 h 561696"/>
                <a:gd name="connsiteX652" fmla="*/ 168609 w 786002"/>
                <a:gd name="connsiteY652" fmla="*/ 391412 h 561696"/>
                <a:gd name="connsiteX653" fmla="*/ 174836 w 786002"/>
                <a:gd name="connsiteY653" fmla="*/ 395483 h 561696"/>
                <a:gd name="connsiteX654" fmla="*/ 181062 w 786002"/>
                <a:gd name="connsiteY654" fmla="*/ 401404 h 561696"/>
                <a:gd name="connsiteX655" fmla="*/ 185841 w 786002"/>
                <a:gd name="connsiteY655" fmla="*/ 399822 h 561696"/>
                <a:gd name="connsiteX656" fmla="*/ 190620 w 786002"/>
                <a:gd name="connsiteY656" fmla="*/ 395786 h 561696"/>
                <a:gd name="connsiteX657" fmla="*/ 195398 w 786002"/>
                <a:gd name="connsiteY657" fmla="*/ 395920 h 561696"/>
                <a:gd name="connsiteX658" fmla="*/ 196980 w 786002"/>
                <a:gd name="connsiteY658" fmla="*/ 394911 h 561696"/>
                <a:gd name="connsiteX659" fmla="*/ 199168 w 786002"/>
                <a:gd name="connsiteY659" fmla="*/ 390841 h 561696"/>
                <a:gd name="connsiteX660" fmla="*/ 202803 w 786002"/>
                <a:gd name="connsiteY660" fmla="*/ 390841 h 561696"/>
                <a:gd name="connsiteX661" fmla="*/ 210207 w 786002"/>
                <a:gd name="connsiteY661" fmla="*/ 392859 h 561696"/>
                <a:gd name="connsiteX662" fmla="*/ 215995 w 786002"/>
                <a:gd name="connsiteY662" fmla="*/ 394743 h 561696"/>
                <a:gd name="connsiteX663" fmla="*/ 221514 w 786002"/>
                <a:gd name="connsiteY663" fmla="*/ 396492 h 561696"/>
                <a:gd name="connsiteX664" fmla="*/ 224543 w 786002"/>
                <a:gd name="connsiteY664" fmla="*/ 398948 h 561696"/>
                <a:gd name="connsiteX665" fmla="*/ 229322 w 786002"/>
                <a:gd name="connsiteY665" fmla="*/ 402884 h 561696"/>
                <a:gd name="connsiteX666" fmla="*/ 228010 w 786002"/>
                <a:gd name="connsiteY666" fmla="*/ 410284 h 561696"/>
                <a:gd name="connsiteX667" fmla="*/ 226125 w 786002"/>
                <a:gd name="connsiteY667" fmla="*/ 411596 h 561696"/>
                <a:gd name="connsiteX668" fmla="*/ 222221 w 786002"/>
                <a:gd name="connsiteY668" fmla="*/ 416238 h 561696"/>
                <a:gd name="connsiteX669" fmla="*/ 221514 w 786002"/>
                <a:gd name="connsiteY669" fmla="*/ 420141 h 561696"/>
                <a:gd name="connsiteX670" fmla="*/ 221380 w 786002"/>
                <a:gd name="connsiteY670" fmla="*/ 425052 h 561696"/>
                <a:gd name="connsiteX671" fmla="*/ 219058 w 786002"/>
                <a:gd name="connsiteY671" fmla="*/ 427945 h 561696"/>
                <a:gd name="connsiteX672" fmla="*/ 215591 w 786002"/>
                <a:gd name="connsiteY672" fmla="*/ 429694 h 561696"/>
                <a:gd name="connsiteX673" fmla="*/ 211384 w 786002"/>
                <a:gd name="connsiteY673" fmla="*/ 430569 h 561696"/>
                <a:gd name="connsiteX674" fmla="*/ 207750 w 786002"/>
                <a:gd name="connsiteY674" fmla="*/ 431713 h 561696"/>
                <a:gd name="connsiteX675" fmla="*/ 207312 w 786002"/>
                <a:gd name="connsiteY675" fmla="*/ 434034 h 561696"/>
                <a:gd name="connsiteX676" fmla="*/ 206606 w 786002"/>
                <a:gd name="connsiteY676" fmla="*/ 438104 h 561696"/>
                <a:gd name="connsiteX677" fmla="*/ 204014 w 786002"/>
                <a:gd name="connsiteY677" fmla="*/ 442444 h 561696"/>
                <a:gd name="connsiteX678" fmla="*/ 201995 w 786002"/>
                <a:gd name="connsiteY678" fmla="*/ 448532 h 561696"/>
                <a:gd name="connsiteX679" fmla="*/ 203004 w 786002"/>
                <a:gd name="connsiteY679" fmla="*/ 451863 h 561696"/>
                <a:gd name="connsiteX680" fmla="*/ 204755 w 786002"/>
                <a:gd name="connsiteY680" fmla="*/ 454890 h 561696"/>
                <a:gd name="connsiteX681" fmla="*/ 207952 w 786002"/>
                <a:gd name="connsiteY681" fmla="*/ 456640 h 561696"/>
                <a:gd name="connsiteX682" fmla="*/ 211418 w 786002"/>
                <a:gd name="connsiteY682" fmla="*/ 460407 h 561696"/>
                <a:gd name="connsiteX683" fmla="*/ 213740 w 786002"/>
                <a:gd name="connsiteY683" fmla="*/ 465050 h 561696"/>
                <a:gd name="connsiteX684" fmla="*/ 215759 w 786002"/>
                <a:gd name="connsiteY684" fmla="*/ 469827 h 561696"/>
                <a:gd name="connsiteX685" fmla="*/ 216466 w 786002"/>
                <a:gd name="connsiteY685" fmla="*/ 476218 h 561696"/>
                <a:gd name="connsiteX686" fmla="*/ 216601 w 786002"/>
                <a:gd name="connsiteY686" fmla="*/ 482441 h 561696"/>
                <a:gd name="connsiteX687" fmla="*/ 215726 w 786002"/>
                <a:gd name="connsiteY687" fmla="*/ 489102 h 561696"/>
                <a:gd name="connsiteX688" fmla="*/ 215726 w 786002"/>
                <a:gd name="connsiteY688" fmla="*/ 493744 h 561696"/>
                <a:gd name="connsiteX689" fmla="*/ 222894 w 786002"/>
                <a:gd name="connsiteY689" fmla="*/ 496335 h 561696"/>
                <a:gd name="connsiteX690" fmla="*/ 229188 w 786002"/>
                <a:gd name="connsiteY690" fmla="*/ 497781 h 561696"/>
                <a:gd name="connsiteX691" fmla="*/ 232520 w 786002"/>
                <a:gd name="connsiteY691" fmla="*/ 502995 h 561696"/>
                <a:gd name="connsiteX692" fmla="*/ 234842 w 786002"/>
                <a:gd name="connsiteY692" fmla="*/ 502558 h 561696"/>
                <a:gd name="connsiteX693" fmla="*/ 236861 w 786002"/>
                <a:gd name="connsiteY693" fmla="*/ 500237 h 561696"/>
                <a:gd name="connsiteX694" fmla="*/ 239183 w 786002"/>
                <a:gd name="connsiteY694" fmla="*/ 498622 h 561696"/>
                <a:gd name="connsiteX695" fmla="*/ 242515 w 786002"/>
                <a:gd name="connsiteY695" fmla="*/ 498622 h 561696"/>
                <a:gd name="connsiteX696" fmla="*/ 249044 w 786002"/>
                <a:gd name="connsiteY696" fmla="*/ 501178 h 561696"/>
                <a:gd name="connsiteX697" fmla="*/ 251938 w 786002"/>
                <a:gd name="connsiteY697" fmla="*/ 502558 h 561696"/>
                <a:gd name="connsiteX698" fmla="*/ 254126 w 786002"/>
                <a:gd name="connsiteY698" fmla="*/ 507032 h 561696"/>
                <a:gd name="connsiteX699" fmla="*/ 252679 w 786002"/>
                <a:gd name="connsiteY699" fmla="*/ 508041 h 561696"/>
                <a:gd name="connsiteX700" fmla="*/ 249784 w 786002"/>
                <a:gd name="connsiteY700" fmla="*/ 510059 h 561696"/>
                <a:gd name="connsiteX701" fmla="*/ 249784 w 786002"/>
                <a:gd name="connsiteY701" fmla="*/ 513827 h 561696"/>
                <a:gd name="connsiteX702" fmla="*/ 252847 w 786002"/>
                <a:gd name="connsiteY702" fmla="*/ 518032 h 561696"/>
                <a:gd name="connsiteX703" fmla="*/ 257491 w 786002"/>
                <a:gd name="connsiteY703" fmla="*/ 520219 h 561696"/>
                <a:gd name="connsiteX704" fmla="*/ 261126 w 786002"/>
                <a:gd name="connsiteY704" fmla="*/ 523986 h 561696"/>
                <a:gd name="connsiteX705" fmla="*/ 265333 w 786002"/>
                <a:gd name="connsiteY705" fmla="*/ 527317 h 561696"/>
                <a:gd name="connsiteX706" fmla="*/ 269102 w 786002"/>
                <a:gd name="connsiteY706" fmla="*/ 532094 h 561696"/>
                <a:gd name="connsiteX707" fmla="*/ 271424 w 786002"/>
                <a:gd name="connsiteY707" fmla="*/ 534247 h 561696"/>
                <a:gd name="connsiteX708" fmla="*/ 271424 w 786002"/>
                <a:gd name="connsiteY708" fmla="*/ 530647 h 561696"/>
                <a:gd name="connsiteX709" fmla="*/ 276068 w 786002"/>
                <a:gd name="connsiteY709" fmla="*/ 528898 h 561696"/>
                <a:gd name="connsiteX710" fmla="*/ 280275 w 786002"/>
                <a:gd name="connsiteY710" fmla="*/ 532800 h 561696"/>
                <a:gd name="connsiteX711" fmla="*/ 287377 w 786002"/>
                <a:gd name="connsiteY711" fmla="*/ 538720 h 561696"/>
                <a:gd name="connsiteX712" fmla="*/ 293333 w 786002"/>
                <a:gd name="connsiteY712" fmla="*/ 539595 h 561696"/>
                <a:gd name="connsiteX713" fmla="*/ 295353 w 786002"/>
                <a:gd name="connsiteY713" fmla="*/ 539292 h 561696"/>
                <a:gd name="connsiteX714" fmla="*/ 302891 w 786002"/>
                <a:gd name="connsiteY714" fmla="*/ 538418 h 561696"/>
                <a:gd name="connsiteX715" fmla="*/ 308411 w 786002"/>
                <a:gd name="connsiteY715" fmla="*/ 540301 h 561696"/>
                <a:gd name="connsiteX716" fmla="*/ 313190 w 786002"/>
                <a:gd name="connsiteY716" fmla="*/ 544776 h 561696"/>
                <a:gd name="connsiteX717" fmla="*/ 317968 w 786002"/>
                <a:gd name="connsiteY717" fmla="*/ 546357 h 561696"/>
                <a:gd name="connsiteX718" fmla="*/ 320863 w 786002"/>
                <a:gd name="connsiteY718" fmla="*/ 541580 h 561696"/>
                <a:gd name="connsiteX719" fmla="*/ 323185 w 786002"/>
                <a:gd name="connsiteY719" fmla="*/ 539999 h 561696"/>
                <a:gd name="connsiteX720" fmla="*/ 331430 w 786002"/>
                <a:gd name="connsiteY720" fmla="*/ 538552 h 561696"/>
                <a:gd name="connsiteX721" fmla="*/ 336075 w 786002"/>
                <a:gd name="connsiteY721" fmla="*/ 538552 h 561696"/>
                <a:gd name="connsiteX722" fmla="*/ 340281 w 786002"/>
                <a:gd name="connsiteY722" fmla="*/ 539124 h 561696"/>
                <a:gd name="connsiteX723" fmla="*/ 344185 w 786002"/>
                <a:gd name="connsiteY723" fmla="*/ 541142 h 561696"/>
                <a:gd name="connsiteX724" fmla="*/ 348392 w 786002"/>
                <a:gd name="connsiteY724" fmla="*/ 544170 h 561696"/>
                <a:gd name="connsiteX725" fmla="*/ 349133 w 786002"/>
                <a:gd name="connsiteY725" fmla="*/ 546491 h 561696"/>
                <a:gd name="connsiteX726" fmla="*/ 354046 w 786002"/>
                <a:gd name="connsiteY726" fmla="*/ 547231 h 561696"/>
                <a:gd name="connsiteX727" fmla="*/ 357311 w 786002"/>
                <a:gd name="connsiteY727" fmla="*/ 547231 h 561696"/>
                <a:gd name="connsiteX728" fmla="*/ 360407 w 786002"/>
                <a:gd name="connsiteY728" fmla="*/ 546424 h 561696"/>
                <a:gd name="connsiteX729" fmla="*/ 362494 w 786002"/>
                <a:gd name="connsiteY729" fmla="*/ 548005 h 561696"/>
                <a:gd name="connsiteX730" fmla="*/ 365018 w 786002"/>
                <a:gd name="connsiteY730" fmla="*/ 550663 h 561696"/>
                <a:gd name="connsiteX731" fmla="*/ 367609 w 786002"/>
                <a:gd name="connsiteY731" fmla="*/ 551403 h 561696"/>
                <a:gd name="connsiteX732" fmla="*/ 368922 w 786002"/>
                <a:gd name="connsiteY732" fmla="*/ 549384 h 561696"/>
                <a:gd name="connsiteX733" fmla="*/ 371614 w 786002"/>
                <a:gd name="connsiteY733" fmla="*/ 546188 h 561696"/>
                <a:gd name="connsiteX734" fmla="*/ 374508 w 786002"/>
                <a:gd name="connsiteY734" fmla="*/ 542723 h 561696"/>
                <a:gd name="connsiteX735" fmla="*/ 376696 w 786002"/>
                <a:gd name="connsiteY735" fmla="*/ 540470 h 561696"/>
                <a:gd name="connsiteX736" fmla="*/ 379321 w 786002"/>
                <a:gd name="connsiteY736" fmla="*/ 537072 h 561696"/>
                <a:gd name="connsiteX737" fmla="*/ 380768 w 786002"/>
                <a:gd name="connsiteY737" fmla="*/ 537005 h 561696"/>
                <a:gd name="connsiteX738" fmla="*/ 381912 w 786002"/>
                <a:gd name="connsiteY738" fmla="*/ 540705 h 561696"/>
                <a:gd name="connsiteX739" fmla="*/ 381845 w 786002"/>
                <a:gd name="connsiteY739" fmla="*/ 544540 h 561696"/>
                <a:gd name="connsiteX740" fmla="*/ 380229 w 786002"/>
                <a:gd name="connsiteY740" fmla="*/ 546794 h 561696"/>
                <a:gd name="connsiteX741" fmla="*/ 383292 w 786002"/>
                <a:gd name="connsiteY741" fmla="*/ 551571 h 561696"/>
                <a:gd name="connsiteX742" fmla="*/ 387936 w 786002"/>
                <a:gd name="connsiteY742" fmla="*/ 555473 h 561696"/>
                <a:gd name="connsiteX743" fmla="*/ 390898 w 786002"/>
                <a:gd name="connsiteY743" fmla="*/ 556785 h 561696"/>
                <a:gd name="connsiteX744" fmla="*/ 391201 w 786002"/>
                <a:gd name="connsiteY744" fmla="*/ 555776 h 561696"/>
                <a:gd name="connsiteX745" fmla="*/ 392480 w 786002"/>
                <a:gd name="connsiteY745" fmla="*/ 550259 h 561696"/>
                <a:gd name="connsiteX746" fmla="*/ 393489 w 786002"/>
                <a:gd name="connsiteY746" fmla="*/ 546928 h 561696"/>
                <a:gd name="connsiteX747" fmla="*/ 392547 w 786002"/>
                <a:gd name="connsiteY747" fmla="*/ 543531 h 561696"/>
                <a:gd name="connsiteX748" fmla="*/ 391235 w 786002"/>
                <a:gd name="connsiteY748" fmla="*/ 538956 h 561696"/>
                <a:gd name="connsiteX749" fmla="*/ 391235 w 786002"/>
                <a:gd name="connsiteY749" fmla="*/ 536197 h 561696"/>
                <a:gd name="connsiteX750" fmla="*/ 392749 w 786002"/>
                <a:gd name="connsiteY750" fmla="*/ 532867 h 561696"/>
                <a:gd name="connsiteX751" fmla="*/ 393826 w 786002"/>
                <a:gd name="connsiteY751" fmla="*/ 531050 h 561696"/>
                <a:gd name="connsiteX752" fmla="*/ 395340 w 786002"/>
                <a:gd name="connsiteY752" fmla="*/ 530681 h 561696"/>
                <a:gd name="connsiteX753" fmla="*/ 397326 w 786002"/>
                <a:gd name="connsiteY753" fmla="*/ 532127 h 561696"/>
                <a:gd name="connsiteX754" fmla="*/ 398437 w 786002"/>
                <a:gd name="connsiteY754" fmla="*/ 537038 h 561696"/>
                <a:gd name="connsiteX755" fmla="*/ 398066 w 786002"/>
                <a:gd name="connsiteY755" fmla="*/ 539292 h 561696"/>
                <a:gd name="connsiteX756" fmla="*/ 397326 w 786002"/>
                <a:gd name="connsiteY756" fmla="*/ 542488 h 561696"/>
                <a:gd name="connsiteX757" fmla="*/ 397629 w 786002"/>
                <a:gd name="connsiteY757" fmla="*/ 547769 h 561696"/>
                <a:gd name="connsiteX758" fmla="*/ 401465 w 786002"/>
                <a:gd name="connsiteY758" fmla="*/ 550091 h 561696"/>
                <a:gd name="connsiteX759" fmla="*/ 403485 w 786002"/>
                <a:gd name="connsiteY759" fmla="*/ 550091 h 561696"/>
                <a:gd name="connsiteX760" fmla="*/ 408331 w 786002"/>
                <a:gd name="connsiteY760" fmla="*/ 546188 h 561696"/>
                <a:gd name="connsiteX761" fmla="*/ 410283 w 786002"/>
                <a:gd name="connsiteY761" fmla="*/ 543127 h 561696"/>
                <a:gd name="connsiteX762" fmla="*/ 412672 w 786002"/>
                <a:gd name="connsiteY762" fmla="*/ 538586 h 561696"/>
                <a:gd name="connsiteX763" fmla="*/ 412740 w 786002"/>
                <a:gd name="connsiteY763" fmla="*/ 535390 h 561696"/>
                <a:gd name="connsiteX764" fmla="*/ 411360 w 786002"/>
                <a:gd name="connsiteY764" fmla="*/ 531623 h 561696"/>
                <a:gd name="connsiteX765" fmla="*/ 410620 w 786002"/>
                <a:gd name="connsiteY765" fmla="*/ 529234 h 561696"/>
                <a:gd name="connsiteX766" fmla="*/ 408668 w 786002"/>
                <a:gd name="connsiteY766" fmla="*/ 527216 h 561696"/>
                <a:gd name="connsiteX767" fmla="*/ 408668 w 786002"/>
                <a:gd name="connsiteY767" fmla="*/ 523751 h 561696"/>
                <a:gd name="connsiteX768" fmla="*/ 408668 w 786002"/>
                <a:gd name="connsiteY768" fmla="*/ 518537 h 561696"/>
                <a:gd name="connsiteX769" fmla="*/ 408668 w 786002"/>
                <a:gd name="connsiteY769" fmla="*/ 513322 h 561696"/>
                <a:gd name="connsiteX770" fmla="*/ 408668 w 786002"/>
                <a:gd name="connsiteY770" fmla="*/ 510699 h 561696"/>
                <a:gd name="connsiteX771" fmla="*/ 416475 w 786002"/>
                <a:gd name="connsiteY771" fmla="*/ 510699 h 561696"/>
                <a:gd name="connsiteX772" fmla="*/ 418226 w 786002"/>
                <a:gd name="connsiteY772" fmla="*/ 510699 h 561696"/>
                <a:gd name="connsiteX773" fmla="*/ 421120 w 786002"/>
                <a:gd name="connsiteY773" fmla="*/ 510699 h 561696"/>
                <a:gd name="connsiteX774" fmla="*/ 420817 w 786002"/>
                <a:gd name="connsiteY774" fmla="*/ 513322 h 561696"/>
                <a:gd name="connsiteX775" fmla="*/ 419067 w 786002"/>
                <a:gd name="connsiteY775" fmla="*/ 518537 h 561696"/>
                <a:gd name="connsiteX776" fmla="*/ 419067 w 786002"/>
                <a:gd name="connsiteY776" fmla="*/ 521127 h 561696"/>
                <a:gd name="connsiteX777" fmla="*/ 421827 w 786002"/>
                <a:gd name="connsiteY777" fmla="*/ 527788 h 561696"/>
                <a:gd name="connsiteX778" fmla="*/ 426606 w 786002"/>
                <a:gd name="connsiteY778" fmla="*/ 531858 h 561696"/>
                <a:gd name="connsiteX779" fmla="*/ 430947 w 786002"/>
                <a:gd name="connsiteY779" fmla="*/ 538249 h 561696"/>
                <a:gd name="connsiteX780" fmla="*/ 437038 w 786002"/>
                <a:gd name="connsiteY780" fmla="*/ 539696 h 561696"/>
                <a:gd name="connsiteX781" fmla="*/ 440808 w 786002"/>
                <a:gd name="connsiteY781" fmla="*/ 540268 h 561696"/>
                <a:gd name="connsiteX782" fmla="*/ 444577 w 786002"/>
                <a:gd name="connsiteY782" fmla="*/ 540268 h 561696"/>
                <a:gd name="connsiteX783" fmla="*/ 441986 w 786002"/>
                <a:gd name="connsiteY783" fmla="*/ 533305 h 561696"/>
                <a:gd name="connsiteX784" fmla="*/ 438216 w 786002"/>
                <a:gd name="connsiteY784" fmla="*/ 527788 h 561696"/>
                <a:gd name="connsiteX785" fmla="*/ 439966 w 786002"/>
                <a:gd name="connsiteY785" fmla="*/ 520252 h 561696"/>
                <a:gd name="connsiteX786" fmla="*/ 439966 w 786002"/>
                <a:gd name="connsiteY786" fmla="*/ 519378 h 561696"/>
                <a:gd name="connsiteX787" fmla="*/ 442591 w 786002"/>
                <a:gd name="connsiteY787" fmla="*/ 517628 h 561696"/>
                <a:gd name="connsiteX788" fmla="*/ 444341 w 786002"/>
                <a:gd name="connsiteY788" fmla="*/ 517628 h 561696"/>
                <a:gd name="connsiteX789" fmla="*/ 445519 w 786002"/>
                <a:gd name="connsiteY789" fmla="*/ 517628 h 561696"/>
                <a:gd name="connsiteX790" fmla="*/ 448717 w 786002"/>
                <a:gd name="connsiteY790" fmla="*/ 519075 h 561696"/>
                <a:gd name="connsiteX791" fmla="*/ 448717 w 786002"/>
                <a:gd name="connsiteY791" fmla="*/ 523717 h 561696"/>
                <a:gd name="connsiteX792" fmla="*/ 448717 w 786002"/>
                <a:gd name="connsiteY792" fmla="*/ 529806 h 561696"/>
                <a:gd name="connsiteX793" fmla="*/ 450601 w 786002"/>
                <a:gd name="connsiteY793" fmla="*/ 534718 h 561696"/>
                <a:gd name="connsiteX794" fmla="*/ 453933 w 786002"/>
                <a:gd name="connsiteY794" fmla="*/ 537038 h 561696"/>
                <a:gd name="connsiteX795" fmla="*/ 457130 w 786002"/>
                <a:gd name="connsiteY795" fmla="*/ 539931 h 561696"/>
                <a:gd name="connsiteX796" fmla="*/ 461775 w 786002"/>
                <a:gd name="connsiteY796" fmla="*/ 543699 h 561696"/>
                <a:gd name="connsiteX797" fmla="*/ 467866 w 786002"/>
                <a:gd name="connsiteY797" fmla="*/ 543699 h 561696"/>
                <a:gd name="connsiteX798" fmla="*/ 471332 w 786002"/>
                <a:gd name="connsiteY798" fmla="*/ 546458 h 561696"/>
                <a:gd name="connsiteX799" fmla="*/ 474799 w 786002"/>
                <a:gd name="connsiteY799" fmla="*/ 548072 h 561696"/>
                <a:gd name="connsiteX800" fmla="*/ 474799 w 786002"/>
                <a:gd name="connsiteY800" fmla="*/ 549822 h 561696"/>
                <a:gd name="connsiteX801" fmla="*/ 474799 w 786002"/>
                <a:gd name="connsiteY801" fmla="*/ 554464 h 561696"/>
                <a:gd name="connsiteX802" fmla="*/ 477559 w 786002"/>
                <a:gd name="connsiteY802" fmla="*/ 557929 h 561696"/>
                <a:gd name="connsiteX803" fmla="*/ 483213 w 786002"/>
                <a:gd name="connsiteY803" fmla="*/ 561696 h 561696"/>
                <a:gd name="connsiteX804" fmla="*/ 492198 w 786002"/>
                <a:gd name="connsiteY804" fmla="*/ 560250 h 561696"/>
                <a:gd name="connsiteX805" fmla="*/ 500309 w 786002"/>
                <a:gd name="connsiteY805" fmla="*/ 561696 h 561696"/>
                <a:gd name="connsiteX806" fmla="*/ 508420 w 786002"/>
                <a:gd name="connsiteY806" fmla="*/ 556785 h 561696"/>
                <a:gd name="connsiteX807" fmla="*/ 515083 w 786002"/>
                <a:gd name="connsiteY807" fmla="*/ 554767 h 561696"/>
                <a:gd name="connsiteX808" fmla="*/ 518281 w 786002"/>
                <a:gd name="connsiteY808" fmla="*/ 551571 h 561696"/>
                <a:gd name="connsiteX809" fmla="*/ 518281 w 786002"/>
                <a:gd name="connsiteY809" fmla="*/ 534179 h 561696"/>
                <a:gd name="connsiteX810" fmla="*/ 518281 w 786002"/>
                <a:gd name="connsiteY810" fmla="*/ 528864 h 561696"/>
                <a:gd name="connsiteX811" fmla="*/ 518819 w 786002"/>
                <a:gd name="connsiteY811" fmla="*/ 526913 h 561696"/>
                <a:gd name="connsiteX812" fmla="*/ 519896 w 786002"/>
                <a:gd name="connsiteY812" fmla="*/ 524626 h 561696"/>
                <a:gd name="connsiteX813" fmla="*/ 521949 w 786002"/>
                <a:gd name="connsiteY813" fmla="*/ 524087 h 561696"/>
                <a:gd name="connsiteX814" fmla="*/ 523463 w 786002"/>
                <a:gd name="connsiteY814" fmla="*/ 526913 h 561696"/>
                <a:gd name="connsiteX815" fmla="*/ 524103 w 786002"/>
                <a:gd name="connsiteY815" fmla="*/ 533843 h 561696"/>
                <a:gd name="connsiteX816" fmla="*/ 523463 w 786002"/>
                <a:gd name="connsiteY816" fmla="*/ 541142 h 561696"/>
                <a:gd name="connsiteX817" fmla="*/ 523463 w 786002"/>
                <a:gd name="connsiteY817" fmla="*/ 546020 h 561696"/>
                <a:gd name="connsiteX818" fmla="*/ 525079 w 786002"/>
                <a:gd name="connsiteY818" fmla="*/ 550057 h 561696"/>
                <a:gd name="connsiteX819" fmla="*/ 528444 w 786002"/>
                <a:gd name="connsiteY819" fmla="*/ 555069 h 561696"/>
                <a:gd name="connsiteX820" fmla="*/ 533762 w 786002"/>
                <a:gd name="connsiteY820" fmla="*/ 560485 h 561696"/>
                <a:gd name="connsiteX821" fmla="*/ 537464 w 786002"/>
                <a:gd name="connsiteY821" fmla="*/ 558770 h 56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</a:cxnLst>
              <a:rect l="l" t="t" r="r" b="b"/>
              <a:pathLst>
                <a:path w="786002" h="561696">
                  <a:moveTo>
                    <a:pt x="537464" y="558770"/>
                  </a:moveTo>
                  <a:lnTo>
                    <a:pt x="537464" y="555305"/>
                  </a:lnTo>
                  <a:lnTo>
                    <a:pt x="538877" y="554868"/>
                  </a:lnTo>
                  <a:lnTo>
                    <a:pt x="537901" y="554430"/>
                  </a:lnTo>
                  <a:lnTo>
                    <a:pt x="535444" y="551537"/>
                  </a:lnTo>
                  <a:lnTo>
                    <a:pt x="536454" y="548644"/>
                  </a:lnTo>
                  <a:lnTo>
                    <a:pt x="538036" y="545751"/>
                  </a:lnTo>
                  <a:lnTo>
                    <a:pt x="540493" y="541109"/>
                  </a:lnTo>
                  <a:lnTo>
                    <a:pt x="543387" y="537408"/>
                  </a:lnTo>
                  <a:cubicBezTo>
                    <a:pt x="543387" y="537408"/>
                    <a:pt x="547022" y="535323"/>
                    <a:pt x="547594" y="535323"/>
                  </a:cubicBezTo>
                  <a:cubicBezTo>
                    <a:pt x="548166" y="535323"/>
                    <a:pt x="553954" y="535323"/>
                    <a:pt x="553954" y="535323"/>
                  </a:cubicBezTo>
                  <a:lnTo>
                    <a:pt x="562368" y="533573"/>
                  </a:lnTo>
                  <a:lnTo>
                    <a:pt x="565700" y="526778"/>
                  </a:lnTo>
                  <a:lnTo>
                    <a:pt x="564556" y="521262"/>
                  </a:lnTo>
                  <a:lnTo>
                    <a:pt x="561527" y="517359"/>
                  </a:lnTo>
                  <a:lnTo>
                    <a:pt x="564556" y="512011"/>
                  </a:lnTo>
                  <a:lnTo>
                    <a:pt x="568897" y="509387"/>
                  </a:lnTo>
                  <a:lnTo>
                    <a:pt x="575123" y="507940"/>
                  </a:lnTo>
                  <a:lnTo>
                    <a:pt x="580642" y="507806"/>
                  </a:lnTo>
                  <a:lnTo>
                    <a:pt x="587744" y="506494"/>
                  </a:lnTo>
                  <a:cubicBezTo>
                    <a:pt x="587744" y="506494"/>
                    <a:pt x="594575" y="505182"/>
                    <a:pt x="595148" y="505182"/>
                  </a:cubicBezTo>
                  <a:cubicBezTo>
                    <a:pt x="595720" y="505182"/>
                    <a:pt x="602552" y="504038"/>
                    <a:pt x="602552" y="504038"/>
                  </a:cubicBezTo>
                  <a:lnTo>
                    <a:pt x="610090" y="504610"/>
                  </a:lnTo>
                  <a:lnTo>
                    <a:pt x="615441" y="502154"/>
                  </a:lnTo>
                  <a:lnTo>
                    <a:pt x="616013" y="496065"/>
                  </a:lnTo>
                  <a:lnTo>
                    <a:pt x="609787" y="488967"/>
                  </a:lnTo>
                  <a:cubicBezTo>
                    <a:pt x="609787" y="488967"/>
                    <a:pt x="606018" y="482609"/>
                    <a:pt x="606018" y="481869"/>
                  </a:cubicBezTo>
                  <a:cubicBezTo>
                    <a:pt x="606018" y="481129"/>
                    <a:pt x="605883" y="476083"/>
                    <a:pt x="605883" y="476083"/>
                  </a:cubicBezTo>
                  <a:lnTo>
                    <a:pt x="609215" y="473897"/>
                  </a:lnTo>
                  <a:lnTo>
                    <a:pt x="615441" y="474199"/>
                  </a:lnTo>
                  <a:lnTo>
                    <a:pt x="621230" y="478404"/>
                  </a:lnTo>
                  <a:lnTo>
                    <a:pt x="627759" y="479716"/>
                  </a:lnTo>
                  <a:lnTo>
                    <a:pt x="629913" y="476521"/>
                  </a:lnTo>
                  <a:lnTo>
                    <a:pt x="637586" y="473762"/>
                  </a:lnTo>
                  <a:lnTo>
                    <a:pt x="641927" y="472013"/>
                  </a:lnTo>
                  <a:lnTo>
                    <a:pt x="645562" y="470129"/>
                  </a:lnTo>
                  <a:lnTo>
                    <a:pt x="639336" y="466059"/>
                  </a:lnTo>
                  <a:lnTo>
                    <a:pt x="639201" y="461585"/>
                  </a:lnTo>
                  <a:cubicBezTo>
                    <a:pt x="639201" y="461585"/>
                    <a:pt x="641389" y="459398"/>
                    <a:pt x="641961" y="459398"/>
                  </a:cubicBezTo>
                  <a:cubicBezTo>
                    <a:pt x="642533" y="459398"/>
                    <a:pt x="643543" y="459264"/>
                    <a:pt x="645293" y="459398"/>
                  </a:cubicBezTo>
                  <a:cubicBezTo>
                    <a:pt x="647043" y="459533"/>
                    <a:pt x="650072" y="460845"/>
                    <a:pt x="650072" y="460845"/>
                  </a:cubicBezTo>
                  <a:lnTo>
                    <a:pt x="653101" y="461417"/>
                  </a:lnTo>
                  <a:lnTo>
                    <a:pt x="654413" y="458961"/>
                  </a:lnTo>
                  <a:cubicBezTo>
                    <a:pt x="654413" y="458961"/>
                    <a:pt x="653101" y="454890"/>
                    <a:pt x="652966" y="454319"/>
                  </a:cubicBezTo>
                  <a:cubicBezTo>
                    <a:pt x="652832" y="453747"/>
                    <a:pt x="649332" y="447221"/>
                    <a:pt x="649332" y="447221"/>
                  </a:cubicBezTo>
                  <a:lnTo>
                    <a:pt x="649466" y="443184"/>
                  </a:lnTo>
                  <a:lnTo>
                    <a:pt x="651485" y="441434"/>
                  </a:lnTo>
                  <a:lnTo>
                    <a:pt x="654380" y="433765"/>
                  </a:lnTo>
                  <a:lnTo>
                    <a:pt x="658149" y="429123"/>
                  </a:lnTo>
                  <a:lnTo>
                    <a:pt x="664106" y="427104"/>
                  </a:lnTo>
                  <a:lnTo>
                    <a:pt x="670197" y="425489"/>
                  </a:lnTo>
                  <a:cubicBezTo>
                    <a:pt x="670197" y="425489"/>
                    <a:pt x="673664" y="422731"/>
                    <a:pt x="674101" y="422596"/>
                  </a:cubicBezTo>
                  <a:cubicBezTo>
                    <a:pt x="674539" y="422462"/>
                    <a:pt x="678746" y="421722"/>
                    <a:pt x="679318" y="421722"/>
                  </a:cubicBezTo>
                  <a:cubicBezTo>
                    <a:pt x="679890" y="421722"/>
                    <a:pt x="683390" y="420578"/>
                    <a:pt x="683390" y="420578"/>
                  </a:cubicBezTo>
                  <a:lnTo>
                    <a:pt x="685712" y="417954"/>
                  </a:lnTo>
                  <a:lnTo>
                    <a:pt x="687159" y="416373"/>
                  </a:lnTo>
                  <a:lnTo>
                    <a:pt x="688169" y="413312"/>
                  </a:lnTo>
                  <a:lnTo>
                    <a:pt x="690491" y="412437"/>
                  </a:lnTo>
                  <a:cubicBezTo>
                    <a:pt x="690491" y="412437"/>
                    <a:pt x="691804" y="411260"/>
                    <a:pt x="693520" y="410856"/>
                  </a:cubicBezTo>
                  <a:cubicBezTo>
                    <a:pt x="695270" y="410419"/>
                    <a:pt x="698030" y="409107"/>
                    <a:pt x="698030" y="409107"/>
                  </a:cubicBezTo>
                  <a:cubicBezTo>
                    <a:pt x="698030" y="409107"/>
                    <a:pt x="699342" y="408973"/>
                    <a:pt x="700487" y="408401"/>
                  </a:cubicBezTo>
                  <a:cubicBezTo>
                    <a:pt x="701631" y="407828"/>
                    <a:pt x="702506" y="407223"/>
                    <a:pt x="702506" y="407223"/>
                  </a:cubicBezTo>
                  <a:lnTo>
                    <a:pt x="705568" y="404465"/>
                  </a:lnTo>
                  <a:lnTo>
                    <a:pt x="706006" y="402278"/>
                  </a:lnTo>
                  <a:lnTo>
                    <a:pt x="710347" y="398948"/>
                  </a:lnTo>
                  <a:lnTo>
                    <a:pt x="712669" y="396627"/>
                  </a:lnTo>
                  <a:lnTo>
                    <a:pt x="715126" y="393431"/>
                  </a:lnTo>
                  <a:lnTo>
                    <a:pt x="716001" y="387914"/>
                  </a:lnTo>
                  <a:lnTo>
                    <a:pt x="722800" y="381388"/>
                  </a:lnTo>
                  <a:lnTo>
                    <a:pt x="723540" y="372709"/>
                  </a:lnTo>
                  <a:cubicBezTo>
                    <a:pt x="723540" y="372709"/>
                    <a:pt x="720915" y="369076"/>
                    <a:pt x="720915" y="368638"/>
                  </a:cubicBezTo>
                  <a:cubicBezTo>
                    <a:pt x="720915" y="368201"/>
                    <a:pt x="719333" y="365308"/>
                    <a:pt x="719333" y="364131"/>
                  </a:cubicBezTo>
                  <a:cubicBezTo>
                    <a:pt x="719333" y="362987"/>
                    <a:pt x="718895" y="357033"/>
                    <a:pt x="718895" y="356595"/>
                  </a:cubicBezTo>
                  <a:cubicBezTo>
                    <a:pt x="718895" y="356158"/>
                    <a:pt x="717314" y="353702"/>
                    <a:pt x="717314" y="353702"/>
                  </a:cubicBezTo>
                  <a:cubicBezTo>
                    <a:pt x="717314" y="353702"/>
                    <a:pt x="714857" y="351381"/>
                    <a:pt x="714857" y="350372"/>
                  </a:cubicBezTo>
                  <a:cubicBezTo>
                    <a:pt x="714857" y="349363"/>
                    <a:pt x="713982" y="347748"/>
                    <a:pt x="714857" y="346739"/>
                  </a:cubicBezTo>
                  <a:cubicBezTo>
                    <a:pt x="715732" y="345730"/>
                    <a:pt x="717179" y="343409"/>
                    <a:pt x="717751" y="343106"/>
                  </a:cubicBezTo>
                  <a:cubicBezTo>
                    <a:pt x="718323" y="342803"/>
                    <a:pt x="718626" y="340919"/>
                    <a:pt x="718761" y="340482"/>
                  </a:cubicBezTo>
                  <a:cubicBezTo>
                    <a:pt x="718895" y="340045"/>
                    <a:pt x="718054" y="332812"/>
                    <a:pt x="718054" y="332812"/>
                  </a:cubicBezTo>
                  <a:lnTo>
                    <a:pt x="718323" y="328742"/>
                  </a:lnTo>
                  <a:lnTo>
                    <a:pt x="718323" y="323965"/>
                  </a:lnTo>
                  <a:lnTo>
                    <a:pt x="723237" y="321644"/>
                  </a:lnTo>
                  <a:cubicBezTo>
                    <a:pt x="723237" y="321644"/>
                    <a:pt x="723102" y="321072"/>
                    <a:pt x="724247" y="320635"/>
                  </a:cubicBezTo>
                  <a:cubicBezTo>
                    <a:pt x="725391" y="320197"/>
                    <a:pt x="727881" y="315555"/>
                    <a:pt x="728588" y="315555"/>
                  </a:cubicBezTo>
                  <a:cubicBezTo>
                    <a:pt x="729295" y="315555"/>
                    <a:pt x="734545" y="311922"/>
                    <a:pt x="734545" y="311922"/>
                  </a:cubicBezTo>
                  <a:lnTo>
                    <a:pt x="738886" y="311216"/>
                  </a:lnTo>
                  <a:cubicBezTo>
                    <a:pt x="738886" y="311216"/>
                    <a:pt x="741511" y="310341"/>
                    <a:pt x="742656" y="310072"/>
                  </a:cubicBezTo>
                  <a:cubicBezTo>
                    <a:pt x="743800" y="309769"/>
                    <a:pt x="745416" y="307044"/>
                    <a:pt x="746122" y="307044"/>
                  </a:cubicBezTo>
                  <a:cubicBezTo>
                    <a:pt x="746862" y="307044"/>
                    <a:pt x="748444" y="301965"/>
                    <a:pt x="748444" y="301965"/>
                  </a:cubicBezTo>
                  <a:lnTo>
                    <a:pt x="746560" y="298197"/>
                  </a:lnTo>
                  <a:lnTo>
                    <a:pt x="739896" y="292848"/>
                  </a:lnTo>
                  <a:cubicBezTo>
                    <a:pt x="739896" y="292848"/>
                    <a:pt x="742521" y="285885"/>
                    <a:pt x="743396" y="285616"/>
                  </a:cubicBezTo>
                  <a:cubicBezTo>
                    <a:pt x="744271" y="285313"/>
                    <a:pt x="749622" y="280974"/>
                    <a:pt x="751204" y="280839"/>
                  </a:cubicBezTo>
                  <a:cubicBezTo>
                    <a:pt x="752786" y="280705"/>
                    <a:pt x="756723" y="280839"/>
                    <a:pt x="756723" y="280839"/>
                  </a:cubicBezTo>
                  <a:lnTo>
                    <a:pt x="759618" y="282151"/>
                  </a:lnTo>
                  <a:cubicBezTo>
                    <a:pt x="759618" y="282151"/>
                    <a:pt x="765978" y="276802"/>
                    <a:pt x="766719" y="276802"/>
                  </a:cubicBezTo>
                  <a:cubicBezTo>
                    <a:pt x="767425" y="276802"/>
                    <a:pt x="770926" y="274784"/>
                    <a:pt x="772507" y="274481"/>
                  </a:cubicBezTo>
                  <a:cubicBezTo>
                    <a:pt x="774089" y="274178"/>
                    <a:pt x="775132" y="273169"/>
                    <a:pt x="775132" y="273169"/>
                  </a:cubicBezTo>
                  <a:cubicBezTo>
                    <a:pt x="775132" y="273169"/>
                    <a:pt x="776142" y="270411"/>
                    <a:pt x="775267" y="268830"/>
                  </a:cubicBezTo>
                  <a:cubicBezTo>
                    <a:pt x="774392" y="267249"/>
                    <a:pt x="769613" y="261429"/>
                    <a:pt x="769613" y="261429"/>
                  </a:cubicBezTo>
                  <a:cubicBezTo>
                    <a:pt x="769613" y="261429"/>
                    <a:pt x="768300" y="258401"/>
                    <a:pt x="768300" y="257796"/>
                  </a:cubicBezTo>
                  <a:cubicBezTo>
                    <a:pt x="768300" y="257224"/>
                    <a:pt x="765709" y="249251"/>
                    <a:pt x="765709" y="249251"/>
                  </a:cubicBezTo>
                  <a:lnTo>
                    <a:pt x="766146" y="243600"/>
                  </a:lnTo>
                  <a:lnTo>
                    <a:pt x="771801" y="239126"/>
                  </a:lnTo>
                  <a:lnTo>
                    <a:pt x="777589" y="237545"/>
                  </a:lnTo>
                  <a:lnTo>
                    <a:pt x="783108" y="235526"/>
                  </a:lnTo>
                  <a:lnTo>
                    <a:pt x="786003" y="229875"/>
                  </a:lnTo>
                  <a:lnTo>
                    <a:pt x="784118" y="224661"/>
                  </a:lnTo>
                  <a:lnTo>
                    <a:pt x="781931" y="218572"/>
                  </a:lnTo>
                  <a:lnTo>
                    <a:pt x="782233" y="213492"/>
                  </a:lnTo>
                  <a:lnTo>
                    <a:pt x="781661" y="208413"/>
                  </a:lnTo>
                  <a:lnTo>
                    <a:pt x="775873" y="203939"/>
                  </a:lnTo>
                  <a:lnTo>
                    <a:pt x="773988" y="201046"/>
                  </a:lnTo>
                  <a:lnTo>
                    <a:pt x="772676" y="198287"/>
                  </a:lnTo>
                  <a:lnTo>
                    <a:pt x="772103" y="194654"/>
                  </a:lnTo>
                  <a:lnTo>
                    <a:pt x="773248" y="191627"/>
                  </a:lnTo>
                  <a:lnTo>
                    <a:pt x="775132" y="188599"/>
                  </a:lnTo>
                  <a:lnTo>
                    <a:pt x="778329" y="185403"/>
                  </a:lnTo>
                  <a:lnTo>
                    <a:pt x="781964" y="181770"/>
                  </a:lnTo>
                  <a:lnTo>
                    <a:pt x="778633" y="181030"/>
                  </a:lnTo>
                  <a:cubicBezTo>
                    <a:pt x="778633" y="181030"/>
                    <a:pt x="776310" y="181333"/>
                    <a:pt x="774863" y="181602"/>
                  </a:cubicBezTo>
                  <a:cubicBezTo>
                    <a:pt x="773416" y="181905"/>
                    <a:pt x="771666" y="182174"/>
                    <a:pt x="770219" y="182174"/>
                  </a:cubicBezTo>
                  <a:cubicBezTo>
                    <a:pt x="768772" y="182174"/>
                    <a:pt x="766584" y="181467"/>
                    <a:pt x="765575" y="181165"/>
                  </a:cubicBezTo>
                  <a:cubicBezTo>
                    <a:pt x="764565" y="180862"/>
                    <a:pt x="761940" y="180862"/>
                    <a:pt x="761368" y="180862"/>
                  </a:cubicBezTo>
                  <a:cubicBezTo>
                    <a:pt x="760795" y="180862"/>
                    <a:pt x="757733" y="180727"/>
                    <a:pt x="757733" y="180727"/>
                  </a:cubicBezTo>
                  <a:cubicBezTo>
                    <a:pt x="757733" y="180727"/>
                    <a:pt x="755411" y="180862"/>
                    <a:pt x="754401" y="180727"/>
                  </a:cubicBezTo>
                  <a:cubicBezTo>
                    <a:pt x="753392" y="180593"/>
                    <a:pt x="751372" y="181165"/>
                    <a:pt x="750766" y="181737"/>
                  </a:cubicBezTo>
                  <a:cubicBezTo>
                    <a:pt x="750194" y="182308"/>
                    <a:pt x="748310" y="182746"/>
                    <a:pt x="746122" y="183318"/>
                  </a:cubicBezTo>
                  <a:cubicBezTo>
                    <a:pt x="743968" y="183890"/>
                    <a:pt x="743800" y="185639"/>
                    <a:pt x="742218" y="186345"/>
                  </a:cubicBezTo>
                  <a:cubicBezTo>
                    <a:pt x="740603" y="187052"/>
                    <a:pt x="740165" y="186783"/>
                    <a:pt x="738314" y="187926"/>
                  </a:cubicBezTo>
                  <a:cubicBezTo>
                    <a:pt x="736430" y="189104"/>
                    <a:pt x="735555" y="190247"/>
                    <a:pt x="733098" y="191694"/>
                  </a:cubicBezTo>
                  <a:cubicBezTo>
                    <a:pt x="730641" y="193141"/>
                    <a:pt x="730641" y="191829"/>
                    <a:pt x="729631" y="191694"/>
                  </a:cubicBezTo>
                  <a:cubicBezTo>
                    <a:pt x="728622" y="191559"/>
                    <a:pt x="728319" y="191257"/>
                    <a:pt x="728050" y="190819"/>
                  </a:cubicBezTo>
                  <a:cubicBezTo>
                    <a:pt x="727780" y="190382"/>
                    <a:pt x="725021" y="189373"/>
                    <a:pt x="723708" y="188633"/>
                  </a:cubicBezTo>
                  <a:cubicBezTo>
                    <a:pt x="722429" y="187926"/>
                    <a:pt x="721251" y="187186"/>
                    <a:pt x="719939" y="186312"/>
                  </a:cubicBezTo>
                  <a:cubicBezTo>
                    <a:pt x="718626" y="185437"/>
                    <a:pt x="719064" y="184428"/>
                    <a:pt x="719064" y="183856"/>
                  </a:cubicBezTo>
                  <a:cubicBezTo>
                    <a:pt x="719064" y="183284"/>
                    <a:pt x="719198" y="181535"/>
                    <a:pt x="719501" y="181097"/>
                  </a:cubicBezTo>
                  <a:cubicBezTo>
                    <a:pt x="719804" y="180660"/>
                    <a:pt x="719636" y="176455"/>
                    <a:pt x="719636" y="175177"/>
                  </a:cubicBezTo>
                  <a:cubicBezTo>
                    <a:pt x="719636" y="173865"/>
                    <a:pt x="719636" y="172116"/>
                    <a:pt x="720074" y="170669"/>
                  </a:cubicBezTo>
                  <a:cubicBezTo>
                    <a:pt x="720511" y="169223"/>
                    <a:pt x="719939" y="167339"/>
                    <a:pt x="719939" y="167339"/>
                  </a:cubicBezTo>
                  <a:cubicBezTo>
                    <a:pt x="719939" y="167339"/>
                    <a:pt x="719939" y="165018"/>
                    <a:pt x="720074" y="164143"/>
                  </a:cubicBezTo>
                  <a:cubicBezTo>
                    <a:pt x="720208" y="163269"/>
                    <a:pt x="720074" y="161519"/>
                    <a:pt x="720074" y="161519"/>
                  </a:cubicBezTo>
                  <a:lnTo>
                    <a:pt x="720646" y="155565"/>
                  </a:lnTo>
                  <a:lnTo>
                    <a:pt x="720074" y="151797"/>
                  </a:lnTo>
                  <a:lnTo>
                    <a:pt x="720074" y="148602"/>
                  </a:lnTo>
                  <a:lnTo>
                    <a:pt x="718761" y="144094"/>
                  </a:lnTo>
                  <a:lnTo>
                    <a:pt x="717011" y="143219"/>
                  </a:lnTo>
                  <a:lnTo>
                    <a:pt x="713107" y="142076"/>
                  </a:lnTo>
                  <a:cubicBezTo>
                    <a:pt x="713107" y="142076"/>
                    <a:pt x="709338" y="141504"/>
                    <a:pt x="708765" y="141504"/>
                  </a:cubicBezTo>
                  <a:cubicBezTo>
                    <a:pt x="708193" y="141504"/>
                    <a:pt x="705299" y="142244"/>
                    <a:pt x="705299" y="142244"/>
                  </a:cubicBezTo>
                  <a:lnTo>
                    <a:pt x="702539" y="142244"/>
                  </a:lnTo>
                  <a:cubicBezTo>
                    <a:pt x="702539" y="142244"/>
                    <a:pt x="701395" y="143118"/>
                    <a:pt x="700352" y="143993"/>
                  </a:cubicBezTo>
                  <a:cubicBezTo>
                    <a:pt x="699342" y="144868"/>
                    <a:pt x="700352" y="143690"/>
                    <a:pt x="699208" y="145170"/>
                  </a:cubicBezTo>
                  <a:cubicBezTo>
                    <a:pt x="698063" y="146617"/>
                    <a:pt x="697895" y="146314"/>
                    <a:pt x="697054" y="147626"/>
                  </a:cubicBezTo>
                  <a:cubicBezTo>
                    <a:pt x="696179" y="148938"/>
                    <a:pt x="693587" y="149813"/>
                    <a:pt x="693587" y="149813"/>
                  </a:cubicBezTo>
                  <a:lnTo>
                    <a:pt x="690693" y="151562"/>
                  </a:lnTo>
                  <a:cubicBezTo>
                    <a:pt x="690693" y="151562"/>
                    <a:pt x="689549" y="151562"/>
                    <a:pt x="688068" y="154589"/>
                  </a:cubicBezTo>
                  <a:cubicBezTo>
                    <a:pt x="686621" y="157617"/>
                    <a:pt x="687799" y="157348"/>
                    <a:pt x="688203" y="159501"/>
                  </a:cubicBezTo>
                  <a:cubicBezTo>
                    <a:pt x="688640" y="161687"/>
                    <a:pt x="688068" y="161519"/>
                    <a:pt x="688068" y="162091"/>
                  </a:cubicBezTo>
                  <a:cubicBezTo>
                    <a:pt x="688068" y="162663"/>
                    <a:pt x="687058" y="163975"/>
                    <a:pt x="685746" y="166565"/>
                  </a:cubicBezTo>
                  <a:cubicBezTo>
                    <a:pt x="684433" y="169189"/>
                    <a:pt x="681977" y="167742"/>
                    <a:pt x="680529" y="167742"/>
                  </a:cubicBezTo>
                  <a:cubicBezTo>
                    <a:pt x="679082" y="167742"/>
                    <a:pt x="677063" y="166565"/>
                    <a:pt x="675178" y="165724"/>
                  </a:cubicBezTo>
                  <a:cubicBezTo>
                    <a:pt x="673294" y="164849"/>
                    <a:pt x="673597" y="163975"/>
                    <a:pt x="672284" y="162394"/>
                  </a:cubicBezTo>
                  <a:cubicBezTo>
                    <a:pt x="670971" y="160813"/>
                    <a:pt x="671409" y="158929"/>
                    <a:pt x="671409" y="158929"/>
                  </a:cubicBezTo>
                  <a:cubicBezTo>
                    <a:pt x="671409" y="158929"/>
                    <a:pt x="671409" y="155901"/>
                    <a:pt x="671274" y="155027"/>
                  </a:cubicBezTo>
                  <a:cubicBezTo>
                    <a:pt x="671140" y="154152"/>
                    <a:pt x="670837" y="151999"/>
                    <a:pt x="670837" y="151999"/>
                  </a:cubicBezTo>
                  <a:lnTo>
                    <a:pt x="670702" y="148097"/>
                  </a:lnTo>
                  <a:lnTo>
                    <a:pt x="671005" y="143758"/>
                  </a:lnTo>
                  <a:lnTo>
                    <a:pt x="676087" y="137534"/>
                  </a:lnTo>
                  <a:cubicBezTo>
                    <a:pt x="676087" y="137534"/>
                    <a:pt x="676087" y="137534"/>
                    <a:pt x="676524" y="137400"/>
                  </a:cubicBezTo>
                  <a:cubicBezTo>
                    <a:pt x="676962" y="137265"/>
                    <a:pt x="676962" y="134809"/>
                    <a:pt x="677669" y="134069"/>
                  </a:cubicBezTo>
                  <a:cubicBezTo>
                    <a:pt x="678409" y="133363"/>
                    <a:pt x="680260" y="131883"/>
                    <a:pt x="681741" y="131311"/>
                  </a:cubicBezTo>
                  <a:cubicBezTo>
                    <a:pt x="683188" y="130739"/>
                    <a:pt x="683053" y="130167"/>
                    <a:pt x="683053" y="130167"/>
                  </a:cubicBezTo>
                  <a:lnTo>
                    <a:pt x="688842" y="128283"/>
                  </a:lnTo>
                  <a:cubicBezTo>
                    <a:pt x="688842" y="128283"/>
                    <a:pt x="688539" y="126265"/>
                    <a:pt x="688707" y="125828"/>
                  </a:cubicBezTo>
                  <a:cubicBezTo>
                    <a:pt x="688842" y="125390"/>
                    <a:pt x="688842" y="123237"/>
                    <a:pt x="688842" y="123237"/>
                  </a:cubicBezTo>
                  <a:lnTo>
                    <a:pt x="689145" y="121353"/>
                  </a:lnTo>
                  <a:lnTo>
                    <a:pt x="691030" y="118326"/>
                  </a:lnTo>
                  <a:cubicBezTo>
                    <a:pt x="691030" y="118326"/>
                    <a:pt x="691030" y="118326"/>
                    <a:pt x="691332" y="117889"/>
                  </a:cubicBezTo>
                  <a:cubicBezTo>
                    <a:pt x="691635" y="117451"/>
                    <a:pt x="694530" y="116442"/>
                    <a:pt x="695236" y="116005"/>
                  </a:cubicBezTo>
                  <a:cubicBezTo>
                    <a:pt x="695943" y="115568"/>
                    <a:pt x="696852" y="114558"/>
                    <a:pt x="697693" y="113684"/>
                  </a:cubicBezTo>
                  <a:cubicBezTo>
                    <a:pt x="698568" y="112809"/>
                    <a:pt x="699578" y="111800"/>
                    <a:pt x="699578" y="111800"/>
                  </a:cubicBezTo>
                  <a:lnTo>
                    <a:pt x="701765" y="111228"/>
                  </a:lnTo>
                  <a:cubicBezTo>
                    <a:pt x="701765" y="111228"/>
                    <a:pt x="704222" y="109781"/>
                    <a:pt x="704660" y="109647"/>
                  </a:cubicBezTo>
                  <a:cubicBezTo>
                    <a:pt x="705097" y="109512"/>
                    <a:pt x="706241" y="107628"/>
                    <a:pt x="706241" y="107628"/>
                  </a:cubicBezTo>
                  <a:lnTo>
                    <a:pt x="706814" y="106047"/>
                  </a:lnTo>
                  <a:lnTo>
                    <a:pt x="707823" y="101405"/>
                  </a:lnTo>
                  <a:lnTo>
                    <a:pt x="708530" y="95888"/>
                  </a:lnTo>
                  <a:lnTo>
                    <a:pt x="705636" y="85157"/>
                  </a:lnTo>
                  <a:lnTo>
                    <a:pt x="706208" y="80818"/>
                  </a:lnTo>
                  <a:lnTo>
                    <a:pt x="706645" y="77050"/>
                  </a:lnTo>
                  <a:cubicBezTo>
                    <a:pt x="706645" y="77050"/>
                    <a:pt x="708665" y="74460"/>
                    <a:pt x="708833" y="74022"/>
                  </a:cubicBezTo>
                  <a:cubicBezTo>
                    <a:pt x="708967" y="73585"/>
                    <a:pt x="710583" y="71399"/>
                    <a:pt x="710583" y="71399"/>
                  </a:cubicBezTo>
                  <a:lnTo>
                    <a:pt x="712468" y="69380"/>
                  </a:lnTo>
                  <a:lnTo>
                    <a:pt x="714790" y="67799"/>
                  </a:lnTo>
                  <a:lnTo>
                    <a:pt x="716371" y="67059"/>
                  </a:lnTo>
                  <a:lnTo>
                    <a:pt x="717987" y="66353"/>
                  </a:lnTo>
                  <a:lnTo>
                    <a:pt x="719434" y="64166"/>
                  </a:lnTo>
                  <a:lnTo>
                    <a:pt x="721891" y="61542"/>
                  </a:lnTo>
                  <a:cubicBezTo>
                    <a:pt x="721891" y="61542"/>
                    <a:pt x="721891" y="58077"/>
                    <a:pt x="721891" y="57472"/>
                  </a:cubicBezTo>
                  <a:cubicBezTo>
                    <a:pt x="721891" y="56900"/>
                    <a:pt x="720511" y="55891"/>
                    <a:pt x="719939" y="55722"/>
                  </a:cubicBezTo>
                  <a:cubicBezTo>
                    <a:pt x="719367" y="55588"/>
                    <a:pt x="717549" y="54579"/>
                    <a:pt x="717549" y="54579"/>
                  </a:cubicBezTo>
                  <a:cubicBezTo>
                    <a:pt x="717549" y="54579"/>
                    <a:pt x="715833" y="54142"/>
                    <a:pt x="715227" y="54007"/>
                  </a:cubicBezTo>
                  <a:cubicBezTo>
                    <a:pt x="714655" y="53872"/>
                    <a:pt x="713040" y="54007"/>
                    <a:pt x="712468" y="54007"/>
                  </a:cubicBezTo>
                  <a:cubicBezTo>
                    <a:pt x="711895" y="54007"/>
                    <a:pt x="710145" y="53872"/>
                    <a:pt x="710145" y="53872"/>
                  </a:cubicBezTo>
                  <a:cubicBezTo>
                    <a:pt x="710145" y="53872"/>
                    <a:pt x="706814" y="54175"/>
                    <a:pt x="706241" y="54310"/>
                  </a:cubicBezTo>
                  <a:cubicBezTo>
                    <a:pt x="705669" y="54444"/>
                    <a:pt x="704222" y="54747"/>
                    <a:pt x="704222" y="54747"/>
                  </a:cubicBezTo>
                  <a:cubicBezTo>
                    <a:pt x="704222" y="54747"/>
                    <a:pt x="702472" y="55622"/>
                    <a:pt x="701025" y="55891"/>
                  </a:cubicBezTo>
                  <a:cubicBezTo>
                    <a:pt x="699578" y="56193"/>
                    <a:pt x="698703" y="55151"/>
                    <a:pt x="698265" y="55016"/>
                  </a:cubicBezTo>
                  <a:cubicBezTo>
                    <a:pt x="697828" y="54881"/>
                    <a:pt x="696953" y="52560"/>
                    <a:pt x="696381" y="52392"/>
                  </a:cubicBezTo>
                  <a:cubicBezTo>
                    <a:pt x="695808" y="52258"/>
                    <a:pt x="694933" y="50206"/>
                    <a:pt x="694933" y="50206"/>
                  </a:cubicBezTo>
                  <a:lnTo>
                    <a:pt x="693789" y="48456"/>
                  </a:lnTo>
                  <a:lnTo>
                    <a:pt x="693520" y="44823"/>
                  </a:lnTo>
                  <a:cubicBezTo>
                    <a:pt x="693520" y="44823"/>
                    <a:pt x="694664" y="41056"/>
                    <a:pt x="695102" y="40484"/>
                  </a:cubicBezTo>
                  <a:cubicBezTo>
                    <a:pt x="695539" y="39912"/>
                    <a:pt x="696549" y="38600"/>
                    <a:pt x="697121" y="37591"/>
                  </a:cubicBezTo>
                  <a:cubicBezTo>
                    <a:pt x="697693" y="36582"/>
                    <a:pt x="697559" y="36413"/>
                    <a:pt x="698131" y="35572"/>
                  </a:cubicBezTo>
                  <a:cubicBezTo>
                    <a:pt x="698703" y="34698"/>
                    <a:pt x="700285" y="33251"/>
                    <a:pt x="700285" y="32511"/>
                  </a:cubicBezTo>
                  <a:cubicBezTo>
                    <a:pt x="700285" y="31805"/>
                    <a:pt x="700285" y="31637"/>
                    <a:pt x="700015" y="31065"/>
                  </a:cubicBezTo>
                  <a:cubicBezTo>
                    <a:pt x="699712" y="30493"/>
                    <a:pt x="699712" y="28474"/>
                    <a:pt x="699578" y="28037"/>
                  </a:cubicBezTo>
                  <a:cubicBezTo>
                    <a:pt x="699443" y="27600"/>
                    <a:pt x="699140" y="26153"/>
                    <a:pt x="699275" y="25279"/>
                  </a:cubicBezTo>
                  <a:cubicBezTo>
                    <a:pt x="699410" y="24404"/>
                    <a:pt x="700150" y="22251"/>
                    <a:pt x="700150" y="22251"/>
                  </a:cubicBezTo>
                  <a:lnTo>
                    <a:pt x="701025" y="18046"/>
                  </a:lnTo>
                  <a:lnTo>
                    <a:pt x="701025" y="14144"/>
                  </a:lnTo>
                  <a:cubicBezTo>
                    <a:pt x="701025" y="14144"/>
                    <a:pt x="700217" y="12126"/>
                    <a:pt x="699510" y="11957"/>
                  </a:cubicBezTo>
                  <a:cubicBezTo>
                    <a:pt x="698770" y="11823"/>
                    <a:pt x="697996" y="9367"/>
                    <a:pt x="696852" y="8930"/>
                  </a:cubicBezTo>
                  <a:cubicBezTo>
                    <a:pt x="695707" y="8493"/>
                    <a:pt x="693789" y="6306"/>
                    <a:pt x="693789" y="6306"/>
                  </a:cubicBezTo>
                  <a:cubicBezTo>
                    <a:pt x="693789" y="6306"/>
                    <a:pt x="690592" y="7046"/>
                    <a:pt x="690020" y="7181"/>
                  </a:cubicBezTo>
                  <a:cubicBezTo>
                    <a:pt x="689448" y="7315"/>
                    <a:pt x="688573" y="8324"/>
                    <a:pt x="688270" y="8930"/>
                  </a:cubicBezTo>
                  <a:cubicBezTo>
                    <a:pt x="687967" y="9502"/>
                    <a:pt x="684669" y="9064"/>
                    <a:pt x="684669" y="9064"/>
                  </a:cubicBezTo>
                  <a:lnTo>
                    <a:pt x="678712" y="6609"/>
                  </a:lnTo>
                  <a:cubicBezTo>
                    <a:pt x="678712" y="6609"/>
                    <a:pt x="677399" y="4859"/>
                    <a:pt x="676524" y="4590"/>
                  </a:cubicBezTo>
                  <a:cubicBezTo>
                    <a:pt x="675649" y="4288"/>
                    <a:pt x="673495" y="2572"/>
                    <a:pt x="673495" y="2572"/>
                  </a:cubicBezTo>
                  <a:cubicBezTo>
                    <a:pt x="673495" y="2572"/>
                    <a:pt x="671611" y="688"/>
                    <a:pt x="670601" y="116"/>
                  </a:cubicBezTo>
                  <a:cubicBezTo>
                    <a:pt x="669592" y="-456"/>
                    <a:pt x="669289" y="1260"/>
                    <a:pt x="668582" y="1428"/>
                  </a:cubicBezTo>
                  <a:cubicBezTo>
                    <a:pt x="667875" y="1563"/>
                    <a:pt x="668582" y="1428"/>
                    <a:pt x="668010" y="2303"/>
                  </a:cubicBezTo>
                  <a:cubicBezTo>
                    <a:pt x="667438" y="3177"/>
                    <a:pt x="666697" y="3615"/>
                    <a:pt x="666697" y="4759"/>
                  </a:cubicBezTo>
                  <a:cubicBezTo>
                    <a:pt x="666697" y="5902"/>
                    <a:pt x="665822" y="6777"/>
                    <a:pt x="665519" y="8089"/>
                  </a:cubicBezTo>
                  <a:cubicBezTo>
                    <a:pt x="665216" y="9401"/>
                    <a:pt x="664947" y="9535"/>
                    <a:pt x="664813" y="10107"/>
                  </a:cubicBezTo>
                  <a:cubicBezTo>
                    <a:pt x="664678" y="10679"/>
                    <a:pt x="663500" y="11856"/>
                    <a:pt x="663063" y="12294"/>
                  </a:cubicBezTo>
                  <a:cubicBezTo>
                    <a:pt x="662625" y="12731"/>
                    <a:pt x="661043" y="14178"/>
                    <a:pt x="659865" y="14312"/>
                  </a:cubicBezTo>
                  <a:cubicBezTo>
                    <a:pt x="658721" y="14447"/>
                    <a:pt x="654514" y="14749"/>
                    <a:pt x="654077" y="14615"/>
                  </a:cubicBezTo>
                  <a:cubicBezTo>
                    <a:pt x="653639" y="14480"/>
                    <a:pt x="652461" y="13740"/>
                    <a:pt x="651889" y="13606"/>
                  </a:cubicBezTo>
                  <a:cubicBezTo>
                    <a:pt x="651317" y="13471"/>
                    <a:pt x="646538" y="8257"/>
                    <a:pt x="646538" y="8257"/>
                  </a:cubicBezTo>
                  <a:lnTo>
                    <a:pt x="644519" y="6811"/>
                  </a:lnTo>
                  <a:lnTo>
                    <a:pt x="641322" y="6811"/>
                  </a:lnTo>
                  <a:lnTo>
                    <a:pt x="637687" y="8627"/>
                  </a:lnTo>
                  <a:lnTo>
                    <a:pt x="629711" y="9569"/>
                  </a:lnTo>
                  <a:cubicBezTo>
                    <a:pt x="629711" y="9569"/>
                    <a:pt x="628971" y="12462"/>
                    <a:pt x="628836" y="14346"/>
                  </a:cubicBezTo>
                  <a:cubicBezTo>
                    <a:pt x="628701" y="16230"/>
                    <a:pt x="627523" y="16936"/>
                    <a:pt x="627389" y="17811"/>
                  </a:cubicBezTo>
                  <a:cubicBezTo>
                    <a:pt x="627254" y="18685"/>
                    <a:pt x="624494" y="20266"/>
                    <a:pt x="623922" y="20838"/>
                  </a:cubicBezTo>
                  <a:cubicBezTo>
                    <a:pt x="623350" y="21410"/>
                    <a:pt x="621600" y="22722"/>
                    <a:pt x="620288" y="22857"/>
                  </a:cubicBezTo>
                  <a:cubicBezTo>
                    <a:pt x="618975" y="22991"/>
                    <a:pt x="618840" y="24741"/>
                    <a:pt x="617965" y="25480"/>
                  </a:cubicBezTo>
                  <a:cubicBezTo>
                    <a:pt x="617090" y="26221"/>
                    <a:pt x="616821" y="26221"/>
                    <a:pt x="616081" y="26490"/>
                  </a:cubicBezTo>
                  <a:cubicBezTo>
                    <a:pt x="615374" y="26792"/>
                    <a:pt x="614499" y="27633"/>
                    <a:pt x="613893" y="27936"/>
                  </a:cubicBezTo>
                  <a:cubicBezTo>
                    <a:pt x="613321" y="28239"/>
                    <a:pt x="612749" y="29248"/>
                    <a:pt x="612143" y="29685"/>
                  </a:cubicBezTo>
                  <a:cubicBezTo>
                    <a:pt x="611571" y="30123"/>
                    <a:pt x="610831" y="31267"/>
                    <a:pt x="610561" y="32444"/>
                  </a:cubicBezTo>
                  <a:cubicBezTo>
                    <a:pt x="610259" y="33588"/>
                    <a:pt x="609686" y="35202"/>
                    <a:pt x="609686" y="35640"/>
                  </a:cubicBezTo>
                  <a:cubicBezTo>
                    <a:pt x="609686" y="36077"/>
                    <a:pt x="608239" y="37658"/>
                    <a:pt x="608239" y="38095"/>
                  </a:cubicBezTo>
                  <a:cubicBezTo>
                    <a:pt x="608239" y="38533"/>
                    <a:pt x="607667" y="41998"/>
                    <a:pt x="607364" y="43007"/>
                  </a:cubicBezTo>
                  <a:cubicBezTo>
                    <a:pt x="607061" y="44016"/>
                    <a:pt x="605648" y="45328"/>
                    <a:pt x="605648" y="45328"/>
                  </a:cubicBezTo>
                  <a:cubicBezTo>
                    <a:pt x="605648" y="45328"/>
                    <a:pt x="603629" y="45900"/>
                    <a:pt x="602451" y="45631"/>
                  </a:cubicBezTo>
                  <a:cubicBezTo>
                    <a:pt x="601306" y="45328"/>
                    <a:pt x="601004" y="43612"/>
                    <a:pt x="600566" y="43040"/>
                  </a:cubicBezTo>
                  <a:cubicBezTo>
                    <a:pt x="600129" y="42468"/>
                    <a:pt x="599556" y="41022"/>
                    <a:pt x="599388" y="40585"/>
                  </a:cubicBezTo>
                  <a:cubicBezTo>
                    <a:pt x="599220" y="40147"/>
                    <a:pt x="598076" y="38701"/>
                    <a:pt x="598076" y="38701"/>
                  </a:cubicBezTo>
                  <a:lnTo>
                    <a:pt x="594609" y="37254"/>
                  </a:lnTo>
                  <a:lnTo>
                    <a:pt x="592724" y="37389"/>
                  </a:lnTo>
                  <a:lnTo>
                    <a:pt x="591580" y="38970"/>
                  </a:lnTo>
                  <a:cubicBezTo>
                    <a:pt x="591580" y="38970"/>
                    <a:pt x="586667" y="41426"/>
                    <a:pt x="586061" y="41426"/>
                  </a:cubicBezTo>
                  <a:cubicBezTo>
                    <a:pt x="585489" y="41426"/>
                    <a:pt x="583873" y="38667"/>
                    <a:pt x="583604" y="38230"/>
                  </a:cubicBezTo>
                  <a:cubicBezTo>
                    <a:pt x="583301" y="37793"/>
                    <a:pt x="582729" y="33722"/>
                    <a:pt x="582729" y="33722"/>
                  </a:cubicBezTo>
                  <a:lnTo>
                    <a:pt x="582729" y="27062"/>
                  </a:lnTo>
                  <a:lnTo>
                    <a:pt x="574181" y="23866"/>
                  </a:lnTo>
                  <a:lnTo>
                    <a:pt x="571859" y="22857"/>
                  </a:lnTo>
                  <a:lnTo>
                    <a:pt x="567080" y="24606"/>
                  </a:lnTo>
                  <a:cubicBezTo>
                    <a:pt x="567080" y="24606"/>
                    <a:pt x="562301" y="28811"/>
                    <a:pt x="561863" y="29080"/>
                  </a:cubicBezTo>
                  <a:cubicBezTo>
                    <a:pt x="561426" y="29383"/>
                    <a:pt x="560685" y="29955"/>
                    <a:pt x="560281" y="31401"/>
                  </a:cubicBezTo>
                  <a:cubicBezTo>
                    <a:pt x="559844" y="32848"/>
                    <a:pt x="560113" y="36313"/>
                    <a:pt x="560281" y="37860"/>
                  </a:cubicBezTo>
                  <a:cubicBezTo>
                    <a:pt x="560416" y="39407"/>
                    <a:pt x="559272" y="40215"/>
                    <a:pt x="559272" y="40215"/>
                  </a:cubicBezTo>
                  <a:cubicBezTo>
                    <a:pt x="559272" y="40215"/>
                    <a:pt x="558128" y="41089"/>
                    <a:pt x="557690" y="41527"/>
                  </a:cubicBezTo>
                  <a:cubicBezTo>
                    <a:pt x="557253" y="41964"/>
                    <a:pt x="555671" y="43848"/>
                    <a:pt x="554055" y="45429"/>
                  </a:cubicBezTo>
                  <a:cubicBezTo>
                    <a:pt x="553752" y="45732"/>
                    <a:pt x="553618" y="45866"/>
                    <a:pt x="553483" y="46001"/>
                  </a:cubicBezTo>
                  <a:cubicBezTo>
                    <a:pt x="553248" y="46976"/>
                    <a:pt x="553517" y="50273"/>
                    <a:pt x="553887" y="50643"/>
                  </a:cubicBezTo>
                  <a:cubicBezTo>
                    <a:pt x="554325" y="51080"/>
                    <a:pt x="554156" y="51518"/>
                    <a:pt x="554156" y="51518"/>
                  </a:cubicBezTo>
                  <a:cubicBezTo>
                    <a:pt x="554156" y="51518"/>
                    <a:pt x="554291" y="52527"/>
                    <a:pt x="555334" y="53704"/>
                  </a:cubicBezTo>
                  <a:cubicBezTo>
                    <a:pt x="555704" y="54142"/>
                    <a:pt x="555906" y="54310"/>
                    <a:pt x="556007" y="54377"/>
                  </a:cubicBezTo>
                  <a:cubicBezTo>
                    <a:pt x="555806" y="54814"/>
                    <a:pt x="554964" y="56429"/>
                    <a:pt x="554459" y="57304"/>
                  </a:cubicBezTo>
                  <a:cubicBezTo>
                    <a:pt x="553887" y="58313"/>
                    <a:pt x="552877" y="57741"/>
                    <a:pt x="552272" y="58178"/>
                  </a:cubicBezTo>
                  <a:cubicBezTo>
                    <a:pt x="551700" y="58616"/>
                    <a:pt x="548940" y="58616"/>
                    <a:pt x="547190" y="58616"/>
                  </a:cubicBezTo>
                  <a:cubicBezTo>
                    <a:pt x="545440" y="58616"/>
                    <a:pt x="541401" y="57304"/>
                    <a:pt x="540829" y="57304"/>
                  </a:cubicBezTo>
                  <a:cubicBezTo>
                    <a:pt x="540257" y="57304"/>
                    <a:pt x="538069" y="53671"/>
                    <a:pt x="538069" y="53671"/>
                  </a:cubicBezTo>
                  <a:cubicBezTo>
                    <a:pt x="538069" y="53671"/>
                    <a:pt x="539517" y="51080"/>
                    <a:pt x="539954" y="50912"/>
                  </a:cubicBezTo>
                  <a:cubicBezTo>
                    <a:pt x="540392" y="50778"/>
                    <a:pt x="544868" y="47010"/>
                    <a:pt x="544868" y="47010"/>
                  </a:cubicBezTo>
                  <a:lnTo>
                    <a:pt x="543993" y="43680"/>
                  </a:lnTo>
                  <a:lnTo>
                    <a:pt x="538473" y="41493"/>
                  </a:lnTo>
                  <a:cubicBezTo>
                    <a:pt x="538473" y="41493"/>
                    <a:pt x="536454" y="39172"/>
                    <a:pt x="535848" y="39306"/>
                  </a:cubicBezTo>
                  <a:cubicBezTo>
                    <a:pt x="535276" y="39441"/>
                    <a:pt x="532819" y="41190"/>
                    <a:pt x="531507" y="41493"/>
                  </a:cubicBezTo>
                  <a:cubicBezTo>
                    <a:pt x="530194" y="41796"/>
                    <a:pt x="526997" y="41627"/>
                    <a:pt x="526997" y="41627"/>
                  </a:cubicBezTo>
                  <a:lnTo>
                    <a:pt x="524540" y="40753"/>
                  </a:lnTo>
                  <a:lnTo>
                    <a:pt x="523665" y="37995"/>
                  </a:lnTo>
                  <a:cubicBezTo>
                    <a:pt x="523665" y="37995"/>
                    <a:pt x="519761" y="37557"/>
                    <a:pt x="519189" y="37995"/>
                  </a:cubicBezTo>
                  <a:cubicBezTo>
                    <a:pt x="518617" y="38432"/>
                    <a:pt x="516598" y="37995"/>
                    <a:pt x="516598" y="37995"/>
                  </a:cubicBezTo>
                  <a:lnTo>
                    <a:pt x="514276" y="39138"/>
                  </a:lnTo>
                  <a:cubicBezTo>
                    <a:pt x="514276" y="39138"/>
                    <a:pt x="513973" y="45227"/>
                    <a:pt x="513973" y="46371"/>
                  </a:cubicBezTo>
                  <a:cubicBezTo>
                    <a:pt x="513973" y="47548"/>
                    <a:pt x="512357" y="48557"/>
                    <a:pt x="511785" y="49129"/>
                  </a:cubicBezTo>
                  <a:cubicBezTo>
                    <a:pt x="511213" y="49701"/>
                    <a:pt x="510170" y="50878"/>
                    <a:pt x="508891" y="52325"/>
                  </a:cubicBezTo>
                  <a:cubicBezTo>
                    <a:pt x="507578" y="53772"/>
                    <a:pt x="507006" y="55218"/>
                    <a:pt x="506737" y="55790"/>
                  </a:cubicBezTo>
                  <a:cubicBezTo>
                    <a:pt x="506434" y="56362"/>
                    <a:pt x="505727" y="58111"/>
                    <a:pt x="505593" y="58986"/>
                  </a:cubicBezTo>
                  <a:cubicBezTo>
                    <a:pt x="505458" y="59860"/>
                    <a:pt x="505155" y="60432"/>
                    <a:pt x="505021" y="60869"/>
                  </a:cubicBezTo>
                  <a:cubicBezTo>
                    <a:pt x="504886" y="61307"/>
                    <a:pt x="503136" y="62181"/>
                    <a:pt x="502698" y="62181"/>
                  </a:cubicBezTo>
                  <a:cubicBezTo>
                    <a:pt x="502261" y="62181"/>
                    <a:pt x="501386" y="63056"/>
                    <a:pt x="501386" y="64065"/>
                  </a:cubicBezTo>
                  <a:cubicBezTo>
                    <a:pt x="501386" y="65074"/>
                    <a:pt x="501689" y="64940"/>
                    <a:pt x="501689" y="64940"/>
                  </a:cubicBezTo>
                  <a:cubicBezTo>
                    <a:pt x="501689" y="64940"/>
                    <a:pt x="502698" y="66824"/>
                    <a:pt x="503439" y="66958"/>
                  </a:cubicBezTo>
                  <a:cubicBezTo>
                    <a:pt x="504146" y="67093"/>
                    <a:pt x="503574" y="67967"/>
                    <a:pt x="503574" y="67967"/>
                  </a:cubicBezTo>
                  <a:lnTo>
                    <a:pt x="503708" y="70154"/>
                  </a:lnTo>
                  <a:lnTo>
                    <a:pt x="502698" y="70591"/>
                  </a:lnTo>
                  <a:lnTo>
                    <a:pt x="501386" y="73350"/>
                  </a:lnTo>
                  <a:cubicBezTo>
                    <a:pt x="501386" y="73350"/>
                    <a:pt x="499198" y="73787"/>
                    <a:pt x="498357" y="73787"/>
                  </a:cubicBezTo>
                  <a:cubicBezTo>
                    <a:pt x="497482" y="73787"/>
                    <a:pt x="495900" y="73484"/>
                    <a:pt x="494722" y="73215"/>
                  </a:cubicBezTo>
                  <a:cubicBezTo>
                    <a:pt x="493578" y="72912"/>
                    <a:pt x="492266" y="72778"/>
                    <a:pt x="491088" y="72778"/>
                  </a:cubicBezTo>
                  <a:cubicBezTo>
                    <a:pt x="489943" y="72778"/>
                    <a:pt x="489371" y="72206"/>
                    <a:pt x="488765" y="72038"/>
                  </a:cubicBezTo>
                  <a:cubicBezTo>
                    <a:pt x="488193" y="71903"/>
                    <a:pt x="486881" y="71028"/>
                    <a:pt x="486881" y="71028"/>
                  </a:cubicBezTo>
                  <a:lnTo>
                    <a:pt x="484996" y="69145"/>
                  </a:lnTo>
                  <a:lnTo>
                    <a:pt x="482809" y="66386"/>
                  </a:lnTo>
                  <a:lnTo>
                    <a:pt x="482102" y="64940"/>
                  </a:lnTo>
                  <a:lnTo>
                    <a:pt x="480924" y="64065"/>
                  </a:lnTo>
                  <a:cubicBezTo>
                    <a:pt x="480924" y="64065"/>
                    <a:pt x="479174" y="64065"/>
                    <a:pt x="478770" y="64065"/>
                  </a:cubicBezTo>
                  <a:cubicBezTo>
                    <a:pt x="478333" y="64065"/>
                    <a:pt x="477323" y="64368"/>
                    <a:pt x="476717" y="64637"/>
                  </a:cubicBezTo>
                  <a:cubicBezTo>
                    <a:pt x="476145" y="64940"/>
                    <a:pt x="476010" y="65209"/>
                    <a:pt x="475135" y="65512"/>
                  </a:cubicBezTo>
                  <a:cubicBezTo>
                    <a:pt x="474260" y="65814"/>
                    <a:pt x="473251" y="66655"/>
                    <a:pt x="472376" y="67261"/>
                  </a:cubicBezTo>
                  <a:cubicBezTo>
                    <a:pt x="471501" y="67833"/>
                    <a:pt x="470929" y="68136"/>
                    <a:pt x="470929" y="68136"/>
                  </a:cubicBezTo>
                  <a:cubicBezTo>
                    <a:pt x="470929" y="68136"/>
                    <a:pt x="467159" y="70154"/>
                    <a:pt x="466587" y="70457"/>
                  </a:cubicBezTo>
                  <a:cubicBezTo>
                    <a:pt x="466015" y="70760"/>
                    <a:pt x="465005" y="71601"/>
                    <a:pt x="464433" y="71769"/>
                  </a:cubicBezTo>
                  <a:cubicBezTo>
                    <a:pt x="463861" y="71903"/>
                    <a:pt x="463121" y="72340"/>
                    <a:pt x="462851" y="72778"/>
                  </a:cubicBezTo>
                  <a:cubicBezTo>
                    <a:pt x="462549" y="73215"/>
                    <a:pt x="461842" y="73652"/>
                    <a:pt x="461404" y="74090"/>
                  </a:cubicBezTo>
                  <a:cubicBezTo>
                    <a:pt x="460967" y="74527"/>
                    <a:pt x="460395" y="75233"/>
                    <a:pt x="459957" y="75402"/>
                  </a:cubicBezTo>
                  <a:cubicBezTo>
                    <a:pt x="459520" y="75536"/>
                    <a:pt x="459217" y="77151"/>
                    <a:pt x="459217" y="77151"/>
                  </a:cubicBezTo>
                  <a:lnTo>
                    <a:pt x="459217" y="78463"/>
                  </a:lnTo>
                  <a:lnTo>
                    <a:pt x="461034" y="79035"/>
                  </a:lnTo>
                  <a:lnTo>
                    <a:pt x="462986" y="78732"/>
                  </a:lnTo>
                  <a:cubicBezTo>
                    <a:pt x="462986" y="78732"/>
                    <a:pt x="465746" y="77857"/>
                    <a:pt x="466621" y="77857"/>
                  </a:cubicBezTo>
                  <a:cubicBezTo>
                    <a:pt x="467496" y="77857"/>
                    <a:pt x="470255" y="78564"/>
                    <a:pt x="470828" y="78867"/>
                  </a:cubicBezTo>
                  <a:cubicBezTo>
                    <a:pt x="471400" y="79169"/>
                    <a:pt x="471703" y="81457"/>
                    <a:pt x="471703" y="81457"/>
                  </a:cubicBezTo>
                  <a:lnTo>
                    <a:pt x="471837" y="84484"/>
                  </a:lnTo>
                  <a:cubicBezTo>
                    <a:pt x="471837" y="84484"/>
                    <a:pt x="471097" y="87243"/>
                    <a:pt x="470659" y="88689"/>
                  </a:cubicBezTo>
                  <a:cubicBezTo>
                    <a:pt x="470222" y="90136"/>
                    <a:pt x="469347" y="91448"/>
                    <a:pt x="468909" y="91717"/>
                  </a:cubicBezTo>
                  <a:cubicBezTo>
                    <a:pt x="468472" y="92020"/>
                    <a:pt x="467765" y="92289"/>
                    <a:pt x="467765" y="92289"/>
                  </a:cubicBezTo>
                  <a:cubicBezTo>
                    <a:pt x="467765" y="92289"/>
                    <a:pt x="464568" y="95485"/>
                    <a:pt x="463861" y="96494"/>
                  </a:cubicBezTo>
                  <a:cubicBezTo>
                    <a:pt x="463121" y="97503"/>
                    <a:pt x="459351" y="96628"/>
                    <a:pt x="458510" y="96931"/>
                  </a:cubicBezTo>
                  <a:cubicBezTo>
                    <a:pt x="457635" y="97234"/>
                    <a:pt x="454034" y="96797"/>
                    <a:pt x="454034" y="96797"/>
                  </a:cubicBezTo>
                  <a:cubicBezTo>
                    <a:pt x="454034" y="96797"/>
                    <a:pt x="449524" y="93163"/>
                    <a:pt x="449390" y="92322"/>
                  </a:cubicBezTo>
                  <a:cubicBezTo>
                    <a:pt x="449255" y="91448"/>
                    <a:pt x="449524" y="88252"/>
                    <a:pt x="449524" y="88252"/>
                  </a:cubicBezTo>
                  <a:lnTo>
                    <a:pt x="448212" y="85796"/>
                  </a:lnTo>
                  <a:lnTo>
                    <a:pt x="445317" y="84484"/>
                  </a:lnTo>
                  <a:lnTo>
                    <a:pt x="443433" y="85359"/>
                  </a:lnTo>
                  <a:cubicBezTo>
                    <a:pt x="443433" y="85359"/>
                    <a:pt x="442726" y="85796"/>
                    <a:pt x="442120" y="86099"/>
                  </a:cubicBezTo>
                  <a:cubicBezTo>
                    <a:pt x="441548" y="86402"/>
                    <a:pt x="436904" y="91448"/>
                    <a:pt x="436769" y="92020"/>
                  </a:cubicBezTo>
                  <a:cubicBezTo>
                    <a:pt x="436635" y="92592"/>
                    <a:pt x="436635" y="95922"/>
                    <a:pt x="436635" y="95922"/>
                  </a:cubicBezTo>
                  <a:lnTo>
                    <a:pt x="433875" y="98243"/>
                  </a:lnTo>
                  <a:cubicBezTo>
                    <a:pt x="433875" y="98243"/>
                    <a:pt x="432125" y="99690"/>
                    <a:pt x="431687" y="100261"/>
                  </a:cubicBezTo>
                  <a:cubicBezTo>
                    <a:pt x="431250" y="100833"/>
                    <a:pt x="430375" y="101842"/>
                    <a:pt x="429937" y="102448"/>
                  </a:cubicBezTo>
                  <a:cubicBezTo>
                    <a:pt x="429500" y="103020"/>
                    <a:pt x="429634" y="106653"/>
                    <a:pt x="429634" y="106653"/>
                  </a:cubicBezTo>
                  <a:lnTo>
                    <a:pt x="429634" y="109714"/>
                  </a:lnTo>
                  <a:lnTo>
                    <a:pt x="429769" y="112035"/>
                  </a:lnTo>
                  <a:lnTo>
                    <a:pt x="429197" y="115803"/>
                  </a:lnTo>
                  <a:lnTo>
                    <a:pt x="428322" y="118427"/>
                  </a:lnTo>
                  <a:lnTo>
                    <a:pt x="425562" y="118999"/>
                  </a:lnTo>
                  <a:lnTo>
                    <a:pt x="424250" y="118427"/>
                  </a:lnTo>
                  <a:lnTo>
                    <a:pt x="421793" y="114659"/>
                  </a:lnTo>
                  <a:lnTo>
                    <a:pt x="420783" y="111463"/>
                  </a:lnTo>
                  <a:cubicBezTo>
                    <a:pt x="420783" y="111463"/>
                    <a:pt x="417889" y="109714"/>
                    <a:pt x="417149" y="109580"/>
                  </a:cubicBezTo>
                  <a:cubicBezTo>
                    <a:pt x="416442" y="109445"/>
                    <a:pt x="414389" y="106821"/>
                    <a:pt x="414389" y="106821"/>
                  </a:cubicBezTo>
                  <a:lnTo>
                    <a:pt x="408735" y="102919"/>
                  </a:lnTo>
                  <a:lnTo>
                    <a:pt x="403216" y="99017"/>
                  </a:lnTo>
                  <a:lnTo>
                    <a:pt x="398302" y="96258"/>
                  </a:lnTo>
                  <a:lnTo>
                    <a:pt x="390898" y="99454"/>
                  </a:lnTo>
                  <a:lnTo>
                    <a:pt x="385681" y="103962"/>
                  </a:lnTo>
                  <a:lnTo>
                    <a:pt x="382484" y="108739"/>
                  </a:lnTo>
                  <a:lnTo>
                    <a:pt x="381172" y="110925"/>
                  </a:lnTo>
                  <a:cubicBezTo>
                    <a:pt x="381172" y="110925"/>
                    <a:pt x="379994" y="115130"/>
                    <a:pt x="379994" y="116005"/>
                  </a:cubicBezTo>
                  <a:cubicBezTo>
                    <a:pt x="379994" y="116879"/>
                    <a:pt x="380129" y="119772"/>
                    <a:pt x="380129" y="119772"/>
                  </a:cubicBezTo>
                  <a:cubicBezTo>
                    <a:pt x="380129" y="119772"/>
                    <a:pt x="381138" y="123237"/>
                    <a:pt x="381138" y="124280"/>
                  </a:cubicBezTo>
                  <a:cubicBezTo>
                    <a:pt x="381138" y="125289"/>
                    <a:pt x="380701" y="127308"/>
                    <a:pt x="380263" y="127913"/>
                  </a:cubicBezTo>
                  <a:cubicBezTo>
                    <a:pt x="379826" y="128485"/>
                    <a:pt x="378076" y="130672"/>
                    <a:pt x="376359" y="131378"/>
                  </a:cubicBezTo>
                  <a:cubicBezTo>
                    <a:pt x="374609" y="132085"/>
                    <a:pt x="373465" y="134406"/>
                    <a:pt x="373027" y="134574"/>
                  </a:cubicBezTo>
                  <a:cubicBezTo>
                    <a:pt x="372590" y="134708"/>
                    <a:pt x="370571" y="136155"/>
                    <a:pt x="367373" y="136458"/>
                  </a:cubicBezTo>
                  <a:cubicBezTo>
                    <a:pt x="364176" y="136760"/>
                    <a:pt x="364176" y="137030"/>
                    <a:pt x="361585" y="137198"/>
                  </a:cubicBezTo>
                  <a:cubicBezTo>
                    <a:pt x="358960" y="137332"/>
                    <a:pt x="356368" y="138207"/>
                    <a:pt x="354921" y="138510"/>
                  </a:cubicBezTo>
                  <a:cubicBezTo>
                    <a:pt x="353474" y="138812"/>
                    <a:pt x="351892" y="139216"/>
                    <a:pt x="351455" y="139216"/>
                  </a:cubicBezTo>
                  <a:cubicBezTo>
                    <a:pt x="351017" y="139216"/>
                    <a:pt x="348695" y="138779"/>
                    <a:pt x="348258" y="138644"/>
                  </a:cubicBezTo>
                  <a:cubicBezTo>
                    <a:pt x="347820" y="138510"/>
                    <a:pt x="344488" y="137500"/>
                    <a:pt x="343613" y="137063"/>
                  </a:cubicBezTo>
                  <a:cubicBezTo>
                    <a:pt x="342738" y="136626"/>
                    <a:pt x="341022" y="136189"/>
                    <a:pt x="340281" y="135751"/>
                  </a:cubicBezTo>
                  <a:cubicBezTo>
                    <a:pt x="339575" y="135314"/>
                    <a:pt x="337690" y="131849"/>
                    <a:pt x="337690" y="131849"/>
                  </a:cubicBezTo>
                  <a:lnTo>
                    <a:pt x="336108" y="128216"/>
                  </a:lnTo>
                  <a:cubicBezTo>
                    <a:pt x="336108" y="128216"/>
                    <a:pt x="335536" y="124886"/>
                    <a:pt x="335233" y="124314"/>
                  </a:cubicBezTo>
                  <a:cubicBezTo>
                    <a:pt x="334930" y="123742"/>
                    <a:pt x="329579" y="121993"/>
                    <a:pt x="329579" y="121993"/>
                  </a:cubicBezTo>
                  <a:lnTo>
                    <a:pt x="328132" y="122867"/>
                  </a:lnTo>
                  <a:cubicBezTo>
                    <a:pt x="328132" y="122867"/>
                    <a:pt x="326550" y="125054"/>
                    <a:pt x="325541" y="125626"/>
                  </a:cubicBezTo>
                  <a:cubicBezTo>
                    <a:pt x="324531" y="126198"/>
                    <a:pt x="323353" y="127072"/>
                    <a:pt x="321637" y="127644"/>
                  </a:cubicBezTo>
                  <a:cubicBezTo>
                    <a:pt x="319887" y="128216"/>
                    <a:pt x="318743" y="128081"/>
                    <a:pt x="318743" y="128081"/>
                  </a:cubicBezTo>
                  <a:cubicBezTo>
                    <a:pt x="318743" y="128081"/>
                    <a:pt x="315714" y="128519"/>
                    <a:pt x="315108" y="128519"/>
                  </a:cubicBezTo>
                  <a:cubicBezTo>
                    <a:pt x="314536" y="128519"/>
                    <a:pt x="311473" y="127644"/>
                    <a:pt x="311473" y="127644"/>
                  </a:cubicBezTo>
                  <a:lnTo>
                    <a:pt x="308579" y="122733"/>
                  </a:lnTo>
                  <a:lnTo>
                    <a:pt x="308713" y="116779"/>
                  </a:lnTo>
                  <a:cubicBezTo>
                    <a:pt x="308713" y="116779"/>
                    <a:pt x="302319" y="111262"/>
                    <a:pt x="301747" y="111127"/>
                  </a:cubicBezTo>
                  <a:cubicBezTo>
                    <a:pt x="301175" y="110992"/>
                    <a:pt x="300872" y="105778"/>
                    <a:pt x="300569" y="105038"/>
                  </a:cubicBezTo>
                  <a:cubicBezTo>
                    <a:pt x="300266" y="104332"/>
                    <a:pt x="298819" y="100396"/>
                    <a:pt x="298112" y="99118"/>
                  </a:cubicBezTo>
                  <a:cubicBezTo>
                    <a:pt x="297406" y="97806"/>
                    <a:pt x="293906" y="94206"/>
                    <a:pt x="293199" y="93769"/>
                  </a:cubicBezTo>
                  <a:cubicBezTo>
                    <a:pt x="292458" y="93332"/>
                    <a:pt x="289732" y="90001"/>
                    <a:pt x="289732" y="90001"/>
                  </a:cubicBezTo>
                  <a:cubicBezTo>
                    <a:pt x="289732" y="90001"/>
                    <a:pt x="287713" y="89127"/>
                    <a:pt x="287107" y="89261"/>
                  </a:cubicBezTo>
                  <a:cubicBezTo>
                    <a:pt x="286535" y="89396"/>
                    <a:pt x="281016" y="89127"/>
                    <a:pt x="280578" y="89261"/>
                  </a:cubicBezTo>
                  <a:cubicBezTo>
                    <a:pt x="280141" y="89396"/>
                    <a:pt x="273612" y="92020"/>
                    <a:pt x="273612" y="92020"/>
                  </a:cubicBezTo>
                  <a:lnTo>
                    <a:pt x="268698" y="95350"/>
                  </a:lnTo>
                  <a:lnTo>
                    <a:pt x="266073" y="98680"/>
                  </a:lnTo>
                  <a:cubicBezTo>
                    <a:pt x="266073" y="98680"/>
                    <a:pt x="262607" y="101708"/>
                    <a:pt x="261563" y="102145"/>
                  </a:cubicBezTo>
                  <a:cubicBezTo>
                    <a:pt x="260554" y="102582"/>
                    <a:pt x="260823" y="104601"/>
                    <a:pt x="260823" y="106485"/>
                  </a:cubicBezTo>
                  <a:cubicBezTo>
                    <a:pt x="260823" y="108369"/>
                    <a:pt x="261563" y="109075"/>
                    <a:pt x="262573" y="110824"/>
                  </a:cubicBezTo>
                  <a:cubicBezTo>
                    <a:pt x="263583" y="112574"/>
                    <a:pt x="263011" y="111531"/>
                    <a:pt x="263885" y="113583"/>
                  </a:cubicBezTo>
                  <a:cubicBezTo>
                    <a:pt x="264761" y="115601"/>
                    <a:pt x="264020" y="116610"/>
                    <a:pt x="264020" y="118057"/>
                  </a:cubicBezTo>
                  <a:cubicBezTo>
                    <a:pt x="264020" y="119503"/>
                    <a:pt x="263717" y="121522"/>
                    <a:pt x="263583" y="122396"/>
                  </a:cubicBezTo>
                  <a:cubicBezTo>
                    <a:pt x="263448" y="123271"/>
                    <a:pt x="262270" y="124583"/>
                    <a:pt x="261261" y="125424"/>
                  </a:cubicBezTo>
                  <a:cubicBezTo>
                    <a:pt x="260251" y="126299"/>
                    <a:pt x="257491" y="129192"/>
                    <a:pt x="256044" y="130504"/>
                  </a:cubicBezTo>
                  <a:cubicBezTo>
                    <a:pt x="254597" y="131815"/>
                    <a:pt x="254597" y="131244"/>
                    <a:pt x="254597" y="131244"/>
                  </a:cubicBezTo>
                  <a:lnTo>
                    <a:pt x="252140" y="133262"/>
                  </a:lnTo>
                  <a:cubicBezTo>
                    <a:pt x="252140" y="133262"/>
                    <a:pt x="244164" y="133834"/>
                    <a:pt x="243592" y="134002"/>
                  </a:cubicBezTo>
                  <a:cubicBezTo>
                    <a:pt x="243020" y="134136"/>
                    <a:pt x="235919" y="135011"/>
                    <a:pt x="235481" y="135146"/>
                  </a:cubicBezTo>
                  <a:cubicBezTo>
                    <a:pt x="235044" y="135280"/>
                    <a:pt x="231274" y="135146"/>
                    <a:pt x="231274" y="135146"/>
                  </a:cubicBezTo>
                  <a:cubicBezTo>
                    <a:pt x="231274" y="135146"/>
                    <a:pt x="230130" y="136289"/>
                    <a:pt x="228952" y="136895"/>
                  </a:cubicBezTo>
                  <a:cubicBezTo>
                    <a:pt x="227808" y="137467"/>
                    <a:pt x="224476" y="139923"/>
                    <a:pt x="223298" y="140663"/>
                  </a:cubicBezTo>
                  <a:cubicBezTo>
                    <a:pt x="222154" y="141403"/>
                    <a:pt x="221413" y="142244"/>
                    <a:pt x="219966" y="142546"/>
                  </a:cubicBezTo>
                  <a:cubicBezTo>
                    <a:pt x="218519" y="142849"/>
                    <a:pt x="217375" y="143556"/>
                    <a:pt x="217375" y="143556"/>
                  </a:cubicBezTo>
                  <a:cubicBezTo>
                    <a:pt x="217375" y="143556"/>
                    <a:pt x="213606" y="144699"/>
                    <a:pt x="212731" y="145305"/>
                  </a:cubicBezTo>
                  <a:cubicBezTo>
                    <a:pt x="211856" y="145877"/>
                    <a:pt x="207649" y="147929"/>
                    <a:pt x="206639" y="148770"/>
                  </a:cubicBezTo>
                  <a:cubicBezTo>
                    <a:pt x="205629" y="149644"/>
                    <a:pt x="204317" y="150216"/>
                    <a:pt x="204317" y="150216"/>
                  </a:cubicBezTo>
                  <a:lnTo>
                    <a:pt x="201995" y="152672"/>
                  </a:lnTo>
                  <a:lnTo>
                    <a:pt x="198528" y="155128"/>
                  </a:lnTo>
                  <a:cubicBezTo>
                    <a:pt x="198528" y="155128"/>
                    <a:pt x="187961" y="155430"/>
                    <a:pt x="187086" y="155430"/>
                  </a:cubicBezTo>
                  <a:cubicBezTo>
                    <a:pt x="186211" y="155430"/>
                    <a:pt x="182879" y="155733"/>
                    <a:pt x="182307" y="156002"/>
                  </a:cubicBezTo>
                  <a:cubicBezTo>
                    <a:pt x="181735" y="156305"/>
                    <a:pt x="181163" y="156440"/>
                    <a:pt x="179985" y="157449"/>
                  </a:cubicBezTo>
                  <a:cubicBezTo>
                    <a:pt x="178841" y="158458"/>
                    <a:pt x="178403" y="160073"/>
                    <a:pt x="178538" y="161217"/>
                  </a:cubicBezTo>
                  <a:cubicBezTo>
                    <a:pt x="178672" y="162360"/>
                    <a:pt x="178538" y="161217"/>
                    <a:pt x="179985" y="162663"/>
                  </a:cubicBezTo>
                  <a:cubicBezTo>
                    <a:pt x="181432" y="164109"/>
                    <a:pt x="182744" y="164984"/>
                    <a:pt x="183889" y="166868"/>
                  </a:cubicBezTo>
                  <a:cubicBezTo>
                    <a:pt x="185033" y="168752"/>
                    <a:pt x="185201" y="171779"/>
                    <a:pt x="185201" y="172385"/>
                  </a:cubicBezTo>
                  <a:cubicBezTo>
                    <a:pt x="185201" y="172957"/>
                    <a:pt x="181163" y="174841"/>
                    <a:pt x="181163" y="174841"/>
                  </a:cubicBezTo>
                  <a:lnTo>
                    <a:pt x="177662" y="182241"/>
                  </a:lnTo>
                  <a:lnTo>
                    <a:pt x="175340" y="185000"/>
                  </a:lnTo>
                  <a:cubicBezTo>
                    <a:pt x="175340" y="185000"/>
                    <a:pt x="170561" y="191963"/>
                    <a:pt x="170124" y="192535"/>
                  </a:cubicBezTo>
                  <a:cubicBezTo>
                    <a:pt x="169686" y="193107"/>
                    <a:pt x="166085" y="193982"/>
                    <a:pt x="164907" y="193982"/>
                  </a:cubicBezTo>
                  <a:cubicBezTo>
                    <a:pt x="163730" y="193982"/>
                    <a:pt x="161273" y="193409"/>
                    <a:pt x="160398" y="193107"/>
                  </a:cubicBezTo>
                  <a:cubicBezTo>
                    <a:pt x="159523" y="192804"/>
                    <a:pt x="157369" y="191963"/>
                    <a:pt x="156628" y="191223"/>
                  </a:cubicBezTo>
                  <a:cubicBezTo>
                    <a:pt x="155922" y="190483"/>
                    <a:pt x="155181" y="187758"/>
                    <a:pt x="155181" y="187758"/>
                  </a:cubicBezTo>
                  <a:cubicBezTo>
                    <a:pt x="155181" y="187758"/>
                    <a:pt x="153600" y="183419"/>
                    <a:pt x="152994" y="183116"/>
                  </a:cubicBezTo>
                  <a:cubicBezTo>
                    <a:pt x="152422" y="182813"/>
                    <a:pt x="150974" y="182981"/>
                    <a:pt x="150974" y="182981"/>
                  </a:cubicBezTo>
                  <a:cubicBezTo>
                    <a:pt x="150974" y="182981"/>
                    <a:pt x="148652" y="183419"/>
                    <a:pt x="148080" y="183553"/>
                  </a:cubicBezTo>
                  <a:cubicBezTo>
                    <a:pt x="147508" y="183688"/>
                    <a:pt x="143739" y="184428"/>
                    <a:pt x="143301" y="184428"/>
                  </a:cubicBezTo>
                  <a:cubicBezTo>
                    <a:pt x="142864" y="184428"/>
                    <a:pt x="138960" y="184125"/>
                    <a:pt x="138219" y="184125"/>
                  </a:cubicBezTo>
                  <a:cubicBezTo>
                    <a:pt x="137513" y="184125"/>
                    <a:pt x="137075" y="182678"/>
                    <a:pt x="137075" y="182678"/>
                  </a:cubicBezTo>
                  <a:cubicBezTo>
                    <a:pt x="137075" y="182678"/>
                    <a:pt x="135763" y="180492"/>
                    <a:pt x="135190" y="180088"/>
                  </a:cubicBezTo>
                  <a:cubicBezTo>
                    <a:pt x="134618" y="179651"/>
                    <a:pt x="133878" y="179214"/>
                    <a:pt x="133878" y="179214"/>
                  </a:cubicBezTo>
                  <a:cubicBezTo>
                    <a:pt x="133878" y="179214"/>
                    <a:pt x="128661" y="175883"/>
                    <a:pt x="127786" y="175143"/>
                  </a:cubicBezTo>
                  <a:cubicBezTo>
                    <a:pt x="126912" y="174403"/>
                    <a:pt x="125902" y="174269"/>
                    <a:pt x="125902" y="174269"/>
                  </a:cubicBezTo>
                  <a:cubicBezTo>
                    <a:pt x="125902" y="174269"/>
                    <a:pt x="123142" y="174000"/>
                    <a:pt x="121695" y="174000"/>
                  </a:cubicBezTo>
                  <a:cubicBezTo>
                    <a:pt x="120248" y="174000"/>
                    <a:pt x="117051" y="173562"/>
                    <a:pt x="115906" y="172990"/>
                  </a:cubicBezTo>
                  <a:cubicBezTo>
                    <a:pt x="114762" y="172418"/>
                    <a:pt x="112877" y="171106"/>
                    <a:pt x="111868" y="170232"/>
                  </a:cubicBezTo>
                  <a:cubicBezTo>
                    <a:pt x="110858" y="169357"/>
                    <a:pt x="109849" y="167911"/>
                    <a:pt x="109849" y="167911"/>
                  </a:cubicBezTo>
                  <a:cubicBezTo>
                    <a:pt x="109849" y="167911"/>
                    <a:pt x="107392" y="164849"/>
                    <a:pt x="106820" y="164278"/>
                  </a:cubicBezTo>
                  <a:cubicBezTo>
                    <a:pt x="106248" y="163706"/>
                    <a:pt x="105507" y="162091"/>
                    <a:pt x="105238" y="161519"/>
                  </a:cubicBezTo>
                  <a:cubicBezTo>
                    <a:pt x="104935" y="160947"/>
                    <a:pt x="104800" y="157886"/>
                    <a:pt x="104800" y="157886"/>
                  </a:cubicBezTo>
                  <a:lnTo>
                    <a:pt x="105507" y="156742"/>
                  </a:lnTo>
                  <a:lnTo>
                    <a:pt x="106820" y="154118"/>
                  </a:lnTo>
                  <a:lnTo>
                    <a:pt x="105238" y="152672"/>
                  </a:lnTo>
                  <a:cubicBezTo>
                    <a:pt x="105238" y="152672"/>
                    <a:pt x="101771" y="152672"/>
                    <a:pt x="100762" y="152975"/>
                  </a:cubicBezTo>
                  <a:cubicBezTo>
                    <a:pt x="99752" y="153277"/>
                    <a:pt x="99012" y="153681"/>
                    <a:pt x="98574" y="154118"/>
                  </a:cubicBezTo>
                  <a:cubicBezTo>
                    <a:pt x="98137" y="154556"/>
                    <a:pt x="95108" y="155700"/>
                    <a:pt x="93795" y="155868"/>
                  </a:cubicBezTo>
                  <a:cubicBezTo>
                    <a:pt x="92483" y="156002"/>
                    <a:pt x="89454" y="156002"/>
                    <a:pt x="88579" y="156002"/>
                  </a:cubicBezTo>
                  <a:cubicBezTo>
                    <a:pt x="87704" y="156002"/>
                    <a:pt x="84810" y="154993"/>
                    <a:pt x="84810" y="154993"/>
                  </a:cubicBezTo>
                  <a:lnTo>
                    <a:pt x="84675" y="152235"/>
                  </a:lnTo>
                  <a:lnTo>
                    <a:pt x="84810" y="149207"/>
                  </a:lnTo>
                  <a:lnTo>
                    <a:pt x="84237" y="145742"/>
                  </a:lnTo>
                  <a:lnTo>
                    <a:pt x="81781" y="143152"/>
                  </a:lnTo>
                  <a:lnTo>
                    <a:pt x="78583" y="141403"/>
                  </a:lnTo>
                  <a:cubicBezTo>
                    <a:pt x="78583" y="141403"/>
                    <a:pt x="77574" y="142143"/>
                    <a:pt x="77439" y="142546"/>
                  </a:cubicBezTo>
                  <a:cubicBezTo>
                    <a:pt x="77304" y="142984"/>
                    <a:pt x="73232" y="146180"/>
                    <a:pt x="72795" y="146449"/>
                  </a:cubicBezTo>
                  <a:cubicBezTo>
                    <a:pt x="72357" y="146751"/>
                    <a:pt x="70775" y="148030"/>
                    <a:pt x="69901" y="148333"/>
                  </a:cubicBezTo>
                  <a:cubicBezTo>
                    <a:pt x="69026" y="148635"/>
                    <a:pt x="67309" y="150351"/>
                    <a:pt x="67309" y="150351"/>
                  </a:cubicBezTo>
                  <a:cubicBezTo>
                    <a:pt x="67309" y="150351"/>
                    <a:pt x="62396" y="151932"/>
                    <a:pt x="61083" y="152369"/>
                  </a:cubicBezTo>
                  <a:cubicBezTo>
                    <a:pt x="59771" y="152807"/>
                    <a:pt x="59064" y="153378"/>
                    <a:pt x="59064" y="153378"/>
                  </a:cubicBezTo>
                  <a:lnTo>
                    <a:pt x="60208" y="155700"/>
                  </a:lnTo>
                  <a:lnTo>
                    <a:pt x="62362" y="157449"/>
                  </a:lnTo>
                  <a:lnTo>
                    <a:pt x="62665" y="158155"/>
                  </a:lnTo>
                  <a:lnTo>
                    <a:pt x="59905" y="161923"/>
                  </a:lnTo>
                  <a:lnTo>
                    <a:pt x="51794" y="169895"/>
                  </a:lnTo>
                  <a:lnTo>
                    <a:pt x="50482" y="171577"/>
                  </a:lnTo>
                  <a:cubicBezTo>
                    <a:pt x="50482" y="171577"/>
                    <a:pt x="48092" y="173529"/>
                    <a:pt x="47722" y="173831"/>
                  </a:cubicBezTo>
                  <a:cubicBezTo>
                    <a:pt x="47352" y="174134"/>
                    <a:pt x="46477" y="175211"/>
                    <a:pt x="46477" y="175211"/>
                  </a:cubicBezTo>
                  <a:cubicBezTo>
                    <a:pt x="46477" y="175211"/>
                    <a:pt x="45333" y="177027"/>
                    <a:pt x="45232" y="177229"/>
                  </a:cubicBezTo>
                  <a:cubicBezTo>
                    <a:pt x="45164" y="177431"/>
                    <a:pt x="44491" y="179046"/>
                    <a:pt x="44491" y="179415"/>
                  </a:cubicBezTo>
                  <a:cubicBezTo>
                    <a:pt x="44491" y="179785"/>
                    <a:pt x="43785" y="183049"/>
                    <a:pt x="43785" y="183049"/>
                  </a:cubicBezTo>
                  <a:lnTo>
                    <a:pt x="42640" y="184125"/>
                  </a:lnTo>
                  <a:cubicBezTo>
                    <a:pt x="42640" y="184125"/>
                    <a:pt x="40991" y="184125"/>
                    <a:pt x="40015" y="184125"/>
                  </a:cubicBezTo>
                  <a:cubicBezTo>
                    <a:pt x="39073" y="184125"/>
                    <a:pt x="37929" y="184159"/>
                    <a:pt x="37323" y="184293"/>
                  </a:cubicBezTo>
                  <a:cubicBezTo>
                    <a:pt x="36751" y="184428"/>
                    <a:pt x="35135" y="184630"/>
                    <a:pt x="34630" y="184630"/>
                  </a:cubicBezTo>
                  <a:cubicBezTo>
                    <a:pt x="34126" y="184630"/>
                    <a:pt x="31130" y="185773"/>
                    <a:pt x="30861" y="186076"/>
                  </a:cubicBezTo>
                  <a:cubicBezTo>
                    <a:pt x="30558" y="186379"/>
                    <a:pt x="27900" y="187893"/>
                    <a:pt x="27529" y="188162"/>
                  </a:cubicBezTo>
                  <a:cubicBezTo>
                    <a:pt x="27159" y="188465"/>
                    <a:pt x="26082" y="188801"/>
                    <a:pt x="24770" y="188801"/>
                  </a:cubicBezTo>
                  <a:cubicBezTo>
                    <a:pt x="23457" y="188801"/>
                    <a:pt x="23828" y="188734"/>
                    <a:pt x="23525" y="188734"/>
                  </a:cubicBezTo>
                  <a:cubicBezTo>
                    <a:pt x="23222" y="188734"/>
                    <a:pt x="20327" y="185841"/>
                    <a:pt x="20327" y="185841"/>
                  </a:cubicBezTo>
                  <a:lnTo>
                    <a:pt x="17702" y="183452"/>
                  </a:lnTo>
                  <a:lnTo>
                    <a:pt x="14303" y="179113"/>
                  </a:lnTo>
                  <a:lnTo>
                    <a:pt x="12351" y="176926"/>
                  </a:lnTo>
                  <a:lnTo>
                    <a:pt x="10197" y="175850"/>
                  </a:lnTo>
                  <a:cubicBezTo>
                    <a:pt x="10197" y="175850"/>
                    <a:pt x="6798" y="176859"/>
                    <a:pt x="6058" y="177431"/>
                  </a:cubicBezTo>
                  <a:cubicBezTo>
                    <a:pt x="5351" y="178003"/>
                    <a:pt x="5183" y="177868"/>
                    <a:pt x="4745" y="178440"/>
                  </a:cubicBezTo>
                  <a:cubicBezTo>
                    <a:pt x="4308" y="179012"/>
                    <a:pt x="2423" y="179886"/>
                    <a:pt x="2423" y="179886"/>
                  </a:cubicBezTo>
                  <a:lnTo>
                    <a:pt x="1716" y="181467"/>
                  </a:lnTo>
                  <a:cubicBezTo>
                    <a:pt x="1716" y="181467"/>
                    <a:pt x="1716" y="184058"/>
                    <a:pt x="1716" y="184663"/>
                  </a:cubicBezTo>
                  <a:cubicBezTo>
                    <a:pt x="1716" y="185235"/>
                    <a:pt x="774" y="186850"/>
                    <a:pt x="639" y="187254"/>
                  </a:cubicBezTo>
                  <a:cubicBezTo>
                    <a:pt x="505" y="187691"/>
                    <a:pt x="0" y="190147"/>
                    <a:pt x="0" y="190147"/>
                  </a:cubicBezTo>
                  <a:cubicBezTo>
                    <a:pt x="0" y="190147"/>
                    <a:pt x="0" y="191728"/>
                    <a:pt x="0" y="192165"/>
                  </a:cubicBezTo>
                  <a:cubicBezTo>
                    <a:pt x="0" y="192602"/>
                    <a:pt x="1750" y="193611"/>
                    <a:pt x="1750" y="193611"/>
                  </a:cubicBezTo>
                  <a:lnTo>
                    <a:pt x="1750" y="195495"/>
                  </a:lnTo>
                  <a:lnTo>
                    <a:pt x="3500" y="198691"/>
                  </a:lnTo>
                  <a:cubicBezTo>
                    <a:pt x="3500" y="198691"/>
                    <a:pt x="2490" y="201012"/>
                    <a:pt x="2322" y="201584"/>
                  </a:cubicBezTo>
                  <a:cubicBezTo>
                    <a:pt x="2188" y="202156"/>
                    <a:pt x="3500" y="205486"/>
                    <a:pt x="3500" y="205486"/>
                  </a:cubicBezTo>
                  <a:cubicBezTo>
                    <a:pt x="3500" y="205486"/>
                    <a:pt x="5519" y="208514"/>
                    <a:pt x="5688" y="209119"/>
                  </a:cubicBezTo>
                  <a:cubicBezTo>
                    <a:pt x="5822" y="209691"/>
                    <a:pt x="7707" y="211743"/>
                    <a:pt x="7707" y="211743"/>
                  </a:cubicBezTo>
                  <a:lnTo>
                    <a:pt x="10904" y="214199"/>
                  </a:lnTo>
                  <a:lnTo>
                    <a:pt x="14539" y="217664"/>
                  </a:lnTo>
                  <a:lnTo>
                    <a:pt x="16693" y="222306"/>
                  </a:lnTo>
                  <a:lnTo>
                    <a:pt x="22649" y="223181"/>
                  </a:lnTo>
                  <a:lnTo>
                    <a:pt x="22649" y="215780"/>
                  </a:lnTo>
                  <a:lnTo>
                    <a:pt x="23726" y="211709"/>
                  </a:lnTo>
                  <a:lnTo>
                    <a:pt x="27698" y="208951"/>
                  </a:lnTo>
                  <a:cubicBezTo>
                    <a:pt x="27698" y="208951"/>
                    <a:pt x="29010" y="208077"/>
                    <a:pt x="31770" y="208379"/>
                  </a:cubicBezTo>
                  <a:cubicBezTo>
                    <a:pt x="34530" y="208682"/>
                    <a:pt x="34361" y="208077"/>
                    <a:pt x="35102" y="208379"/>
                  </a:cubicBezTo>
                  <a:cubicBezTo>
                    <a:pt x="35842" y="208682"/>
                    <a:pt x="37121" y="209086"/>
                    <a:pt x="37727" y="209523"/>
                  </a:cubicBezTo>
                  <a:cubicBezTo>
                    <a:pt x="38299" y="209927"/>
                    <a:pt x="40621" y="211575"/>
                    <a:pt x="41193" y="212147"/>
                  </a:cubicBezTo>
                  <a:cubicBezTo>
                    <a:pt x="41765" y="212719"/>
                    <a:pt x="42943" y="212281"/>
                    <a:pt x="43515" y="212281"/>
                  </a:cubicBezTo>
                  <a:cubicBezTo>
                    <a:pt x="44087" y="212281"/>
                    <a:pt x="47991" y="211272"/>
                    <a:pt x="47991" y="211272"/>
                  </a:cubicBezTo>
                  <a:lnTo>
                    <a:pt x="52333" y="211138"/>
                  </a:lnTo>
                  <a:cubicBezTo>
                    <a:pt x="52333" y="211138"/>
                    <a:pt x="58727" y="209254"/>
                    <a:pt x="59131" y="209557"/>
                  </a:cubicBezTo>
                  <a:cubicBezTo>
                    <a:pt x="59569" y="209859"/>
                    <a:pt x="64785" y="211878"/>
                    <a:pt x="64785" y="211878"/>
                  </a:cubicBezTo>
                  <a:lnTo>
                    <a:pt x="70001" y="214905"/>
                  </a:lnTo>
                  <a:lnTo>
                    <a:pt x="73636" y="220422"/>
                  </a:lnTo>
                  <a:lnTo>
                    <a:pt x="72929" y="224190"/>
                  </a:lnTo>
                  <a:lnTo>
                    <a:pt x="72627" y="229976"/>
                  </a:lnTo>
                  <a:lnTo>
                    <a:pt x="74949" y="231725"/>
                  </a:lnTo>
                  <a:lnTo>
                    <a:pt x="75958" y="234046"/>
                  </a:lnTo>
                  <a:lnTo>
                    <a:pt x="75655" y="236367"/>
                  </a:lnTo>
                  <a:lnTo>
                    <a:pt x="74208" y="239126"/>
                  </a:lnTo>
                  <a:lnTo>
                    <a:pt x="72324" y="240135"/>
                  </a:lnTo>
                  <a:lnTo>
                    <a:pt x="71011" y="241279"/>
                  </a:lnTo>
                  <a:lnTo>
                    <a:pt x="69564" y="242860"/>
                  </a:lnTo>
                  <a:lnTo>
                    <a:pt x="67814" y="244004"/>
                  </a:lnTo>
                  <a:lnTo>
                    <a:pt x="67814" y="245719"/>
                  </a:lnTo>
                  <a:lnTo>
                    <a:pt x="69631" y="247469"/>
                  </a:lnTo>
                  <a:lnTo>
                    <a:pt x="73030" y="250227"/>
                  </a:lnTo>
                  <a:lnTo>
                    <a:pt x="76059" y="252548"/>
                  </a:lnTo>
                  <a:lnTo>
                    <a:pt x="79122" y="253557"/>
                  </a:lnTo>
                  <a:lnTo>
                    <a:pt x="83194" y="253557"/>
                  </a:lnTo>
                  <a:lnTo>
                    <a:pt x="87536" y="253625"/>
                  </a:lnTo>
                  <a:lnTo>
                    <a:pt x="90161" y="253995"/>
                  </a:lnTo>
                  <a:lnTo>
                    <a:pt x="92752" y="255441"/>
                  </a:lnTo>
                  <a:cubicBezTo>
                    <a:pt x="92752" y="255441"/>
                    <a:pt x="96219" y="258771"/>
                    <a:pt x="96656" y="258906"/>
                  </a:cubicBezTo>
                  <a:cubicBezTo>
                    <a:pt x="97093" y="259040"/>
                    <a:pt x="97800" y="260218"/>
                    <a:pt x="97800" y="260218"/>
                  </a:cubicBezTo>
                  <a:lnTo>
                    <a:pt x="100122" y="262539"/>
                  </a:lnTo>
                  <a:lnTo>
                    <a:pt x="102142" y="260218"/>
                  </a:lnTo>
                  <a:lnTo>
                    <a:pt x="103723" y="257459"/>
                  </a:lnTo>
                  <a:cubicBezTo>
                    <a:pt x="103723" y="257459"/>
                    <a:pt x="106180" y="255575"/>
                    <a:pt x="106348" y="255138"/>
                  </a:cubicBezTo>
                  <a:cubicBezTo>
                    <a:pt x="106483" y="254701"/>
                    <a:pt x="108805" y="251808"/>
                    <a:pt x="108805" y="251808"/>
                  </a:cubicBezTo>
                  <a:cubicBezTo>
                    <a:pt x="108805" y="251808"/>
                    <a:pt x="112002" y="250496"/>
                    <a:pt x="112440" y="250664"/>
                  </a:cubicBezTo>
                  <a:cubicBezTo>
                    <a:pt x="112877" y="250799"/>
                    <a:pt x="114762" y="251976"/>
                    <a:pt x="114762" y="251976"/>
                  </a:cubicBezTo>
                  <a:lnTo>
                    <a:pt x="117387" y="257056"/>
                  </a:lnTo>
                  <a:lnTo>
                    <a:pt x="119137" y="257056"/>
                  </a:lnTo>
                  <a:lnTo>
                    <a:pt x="122907" y="256114"/>
                  </a:lnTo>
                  <a:lnTo>
                    <a:pt x="126979" y="254869"/>
                  </a:lnTo>
                  <a:lnTo>
                    <a:pt x="131185" y="255172"/>
                  </a:lnTo>
                  <a:cubicBezTo>
                    <a:pt x="131185" y="255172"/>
                    <a:pt x="132633" y="255609"/>
                    <a:pt x="133945" y="255744"/>
                  </a:cubicBezTo>
                  <a:cubicBezTo>
                    <a:pt x="135258" y="255879"/>
                    <a:pt x="136402" y="258502"/>
                    <a:pt x="136402" y="258502"/>
                  </a:cubicBezTo>
                  <a:lnTo>
                    <a:pt x="138590" y="259209"/>
                  </a:lnTo>
                  <a:lnTo>
                    <a:pt x="141215" y="258637"/>
                  </a:lnTo>
                  <a:lnTo>
                    <a:pt x="142359" y="254869"/>
                  </a:lnTo>
                  <a:lnTo>
                    <a:pt x="143368" y="252851"/>
                  </a:lnTo>
                  <a:lnTo>
                    <a:pt x="144378" y="249958"/>
                  </a:lnTo>
                  <a:lnTo>
                    <a:pt x="147575" y="248377"/>
                  </a:lnTo>
                  <a:cubicBezTo>
                    <a:pt x="147575" y="248377"/>
                    <a:pt x="149460" y="247233"/>
                    <a:pt x="150200" y="246190"/>
                  </a:cubicBezTo>
                  <a:cubicBezTo>
                    <a:pt x="150907" y="245181"/>
                    <a:pt x="151648" y="246190"/>
                    <a:pt x="152220" y="246190"/>
                  </a:cubicBezTo>
                  <a:cubicBezTo>
                    <a:pt x="152792" y="246190"/>
                    <a:pt x="154845" y="247771"/>
                    <a:pt x="156292" y="248949"/>
                  </a:cubicBezTo>
                  <a:cubicBezTo>
                    <a:pt x="157739" y="250092"/>
                    <a:pt x="157604" y="252414"/>
                    <a:pt x="157604" y="252414"/>
                  </a:cubicBezTo>
                  <a:lnTo>
                    <a:pt x="159354" y="256753"/>
                  </a:lnTo>
                  <a:lnTo>
                    <a:pt x="162552" y="260958"/>
                  </a:lnTo>
                  <a:lnTo>
                    <a:pt x="165008" y="262404"/>
                  </a:lnTo>
                  <a:lnTo>
                    <a:pt x="165883" y="264591"/>
                  </a:lnTo>
                  <a:lnTo>
                    <a:pt x="165446" y="267619"/>
                  </a:lnTo>
                  <a:lnTo>
                    <a:pt x="164739" y="270074"/>
                  </a:lnTo>
                  <a:lnTo>
                    <a:pt x="165042" y="272967"/>
                  </a:lnTo>
                  <a:lnTo>
                    <a:pt x="167364" y="273674"/>
                  </a:lnTo>
                  <a:lnTo>
                    <a:pt x="171706" y="277139"/>
                  </a:lnTo>
                  <a:lnTo>
                    <a:pt x="174903" y="279897"/>
                  </a:lnTo>
                  <a:lnTo>
                    <a:pt x="173590" y="282218"/>
                  </a:lnTo>
                  <a:cubicBezTo>
                    <a:pt x="173590" y="282218"/>
                    <a:pt x="171403" y="285549"/>
                    <a:pt x="170831" y="286121"/>
                  </a:cubicBezTo>
                  <a:cubicBezTo>
                    <a:pt x="170259" y="286692"/>
                    <a:pt x="169821" y="289888"/>
                    <a:pt x="169821" y="289888"/>
                  </a:cubicBezTo>
                  <a:lnTo>
                    <a:pt x="170393" y="294227"/>
                  </a:lnTo>
                  <a:lnTo>
                    <a:pt x="170528" y="298298"/>
                  </a:lnTo>
                  <a:lnTo>
                    <a:pt x="167061" y="301326"/>
                  </a:lnTo>
                  <a:lnTo>
                    <a:pt x="167061" y="304219"/>
                  </a:lnTo>
                  <a:lnTo>
                    <a:pt x="167061" y="308289"/>
                  </a:lnTo>
                  <a:lnTo>
                    <a:pt x="167061" y="311047"/>
                  </a:lnTo>
                  <a:lnTo>
                    <a:pt x="166254" y="314950"/>
                  </a:lnTo>
                  <a:cubicBezTo>
                    <a:pt x="166254" y="314950"/>
                    <a:pt x="165177" y="316699"/>
                    <a:pt x="164436" y="316968"/>
                  </a:cubicBezTo>
                  <a:cubicBezTo>
                    <a:pt x="163730" y="317271"/>
                    <a:pt x="162114" y="319558"/>
                    <a:pt x="160801" y="320735"/>
                  </a:cubicBezTo>
                  <a:cubicBezTo>
                    <a:pt x="159489" y="321913"/>
                    <a:pt x="156898" y="323629"/>
                    <a:pt x="156898" y="323629"/>
                  </a:cubicBezTo>
                  <a:lnTo>
                    <a:pt x="154575" y="323326"/>
                  </a:lnTo>
                  <a:cubicBezTo>
                    <a:pt x="154575" y="323326"/>
                    <a:pt x="152825" y="322888"/>
                    <a:pt x="151681" y="322317"/>
                  </a:cubicBezTo>
                  <a:cubicBezTo>
                    <a:pt x="150537" y="321745"/>
                    <a:pt x="149225" y="320298"/>
                    <a:pt x="149225" y="320298"/>
                  </a:cubicBezTo>
                  <a:cubicBezTo>
                    <a:pt x="149225" y="320298"/>
                    <a:pt x="146465" y="317977"/>
                    <a:pt x="145893" y="317540"/>
                  </a:cubicBezTo>
                  <a:cubicBezTo>
                    <a:pt x="145320" y="317102"/>
                    <a:pt x="141854" y="316093"/>
                    <a:pt x="141854" y="316093"/>
                  </a:cubicBezTo>
                  <a:lnTo>
                    <a:pt x="140844" y="316093"/>
                  </a:lnTo>
                  <a:lnTo>
                    <a:pt x="139835" y="319424"/>
                  </a:lnTo>
                  <a:cubicBezTo>
                    <a:pt x="139835" y="319424"/>
                    <a:pt x="136200" y="322047"/>
                    <a:pt x="135628" y="322047"/>
                  </a:cubicBezTo>
                  <a:cubicBezTo>
                    <a:pt x="135056" y="322047"/>
                    <a:pt x="130546" y="325512"/>
                    <a:pt x="130546" y="325512"/>
                  </a:cubicBezTo>
                  <a:lnTo>
                    <a:pt x="124758" y="328271"/>
                  </a:lnTo>
                  <a:lnTo>
                    <a:pt x="120854" y="329415"/>
                  </a:lnTo>
                  <a:lnTo>
                    <a:pt x="119406" y="330558"/>
                  </a:lnTo>
                  <a:lnTo>
                    <a:pt x="118969" y="332880"/>
                  </a:lnTo>
                  <a:lnTo>
                    <a:pt x="120416" y="334629"/>
                  </a:lnTo>
                  <a:lnTo>
                    <a:pt x="121998" y="335773"/>
                  </a:lnTo>
                  <a:cubicBezTo>
                    <a:pt x="121998" y="335773"/>
                    <a:pt x="120685" y="338531"/>
                    <a:pt x="120248" y="338666"/>
                  </a:cubicBezTo>
                  <a:cubicBezTo>
                    <a:pt x="119810" y="338800"/>
                    <a:pt x="118229" y="338968"/>
                    <a:pt x="118229" y="338968"/>
                  </a:cubicBezTo>
                  <a:lnTo>
                    <a:pt x="117219" y="337219"/>
                  </a:lnTo>
                  <a:cubicBezTo>
                    <a:pt x="117219" y="337219"/>
                    <a:pt x="111430" y="338968"/>
                    <a:pt x="110252" y="339540"/>
                  </a:cubicBezTo>
                  <a:cubicBezTo>
                    <a:pt x="109108" y="340112"/>
                    <a:pt x="107358" y="344183"/>
                    <a:pt x="107358" y="344183"/>
                  </a:cubicBezTo>
                  <a:lnTo>
                    <a:pt x="103454" y="347950"/>
                  </a:lnTo>
                  <a:lnTo>
                    <a:pt x="99954" y="350541"/>
                  </a:lnTo>
                  <a:lnTo>
                    <a:pt x="96757" y="354308"/>
                  </a:lnTo>
                  <a:lnTo>
                    <a:pt x="95444" y="359387"/>
                  </a:lnTo>
                  <a:lnTo>
                    <a:pt x="97026" y="363727"/>
                  </a:lnTo>
                  <a:lnTo>
                    <a:pt x="99483" y="364736"/>
                  </a:lnTo>
                  <a:lnTo>
                    <a:pt x="100930" y="365611"/>
                  </a:lnTo>
                  <a:lnTo>
                    <a:pt x="100930" y="369816"/>
                  </a:lnTo>
                  <a:cubicBezTo>
                    <a:pt x="100930" y="369816"/>
                    <a:pt x="104397" y="371700"/>
                    <a:pt x="105002" y="371834"/>
                  </a:cubicBezTo>
                  <a:cubicBezTo>
                    <a:pt x="105574" y="371969"/>
                    <a:pt x="109209" y="372843"/>
                    <a:pt x="109647" y="372709"/>
                  </a:cubicBezTo>
                  <a:cubicBezTo>
                    <a:pt x="110084" y="372574"/>
                    <a:pt x="115873" y="374155"/>
                    <a:pt x="117623" y="374155"/>
                  </a:cubicBezTo>
                  <a:cubicBezTo>
                    <a:pt x="119373" y="374155"/>
                    <a:pt x="119642" y="375905"/>
                    <a:pt x="120214" y="376477"/>
                  </a:cubicBezTo>
                  <a:cubicBezTo>
                    <a:pt x="120786" y="377048"/>
                    <a:pt x="122671" y="378663"/>
                    <a:pt x="122671" y="378663"/>
                  </a:cubicBezTo>
                  <a:cubicBezTo>
                    <a:pt x="122671" y="378663"/>
                    <a:pt x="127012" y="383137"/>
                    <a:pt x="127450" y="383743"/>
                  </a:cubicBezTo>
                  <a:cubicBezTo>
                    <a:pt x="127887" y="384314"/>
                    <a:pt x="131926" y="385761"/>
                    <a:pt x="132532" y="385626"/>
                  </a:cubicBezTo>
                  <a:cubicBezTo>
                    <a:pt x="133138" y="385492"/>
                    <a:pt x="137748" y="386366"/>
                    <a:pt x="137748" y="386366"/>
                  </a:cubicBezTo>
                  <a:cubicBezTo>
                    <a:pt x="137748" y="386366"/>
                    <a:pt x="142830" y="388385"/>
                    <a:pt x="143402" y="388385"/>
                  </a:cubicBezTo>
                  <a:cubicBezTo>
                    <a:pt x="143974" y="388385"/>
                    <a:pt x="147744" y="387376"/>
                    <a:pt x="147744" y="387376"/>
                  </a:cubicBezTo>
                  <a:lnTo>
                    <a:pt x="153970" y="385626"/>
                  </a:lnTo>
                  <a:lnTo>
                    <a:pt x="161508" y="385626"/>
                  </a:lnTo>
                  <a:lnTo>
                    <a:pt x="164537" y="387006"/>
                  </a:lnTo>
                  <a:lnTo>
                    <a:pt x="168609" y="391412"/>
                  </a:lnTo>
                  <a:lnTo>
                    <a:pt x="174836" y="395483"/>
                  </a:lnTo>
                  <a:lnTo>
                    <a:pt x="181062" y="401404"/>
                  </a:lnTo>
                  <a:cubicBezTo>
                    <a:pt x="181062" y="401404"/>
                    <a:pt x="184393" y="401134"/>
                    <a:pt x="185841" y="399822"/>
                  </a:cubicBezTo>
                  <a:cubicBezTo>
                    <a:pt x="187288" y="398510"/>
                    <a:pt x="188735" y="396358"/>
                    <a:pt x="190620" y="395786"/>
                  </a:cubicBezTo>
                  <a:cubicBezTo>
                    <a:pt x="192504" y="395214"/>
                    <a:pt x="195398" y="395920"/>
                    <a:pt x="195398" y="395920"/>
                  </a:cubicBezTo>
                  <a:cubicBezTo>
                    <a:pt x="195398" y="395920"/>
                    <a:pt x="196846" y="395483"/>
                    <a:pt x="196980" y="394911"/>
                  </a:cubicBezTo>
                  <a:cubicBezTo>
                    <a:pt x="197115" y="394339"/>
                    <a:pt x="199168" y="390841"/>
                    <a:pt x="199168" y="390841"/>
                  </a:cubicBezTo>
                  <a:lnTo>
                    <a:pt x="202803" y="390841"/>
                  </a:lnTo>
                  <a:cubicBezTo>
                    <a:pt x="202803" y="390841"/>
                    <a:pt x="209601" y="392859"/>
                    <a:pt x="210207" y="392859"/>
                  </a:cubicBezTo>
                  <a:cubicBezTo>
                    <a:pt x="210779" y="392859"/>
                    <a:pt x="215995" y="394743"/>
                    <a:pt x="215995" y="394743"/>
                  </a:cubicBezTo>
                  <a:lnTo>
                    <a:pt x="221514" y="396492"/>
                  </a:lnTo>
                  <a:lnTo>
                    <a:pt x="224543" y="398948"/>
                  </a:lnTo>
                  <a:lnTo>
                    <a:pt x="229322" y="402884"/>
                  </a:lnTo>
                  <a:cubicBezTo>
                    <a:pt x="229322" y="402884"/>
                    <a:pt x="228447" y="409981"/>
                    <a:pt x="228010" y="410284"/>
                  </a:cubicBezTo>
                  <a:cubicBezTo>
                    <a:pt x="227572" y="410587"/>
                    <a:pt x="226697" y="411596"/>
                    <a:pt x="226125" y="411596"/>
                  </a:cubicBezTo>
                  <a:cubicBezTo>
                    <a:pt x="225553" y="411596"/>
                    <a:pt x="222793" y="415229"/>
                    <a:pt x="222221" y="416238"/>
                  </a:cubicBezTo>
                  <a:cubicBezTo>
                    <a:pt x="221649" y="417248"/>
                    <a:pt x="221514" y="420141"/>
                    <a:pt x="221514" y="420141"/>
                  </a:cubicBezTo>
                  <a:lnTo>
                    <a:pt x="221380" y="425052"/>
                  </a:lnTo>
                  <a:cubicBezTo>
                    <a:pt x="221380" y="425052"/>
                    <a:pt x="220067" y="427508"/>
                    <a:pt x="219058" y="427945"/>
                  </a:cubicBezTo>
                  <a:cubicBezTo>
                    <a:pt x="218048" y="428382"/>
                    <a:pt x="215591" y="429694"/>
                    <a:pt x="215591" y="429694"/>
                  </a:cubicBezTo>
                  <a:lnTo>
                    <a:pt x="211384" y="430569"/>
                  </a:lnTo>
                  <a:lnTo>
                    <a:pt x="207750" y="431713"/>
                  </a:lnTo>
                  <a:lnTo>
                    <a:pt x="207312" y="434034"/>
                  </a:lnTo>
                  <a:lnTo>
                    <a:pt x="206606" y="438104"/>
                  </a:lnTo>
                  <a:cubicBezTo>
                    <a:pt x="206606" y="438104"/>
                    <a:pt x="204586" y="441434"/>
                    <a:pt x="204014" y="442444"/>
                  </a:cubicBezTo>
                  <a:cubicBezTo>
                    <a:pt x="203442" y="443453"/>
                    <a:pt x="201995" y="447221"/>
                    <a:pt x="201995" y="448532"/>
                  </a:cubicBezTo>
                  <a:cubicBezTo>
                    <a:pt x="201995" y="449844"/>
                    <a:pt x="203004" y="451863"/>
                    <a:pt x="203004" y="451863"/>
                  </a:cubicBezTo>
                  <a:cubicBezTo>
                    <a:pt x="203004" y="451863"/>
                    <a:pt x="204317" y="454319"/>
                    <a:pt x="204755" y="454890"/>
                  </a:cubicBezTo>
                  <a:cubicBezTo>
                    <a:pt x="205192" y="455462"/>
                    <a:pt x="206774" y="456337"/>
                    <a:pt x="207952" y="456640"/>
                  </a:cubicBezTo>
                  <a:cubicBezTo>
                    <a:pt x="209130" y="456942"/>
                    <a:pt x="209971" y="458961"/>
                    <a:pt x="211418" y="460407"/>
                  </a:cubicBezTo>
                  <a:cubicBezTo>
                    <a:pt x="212865" y="461854"/>
                    <a:pt x="213437" y="464041"/>
                    <a:pt x="213740" y="465050"/>
                  </a:cubicBezTo>
                  <a:cubicBezTo>
                    <a:pt x="214043" y="466059"/>
                    <a:pt x="215490" y="468649"/>
                    <a:pt x="215759" y="469827"/>
                  </a:cubicBezTo>
                  <a:cubicBezTo>
                    <a:pt x="216062" y="470970"/>
                    <a:pt x="216466" y="475781"/>
                    <a:pt x="216466" y="476218"/>
                  </a:cubicBezTo>
                  <a:cubicBezTo>
                    <a:pt x="216466" y="476655"/>
                    <a:pt x="216601" y="481869"/>
                    <a:pt x="216601" y="482441"/>
                  </a:cubicBezTo>
                  <a:cubicBezTo>
                    <a:pt x="216601" y="483013"/>
                    <a:pt x="215726" y="489102"/>
                    <a:pt x="215726" y="489102"/>
                  </a:cubicBezTo>
                  <a:lnTo>
                    <a:pt x="215726" y="493744"/>
                  </a:lnTo>
                  <a:lnTo>
                    <a:pt x="222894" y="496335"/>
                  </a:lnTo>
                  <a:cubicBezTo>
                    <a:pt x="222894" y="496335"/>
                    <a:pt x="227471" y="497647"/>
                    <a:pt x="229188" y="497781"/>
                  </a:cubicBezTo>
                  <a:cubicBezTo>
                    <a:pt x="230938" y="497916"/>
                    <a:pt x="232520" y="502995"/>
                    <a:pt x="232520" y="502995"/>
                  </a:cubicBezTo>
                  <a:cubicBezTo>
                    <a:pt x="232520" y="502995"/>
                    <a:pt x="233832" y="502995"/>
                    <a:pt x="234842" y="502558"/>
                  </a:cubicBezTo>
                  <a:cubicBezTo>
                    <a:pt x="235851" y="502120"/>
                    <a:pt x="236726" y="500674"/>
                    <a:pt x="236861" y="500237"/>
                  </a:cubicBezTo>
                  <a:cubicBezTo>
                    <a:pt x="236996" y="499800"/>
                    <a:pt x="239183" y="498622"/>
                    <a:pt x="239183" y="498622"/>
                  </a:cubicBezTo>
                  <a:cubicBezTo>
                    <a:pt x="239183" y="498622"/>
                    <a:pt x="241943" y="498622"/>
                    <a:pt x="242515" y="498622"/>
                  </a:cubicBezTo>
                  <a:cubicBezTo>
                    <a:pt x="243087" y="498622"/>
                    <a:pt x="247731" y="500876"/>
                    <a:pt x="249044" y="501178"/>
                  </a:cubicBezTo>
                  <a:cubicBezTo>
                    <a:pt x="250356" y="501482"/>
                    <a:pt x="251063" y="502120"/>
                    <a:pt x="251938" y="502558"/>
                  </a:cubicBezTo>
                  <a:cubicBezTo>
                    <a:pt x="252813" y="502995"/>
                    <a:pt x="254126" y="506023"/>
                    <a:pt x="254126" y="507032"/>
                  </a:cubicBezTo>
                  <a:cubicBezTo>
                    <a:pt x="254126" y="508041"/>
                    <a:pt x="253419" y="508041"/>
                    <a:pt x="252679" y="508041"/>
                  </a:cubicBezTo>
                  <a:cubicBezTo>
                    <a:pt x="251938" y="508041"/>
                    <a:pt x="251366" y="509353"/>
                    <a:pt x="249784" y="510059"/>
                  </a:cubicBezTo>
                  <a:cubicBezTo>
                    <a:pt x="248169" y="510766"/>
                    <a:pt x="249784" y="513255"/>
                    <a:pt x="249784" y="513827"/>
                  </a:cubicBezTo>
                  <a:cubicBezTo>
                    <a:pt x="249784" y="514399"/>
                    <a:pt x="252847" y="518032"/>
                    <a:pt x="252847" y="518032"/>
                  </a:cubicBezTo>
                  <a:cubicBezTo>
                    <a:pt x="252847" y="518032"/>
                    <a:pt x="256885" y="519781"/>
                    <a:pt x="257491" y="520219"/>
                  </a:cubicBezTo>
                  <a:cubicBezTo>
                    <a:pt x="258063" y="520656"/>
                    <a:pt x="260251" y="522977"/>
                    <a:pt x="261126" y="523986"/>
                  </a:cubicBezTo>
                  <a:cubicBezTo>
                    <a:pt x="262001" y="524996"/>
                    <a:pt x="265333" y="527317"/>
                    <a:pt x="265333" y="527317"/>
                  </a:cubicBezTo>
                  <a:lnTo>
                    <a:pt x="269102" y="532094"/>
                  </a:lnTo>
                  <a:lnTo>
                    <a:pt x="271424" y="534247"/>
                  </a:lnTo>
                  <a:lnTo>
                    <a:pt x="271424" y="530647"/>
                  </a:lnTo>
                  <a:cubicBezTo>
                    <a:pt x="271424" y="530647"/>
                    <a:pt x="275631" y="528629"/>
                    <a:pt x="276068" y="528898"/>
                  </a:cubicBezTo>
                  <a:cubicBezTo>
                    <a:pt x="276506" y="529201"/>
                    <a:pt x="280275" y="532800"/>
                    <a:pt x="280275" y="532800"/>
                  </a:cubicBezTo>
                  <a:cubicBezTo>
                    <a:pt x="280275" y="532800"/>
                    <a:pt x="287377" y="538317"/>
                    <a:pt x="287377" y="538720"/>
                  </a:cubicBezTo>
                  <a:cubicBezTo>
                    <a:pt x="287377" y="539158"/>
                    <a:pt x="293333" y="539595"/>
                    <a:pt x="293333" y="539595"/>
                  </a:cubicBezTo>
                  <a:lnTo>
                    <a:pt x="295353" y="539292"/>
                  </a:lnTo>
                  <a:cubicBezTo>
                    <a:pt x="295353" y="539292"/>
                    <a:pt x="302151" y="538418"/>
                    <a:pt x="302891" y="538418"/>
                  </a:cubicBezTo>
                  <a:cubicBezTo>
                    <a:pt x="303598" y="538418"/>
                    <a:pt x="308411" y="540301"/>
                    <a:pt x="308411" y="540301"/>
                  </a:cubicBezTo>
                  <a:cubicBezTo>
                    <a:pt x="308411" y="540301"/>
                    <a:pt x="312887" y="544372"/>
                    <a:pt x="313190" y="544776"/>
                  </a:cubicBezTo>
                  <a:cubicBezTo>
                    <a:pt x="313493" y="545213"/>
                    <a:pt x="317968" y="546357"/>
                    <a:pt x="317968" y="546357"/>
                  </a:cubicBezTo>
                  <a:lnTo>
                    <a:pt x="320863" y="541580"/>
                  </a:lnTo>
                  <a:lnTo>
                    <a:pt x="323185" y="539999"/>
                  </a:lnTo>
                  <a:lnTo>
                    <a:pt x="331430" y="538552"/>
                  </a:lnTo>
                  <a:lnTo>
                    <a:pt x="336075" y="538552"/>
                  </a:lnTo>
                  <a:lnTo>
                    <a:pt x="340281" y="539124"/>
                  </a:lnTo>
                  <a:lnTo>
                    <a:pt x="344185" y="541142"/>
                  </a:lnTo>
                  <a:lnTo>
                    <a:pt x="348392" y="544170"/>
                  </a:lnTo>
                  <a:lnTo>
                    <a:pt x="349133" y="546491"/>
                  </a:lnTo>
                  <a:lnTo>
                    <a:pt x="354046" y="547231"/>
                  </a:lnTo>
                  <a:lnTo>
                    <a:pt x="357311" y="547231"/>
                  </a:lnTo>
                  <a:lnTo>
                    <a:pt x="360407" y="546424"/>
                  </a:lnTo>
                  <a:cubicBezTo>
                    <a:pt x="360407" y="546424"/>
                    <a:pt x="362157" y="547669"/>
                    <a:pt x="362494" y="548005"/>
                  </a:cubicBezTo>
                  <a:cubicBezTo>
                    <a:pt x="362864" y="548375"/>
                    <a:pt x="364580" y="549956"/>
                    <a:pt x="365018" y="550663"/>
                  </a:cubicBezTo>
                  <a:cubicBezTo>
                    <a:pt x="365455" y="551403"/>
                    <a:pt x="366532" y="551470"/>
                    <a:pt x="367609" y="551403"/>
                  </a:cubicBezTo>
                  <a:cubicBezTo>
                    <a:pt x="368686" y="551335"/>
                    <a:pt x="368922" y="549384"/>
                    <a:pt x="368922" y="549384"/>
                  </a:cubicBezTo>
                  <a:cubicBezTo>
                    <a:pt x="368922" y="549384"/>
                    <a:pt x="371311" y="546424"/>
                    <a:pt x="371614" y="546188"/>
                  </a:cubicBezTo>
                  <a:cubicBezTo>
                    <a:pt x="371917" y="545953"/>
                    <a:pt x="374508" y="542925"/>
                    <a:pt x="374508" y="542723"/>
                  </a:cubicBezTo>
                  <a:cubicBezTo>
                    <a:pt x="374508" y="542488"/>
                    <a:pt x="376696" y="540470"/>
                    <a:pt x="376696" y="540470"/>
                  </a:cubicBezTo>
                  <a:lnTo>
                    <a:pt x="379321" y="537072"/>
                  </a:lnTo>
                  <a:lnTo>
                    <a:pt x="380768" y="537005"/>
                  </a:lnTo>
                  <a:lnTo>
                    <a:pt x="381912" y="540705"/>
                  </a:lnTo>
                  <a:lnTo>
                    <a:pt x="381845" y="544540"/>
                  </a:lnTo>
                  <a:lnTo>
                    <a:pt x="380229" y="546794"/>
                  </a:lnTo>
                  <a:lnTo>
                    <a:pt x="383292" y="551571"/>
                  </a:lnTo>
                  <a:lnTo>
                    <a:pt x="387936" y="555473"/>
                  </a:lnTo>
                  <a:lnTo>
                    <a:pt x="390898" y="556785"/>
                  </a:lnTo>
                  <a:cubicBezTo>
                    <a:pt x="390898" y="556785"/>
                    <a:pt x="391268" y="556079"/>
                    <a:pt x="391201" y="555776"/>
                  </a:cubicBezTo>
                  <a:cubicBezTo>
                    <a:pt x="391133" y="555473"/>
                    <a:pt x="392480" y="550562"/>
                    <a:pt x="392480" y="550259"/>
                  </a:cubicBezTo>
                  <a:cubicBezTo>
                    <a:pt x="392480" y="549956"/>
                    <a:pt x="393489" y="547231"/>
                    <a:pt x="393489" y="546928"/>
                  </a:cubicBezTo>
                  <a:cubicBezTo>
                    <a:pt x="393489" y="546626"/>
                    <a:pt x="392783" y="543598"/>
                    <a:pt x="392547" y="543531"/>
                  </a:cubicBezTo>
                  <a:cubicBezTo>
                    <a:pt x="392345" y="543464"/>
                    <a:pt x="391235" y="539460"/>
                    <a:pt x="391235" y="538956"/>
                  </a:cubicBezTo>
                  <a:cubicBezTo>
                    <a:pt x="391235" y="538451"/>
                    <a:pt x="391100" y="536500"/>
                    <a:pt x="391235" y="536197"/>
                  </a:cubicBezTo>
                  <a:cubicBezTo>
                    <a:pt x="391369" y="535895"/>
                    <a:pt x="392682" y="533136"/>
                    <a:pt x="392749" y="532867"/>
                  </a:cubicBezTo>
                  <a:cubicBezTo>
                    <a:pt x="392816" y="532565"/>
                    <a:pt x="393826" y="531050"/>
                    <a:pt x="393826" y="531050"/>
                  </a:cubicBezTo>
                  <a:lnTo>
                    <a:pt x="395340" y="530681"/>
                  </a:lnTo>
                  <a:lnTo>
                    <a:pt x="397326" y="532127"/>
                  </a:lnTo>
                  <a:cubicBezTo>
                    <a:pt x="397326" y="532127"/>
                    <a:pt x="398437" y="536635"/>
                    <a:pt x="398437" y="537038"/>
                  </a:cubicBezTo>
                  <a:cubicBezTo>
                    <a:pt x="398437" y="537476"/>
                    <a:pt x="398134" y="538922"/>
                    <a:pt x="398066" y="539292"/>
                  </a:cubicBezTo>
                  <a:cubicBezTo>
                    <a:pt x="397999" y="539662"/>
                    <a:pt x="397494" y="542118"/>
                    <a:pt x="397326" y="542488"/>
                  </a:cubicBezTo>
                  <a:cubicBezTo>
                    <a:pt x="397191" y="542858"/>
                    <a:pt x="397629" y="547568"/>
                    <a:pt x="397629" y="547769"/>
                  </a:cubicBezTo>
                  <a:cubicBezTo>
                    <a:pt x="397629" y="548005"/>
                    <a:pt x="401264" y="550158"/>
                    <a:pt x="401465" y="550091"/>
                  </a:cubicBezTo>
                  <a:cubicBezTo>
                    <a:pt x="401667" y="550023"/>
                    <a:pt x="403216" y="550091"/>
                    <a:pt x="403485" y="550091"/>
                  </a:cubicBezTo>
                  <a:cubicBezTo>
                    <a:pt x="403788" y="550091"/>
                    <a:pt x="407994" y="546558"/>
                    <a:pt x="408331" y="546188"/>
                  </a:cubicBezTo>
                  <a:cubicBezTo>
                    <a:pt x="408701" y="545818"/>
                    <a:pt x="410283" y="543127"/>
                    <a:pt x="410283" y="543127"/>
                  </a:cubicBezTo>
                  <a:lnTo>
                    <a:pt x="412672" y="538586"/>
                  </a:lnTo>
                  <a:lnTo>
                    <a:pt x="412740" y="535390"/>
                  </a:lnTo>
                  <a:lnTo>
                    <a:pt x="411360" y="531623"/>
                  </a:lnTo>
                  <a:lnTo>
                    <a:pt x="410620" y="529234"/>
                  </a:lnTo>
                  <a:lnTo>
                    <a:pt x="408668" y="527216"/>
                  </a:lnTo>
                  <a:lnTo>
                    <a:pt x="408668" y="523751"/>
                  </a:lnTo>
                  <a:lnTo>
                    <a:pt x="408668" y="518537"/>
                  </a:lnTo>
                  <a:lnTo>
                    <a:pt x="408668" y="513322"/>
                  </a:lnTo>
                  <a:lnTo>
                    <a:pt x="408668" y="510699"/>
                  </a:lnTo>
                  <a:lnTo>
                    <a:pt x="416475" y="510699"/>
                  </a:lnTo>
                  <a:lnTo>
                    <a:pt x="418226" y="510699"/>
                  </a:lnTo>
                  <a:lnTo>
                    <a:pt x="421120" y="510699"/>
                  </a:lnTo>
                  <a:lnTo>
                    <a:pt x="420817" y="513322"/>
                  </a:lnTo>
                  <a:lnTo>
                    <a:pt x="419067" y="518537"/>
                  </a:lnTo>
                  <a:lnTo>
                    <a:pt x="419067" y="521127"/>
                  </a:lnTo>
                  <a:lnTo>
                    <a:pt x="421827" y="527788"/>
                  </a:lnTo>
                  <a:lnTo>
                    <a:pt x="426606" y="531858"/>
                  </a:lnTo>
                  <a:lnTo>
                    <a:pt x="430947" y="538249"/>
                  </a:lnTo>
                  <a:lnTo>
                    <a:pt x="437038" y="539696"/>
                  </a:lnTo>
                  <a:lnTo>
                    <a:pt x="440808" y="540268"/>
                  </a:lnTo>
                  <a:lnTo>
                    <a:pt x="444577" y="540268"/>
                  </a:lnTo>
                  <a:lnTo>
                    <a:pt x="441986" y="533305"/>
                  </a:lnTo>
                  <a:lnTo>
                    <a:pt x="438216" y="527788"/>
                  </a:lnTo>
                  <a:lnTo>
                    <a:pt x="439966" y="520252"/>
                  </a:lnTo>
                  <a:lnTo>
                    <a:pt x="439966" y="519378"/>
                  </a:lnTo>
                  <a:lnTo>
                    <a:pt x="442591" y="517628"/>
                  </a:lnTo>
                  <a:lnTo>
                    <a:pt x="444341" y="517628"/>
                  </a:lnTo>
                  <a:lnTo>
                    <a:pt x="445519" y="517628"/>
                  </a:lnTo>
                  <a:cubicBezTo>
                    <a:pt x="445519" y="517628"/>
                    <a:pt x="445519" y="517628"/>
                    <a:pt x="448717" y="519075"/>
                  </a:cubicBezTo>
                  <a:cubicBezTo>
                    <a:pt x="451914" y="520521"/>
                    <a:pt x="448717" y="523717"/>
                    <a:pt x="448717" y="523717"/>
                  </a:cubicBezTo>
                  <a:lnTo>
                    <a:pt x="448717" y="529806"/>
                  </a:lnTo>
                  <a:lnTo>
                    <a:pt x="450601" y="534718"/>
                  </a:lnTo>
                  <a:lnTo>
                    <a:pt x="453933" y="537038"/>
                  </a:lnTo>
                  <a:lnTo>
                    <a:pt x="457130" y="539931"/>
                  </a:lnTo>
                  <a:lnTo>
                    <a:pt x="461775" y="543699"/>
                  </a:lnTo>
                  <a:lnTo>
                    <a:pt x="467866" y="543699"/>
                  </a:lnTo>
                  <a:lnTo>
                    <a:pt x="471332" y="546458"/>
                  </a:lnTo>
                  <a:lnTo>
                    <a:pt x="474799" y="548072"/>
                  </a:lnTo>
                  <a:lnTo>
                    <a:pt x="474799" y="549822"/>
                  </a:lnTo>
                  <a:lnTo>
                    <a:pt x="474799" y="554464"/>
                  </a:lnTo>
                  <a:lnTo>
                    <a:pt x="477559" y="557929"/>
                  </a:lnTo>
                  <a:lnTo>
                    <a:pt x="483213" y="561696"/>
                  </a:lnTo>
                  <a:lnTo>
                    <a:pt x="492198" y="560250"/>
                  </a:lnTo>
                  <a:lnTo>
                    <a:pt x="500309" y="561696"/>
                  </a:lnTo>
                  <a:lnTo>
                    <a:pt x="508420" y="556785"/>
                  </a:lnTo>
                  <a:lnTo>
                    <a:pt x="515083" y="554767"/>
                  </a:lnTo>
                  <a:lnTo>
                    <a:pt x="518281" y="551571"/>
                  </a:lnTo>
                  <a:lnTo>
                    <a:pt x="518281" y="534179"/>
                  </a:lnTo>
                  <a:lnTo>
                    <a:pt x="518281" y="528864"/>
                  </a:lnTo>
                  <a:lnTo>
                    <a:pt x="518819" y="526913"/>
                  </a:lnTo>
                  <a:lnTo>
                    <a:pt x="519896" y="524626"/>
                  </a:lnTo>
                  <a:lnTo>
                    <a:pt x="521949" y="524087"/>
                  </a:lnTo>
                  <a:lnTo>
                    <a:pt x="523463" y="526913"/>
                  </a:lnTo>
                  <a:lnTo>
                    <a:pt x="524103" y="533843"/>
                  </a:lnTo>
                  <a:lnTo>
                    <a:pt x="523463" y="541142"/>
                  </a:lnTo>
                  <a:lnTo>
                    <a:pt x="523463" y="546020"/>
                  </a:lnTo>
                  <a:lnTo>
                    <a:pt x="525079" y="550057"/>
                  </a:lnTo>
                  <a:lnTo>
                    <a:pt x="528444" y="555069"/>
                  </a:lnTo>
                  <a:lnTo>
                    <a:pt x="533762" y="560485"/>
                  </a:lnTo>
                  <a:lnTo>
                    <a:pt x="537464" y="55877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706" name="Freeform 913">
              <a:extLst>
                <a:ext uri="{FF2B5EF4-FFF2-40B4-BE49-F238E27FC236}">
                  <a16:creationId xmlns:a16="http://schemas.microsoft.com/office/drawing/2014/main" id="{938498DF-9AB0-AF15-67CD-FB3E12A8A506}"/>
                </a:ext>
              </a:extLst>
            </p:cNvPr>
            <p:cNvSpPr/>
            <p:nvPr/>
          </p:nvSpPr>
          <p:spPr>
            <a:xfrm>
              <a:off x="2735847" y="4461673"/>
              <a:ext cx="287330" cy="234931"/>
            </a:xfrm>
            <a:custGeom>
              <a:avLst/>
              <a:gdLst>
                <a:gd name="connsiteX0" fmla="*/ 1245 w 264996"/>
                <a:gd name="connsiteY0" fmla="*/ 99943 h 216669"/>
                <a:gd name="connsiteX1" fmla="*/ 0 w 264996"/>
                <a:gd name="connsiteY1" fmla="*/ 97723 h 216669"/>
                <a:gd name="connsiteX2" fmla="*/ 976 w 264996"/>
                <a:gd name="connsiteY2" fmla="*/ 95335 h 216669"/>
                <a:gd name="connsiteX3" fmla="*/ 1851 w 264996"/>
                <a:gd name="connsiteY3" fmla="*/ 91802 h 216669"/>
                <a:gd name="connsiteX4" fmla="*/ 2894 w 264996"/>
                <a:gd name="connsiteY4" fmla="*/ 88741 h 216669"/>
                <a:gd name="connsiteX5" fmla="*/ 6394 w 264996"/>
                <a:gd name="connsiteY5" fmla="*/ 87059 h 216669"/>
                <a:gd name="connsiteX6" fmla="*/ 9726 w 264996"/>
                <a:gd name="connsiteY6" fmla="*/ 85074 h 216669"/>
                <a:gd name="connsiteX7" fmla="*/ 13798 w 264996"/>
                <a:gd name="connsiteY7" fmla="*/ 81778 h 216669"/>
                <a:gd name="connsiteX8" fmla="*/ 20159 w 264996"/>
                <a:gd name="connsiteY8" fmla="*/ 79457 h 216669"/>
                <a:gd name="connsiteX9" fmla="*/ 27395 w 264996"/>
                <a:gd name="connsiteY9" fmla="*/ 74377 h 216669"/>
                <a:gd name="connsiteX10" fmla="*/ 36078 w 264996"/>
                <a:gd name="connsiteY10" fmla="*/ 69298 h 216669"/>
                <a:gd name="connsiteX11" fmla="*/ 40722 w 264996"/>
                <a:gd name="connsiteY11" fmla="*/ 63781 h 216669"/>
                <a:gd name="connsiteX12" fmla="*/ 49136 w 264996"/>
                <a:gd name="connsiteY12" fmla="*/ 58701 h 216669"/>
                <a:gd name="connsiteX13" fmla="*/ 57987 w 264996"/>
                <a:gd name="connsiteY13" fmla="*/ 52478 h 216669"/>
                <a:gd name="connsiteX14" fmla="*/ 65088 w 264996"/>
                <a:gd name="connsiteY14" fmla="*/ 46691 h 216669"/>
                <a:gd name="connsiteX15" fmla="*/ 70170 w 264996"/>
                <a:gd name="connsiteY15" fmla="*/ 45682 h 216669"/>
                <a:gd name="connsiteX16" fmla="*/ 70372 w 264996"/>
                <a:gd name="connsiteY16" fmla="*/ 44438 h 216669"/>
                <a:gd name="connsiteX17" fmla="*/ 72425 w 264996"/>
                <a:gd name="connsiteY17" fmla="*/ 42520 h 216669"/>
                <a:gd name="connsiteX18" fmla="*/ 72088 w 264996"/>
                <a:gd name="connsiteY18" fmla="*/ 41275 h 216669"/>
                <a:gd name="connsiteX19" fmla="*/ 70910 w 264996"/>
                <a:gd name="connsiteY19" fmla="*/ 40300 h 216669"/>
                <a:gd name="connsiteX20" fmla="*/ 69261 w 264996"/>
                <a:gd name="connsiteY20" fmla="*/ 40300 h 216669"/>
                <a:gd name="connsiteX21" fmla="*/ 67747 w 264996"/>
                <a:gd name="connsiteY21" fmla="*/ 40603 h 216669"/>
                <a:gd name="connsiteX22" fmla="*/ 65660 w 264996"/>
                <a:gd name="connsiteY22" fmla="*/ 40637 h 216669"/>
                <a:gd name="connsiteX23" fmla="*/ 63607 w 264996"/>
                <a:gd name="connsiteY23" fmla="*/ 40670 h 216669"/>
                <a:gd name="connsiteX24" fmla="*/ 60208 w 264996"/>
                <a:gd name="connsiteY24" fmla="*/ 40468 h 216669"/>
                <a:gd name="connsiteX25" fmla="*/ 58963 w 264996"/>
                <a:gd name="connsiteY25" fmla="*/ 39493 h 216669"/>
                <a:gd name="connsiteX26" fmla="*/ 59131 w 264996"/>
                <a:gd name="connsiteY26" fmla="*/ 39156 h 216669"/>
                <a:gd name="connsiteX27" fmla="*/ 60141 w 264996"/>
                <a:gd name="connsiteY27" fmla="*/ 38349 h 216669"/>
                <a:gd name="connsiteX28" fmla="*/ 61924 w 264996"/>
                <a:gd name="connsiteY28" fmla="*/ 35591 h 216669"/>
                <a:gd name="connsiteX29" fmla="*/ 64448 w 264996"/>
                <a:gd name="connsiteY29" fmla="*/ 32698 h 216669"/>
                <a:gd name="connsiteX30" fmla="*/ 67208 w 264996"/>
                <a:gd name="connsiteY30" fmla="*/ 29872 h 216669"/>
                <a:gd name="connsiteX31" fmla="*/ 69732 w 264996"/>
                <a:gd name="connsiteY31" fmla="*/ 27214 h 216669"/>
                <a:gd name="connsiteX32" fmla="*/ 72997 w 264996"/>
                <a:gd name="connsiteY32" fmla="*/ 24658 h 216669"/>
                <a:gd name="connsiteX33" fmla="*/ 72728 w 264996"/>
                <a:gd name="connsiteY33" fmla="*/ 24658 h 216669"/>
                <a:gd name="connsiteX34" fmla="*/ 75689 w 264996"/>
                <a:gd name="connsiteY34" fmla="*/ 24658 h 216669"/>
                <a:gd name="connsiteX35" fmla="*/ 77641 w 264996"/>
                <a:gd name="connsiteY35" fmla="*/ 24590 h 216669"/>
                <a:gd name="connsiteX36" fmla="*/ 80401 w 264996"/>
                <a:gd name="connsiteY36" fmla="*/ 24456 h 216669"/>
                <a:gd name="connsiteX37" fmla="*/ 83295 w 264996"/>
                <a:gd name="connsiteY37" fmla="*/ 24658 h 216669"/>
                <a:gd name="connsiteX38" fmla="*/ 86627 w 264996"/>
                <a:gd name="connsiteY38" fmla="*/ 24658 h 216669"/>
                <a:gd name="connsiteX39" fmla="*/ 89151 w 264996"/>
                <a:gd name="connsiteY39" fmla="*/ 26912 h 216669"/>
                <a:gd name="connsiteX40" fmla="*/ 90598 w 264996"/>
                <a:gd name="connsiteY40" fmla="*/ 27685 h 216669"/>
                <a:gd name="connsiteX41" fmla="*/ 92920 w 264996"/>
                <a:gd name="connsiteY41" fmla="*/ 28055 h 216669"/>
                <a:gd name="connsiteX42" fmla="*/ 95680 w 264996"/>
                <a:gd name="connsiteY42" fmla="*/ 28291 h 216669"/>
                <a:gd name="connsiteX43" fmla="*/ 99954 w 264996"/>
                <a:gd name="connsiteY43" fmla="*/ 29165 h 216669"/>
                <a:gd name="connsiteX44" fmla="*/ 101267 w 264996"/>
                <a:gd name="connsiteY44" fmla="*/ 29300 h 216669"/>
                <a:gd name="connsiteX45" fmla="*/ 103387 w 264996"/>
                <a:gd name="connsiteY45" fmla="*/ 28930 h 216669"/>
                <a:gd name="connsiteX46" fmla="*/ 103959 w 264996"/>
                <a:gd name="connsiteY46" fmla="*/ 28055 h 216669"/>
                <a:gd name="connsiteX47" fmla="*/ 102949 w 264996"/>
                <a:gd name="connsiteY47" fmla="*/ 26609 h 216669"/>
                <a:gd name="connsiteX48" fmla="*/ 100762 w 264996"/>
                <a:gd name="connsiteY48" fmla="*/ 24792 h 216669"/>
                <a:gd name="connsiteX49" fmla="*/ 101435 w 264996"/>
                <a:gd name="connsiteY49" fmla="*/ 23346 h 216669"/>
                <a:gd name="connsiteX50" fmla="*/ 101704 w 264996"/>
                <a:gd name="connsiteY50" fmla="*/ 21731 h 216669"/>
                <a:gd name="connsiteX51" fmla="*/ 102276 w 264996"/>
                <a:gd name="connsiteY51" fmla="*/ 20587 h 216669"/>
                <a:gd name="connsiteX52" fmla="*/ 103151 w 264996"/>
                <a:gd name="connsiteY52" fmla="*/ 19780 h 216669"/>
                <a:gd name="connsiteX53" fmla="*/ 104228 w 264996"/>
                <a:gd name="connsiteY53" fmla="*/ 17156 h 216669"/>
                <a:gd name="connsiteX54" fmla="*/ 104767 w 264996"/>
                <a:gd name="connsiteY54" fmla="*/ 15339 h 216669"/>
                <a:gd name="connsiteX55" fmla="*/ 107089 w 264996"/>
                <a:gd name="connsiteY55" fmla="*/ 14128 h 216669"/>
                <a:gd name="connsiteX56" fmla="*/ 110791 w 264996"/>
                <a:gd name="connsiteY56" fmla="*/ 14128 h 216669"/>
                <a:gd name="connsiteX57" fmla="*/ 116445 w 264996"/>
                <a:gd name="connsiteY57" fmla="*/ 13556 h 216669"/>
                <a:gd name="connsiteX58" fmla="*/ 122032 w 264996"/>
                <a:gd name="connsiteY58" fmla="*/ 12043 h 216669"/>
                <a:gd name="connsiteX59" fmla="*/ 125229 w 264996"/>
                <a:gd name="connsiteY59" fmla="*/ 10731 h 216669"/>
                <a:gd name="connsiteX60" fmla="*/ 130142 w 264996"/>
                <a:gd name="connsiteY60" fmla="*/ 10731 h 216669"/>
                <a:gd name="connsiteX61" fmla="*/ 133272 w 264996"/>
                <a:gd name="connsiteY61" fmla="*/ 12244 h 216669"/>
                <a:gd name="connsiteX62" fmla="*/ 136469 w 264996"/>
                <a:gd name="connsiteY62" fmla="*/ 14936 h 216669"/>
                <a:gd name="connsiteX63" fmla="*/ 138354 w 264996"/>
                <a:gd name="connsiteY63" fmla="*/ 17190 h 216669"/>
                <a:gd name="connsiteX64" fmla="*/ 141820 w 264996"/>
                <a:gd name="connsiteY64" fmla="*/ 18434 h 216669"/>
                <a:gd name="connsiteX65" fmla="*/ 143840 w 264996"/>
                <a:gd name="connsiteY65" fmla="*/ 18064 h 216669"/>
                <a:gd name="connsiteX66" fmla="*/ 145724 w 264996"/>
                <a:gd name="connsiteY66" fmla="*/ 17761 h 216669"/>
                <a:gd name="connsiteX67" fmla="*/ 146868 w 264996"/>
                <a:gd name="connsiteY67" fmla="*/ 17930 h 216669"/>
                <a:gd name="connsiteX68" fmla="*/ 149628 w 264996"/>
                <a:gd name="connsiteY68" fmla="*/ 19410 h 216669"/>
                <a:gd name="connsiteX69" fmla="*/ 151008 w 264996"/>
                <a:gd name="connsiteY69" fmla="*/ 19410 h 216669"/>
                <a:gd name="connsiteX70" fmla="*/ 155417 w 264996"/>
                <a:gd name="connsiteY70" fmla="*/ 19040 h 216669"/>
                <a:gd name="connsiteX71" fmla="*/ 157234 w 264996"/>
                <a:gd name="connsiteY71" fmla="*/ 17795 h 216669"/>
                <a:gd name="connsiteX72" fmla="*/ 157604 w 264996"/>
                <a:gd name="connsiteY72" fmla="*/ 15608 h 216669"/>
                <a:gd name="connsiteX73" fmla="*/ 157604 w 264996"/>
                <a:gd name="connsiteY73" fmla="*/ 14229 h 216669"/>
                <a:gd name="connsiteX74" fmla="*/ 155787 w 264996"/>
                <a:gd name="connsiteY74" fmla="*/ 12312 h 216669"/>
                <a:gd name="connsiteX75" fmla="*/ 155619 w 264996"/>
                <a:gd name="connsiteY75" fmla="*/ 8713 h 216669"/>
                <a:gd name="connsiteX76" fmla="*/ 157638 w 264996"/>
                <a:gd name="connsiteY76" fmla="*/ 5887 h 216669"/>
                <a:gd name="connsiteX77" fmla="*/ 160532 w 264996"/>
                <a:gd name="connsiteY77" fmla="*/ 3700 h 216669"/>
                <a:gd name="connsiteX78" fmla="*/ 164941 w 264996"/>
                <a:gd name="connsiteY78" fmla="*/ 3700 h 216669"/>
                <a:gd name="connsiteX79" fmla="*/ 170158 w 264996"/>
                <a:gd name="connsiteY79" fmla="*/ 4440 h 216669"/>
                <a:gd name="connsiteX80" fmla="*/ 173859 w 264996"/>
                <a:gd name="connsiteY80" fmla="*/ 4676 h 216669"/>
                <a:gd name="connsiteX81" fmla="*/ 176855 w 264996"/>
                <a:gd name="connsiteY81" fmla="*/ 4777 h 216669"/>
                <a:gd name="connsiteX82" fmla="*/ 184797 w 264996"/>
                <a:gd name="connsiteY82" fmla="*/ 4508 h 216669"/>
                <a:gd name="connsiteX83" fmla="*/ 191461 w 264996"/>
                <a:gd name="connsiteY83" fmla="*/ 2489 h 216669"/>
                <a:gd name="connsiteX84" fmla="*/ 193480 w 264996"/>
                <a:gd name="connsiteY84" fmla="*/ 2489 h 216669"/>
                <a:gd name="connsiteX85" fmla="*/ 196745 w 264996"/>
                <a:gd name="connsiteY85" fmla="*/ 3599 h 216669"/>
                <a:gd name="connsiteX86" fmla="*/ 200379 w 264996"/>
                <a:gd name="connsiteY86" fmla="*/ 6862 h 216669"/>
                <a:gd name="connsiteX87" fmla="*/ 203274 w 264996"/>
                <a:gd name="connsiteY87" fmla="*/ 9251 h 216669"/>
                <a:gd name="connsiteX88" fmla="*/ 206168 w 264996"/>
                <a:gd name="connsiteY88" fmla="*/ 11437 h 216669"/>
                <a:gd name="connsiteX89" fmla="*/ 208692 w 264996"/>
                <a:gd name="connsiteY89" fmla="*/ 11370 h 216669"/>
                <a:gd name="connsiteX90" fmla="*/ 212394 w 264996"/>
                <a:gd name="connsiteY90" fmla="*/ 9991 h 216669"/>
                <a:gd name="connsiteX91" fmla="*/ 213909 w 264996"/>
                <a:gd name="connsiteY91" fmla="*/ 7031 h 216669"/>
                <a:gd name="connsiteX92" fmla="*/ 214716 w 264996"/>
                <a:gd name="connsiteY92" fmla="*/ 5147 h 216669"/>
                <a:gd name="connsiteX93" fmla="*/ 216096 w 264996"/>
                <a:gd name="connsiteY93" fmla="*/ 3532 h 216669"/>
                <a:gd name="connsiteX94" fmla="*/ 217173 w 264996"/>
                <a:gd name="connsiteY94" fmla="*/ 1951 h 216669"/>
                <a:gd name="connsiteX95" fmla="*/ 218553 w 264996"/>
                <a:gd name="connsiteY95" fmla="*/ 1312 h 216669"/>
                <a:gd name="connsiteX96" fmla="*/ 219933 w 264996"/>
                <a:gd name="connsiteY96" fmla="*/ 572 h 216669"/>
                <a:gd name="connsiteX97" fmla="*/ 223264 w 264996"/>
                <a:gd name="connsiteY97" fmla="*/ 0 h 216669"/>
                <a:gd name="connsiteX98" fmla="*/ 225216 w 264996"/>
                <a:gd name="connsiteY98" fmla="*/ 673 h 216669"/>
                <a:gd name="connsiteX99" fmla="*/ 227740 w 264996"/>
                <a:gd name="connsiteY99" fmla="*/ 2254 h 216669"/>
                <a:gd name="connsiteX100" fmla="*/ 231510 w 264996"/>
                <a:gd name="connsiteY100" fmla="*/ 5012 h 216669"/>
                <a:gd name="connsiteX101" fmla="*/ 235346 w 264996"/>
                <a:gd name="connsiteY101" fmla="*/ 7199 h 216669"/>
                <a:gd name="connsiteX102" fmla="*/ 238409 w 264996"/>
                <a:gd name="connsiteY102" fmla="*/ 10966 h 216669"/>
                <a:gd name="connsiteX103" fmla="*/ 250794 w 264996"/>
                <a:gd name="connsiteY103" fmla="*/ 17257 h 216669"/>
                <a:gd name="connsiteX104" fmla="*/ 254429 w 264996"/>
                <a:gd name="connsiteY104" fmla="*/ 19006 h 216669"/>
                <a:gd name="connsiteX105" fmla="*/ 258265 w 264996"/>
                <a:gd name="connsiteY105" fmla="*/ 22976 h 216669"/>
                <a:gd name="connsiteX106" fmla="*/ 260150 w 264996"/>
                <a:gd name="connsiteY106" fmla="*/ 25364 h 216669"/>
                <a:gd name="connsiteX107" fmla="*/ 261462 w 264996"/>
                <a:gd name="connsiteY107" fmla="*/ 28324 h 216669"/>
                <a:gd name="connsiteX108" fmla="*/ 261462 w 264996"/>
                <a:gd name="connsiteY108" fmla="*/ 32462 h 216669"/>
                <a:gd name="connsiteX109" fmla="*/ 260756 w 264996"/>
                <a:gd name="connsiteY109" fmla="*/ 34851 h 216669"/>
                <a:gd name="connsiteX110" fmla="*/ 260890 w 264996"/>
                <a:gd name="connsiteY110" fmla="*/ 36734 h 216669"/>
                <a:gd name="connsiteX111" fmla="*/ 262573 w 264996"/>
                <a:gd name="connsiteY111" fmla="*/ 40569 h 216669"/>
                <a:gd name="connsiteX112" fmla="*/ 264828 w 264996"/>
                <a:gd name="connsiteY112" fmla="*/ 43092 h 216669"/>
                <a:gd name="connsiteX113" fmla="*/ 264996 w 264996"/>
                <a:gd name="connsiteY113" fmla="*/ 45279 h 216669"/>
                <a:gd name="connsiteX114" fmla="*/ 264962 w 264996"/>
                <a:gd name="connsiteY114" fmla="*/ 46927 h 216669"/>
                <a:gd name="connsiteX115" fmla="*/ 264962 w 264996"/>
                <a:gd name="connsiteY115" fmla="*/ 49820 h 216669"/>
                <a:gd name="connsiteX116" fmla="*/ 264458 w 264996"/>
                <a:gd name="connsiteY116" fmla="*/ 52578 h 216669"/>
                <a:gd name="connsiteX117" fmla="*/ 261059 w 264996"/>
                <a:gd name="connsiteY117" fmla="*/ 55976 h 216669"/>
                <a:gd name="connsiteX118" fmla="*/ 256481 w 264996"/>
                <a:gd name="connsiteY118" fmla="*/ 58802 h 216669"/>
                <a:gd name="connsiteX119" fmla="*/ 256347 w 264996"/>
                <a:gd name="connsiteY119" fmla="*/ 62502 h 216669"/>
                <a:gd name="connsiteX120" fmla="*/ 253520 w 264996"/>
                <a:gd name="connsiteY120" fmla="*/ 64218 h 216669"/>
                <a:gd name="connsiteX121" fmla="*/ 251837 w 264996"/>
                <a:gd name="connsiteY121" fmla="*/ 64622 h 216669"/>
                <a:gd name="connsiteX122" fmla="*/ 250154 w 264996"/>
                <a:gd name="connsiteY122" fmla="*/ 64622 h 216669"/>
                <a:gd name="connsiteX123" fmla="*/ 248943 w 264996"/>
                <a:gd name="connsiteY123" fmla="*/ 63545 h 216669"/>
                <a:gd name="connsiteX124" fmla="*/ 248573 w 264996"/>
                <a:gd name="connsiteY124" fmla="*/ 61359 h 216669"/>
                <a:gd name="connsiteX125" fmla="*/ 249078 w 264996"/>
                <a:gd name="connsiteY125" fmla="*/ 60114 h 216669"/>
                <a:gd name="connsiteX126" fmla="*/ 250323 w 264996"/>
                <a:gd name="connsiteY126" fmla="*/ 57793 h 216669"/>
                <a:gd name="connsiteX127" fmla="*/ 250996 w 264996"/>
                <a:gd name="connsiteY127" fmla="*/ 56985 h 216669"/>
                <a:gd name="connsiteX128" fmla="*/ 251299 w 264996"/>
                <a:gd name="connsiteY128" fmla="*/ 54530 h 216669"/>
                <a:gd name="connsiteX129" fmla="*/ 250929 w 264996"/>
                <a:gd name="connsiteY129" fmla="*/ 53722 h 216669"/>
                <a:gd name="connsiteX130" fmla="*/ 247361 w 264996"/>
                <a:gd name="connsiteY130" fmla="*/ 51771 h 216669"/>
                <a:gd name="connsiteX131" fmla="*/ 243827 w 264996"/>
                <a:gd name="connsiteY131" fmla="*/ 53520 h 216669"/>
                <a:gd name="connsiteX132" fmla="*/ 241741 w 264996"/>
                <a:gd name="connsiteY132" fmla="*/ 55909 h 216669"/>
                <a:gd name="connsiteX133" fmla="*/ 239553 w 264996"/>
                <a:gd name="connsiteY133" fmla="*/ 58297 h 216669"/>
                <a:gd name="connsiteX134" fmla="*/ 239991 w 264996"/>
                <a:gd name="connsiteY134" fmla="*/ 60820 h 216669"/>
                <a:gd name="connsiteX135" fmla="*/ 241572 w 264996"/>
                <a:gd name="connsiteY135" fmla="*/ 62401 h 216669"/>
                <a:gd name="connsiteX136" fmla="*/ 243154 w 264996"/>
                <a:gd name="connsiteY136" fmla="*/ 64857 h 216669"/>
                <a:gd name="connsiteX137" fmla="*/ 243659 w 264996"/>
                <a:gd name="connsiteY137" fmla="*/ 66169 h 216669"/>
                <a:gd name="connsiteX138" fmla="*/ 243356 w 264996"/>
                <a:gd name="connsiteY138" fmla="*/ 68423 h 216669"/>
                <a:gd name="connsiteX139" fmla="*/ 241909 w 264996"/>
                <a:gd name="connsiteY139" fmla="*/ 70542 h 216669"/>
                <a:gd name="connsiteX140" fmla="*/ 240294 w 264996"/>
                <a:gd name="connsiteY140" fmla="*/ 71988 h 216669"/>
                <a:gd name="connsiteX141" fmla="*/ 238712 w 264996"/>
                <a:gd name="connsiteY141" fmla="*/ 72998 h 216669"/>
                <a:gd name="connsiteX142" fmla="*/ 235010 w 264996"/>
                <a:gd name="connsiteY142" fmla="*/ 75083 h 216669"/>
                <a:gd name="connsiteX143" fmla="*/ 233327 w 264996"/>
                <a:gd name="connsiteY143" fmla="*/ 77909 h 216669"/>
                <a:gd name="connsiteX144" fmla="*/ 231072 w 264996"/>
                <a:gd name="connsiteY144" fmla="*/ 80668 h 216669"/>
                <a:gd name="connsiteX145" fmla="*/ 228548 w 264996"/>
                <a:gd name="connsiteY145" fmla="*/ 83628 h 216669"/>
                <a:gd name="connsiteX146" fmla="*/ 226967 w 264996"/>
                <a:gd name="connsiteY146" fmla="*/ 88102 h 216669"/>
                <a:gd name="connsiteX147" fmla="*/ 226091 w 264996"/>
                <a:gd name="connsiteY147" fmla="*/ 92442 h 216669"/>
                <a:gd name="connsiteX148" fmla="*/ 224005 w 264996"/>
                <a:gd name="connsiteY148" fmla="*/ 96949 h 216669"/>
                <a:gd name="connsiteX149" fmla="*/ 221245 w 264996"/>
                <a:gd name="connsiteY149" fmla="*/ 102668 h 216669"/>
                <a:gd name="connsiteX150" fmla="*/ 220101 w 264996"/>
                <a:gd name="connsiteY150" fmla="*/ 105427 h 216669"/>
                <a:gd name="connsiteX151" fmla="*/ 217207 w 264996"/>
                <a:gd name="connsiteY151" fmla="*/ 108555 h 216669"/>
                <a:gd name="connsiteX152" fmla="*/ 214178 w 264996"/>
                <a:gd name="connsiteY152" fmla="*/ 109867 h 216669"/>
                <a:gd name="connsiteX153" fmla="*/ 212293 w 264996"/>
                <a:gd name="connsiteY153" fmla="*/ 111751 h 216669"/>
                <a:gd name="connsiteX154" fmla="*/ 211418 w 264996"/>
                <a:gd name="connsiteY154" fmla="*/ 113702 h 216669"/>
                <a:gd name="connsiteX155" fmla="*/ 211048 w 264996"/>
                <a:gd name="connsiteY155" fmla="*/ 118916 h 216669"/>
                <a:gd name="connsiteX156" fmla="*/ 211620 w 264996"/>
                <a:gd name="connsiteY156" fmla="*/ 129210 h 216669"/>
                <a:gd name="connsiteX157" fmla="*/ 210038 w 264996"/>
                <a:gd name="connsiteY157" fmla="*/ 133179 h 216669"/>
                <a:gd name="connsiteX158" fmla="*/ 206269 w 264996"/>
                <a:gd name="connsiteY158" fmla="*/ 137216 h 216669"/>
                <a:gd name="connsiteX159" fmla="*/ 204620 w 264996"/>
                <a:gd name="connsiteY159" fmla="*/ 141387 h 216669"/>
                <a:gd name="connsiteX160" fmla="*/ 204519 w 264996"/>
                <a:gd name="connsiteY160" fmla="*/ 144045 h 216669"/>
                <a:gd name="connsiteX161" fmla="*/ 206437 w 264996"/>
                <a:gd name="connsiteY161" fmla="*/ 146231 h 216669"/>
                <a:gd name="connsiteX162" fmla="*/ 209096 w 264996"/>
                <a:gd name="connsiteY162" fmla="*/ 148283 h 216669"/>
                <a:gd name="connsiteX163" fmla="*/ 210577 w 264996"/>
                <a:gd name="connsiteY163" fmla="*/ 150470 h 216669"/>
                <a:gd name="connsiteX164" fmla="*/ 209163 w 264996"/>
                <a:gd name="connsiteY164" fmla="*/ 155852 h 216669"/>
                <a:gd name="connsiteX165" fmla="*/ 206269 w 264996"/>
                <a:gd name="connsiteY165" fmla="*/ 158073 h 216669"/>
                <a:gd name="connsiteX166" fmla="*/ 202096 w 264996"/>
                <a:gd name="connsiteY166" fmla="*/ 158409 h 216669"/>
                <a:gd name="connsiteX167" fmla="*/ 196442 w 264996"/>
                <a:gd name="connsiteY167" fmla="*/ 159048 h 216669"/>
                <a:gd name="connsiteX168" fmla="*/ 190990 w 264996"/>
                <a:gd name="connsiteY168" fmla="*/ 160562 h 216669"/>
                <a:gd name="connsiteX169" fmla="*/ 184797 w 264996"/>
                <a:gd name="connsiteY169" fmla="*/ 162345 h 216669"/>
                <a:gd name="connsiteX170" fmla="*/ 181095 w 264996"/>
                <a:gd name="connsiteY170" fmla="*/ 164464 h 216669"/>
                <a:gd name="connsiteX171" fmla="*/ 177562 w 264996"/>
                <a:gd name="connsiteY171" fmla="*/ 167996 h 216669"/>
                <a:gd name="connsiteX172" fmla="*/ 172850 w 264996"/>
                <a:gd name="connsiteY172" fmla="*/ 170822 h 216669"/>
                <a:gd name="connsiteX173" fmla="*/ 171874 w 264996"/>
                <a:gd name="connsiteY173" fmla="*/ 172739 h 216669"/>
                <a:gd name="connsiteX174" fmla="*/ 170662 w 264996"/>
                <a:gd name="connsiteY174" fmla="*/ 174758 h 216669"/>
                <a:gd name="connsiteX175" fmla="*/ 167903 w 264996"/>
                <a:gd name="connsiteY175" fmla="*/ 179871 h 216669"/>
                <a:gd name="connsiteX176" fmla="*/ 166287 w 264996"/>
                <a:gd name="connsiteY176" fmla="*/ 183033 h 216669"/>
                <a:gd name="connsiteX177" fmla="*/ 164773 w 264996"/>
                <a:gd name="connsiteY177" fmla="*/ 185051 h 216669"/>
                <a:gd name="connsiteX178" fmla="*/ 163797 w 264996"/>
                <a:gd name="connsiteY178" fmla="*/ 187104 h 216669"/>
                <a:gd name="connsiteX179" fmla="*/ 160734 w 264996"/>
                <a:gd name="connsiteY179" fmla="*/ 190804 h 216669"/>
                <a:gd name="connsiteX180" fmla="*/ 159691 w 264996"/>
                <a:gd name="connsiteY180" fmla="*/ 193091 h 216669"/>
                <a:gd name="connsiteX181" fmla="*/ 158378 w 264996"/>
                <a:gd name="connsiteY181" fmla="*/ 194134 h 216669"/>
                <a:gd name="connsiteX182" fmla="*/ 154912 w 264996"/>
                <a:gd name="connsiteY182" fmla="*/ 195009 h 216669"/>
                <a:gd name="connsiteX183" fmla="*/ 152792 w 264996"/>
                <a:gd name="connsiteY183" fmla="*/ 195009 h 216669"/>
                <a:gd name="connsiteX184" fmla="*/ 150503 w 264996"/>
                <a:gd name="connsiteY184" fmla="*/ 194235 h 216669"/>
                <a:gd name="connsiteX185" fmla="*/ 150167 w 264996"/>
                <a:gd name="connsiteY185" fmla="*/ 193091 h 216669"/>
                <a:gd name="connsiteX186" fmla="*/ 150167 w 264996"/>
                <a:gd name="connsiteY186" fmla="*/ 190636 h 216669"/>
                <a:gd name="connsiteX187" fmla="*/ 151479 w 264996"/>
                <a:gd name="connsiteY187" fmla="*/ 189290 h 216669"/>
                <a:gd name="connsiteX188" fmla="*/ 152455 w 264996"/>
                <a:gd name="connsiteY188" fmla="*/ 187978 h 216669"/>
                <a:gd name="connsiteX189" fmla="*/ 153869 w 264996"/>
                <a:gd name="connsiteY189" fmla="*/ 186464 h 216669"/>
                <a:gd name="connsiteX190" fmla="*/ 154845 w 264996"/>
                <a:gd name="connsiteY190" fmla="*/ 184278 h 216669"/>
                <a:gd name="connsiteX191" fmla="*/ 154138 w 264996"/>
                <a:gd name="connsiteY191" fmla="*/ 182697 h 216669"/>
                <a:gd name="connsiteX192" fmla="*/ 153364 w 264996"/>
                <a:gd name="connsiteY192" fmla="*/ 182327 h 216669"/>
                <a:gd name="connsiteX193" fmla="*/ 152051 w 264996"/>
                <a:gd name="connsiteY193" fmla="*/ 182360 h 216669"/>
                <a:gd name="connsiteX194" fmla="*/ 150638 w 264996"/>
                <a:gd name="connsiteY194" fmla="*/ 183134 h 216669"/>
                <a:gd name="connsiteX195" fmla="*/ 148450 w 264996"/>
                <a:gd name="connsiteY195" fmla="*/ 185691 h 216669"/>
                <a:gd name="connsiteX196" fmla="*/ 146498 w 264996"/>
                <a:gd name="connsiteY196" fmla="*/ 187810 h 216669"/>
                <a:gd name="connsiteX197" fmla="*/ 145354 w 264996"/>
                <a:gd name="connsiteY197" fmla="*/ 189896 h 216669"/>
                <a:gd name="connsiteX198" fmla="*/ 140239 w 264996"/>
                <a:gd name="connsiteY198" fmla="*/ 191073 h 216669"/>
                <a:gd name="connsiteX199" fmla="*/ 136166 w 264996"/>
                <a:gd name="connsiteY199" fmla="*/ 192654 h 216669"/>
                <a:gd name="connsiteX200" fmla="*/ 130613 w 264996"/>
                <a:gd name="connsiteY200" fmla="*/ 192688 h 216669"/>
                <a:gd name="connsiteX201" fmla="*/ 126474 w 264996"/>
                <a:gd name="connsiteY201" fmla="*/ 192755 h 216669"/>
                <a:gd name="connsiteX202" fmla="*/ 123983 w 264996"/>
                <a:gd name="connsiteY202" fmla="*/ 194975 h 216669"/>
                <a:gd name="connsiteX203" fmla="*/ 120450 w 264996"/>
                <a:gd name="connsiteY203" fmla="*/ 198238 h 216669"/>
                <a:gd name="connsiteX204" fmla="*/ 116546 w 264996"/>
                <a:gd name="connsiteY204" fmla="*/ 201400 h 216669"/>
                <a:gd name="connsiteX205" fmla="*/ 116882 w 264996"/>
                <a:gd name="connsiteY205" fmla="*/ 205403 h 216669"/>
                <a:gd name="connsiteX206" fmla="*/ 115974 w 264996"/>
                <a:gd name="connsiteY206" fmla="*/ 207085 h 216669"/>
                <a:gd name="connsiteX207" fmla="*/ 113248 w 264996"/>
                <a:gd name="connsiteY207" fmla="*/ 208397 h 216669"/>
                <a:gd name="connsiteX208" fmla="*/ 110623 w 264996"/>
                <a:gd name="connsiteY208" fmla="*/ 208734 h 216669"/>
                <a:gd name="connsiteX209" fmla="*/ 108570 w 264996"/>
                <a:gd name="connsiteY209" fmla="*/ 209104 h 216669"/>
                <a:gd name="connsiteX210" fmla="*/ 108031 w 264996"/>
                <a:gd name="connsiteY210" fmla="*/ 209978 h 216669"/>
                <a:gd name="connsiteX211" fmla="*/ 107425 w 264996"/>
                <a:gd name="connsiteY211" fmla="*/ 211324 h 216669"/>
                <a:gd name="connsiteX212" fmla="*/ 106651 w 264996"/>
                <a:gd name="connsiteY212" fmla="*/ 212636 h 216669"/>
                <a:gd name="connsiteX213" fmla="*/ 105978 w 264996"/>
                <a:gd name="connsiteY213" fmla="*/ 214419 h 216669"/>
                <a:gd name="connsiteX214" fmla="*/ 105372 w 264996"/>
                <a:gd name="connsiteY214" fmla="*/ 215495 h 216669"/>
                <a:gd name="connsiteX215" fmla="*/ 103723 w 264996"/>
                <a:gd name="connsiteY215" fmla="*/ 216639 h 216669"/>
                <a:gd name="connsiteX216" fmla="*/ 101603 w 264996"/>
                <a:gd name="connsiteY216" fmla="*/ 216639 h 216669"/>
                <a:gd name="connsiteX217" fmla="*/ 99584 w 264996"/>
                <a:gd name="connsiteY217" fmla="*/ 216404 h 216669"/>
                <a:gd name="connsiteX218" fmla="*/ 97396 w 264996"/>
                <a:gd name="connsiteY218" fmla="*/ 215159 h 216669"/>
                <a:gd name="connsiteX219" fmla="*/ 94738 w 264996"/>
                <a:gd name="connsiteY219" fmla="*/ 213847 h 216669"/>
                <a:gd name="connsiteX220" fmla="*/ 93492 w 264996"/>
                <a:gd name="connsiteY220" fmla="*/ 212972 h 216669"/>
                <a:gd name="connsiteX221" fmla="*/ 91372 w 264996"/>
                <a:gd name="connsiteY221" fmla="*/ 210046 h 216669"/>
                <a:gd name="connsiteX222" fmla="*/ 88915 w 264996"/>
                <a:gd name="connsiteY222" fmla="*/ 207926 h 216669"/>
                <a:gd name="connsiteX223" fmla="*/ 85314 w 264996"/>
                <a:gd name="connsiteY223" fmla="*/ 207052 h 216669"/>
                <a:gd name="connsiteX224" fmla="*/ 82218 w 264996"/>
                <a:gd name="connsiteY224" fmla="*/ 205168 h 216669"/>
                <a:gd name="connsiteX225" fmla="*/ 77877 w 264996"/>
                <a:gd name="connsiteY225" fmla="*/ 204966 h 216669"/>
                <a:gd name="connsiteX226" fmla="*/ 74141 w 264996"/>
                <a:gd name="connsiteY226" fmla="*/ 204562 h 216669"/>
                <a:gd name="connsiteX227" fmla="*/ 70271 w 264996"/>
                <a:gd name="connsiteY227" fmla="*/ 204024 h 216669"/>
                <a:gd name="connsiteX228" fmla="*/ 66972 w 264996"/>
                <a:gd name="connsiteY228" fmla="*/ 203520 h 216669"/>
                <a:gd name="connsiteX229" fmla="*/ 60612 w 264996"/>
                <a:gd name="connsiteY229" fmla="*/ 203250 h 216669"/>
                <a:gd name="connsiteX230" fmla="*/ 58323 w 264996"/>
                <a:gd name="connsiteY230" fmla="*/ 202914 h 216669"/>
                <a:gd name="connsiteX231" fmla="*/ 55395 w 264996"/>
                <a:gd name="connsiteY231" fmla="*/ 201501 h 216669"/>
                <a:gd name="connsiteX232" fmla="*/ 54621 w 264996"/>
                <a:gd name="connsiteY232" fmla="*/ 200256 h 216669"/>
                <a:gd name="connsiteX233" fmla="*/ 51626 w 264996"/>
                <a:gd name="connsiteY233" fmla="*/ 197229 h 216669"/>
                <a:gd name="connsiteX234" fmla="*/ 49842 w 264996"/>
                <a:gd name="connsiteY234" fmla="*/ 196892 h 216669"/>
                <a:gd name="connsiteX235" fmla="*/ 43684 w 264996"/>
                <a:gd name="connsiteY235" fmla="*/ 196186 h 216669"/>
                <a:gd name="connsiteX236" fmla="*/ 41933 w 264996"/>
                <a:gd name="connsiteY236" fmla="*/ 195681 h 216669"/>
                <a:gd name="connsiteX237" fmla="*/ 38198 w 264996"/>
                <a:gd name="connsiteY237" fmla="*/ 192654 h 216669"/>
                <a:gd name="connsiteX238" fmla="*/ 33015 w 264996"/>
                <a:gd name="connsiteY238" fmla="*/ 188853 h 216669"/>
                <a:gd name="connsiteX239" fmla="*/ 27900 w 264996"/>
                <a:gd name="connsiteY239" fmla="*/ 186532 h 216669"/>
                <a:gd name="connsiteX240" fmla="*/ 24635 w 264996"/>
                <a:gd name="connsiteY240" fmla="*/ 185556 h 216669"/>
                <a:gd name="connsiteX241" fmla="*/ 18544 w 264996"/>
                <a:gd name="connsiteY241" fmla="*/ 183941 h 216669"/>
                <a:gd name="connsiteX242" fmla="*/ 15010 w 264996"/>
                <a:gd name="connsiteY242" fmla="*/ 182697 h 216669"/>
                <a:gd name="connsiteX243" fmla="*/ 12116 w 264996"/>
                <a:gd name="connsiteY243" fmla="*/ 179871 h 216669"/>
                <a:gd name="connsiteX244" fmla="*/ 10265 w 264996"/>
                <a:gd name="connsiteY244" fmla="*/ 176440 h 216669"/>
                <a:gd name="connsiteX245" fmla="*/ 9221 w 264996"/>
                <a:gd name="connsiteY245" fmla="*/ 172302 h 216669"/>
                <a:gd name="connsiteX246" fmla="*/ 8986 w 264996"/>
                <a:gd name="connsiteY246" fmla="*/ 167861 h 216669"/>
                <a:gd name="connsiteX247" fmla="*/ 8918 w 264996"/>
                <a:gd name="connsiteY247" fmla="*/ 162143 h 216669"/>
                <a:gd name="connsiteX248" fmla="*/ 8279 w 264996"/>
                <a:gd name="connsiteY248" fmla="*/ 158173 h 216669"/>
                <a:gd name="connsiteX249" fmla="*/ 4510 w 264996"/>
                <a:gd name="connsiteY249" fmla="*/ 152858 h 216669"/>
                <a:gd name="connsiteX250" fmla="*/ 3803 w 264996"/>
                <a:gd name="connsiteY250" fmla="*/ 143035 h 216669"/>
                <a:gd name="connsiteX251" fmla="*/ 3433 w 264996"/>
                <a:gd name="connsiteY251" fmla="*/ 134895 h 216669"/>
                <a:gd name="connsiteX252" fmla="*/ 4241 w 264996"/>
                <a:gd name="connsiteY252" fmla="*/ 129681 h 216669"/>
                <a:gd name="connsiteX253" fmla="*/ 4072 w 264996"/>
                <a:gd name="connsiteY253" fmla="*/ 124803 h 216669"/>
                <a:gd name="connsiteX254" fmla="*/ 3130 w 264996"/>
                <a:gd name="connsiteY254" fmla="*/ 121405 h 216669"/>
                <a:gd name="connsiteX255" fmla="*/ 1683 w 264996"/>
                <a:gd name="connsiteY255" fmla="*/ 116359 h 216669"/>
                <a:gd name="connsiteX256" fmla="*/ 1514 w 264996"/>
                <a:gd name="connsiteY256" fmla="*/ 110102 h 216669"/>
                <a:gd name="connsiteX257" fmla="*/ 1413 w 264996"/>
                <a:gd name="connsiteY257" fmla="*/ 105931 h 216669"/>
                <a:gd name="connsiteX258" fmla="*/ 1245 w 264996"/>
                <a:gd name="connsiteY258" fmla="*/ 99943 h 216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</a:cxnLst>
              <a:rect l="l" t="t" r="r" b="b"/>
              <a:pathLst>
                <a:path w="264996" h="216669">
                  <a:moveTo>
                    <a:pt x="1245" y="99943"/>
                  </a:moveTo>
                  <a:lnTo>
                    <a:pt x="0" y="97723"/>
                  </a:lnTo>
                  <a:lnTo>
                    <a:pt x="976" y="95335"/>
                  </a:lnTo>
                  <a:lnTo>
                    <a:pt x="1851" y="91802"/>
                  </a:lnTo>
                  <a:lnTo>
                    <a:pt x="2894" y="88741"/>
                  </a:lnTo>
                  <a:cubicBezTo>
                    <a:pt x="2894" y="88741"/>
                    <a:pt x="5822" y="87362"/>
                    <a:pt x="6394" y="87059"/>
                  </a:cubicBezTo>
                  <a:cubicBezTo>
                    <a:pt x="6967" y="86756"/>
                    <a:pt x="9726" y="85074"/>
                    <a:pt x="9726" y="85074"/>
                  </a:cubicBezTo>
                  <a:lnTo>
                    <a:pt x="13798" y="81778"/>
                  </a:lnTo>
                  <a:lnTo>
                    <a:pt x="20159" y="79457"/>
                  </a:lnTo>
                  <a:lnTo>
                    <a:pt x="27395" y="74377"/>
                  </a:lnTo>
                  <a:lnTo>
                    <a:pt x="36078" y="69298"/>
                  </a:lnTo>
                  <a:lnTo>
                    <a:pt x="40722" y="63781"/>
                  </a:lnTo>
                  <a:lnTo>
                    <a:pt x="49136" y="58701"/>
                  </a:lnTo>
                  <a:lnTo>
                    <a:pt x="57987" y="52478"/>
                  </a:lnTo>
                  <a:lnTo>
                    <a:pt x="65088" y="46691"/>
                  </a:lnTo>
                  <a:lnTo>
                    <a:pt x="70170" y="45682"/>
                  </a:lnTo>
                  <a:cubicBezTo>
                    <a:pt x="70170" y="45682"/>
                    <a:pt x="70271" y="44438"/>
                    <a:pt x="70372" y="44438"/>
                  </a:cubicBezTo>
                  <a:cubicBezTo>
                    <a:pt x="70473" y="44438"/>
                    <a:pt x="72425" y="42520"/>
                    <a:pt x="72425" y="42520"/>
                  </a:cubicBezTo>
                  <a:cubicBezTo>
                    <a:pt x="72425" y="42520"/>
                    <a:pt x="72223" y="41275"/>
                    <a:pt x="72088" y="41275"/>
                  </a:cubicBezTo>
                  <a:cubicBezTo>
                    <a:pt x="71954" y="41275"/>
                    <a:pt x="71112" y="40300"/>
                    <a:pt x="70910" y="40300"/>
                  </a:cubicBezTo>
                  <a:cubicBezTo>
                    <a:pt x="70675" y="40300"/>
                    <a:pt x="69261" y="40300"/>
                    <a:pt x="69261" y="40300"/>
                  </a:cubicBezTo>
                  <a:cubicBezTo>
                    <a:pt x="69261" y="40300"/>
                    <a:pt x="67881" y="40603"/>
                    <a:pt x="67747" y="40603"/>
                  </a:cubicBezTo>
                  <a:cubicBezTo>
                    <a:pt x="67612" y="40603"/>
                    <a:pt x="66199" y="40603"/>
                    <a:pt x="65660" y="40637"/>
                  </a:cubicBezTo>
                  <a:cubicBezTo>
                    <a:pt x="65155" y="40670"/>
                    <a:pt x="63809" y="40603"/>
                    <a:pt x="63607" y="40670"/>
                  </a:cubicBezTo>
                  <a:cubicBezTo>
                    <a:pt x="63405" y="40738"/>
                    <a:pt x="60208" y="40468"/>
                    <a:pt x="60208" y="40468"/>
                  </a:cubicBezTo>
                  <a:lnTo>
                    <a:pt x="58963" y="39493"/>
                  </a:lnTo>
                  <a:cubicBezTo>
                    <a:pt x="58963" y="39493"/>
                    <a:pt x="58896" y="39257"/>
                    <a:pt x="59131" y="39156"/>
                  </a:cubicBezTo>
                  <a:cubicBezTo>
                    <a:pt x="59400" y="39056"/>
                    <a:pt x="60073" y="38484"/>
                    <a:pt x="60141" y="38349"/>
                  </a:cubicBezTo>
                  <a:cubicBezTo>
                    <a:pt x="60208" y="38248"/>
                    <a:pt x="61924" y="35591"/>
                    <a:pt x="61924" y="35591"/>
                  </a:cubicBezTo>
                  <a:lnTo>
                    <a:pt x="64448" y="32698"/>
                  </a:lnTo>
                  <a:lnTo>
                    <a:pt x="67208" y="29872"/>
                  </a:lnTo>
                  <a:cubicBezTo>
                    <a:pt x="67208" y="29872"/>
                    <a:pt x="69530" y="27315"/>
                    <a:pt x="69732" y="27214"/>
                  </a:cubicBezTo>
                  <a:cubicBezTo>
                    <a:pt x="69934" y="27147"/>
                    <a:pt x="72997" y="24658"/>
                    <a:pt x="72997" y="24658"/>
                  </a:cubicBezTo>
                  <a:lnTo>
                    <a:pt x="72728" y="24658"/>
                  </a:lnTo>
                  <a:cubicBezTo>
                    <a:pt x="72728" y="24658"/>
                    <a:pt x="74747" y="24523"/>
                    <a:pt x="75689" y="24658"/>
                  </a:cubicBezTo>
                  <a:cubicBezTo>
                    <a:pt x="76631" y="24792"/>
                    <a:pt x="77372" y="24389"/>
                    <a:pt x="77641" y="24590"/>
                  </a:cubicBezTo>
                  <a:cubicBezTo>
                    <a:pt x="77944" y="24826"/>
                    <a:pt x="79963" y="24187"/>
                    <a:pt x="80401" y="24456"/>
                  </a:cubicBezTo>
                  <a:cubicBezTo>
                    <a:pt x="80838" y="24725"/>
                    <a:pt x="82723" y="24658"/>
                    <a:pt x="83295" y="24658"/>
                  </a:cubicBezTo>
                  <a:cubicBezTo>
                    <a:pt x="83867" y="24658"/>
                    <a:pt x="86627" y="24658"/>
                    <a:pt x="86627" y="24658"/>
                  </a:cubicBezTo>
                  <a:lnTo>
                    <a:pt x="89151" y="26912"/>
                  </a:lnTo>
                  <a:cubicBezTo>
                    <a:pt x="89151" y="26912"/>
                    <a:pt x="89454" y="27349"/>
                    <a:pt x="90598" y="27685"/>
                  </a:cubicBezTo>
                  <a:cubicBezTo>
                    <a:pt x="91742" y="28055"/>
                    <a:pt x="92415" y="28055"/>
                    <a:pt x="92920" y="28055"/>
                  </a:cubicBezTo>
                  <a:cubicBezTo>
                    <a:pt x="93425" y="28055"/>
                    <a:pt x="92853" y="27988"/>
                    <a:pt x="95680" y="28291"/>
                  </a:cubicBezTo>
                  <a:cubicBezTo>
                    <a:pt x="98507" y="28594"/>
                    <a:pt x="99719" y="29098"/>
                    <a:pt x="99954" y="29165"/>
                  </a:cubicBezTo>
                  <a:cubicBezTo>
                    <a:pt x="100190" y="29233"/>
                    <a:pt x="100257" y="29300"/>
                    <a:pt x="101267" y="29300"/>
                  </a:cubicBezTo>
                  <a:cubicBezTo>
                    <a:pt x="102276" y="29300"/>
                    <a:pt x="103017" y="29300"/>
                    <a:pt x="103387" y="28930"/>
                  </a:cubicBezTo>
                  <a:cubicBezTo>
                    <a:pt x="103757" y="28560"/>
                    <a:pt x="104666" y="28863"/>
                    <a:pt x="103959" y="28055"/>
                  </a:cubicBezTo>
                  <a:cubicBezTo>
                    <a:pt x="103252" y="27248"/>
                    <a:pt x="103286" y="26844"/>
                    <a:pt x="102949" y="26609"/>
                  </a:cubicBezTo>
                  <a:cubicBezTo>
                    <a:pt x="102579" y="26373"/>
                    <a:pt x="100762" y="24792"/>
                    <a:pt x="100762" y="24792"/>
                  </a:cubicBezTo>
                  <a:lnTo>
                    <a:pt x="101435" y="23346"/>
                  </a:lnTo>
                  <a:cubicBezTo>
                    <a:pt x="101435" y="23346"/>
                    <a:pt x="101637" y="21966"/>
                    <a:pt x="101704" y="21731"/>
                  </a:cubicBezTo>
                  <a:cubicBezTo>
                    <a:pt x="101771" y="21529"/>
                    <a:pt x="102276" y="20587"/>
                    <a:pt x="102276" y="20587"/>
                  </a:cubicBezTo>
                  <a:lnTo>
                    <a:pt x="103151" y="19780"/>
                  </a:lnTo>
                  <a:lnTo>
                    <a:pt x="104228" y="17156"/>
                  </a:lnTo>
                  <a:lnTo>
                    <a:pt x="104767" y="15339"/>
                  </a:lnTo>
                  <a:lnTo>
                    <a:pt x="107089" y="14128"/>
                  </a:lnTo>
                  <a:cubicBezTo>
                    <a:pt x="107089" y="14128"/>
                    <a:pt x="110555" y="14566"/>
                    <a:pt x="110791" y="14128"/>
                  </a:cubicBezTo>
                  <a:cubicBezTo>
                    <a:pt x="110993" y="13691"/>
                    <a:pt x="115873" y="13556"/>
                    <a:pt x="116445" y="13556"/>
                  </a:cubicBezTo>
                  <a:cubicBezTo>
                    <a:pt x="117017" y="13556"/>
                    <a:pt x="122032" y="12043"/>
                    <a:pt x="122032" y="12043"/>
                  </a:cubicBezTo>
                  <a:lnTo>
                    <a:pt x="125229" y="10731"/>
                  </a:lnTo>
                  <a:lnTo>
                    <a:pt x="130142" y="10731"/>
                  </a:lnTo>
                  <a:lnTo>
                    <a:pt x="133272" y="12244"/>
                  </a:lnTo>
                  <a:lnTo>
                    <a:pt x="136469" y="14936"/>
                  </a:lnTo>
                  <a:cubicBezTo>
                    <a:pt x="136469" y="14936"/>
                    <a:pt x="137479" y="16887"/>
                    <a:pt x="138354" y="17190"/>
                  </a:cubicBezTo>
                  <a:cubicBezTo>
                    <a:pt x="139229" y="17492"/>
                    <a:pt x="141551" y="18434"/>
                    <a:pt x="141820" y="18434"/>
                  </a:cubicBezTo>
                  <a:cubicBezTo>
                    <a:pt x="142123" y="18434"/>
                    <a:pt x="143133" y="18232"/>
                    <a:pt x="143840" y="18064"/>
                  </a:cubicBezTo>
                  <a:cubicBezTo>
                    <a:pt x="144580" y="17930"/>
                    <a:pt x="145724" y="17761"/>
                    <a:pt x="145724" y="17761"/>
                  </a:cubicBezTo>
                  <a:cubicBezTo>
                    <a:pt x="145724" y="17761"/>
                    <a:pt x="145859" y="17290"/>
                    <a:pt x="146868" y="17930"/>
                  </a:cubicBezTo>
                  <a:cubicBezTo>
                    <a:pt x="147878" y="18569"/>
                    <a:pt x="149325" y="19410"/>
                    <a:pt x="149628" y="19410"/>
                  </a:cubicBezTo>
                  <a:cubicBezTo>
                    <a:pt x="149931" y="19410"/>
                    <a:pt x="151008" y="19410"/>
                    <a:pt x="151008" y="19410"/>
                  </a:cubicBezTo>
                  <a:lnTo>
                    <a:pt x="155417" y="19040"/>
                  </a:lnTo>
                  <a:lnTo>
                    <a:pt x="157234" y="17795"/>
                  </a:lnTo>
                  <a:cubicBezTo>
                    <a:pt x="157234" y="17795"/>
                    <a:pt x="157537" y="15979"/>
                    <a:pt x="157604" y="15608"/>
                  </a:cubicBezTo>
                  <a:cubicBezTo>
                    <a:pt x="157672" y="15238"/>
                    <a:pt x="157604" y="14229"/>
                    <a:pt x="157604" y="14229"/>
                  </a:cubicBezTo>
                  <a:lnTo>
                    <a:pt x="155787" y="12312"/>
                  </a:lnTo>
                  <a:cubicBezTo>
                    <a:pt x="155787" y="12312"/>
                    <a:pt x="155551" y="8948"/>
                    <a:pt x="155619" y="8713"/>
                  </a:cubicBezTo>
                  <a:cubicBezTo>
                    <a:pt x="155686" y="8477"/>
                    <a:pt x="156527" y="6694"/>
                    <a:pt x="157638" y="5887"/>
                  </a:cubicBezTo>
                  <a:cubicBezTo>
                    <a:pt x="158715" y="5079"/>
                    <a:pt x="159052" y="3700"/>
                    <a:pt x="160532" y="3700"/>
                  </a:cubicBezTo>
                  <a:cubicBezTo>
                    <a:pt x="162013" y="3700"/>
                    <a:pt x="164941" y="3700"/>
                    <a:pt x="164941" y="3700"/>
                  </a:cubicBezTo>
                  <a:cubicBezTo>
                    <a:pt x="164941" y="3700"/>
                    <a:pt x="169081" y="4407"/>
                    <a:pt x="170158" y="4440"/>
                  </a:cubicBezTo>
                  <a:cubicBezTo>
                    <a:pt x="171235" y="4508"/>
                    <a:pt x="173085" y="4541"/>
                    <a:pt x="173859" y="4676"/>
                  </a:cubicBezTo>
                  <a:cubicBezTo>
                    <a:pt x="174633" y="4777"/>
                    <a:pt x="176417" y="4676"/>
                    <a:pt x="176855" y="4777"/>
                  </a:cubicBezTo>
                  <a:cubicBezTo>
                    <a:pt x="177292" y="4878"/>
                    <a:pt x="184797" y="4508"/>
                    <a:pt x="184797" y="4508"/>
                  </a:cubicBezTo>
                  <a:cubicBezTo>
                    <a:pt x="184797" y="4508"/>
                    <a:pt x="191158" y="2489"/>
                    <a:pt x="191461" y="2489"/>
                  </a:cubicBezTo>
                  <a:cubicBezTo>
                    <a:pt x="191764" y="2489"/>
                    <a:pt x="193211" y="2624"/>
                    <a:pt x="193480" y="2489"/>
                  </a:cubicBezTo>
                  <a:cubicBezTo>
                    <a:pt x="193783" y="2355"/>
                    <a:pt x="196509" y="3364"/>
                    <a:pt x="196745" y="3599"/>
                  </a:cubicBezTo>
                  <a:cubicBezTo>
                    <a:pt x="196946" y="3801"/>
                    <a:pt x="199841" y="6627"/>
                    <a:pt x="200379" y="6862"/>
                  </a:cubicBezTo>
                  <a:cubicBezTo>
                    <a:pt x="200884" y="7098"/>
                    <a:pt x="203072" y="8612"/>
                    <a:pt x="203274" y="9251"/>
                  </a:cubicBezTo>
                  <a:cubicBezTo>
                    <a:pt x="203475" y="9924"/>
                    <a:pt x="205293" y="11437"/>
                    <a:pt x="206168" y="11437"/>
                  </a:cubicBezTo>
                  <a:cubicBezTo>
                    <a:pt x="207043" y="11437"/>
                    <a:pt x="208187" y="11572"/>
                    <a:pt x="208692" y="11370"/>
                  </a:cubicBezTo>
                  <a:cubicBezTo>
                    <a:pt x="209197" y="11168"/>
                    <a:pt x="212024" y="11168"/>
                    <a:pt x="212394" y="9991"/>
                  </a:cubicBezTo>
                  <a:cubicBezTo>
                    <a:pt x="212764" y="8847"/>
                    <a:pt x="213909" y="7300"/>
                    <a:pt x="213909" y="7031"/>
                  </a:cubicBezTo>
                  <a:cubicBezTo>
                    <a:pt x="213909" y="6761"/>
                    <a:pt x="214279" y="5517"/>
                    <a:pt x="214716" y="5147"/>
                  </a:cubicBezTo>
                  <a:cubicBezTo>
                    <a:pt x="215154" y="4777"/>
                    <a:pt x="215961" y="3768"/>
                    <a:pt x="216096" y="3532"/>
                  </a:cubicBezTo>
                  <a:cubicBezTo>
                    <a:pt x="216231" y="3330"/>
                    <a:pt x="216971" y="2220"/>
                    <a:pt x="217173" y="1951"/>
                  </a:cubicBezTo>
                  <a:cubicBezTo>
                    <a:pt x="217409" y="1648"/>
                    <a:pt x="218317" y="1312"/>
                    <a:pt x="218553" y="1312"/>
                  </a:cubicBezTo>
                  <a:cubicBezTo>
                    <a:pt x="218755" y="1312"/>
                    <a:pt x="219933" y="572"/>
                    <a:pt x="219933" y="572"/>
                  </a:cubicBezTo>
                  <a:lnTo>
                    <a:pt x="223264" y="0"/>
                  </a:lnTo>
                  <a:lnTo>
                    <a:pt x="225216" y="673"/>
                  </a:lnTo>
                  <a:cubicBezTo>
                    <a:pt x="225216" y="673"/>
                    <a:pt x="227539" y="2119"/>
                    <a:pt x="227740" y="2254"/>
                  </a:cubicBezTo>
                  <a:cubicBezTo>
                    <a:pt x="227942" y="2388"/>
                    <a:pt x="231510" y="5012"/>
                    <a:pt x="231510" y="5012"/>
                  </a:cubicBezTo>
                  <a:lnTo>
                    <a:pt x="235346" y="7199"/>
                  </a:lnTo>
                  <a:lnTo>
                    <a:pt x="238409" y="10966"/>
                  </a:lnTo>
                  <a:lnTo>
                    <a:pt x="250794" y="17257"/>
                  </a:lnTo>
                  <a:lnTo>
                    <a:pt x="254429" y="19006"/>
                  </a:lnTo>
                  <a:cubicBezTo>
                    <a:pt x="254429" y="19006"/>
                    <a:pt x="258131" y="22774"/>
                    <a:pt x="258265" y="22976"/>
                  </a:cubicBezTo>
                  <a:cubicBezTo>
                    <a:pt x="258400" y="23177"/>
                    <a:pt x="260150" y="25364"/>
                    <a:pt x="260150" y="25364"/>
                  </a:cubicBezTo>
                  <a:lnTo>
                    <a:pt x="261462" y="28324"/>
                  </a:lnTo>
                  <a:lnTo>
                    <a:pt x="261462" y="32462"/>
                  </a:lnTo>
                  <a:lnTo>
                    <a:pt x="260756" y="34851"/>
                  </a:lnTo>
                  <a:lnTo>
                    <a:pt x="260890" y="36734"/>
                  </a:lnTo>
                  <a:lnTo>
                    <a:pt x="262573" y="40569"/>
                  </a:lnTo>
                  <a:lnTo>
                    <a:pt x="264828" y="43092"/>
                  </a:lnTo>
                  <a:lnTo>
                    <a:pt x="264996" y="45279"/>
                  </a:lnTo>
                  <a:cubicBezTo>
                    <a:pt x="264996" y="45279"/>
                    <a:pt x="264962" y="46422"/>
                    <a:pt x="264962" y="46927"/>
                  </a:cubicBezTo>
                  <a:cubicBezTo>
                    <a:pt x="264962" y="47432"/>
                    <a:pt x="264962" y="49820"/>
                    <a:pt x="264962" y="49820"/>
                  </a:cubicBezTo>
                  <a:lnTo>
                    <a:pt x="264458" y="52578"/>
                  </a:lnTo>
                  <a:lnTo>
                    <a:pt x="261059" y="55976"/>
                  </a:lnTo>
                  <a:lnTo>
                    <a:pt x="256481" y="58802"/>
                  </a:lnTo>
                  <a:lnTo>
                    <a:pt x="256347" y="62502"/>
                  </a:lnTo>
                  <a:lnTo>
                    <a:pt x="253520" y="64218"/>
                  </a:lnTo>
                  <a:cubicBezTo>
                    <a:pt x="253520" y="64218"/>
                    <a:pt x="252578" y="64622"/>
                    <a:pt x="251837" y="64622"/>
                  </a:cubicBezTo>
                  <a:cubicBezTo>
                    <a:pt x="251130" y="64622"/>
                    <a:pt x="250154" y="64622"/>
                    <a:pt x="250154" y="64622"/>
                  </a:cubicBezTo>
                  <a:cubicBezTo>
                    <a:pt x="250154" y="64622"/>
                    <a:pt x="249145" y="63747"/>
                    <a:pt x="248943" y="63545"/>
                  </a:cubicBezTo>
                  <a:cubicBezTo>
                    <a:pt x="248707" y="63343"/>
                    <a:pt x="248573" y="61661"/>
                    <a:pt x="248573" y="61359"/>
                  </a:cubicBezTo>
                  <a:cubicBezTo>
                    <a:pt x="248573" y="61056"/>
                    <a:pt x="248943" y="60417"/>
                    <a:pt x="249078" y="60114"/>
                  </a:cubicBezTo>
                  <a:cubicBezTo>
                    <a:pt x="249212" y="59811"/>
                    <a:pt x="250323" y="57793"/>
                    <a:pt x="250323" y="57793"/>
                  </a:cubicBezTo>
                  <a:cubicBezTo>
                    <a:pt x="250323" y="57793"/>
                    <a:pt x="250827" y="57490"/>
                    <a:pt x="250996" y="56985"/>
                  </a:cubicBezTo>
                  <a:cubicBezTo>
                    <a:pt x="251130" y="56481"/>
                    <a:pt x="251299" y="54530"/>
                    <a:pt x="251299" y="54530"/>
                  </a:cubicBezTo>
                  <a:cubicBezTo>
                    <a:pt x="251299" y="54530"/>
                    <a:pt x="251433" y="54160"/>
                    <a:pt x="250929" y="53722"/>
                  </a:cubicBezTo>
                  <a:cubicBezTo>
                    <a:pt x="250424" y="53285"/>
                    <a:pt x="247731" y="51771"/>
                    <a:pt x="247361" y="51771"/>
                  </a:cubicBezTo>
                  <a:cubicBezTo>
                    <a:pt x="246991" y="51771"/>
                    <a:pt x="244265" y="52780"/>
                    <a:pt x="243827" y="53520"/>
                  </a:cubicBezTo>
                  <a:cubicBezTo>
                    <a:pt x="243390" y="54260"/>
                    <a:pt x="241741" y="55909"/>
                    <a:pt x="241741" y="55909"/>
                  </a:cubicBezTo>
                  <a:lnTo>
                    <a:pt x="239553" y="58297"/>
                  </a:lnTo>
                  <a:cubicBezTo>
                    <a:pt x="239553" y="58297"/>
                    <a:pt x="239621" y="60753"/>
                    <a:pt x="239991" y="60820"/>
                  </a:cubicBezTo>
                  <a:cubicBezTo>
                    <a:pt x="240361" y="60888"/>
                    <a:pt x="241000" y="61392"/>
                    <a:pt x="241572" y="62401"/>
                  </a:cubicBezTo>
                  <a:cubicBezTo>
                    <a:pt x="242145" y="63411"/>
                    <a:pt x="243020" y="64655"/>
                    <a:pt x="243154" y="64857"/>
                  </a:cubicBezTo>
                  <a:cubicBezTo>
                    <a:pt x="243289" y="65093"/>
                    <a:pt x="243659" y="65664"/>
                    <a:pt x="243659" y="66169"/>
                  </a:cubicBezTo>
                  <a:cubicBezTo>
                    <a:pt x="243659" y="66674"/>
                    <a:pt x="243457" y="68120"/>
                    <a:pt x="243356" y="68423"/>
                  </a:cubicBezTo>
                  <a:cubicBezTo>
                    <a:pt x="243289" y="68726"/>
                    <a:pt x="242111" y="70307"/>
                    <a:pt x="241909" y="70542"/>
                  </a:cubicBezTo>
                  <a:cubicBezTo>
                    <a:pt x="241674" y="70744"/>
                    <a:pt x="240294" y="71988"/>
                    <a:pt x="240294" y="71988"/>
                  </a:cubicBezTo>
                  <a:cubicBezTo>
                    <a:pt x="240294" y="71988"/>
                    <a:pt x="239351" y="72863"/>
                    <a:pt x="238712" y="72998"/>
                  </a:cubicBezTo>
                  <a:cubicBezTo>
                    <a:pt x="238072" y="73133"/>
                    <a:pt x="235010" y="75083"/>
                    <a:pt x="235010" y="75083"/>
                  </a:cubicBezTo>
                  <a:cubicBezTo>
                    <a:pt x="235010" y="75083"/>
                    <a:pt x="233428" y="77707"/>
                    <a:pt x="233327" y="77909"/>
                  </a:cubicBezTo>
                  <a:cubicBezTo>
                    <a:pt x="233260" y="78111"/>
                    <a:pt x="231308" y="80096"/>
                    <a:pt x="231072" y="80668"/>
                  </a:cubicBezTo>
                  <a:cubicBezTo>
                    <a:pt x="230870" y="81239"/>
                    <a:pt x="228750" y="82989"/>
                    <a:pt x="228548" y="83628"/>
                  </a:cubicBezTo>
                  <a:cubicBezTo>
                    <a:pt x="228313" y="84267"/>
                    <a:pt x="226967" y="88102"/>
                    <a:pt x="226967" y="88102"/>
                  </a:cubicBezTo>
                  <a:cubicBezTo>
                    <a:pt x="226967" y="88102"/>
                    <a:pt x="226462" y="91870"/>
                    <a:pt x="226091" y="92442"/>
                  </a:cubicBezTo>
                  <a:cubicBezTo>
                    <a:pt x="225721" y="93047"/>
                    <a:pt x="224005" y="96949"/>
                    <a:pt x="224005" y="96949"/>
                  </a:cubicBezTo>
                  <a:lnTo>
                    <a:pt x="221245" y="102668"/>
                  </a:lnTo>
                  <a:cubicBezTo>
                    <a:pt x="221245" y="102668"/>
                    <a:pt x="220236" y="105191"/>
                    <a:pt x="220101" y="105427"/>
                  </a:cubicBezTo>
                  <a:cubicBezTo>
                    <a:pt x="219966" y="105662"/>
                    <a:pt x="217207" y="108555"/>
                    <a:pt x="217207" y="108555"/>
                  </a:cubicBezTo>
                  <a:cubicBezTo>
                    <a:pt x="217207" y="108555"/>
                    <a:pt x="214312" y="109497"/>
                    <a:pt x="214178" y="109867"/>
                  </a:cubicBezTo>
                  <a:cubicBezTo>
                    <a:pt x="214043" y="110237"/>
                    <a:pt x="212293" y="111751"/>
                    <a:pt x="212293" y="111751"/>
                  </a:cubicBezTo>
                  <a:cubicBezTo>
                    <a:pt x="212293" y="111751"/>
                    <a:pt x="211418" y="113332"/>
                    <a:pt x="211418" y="113702"/>
                  </a:cubicBezTo>
                  <a:cubicBezTo>
                    <a:pt x="211418" y="114072"/>
                    <a:pt x="210846" y="118344"/>
                    <a:pt x="211048" y="118916"/>
                  </a:cubicBezTo>
                  <a:cubicBezTo>
                    <a:pt x="211283" y="119488"/>
                    <a:pt x="211620" y="129210"/>
                    <a:pt x="211620" y="129210"/>
                  </a:cubicBezTo>
                  <a:lnTo>
                    <a:pt x="210038" y="133179"/>
                  </a:lnTo>
                  <a:lnTo>
                    <a:pt x="206269" y="137216"/>
                  </a:lnTo>
                  <a:lnTo>
                    <a:pt x="204620" y="141387"/>
                  </a:lnTo>
                  <a:lnTo>
                    <a:pt x="204519" y="144045"/>
                  </a:lnTo>
                  <a:cubicBezTo>
                    <a:pt x="204519" y="144045"/>
                    <a:pt x="206168" y="146063"/>
                    <a:pt x="206437" y="146231"/>
                  </a:cubicBezTo>
                  <a:cubicBezTo>
                    <a:pt x="206706" y="146399"/>
                    <a:pt x="208759" y="147947"/>
                    <a:pt x="209096" y="148283"/>
                  </a:cubicBezTo>
                  <a:cubicBezTo>
                    <a:pt x="209432" y="148620"/>
                    <a:pt x="210577" y="149864"/>
                    <a:pt x="210577" y="150470"/>
                  </a:cubicBezTo>
                  <a:cubicBezTo>
                    <a:pt x="210577" y="151075"/>
                    <a:pt x="209163" y="155852"/>
                    <a:pt x="209163" y="155852"/>
                  </a:cubicBezTo>
                  <a:lnTo>
                    <a:pt x="206269" y="158073"/>
                  </a:lnTo>
                  <a:lnTo>
                    <a:pt x="202096" y="158409"/>
                  </a:lnTo>
                  <a:cubicBezTo>
                    <a:pt x="202096" y="158409"/>
                    <a:pt x="196644" y="159014"/>
                    <a:pt x="196442" y="159048"/>
                  </a:cubicBezTo>
                  <a:cubicBezTo>
                    <a:pt x="196206" y="159115"/>
                    <a:pt x="190990" y="160562"/>
                    <a:pt x="190990" y="160562"/>
                  </a:cubicBezTo>
                  <a:cubicBezTo>
                    <a:pt x="190990" y="160562"/>
                    <a:pt x="184999" y="162311"/>
                    <a:pt x="184797" y="162345"/>
                  </a:cubicBezTo>
                  <a:cubicBezTo>
                    <a:pt x="184595" y="162412"/>
                    <a:pt x="181162" y="164296"/>
                    <a:pt x="181095" y="164464"/>
                  </a:cubicBezTo>
                  <a:cubicBezTo>
                    <a:pt x="181028" y="164632"/>
                    <a:pt x="177562" y="167996"/>
                    <a:pt x="177562" y="167996"/>
                  </a:cubicBezTo>
                  <a:lnTo>
                    <a:pt x="172850" y="170822"/>
                  </a:lnTo>
                  <a:lnTo>
                    <a:pt x="171874" y="172739"/>
                  </a:lnTo>
                  <a:cubicBezTo>
                    <a:pt x="171874" y="172739"/>
                    <a:pt x="170797" y="174522"/>
                    <a:pt x="170662" y="174758"/>
                  </a:cubicBezTo>
                  <a:cubicBezTo>
                    <a:pt x="170561" y="174959"/>
                    <a:pt x="167903" y="179703"/>
                    <a:pt x="167903" y="179871"/>
                  </a:cubicBezTo>
                  <a:cubicBezTo>
                    <a:pt x="167903" y="180039"/>
                    <a:pt x="166489" y="182798"/>
                    <a:pt x="166287" y="183033"/>
                  </a:cubicBezTo>
                  <a:cubicBezTo>
                    <a:pt x="166052" y="183235"/>
                    <a:pt x="164773" y="185051"/>
                    <a:pt x="164773" y="185051"/>
                  </a:cubicBezTo>
                  <a:cubicBezTo>
                    <a:pt x="164773" y="185051"/>
                    <a:pt x="164335" y="186296"/>
                    <a:pt x="163797" y="187104"/>
                  </a:cubicBezTo>
                  <a:cubicBezTo>
                    <a:pt x="163258" y="187911"/>
                    <a:pt x="160734" y="190804"/>
                    <a:pt x="160734" y="190804"/>
                  </a:cubicBezTo>
                  <a:lnTo>
                    <a:pt x="159691" y="193091"/>
                  </a:lnTo>
                  <a:lnTo>
                    <a:pt x="158378" y="194134"/>
                  </a:lnTo>
                  <a:lnTo>
                    <a:pt x="154912" y="195009"/>
                  </a:lnTo>
                  <a:lnTo>
                    <a:pt x="152792" y="195009"/>
                  </a:lnTo>
                  <a:lnTo>
                    <a:pt x="150503" y="194235"/>
                  </a:lnTo>
                  <a:lnTo>
                    <a:pt x="150167" y="193091"/>
                  </a:lnTo>
                  <a:lnTo>
                    <a:pt x="150167" y="190636"/>
                  </a:lnTo>
                  <a:cubicBezTo>
                    <a:pt x="150167" y="190636"/>
                    <a:pt x="151345" y="189492"/>
                    <a:pt x="151479" y="189290"/>
                  </a:cubicBezTo>
                  <a:cubicBezTo>
                    <a:pt x="151580" y="189088"/>
                    <a:pt x="152119" y="188315"/>
                    <a:pt x="152455" y="187978"/>
                  </a:cubicBezTo>
                  <a:cubicBezTo>
                    <a:pt x="152792" y="187642"/>
                    <a:pt x="153869" y="186464"/>
                    <a:pt x="153869" y="186464"/>
                  </a:cubicBezTo>
                  <a:lnTo>
                    <a:pt x="154845" y="184278"/>
                  </a:lnTo>
                  <a:lnTo>
                    <a:pt x="154138" y="182697"/>
                  </a:lnTo>
                  <a:lnTo>
                    <a:pt x="153364" y="182327"/>
                  </a:lnTo>
                  <a:lnTo>
                    <a:pt x="152051" y="182360"/>
                  </a:lnTo>
                  <a:lnTo>
                    <a:pt x="150638" y="183134"/>
                  </a:lnTo>
                  <a:lnTo>
                    <a:pt x="148450" y="185691"/>
                  </a:lnTo>
                  <a:lnTo>
                    <a:pt x="146498" y="187810"/>
                  </a:lnTo>
                  <a:lnTo>
                    <a:pt x="145354" y="189896"/>
                  </a:lnTo>
                  <a:lnTo>
                    <a:pt x="140239" y="191073"/>
                  </a:lnTo>
                  <a:cubicBezTo>
                    <a:pt x="140239" y="191073"/>
                    <a:pt x="137142" y="192587"/>
                    <a:pt x="136166" y="192654"/>
                  </a:cubicBezTo>
                  <a:cubicBezTo>
                    <a:pt x="135190" y="192688"/>
                    <a:pt x="130613" y="192688"/>
                    <a:pt x="130613" y="192688"/>
                  </a:cubicBezTo>
                  <a:lnTo>
                    <a:pt x="126474" y="192755"/>
                  </a:lnTo>
                  <a:cubicBezTo>
                    <a:pt x="126474" y="192755"/>
                    <a:pt x="124455" y="194168"/>
                    <a:pt x="123983" y="194975"/>
                  </a:cubicBezTo>
                  <a:cubicBezTo>
                    <a:pt x="123479" y="195783"/>
                    <a:pt x="120988" y="197733"/>
                    <a:pt x="120450" y="198238"/>
                  </a:cubicBezTo>
                  <a:cubicBezTo>
                    <a:pt x="119911" y="198709"/>
                    <a:pt x="116546" y="201400"/>
                    <a:pt x="116546" y="201400"/>
                  </a:cubicBezTo>
                  <a:lnTo>
                    <a:pt x="116882" y="205403"/>
                  </a:lnTo>
                  <a:cubicBezTo>
                    <a:pt x="116882" y="205403"/>
                    <a:pt x="116108" y="206816"/>
                    <a:pt x="115974" y="207085"/>
                  </a:cubicBezTo>
                  <a:cubicBezTo>
                    <a:pt x="115805" y="207354"/>
                    <a:pt x="113416" y="208330"/>
                    <a:pt x="113248" y="208397"/>
                  </a:cubicBezTo>
                  <a:cubicBezTo>
                    <a:pt x="113079" y="208431"/>
                    <a:pt x="110791" y="208566"/>
                    <a:pt x="110623" y="208734"/>
                  </a:cubicBezTo>
                  <a:cubicBezTo>
                    <a:pt x="110454" y="208902"/>
                    <a:pt x="108570" y="209104"/>
                    <a:pt x="108570" y="209104"/>
                  </a:cubicBezTo>
                  <a:lnTo>
                    <a:pt x="108031" y="209978"/>
                  </a:lnTo>
                  <a:lnTo>
                    <a:pt x="107425" y="211324"/>
                  </a:lnTo>
                  <a:lnTo>
                    <a:pt x="106651" y="212636"/>
                  </a:lnTo>
                  <a:cubicBezTo>
                    <a:pt x="106651" y="212636"/>
                    <a:pt x="106113" y="214049"/>
                    <a:pt x="105978" y="214419"/>
                  </a:cubicBezTo>
                  <a:cubicBezTo>
                    <a:pt x="105877" y="214789"/>
                    <a:pt x="105776" y="215024"/>
                    <a:pt x="105372" y="215495"/>
                  </a:cubicBezTo>
                  <a:cubicBezTo>
                    <a:pt x="104969" y="216000"/>
                    <a:pt x="105103" y="216538"/>
                    <a:pt x="103723" y="216639"/>
                  </a:cubicBezTo>
                  <a:cubicBezTo>
                    <a:pt x="102377" y="216740"/>
                    <a:pt x="102848" y="216538"/>
                    <a:pt x="101603" y="216639"/>
                  </a:cubicBezTo>
                  <a:cubicBezTo>
                    <a:pt x="100358" y="216740"/>
                    <a:pt x="100190" y="216572"/>
                    <a:pt x="99584" y="216404"/>
                  </a:cubicBezTo>
                  <a:cubicBezTo>
                    <a:pt x="98978" y="216235"/>
                    <a:pt x="97800" y="215327"/>
                    <a:pt x="97396" y="215159"/>
                  </a:cubicBezTo>
                  <a:cubicBezTo>
                    <a:pt x="97026" y="214991"/>
                    <a:pt x="94738" y="213847"/>
                    <a:pt x="94738" y="213847"/>
                  </a:cubicBezTo>
                  <a:lnTo>
                    <a:pt x="93492" y="212972"/>
                  </a:lnTo>
                  <a:lnTo>
                    <a:pt x="91372" y="210046"/>
                  </a:lnTo>
                  <a:lnTo>
                    <a:pt x="88915" y="207926"/>
                  </a:lnTo>
                  <a:lnTo>
                    <a:pt x="85314" y="207052"/>
                  </a:lnTo>
                  <a:lnTo>
                    <a:pt x="82218" y="205168"/>
                  </a:lnTo>
                  <a:lnTo>
                    <a:pt x="77877" y="204966"/>
                  </a:lnTo>
                  <a:lnTo>
                    <a:pt x="74141" y="204562"/>
                  </a:lnTo>
                  <a:cubicBezTo>
                    <a:pt x="74141" y="204562"/>
                    <a:pt x="70506" y="204024"/>
                    <a:pt x="70271" y="204024"/>
                  </a:cubicBezTo>
                  <a:cubicBezTo>
                    <a:pt x="70069" y="204024"/>
                    <a:pt x="67949" y="203654"/>
                    <a:pt x="66972" y="203520"/>
                  </a:cubicBezTo>
                  <a:cubicBezTo>
                    <a:pt x="65997" y="203419"/>
                    <a:pt x="61756" y="203351"/>
                    <a:pt x="60612" y="203250"/>
                  </a:cubicBezTo>
                  <a:cubicBezTo>
                    <a:pt x="59468" y="203149"/>
                    <a:pt x="58727" y="203049"/>
                    <a:pt x="58323" y="202914"/>
                  </a:cubicBezTo>
                  <a:cubicBezTo>
                    <a:pt x="57953" y="202813"/>
                    <a:pt x="55496" y="201703"/>
                    <a:pt x="55395" y="201501"/>
                  </a:cubicBezTo>
                  <a:cubicBezTo>
                    <a:pt x="55294" y="201299"/>
                    <a:pt x="55126" y="200862"/>
                    <a:pt x="54621" y="200256"/>
                  </a:cubicBezTo>
                  <a:cubicBezTo>
                    <a:pt x="54116" y="199651"/>
                    <a:pt x="51626" y="197229"/>
                    <a:pt x="51626" y="197229"/>
                  </a:cubicBezTo>
                  <a:cubicBezTo>
                    <a:pt x="51626" y="197229"/>
                    <a:pt x="50919" y="196892"/>
                    <a:pt x="49842" y="196892"/>
                  </a:cubicBezTo>
                  <a:cubicBezTo>
                    <a:pt x="48765" y="196892"/>
                    <a:pt x="43684" y="196186"/>
                    <a:pt x="43684" y="196186"/>
                  </a:cubicBezTo>
                  <a:lnTo>
                    <a:pt x="41933" y="195681"/>
                  </a:lnTo>
                  <a:cubicBezTo>
                    <a:pt x="41933" y="195681"/>
                    <a:pt x="38299" y="192822"/>
                    <a:pt x="38198" y="192654"/>
                  </a:cubicBezTo>
                  <a:cubicBezTo>
                    <a:pt x="38097" y="192486"/>
                    <a:pt x="33015" y="188853"/>
                    <a:pt x="33015" y="188853"/>
                  </a:cubicBezTo>
                  <a:lnTo>
                    <a:pt x="27900" y="186532"/>
                  </a:lnTo>
                  <a:lnTo>
                    <a:pt x="24635" y="185556"/>
                  </a:lnTo>
                  <a:cubicBezTo>
                    <a:pt x="24635" y="185556"/>
                    <a:pt x="18746" y="184042"/>
                    <a:pt x="18544" y="183941"/>
                  </a:cubicBezTo>
                  <a:cubicBezTo>
                    <a:pt x="18342" y="183840"/>
                    <a:pt x="15616" y="183201"/>
                    <a:pt x="15010" y="182697"/>
                  </a:cubicBezTo>
                  <a:cubicBezTo>
                    <a:pt x="14404" y="182192"/>
                    <a:pt x="12991" y="181183"/>
                    <a:pt x="12116" y="179871"/>
                  </a:cubicBezTo>
                  <a:cubicBezTo>
                    <a:pt x="11241" y="178559"/>
                    <a:pt x="10332" y="176776"/>
                    <a:pt x="10265" y="176440"/>
                  </a:cubicBezTo>
                  <a:cubicBezTo>
                    <a:pt x="10197" y="176103"/>
                    <a:pt x="9221" y="172706"/>
                    <a:pt x="9221" y="172302"/>
                  </a:cubicBezTo>
                  <a:cubicBezTo>
                    <a:pt x="9221" y="171932"/>
                    <a:pt x="8986" y="169039"/>
                    <a:pt x="8986" y="167861"/>
                  </a:cubicBezTo>
                  <a:cubicBezTo>
                    <a:pt x="8986" y="166650"/>
                    <a:pt x="8986" y="162547"/>
                    <a:pt x="8918" y="162143"/>
                  </a:cubicBezTo>
                  <a:cubicBezTo>
                    <a:pt x="8851" y="161773"/>
                    <a:pt x="8279" y="158173"/>
                    <a:pt x="8279" y="158173"/>
                  </a:cubicBezTo>
                  <a:lnTo>
                    <a:pt x="4510" y="152858"/>
                  </a:lnTo>
                  <a:lnTo>
                    <a:pt x="3803" y="143035"/>
                  </a:lnTo>
                  <a:cubicBezTo>
                    <a:pt x="3803" y="143035"/>
                    <a:pt x="3433" y="135096"/>
                    <a:pt x="3433" y="134895"/>
                  </a:cubicBezTo>
                  <a:cubicBezTo>
                    <a:pt x="3433" y="134693"/>
                    <a:pt x="4207" y="129849"/>
                    <a:pt x="4241" y="129681"/>
                  </a:cubicBezTo>
                  <a:cubicBezTo>
                    <a:pt x="4274" y="129513"/>
                    <a:pt x="4072" y="124803"/>
                    <a:pt x="4072" y="124803"/>
                  </a:cubicBezTo>
                  <a:lnTo>
                    <a:pt x="3130" y="121405"/>
                  </a:lnTo>
                  <a:lnTo>
                    <a:pt x="1683" y="116359"/>
                  </a:lnTo>
                  <a:lnTo>
                    <a:pt x="1514" y="110102"/>
                  </a:lnTo>
                  <a:lnTo>
                    <a:pt x="1413" y="105931"/>
                  </a:lnTo>
                  <a:lnTo>
                    <a:pt x="1245" y="99943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</p:grpSp>
      <p:grpSp>
        <p:nvGrpSpPr>
          <p:cNvPr id="713" name="组合 164">
            <a:extLst>
              <a:ext uri="{FF2B5EF4-FFF2-40B4-BE49-F238E27FC236}">
                <a16:creationId xmlns:a16="http://schemas.microsoft.com/office/drawing/2014/main" id="{E5A56124-72AE-B41F-F820-FAEACCEC2AB4}"/>
              </a:ext>
            </a:extLst>
          </p:cNvPr>
          <p:cNvGrpSpPr/>
          <p:nvPr/>
        </p:nvGrpSpPr>
        <p:grpSpPr>
          <a:xfrm>
            <a:off x="7608184" y="1197747"/>
            <a:ext cx="603094" cy="893551"/>
            <a:chOff x="8266148" y="1951245"/>
            <a:chExt cx="652313" cy="966474"/>
          </a:xfrm>
          <a:solidFill>
            <a:schemeClr val="tx1"/>
          </a:solidFill>
        </p:grpSpPr>
        <p:sp>
          <p:nvSpPr>
            <p:cNvPr id="714" name="Freeform 968">
              <a:extLst>
                <a:ext uri="{FF2B5EF4-FFF2-40B4-BE49-F238E27FC236}">
                  <a16:creationId xmlns:a16="http://schemas.microsoft.com/office/drawing/2014/main" id="{BE441491-71EA-7FD2-ED0F-CAF35273B296}"/>
                </a:ext>
              </a:extLst>
            </p:cNvPr>
            <p:cNvSpPr/>
            <p:nvPr/>
          </p:nvSpPr>
          <p:spPr>
            <a:xfrm>
              <a:off x="8773738" y="2379058"/>
              <a:ext cx="106992" cy="90602"/>
            </a:xfrm>
            <a:custGeom>
              <a:avLst/>
              <a:gdLst>
                <a:gd name="connsiteX0" fmla="*/ 12587 w 98675"/>
                <a:gd name="connsiteY0" fmla="*/ 69533 h 83560"/>
                <a:gd name="connsiteX1" fmla="*/ 19553 w 98675"/>
                <a:gd name="connsiteY1" fmla="*/ 69533 h 83560"/>
                <a:gd name="connsiteX2" fmla="*/ 24635 w 98675"/>
                <a:gd name="connsiteY2" fmla="*/ 71686 h 83560"/>
                <a:gd name="connsiteX3" fmla="*/ 27092 w 98675"/>
                <a:gd name="connsiteY3" fmla="*/ 74310 h 83560"/>
                <a:gd name="connsiteX4" fmla="*/ 32881 w 98675"/>
                <a:gd name="connsiteY4" fmla="*/ 73570 h 83560"/>
                <a:gd name="connsiteX5" fmla="*/ 34765 w 98675"/>
                <a:gd name="connsiteY5" fmla="*/ 71922 h 83560"/>
                <a:gd name="connsiteX6" fmla="*/ 37828 w 98675"/>
                <a:gd name="connsiteY6" fmla="*/ 76328 h 83560"/>
                <a:gd name="connsiteX7" fmla="*/ 37828 w 98675"/>
                <a:gd name="connsiteY7" fmla="*/ 79087 h 83560"/>
                <a:gd name="connsiteX8" fmla="*/ 40991 w 98675"/>
                <a:gd name="connsiteY8" fmla="*/ 80802 h 83560"/>
                <a:gd name="connsiteX9" fmla="*/ 45804 w 98675"/>
                <a:gd name="connsiteY9" fmla="*/ 83561 h 83560"/>
                <a:gd name="connsiteX10" fmla="*/ 50280 w 98675"/>
                <a:gd name="connsiteY10" fmla="*/ 79221 h 83560"/>
                <a:gd name="connsiteX11" fmla="*/ 54049 w 98675"/>
                <a:gd name="connsiteY11" fmla="*/ 77472 h 83560"/>
                <a:gd name="connsiteX12" fmla="*/ 56809 w 98675"/>
                <a:gd name="connsiteY12" fmla="*/ 75151 h 83560"/>
                <a:gd name="connsiteX13" fmla="*/ 61453 w 98675"/>
                <a:gd name="connsiteY13" fmla="*/ 72830 h 83560"/>
                <a:gd name="connsiteX14" fmla="*/ 66939 w 98675"/>
                <a:gd name="connsiteY14" fmla="*/ 72056 h 83560"/>
                <a:gd name="connsiteX15" fmla="*/ 71954 w 98675"/>
                <a:gd name="connsiteY15" fmla="*/ 71249 h 83560"/>
                <a:gd name="connsiteX16" fmla="*/ 78684 w 98675"/>
                <a:gd name="connsiteY16" fmla="*/ 71249 h 83560"/>
                <a:gd name="connsiteX17" fmla="*/ 83329 w 98675"/>
                <a:gd name="connsiteY17" fmla="*/ 69533 h 83560"/>
                <a:gd name="connsiteX18" fmla="*/ 87367 w 98675"/>
                <a:gd name="connsiteY18" fmla="*/ 69533 h 83560"/>
                <a:gd name="connsiteX19" fmla="*/ 92584 w 98675"/>
                <a:gd name="connsiteY19" fmla="*/ 69533 h 83560"/>
                <a:gd name="connsiteX20" fmla="*/ 96286 w 98675"/>
                <a:gd name="connsiteY20" fmla="*/ 67784 h 83560"/>
                <a:gd name="connsiteX21" fmla="*/ 98675 w 98675"/>
                <a:gd name="connsiteY21" fmla="*/ 64453 h 83560"/>
                <a:gd name="connsiteX22" fmla="*/ 98675 w 98675"/>
                <a:gd name="connsiteY22" fmla="*/ 59946 h 83560"/>
                <a:gd name="connsiteX23" fmla="*/ 97531 w 98675"/>
                <a:gd name="connsiteY23" fmla="*/ 54597 h 83560"/>
                <a:gd name="connsiteX24" fmla="*/ 96353 w 98675"/>
                <a:gd name="connsiteY24" fmla="*/ 50392 h 83560"/>
                <a:gd name="connsiteX25" fmla="*/ 92314 w 98675"/>
                <a:gd name="connsiteY25" fmla="*/ 41982 h 83560"/>
                <a:gd name="connsiteX26" fmla="*/ 86492 w 98675"/>
                <a:gd name="connsiteY26" fmla="*/ 34178 h 83560"/>
                <a:gd name="connsiteX27" fmla="*/ 81881 w 98675"/>
                <a:gd name="connsiteY27" fmla="*/ 27786 h 83560"/>
                <a:gd name="connsiteX28" fmla="*/ 74208 w 98675"/>
                <a:gd name="connsiteY28" fmla="*/ 20991 h 83560"/>
                <a:gd name="connsiteX29" fmla="*/ 66501 w 98675"/>
                <a:gd name="connsiteY29" fmla="*/ 15474 h 83560"/>
                <a:gd name="connsiteX30" fmla="*/ 57516 w 98675"/>
                <a:gd name="connsiteY30" fmla="*/ 10765 h 83560"/>
                <a:gd name="connsiteX31" fmla="*/ 53174 w 98675"/>
                <a:gd name="connsiteY31" fmla="*/ 8679 h 83560"/>
                <a:gd name="connsiteX32" fmla="*/ 46948 w 98675"/>
                <a:gd name="connsiteY32" fmla="*/ 5988 h 83560"/>
                <a:gd name="connsiteX33" fmla="*/ 40991 w 98675"/>
                <a:gd name="connsiteY33" fmla="*/ 2018 h 83560"/>
                <a:gd name="connsiteX34" fmla="*/ 37390 w 98675"/>
                <a:gd name="connsiteY34" fmla="*/ 0 h 83560"/>
                <a:gd name="connsiteX35" fmla="*/ 33452 w 98675"/>
                <a:gd name="connsiteY35" fmla="*/ 0 h 83560"/>
                <a:gd name="connsiteX36" fmla="*/ 25510 w 98675"/>
                <a:gd name="connsiteY36" fmla="*/ 1177 h 83560"/>
                <a:gd name="connsiteX37" fmla="*/ 19553 w 98675"/>
                <a:gd name="connsiteY37" fmla="*/ 4474 h 83560"/>
                <a:gd name="connsiteX38" fmla="*/ 14774 w 98675"/>
                <a:gd name="connsiteY38" fmla="*/ 10765 h 83560"/>
                <a:gd name="connsiteX39" fmla="*/ 11745 w 98675"/>
                <a:gd name="connsiteY39" fmla="*/ 14599 h 83560"/>
                <a:gd name="connsiteX40" fmla="*/ 11745 w 98675"/>
                <a:gd name="connsiteY40" fmla="*/ 18233 h 83560"/>
                <a:gd name="connsiteX41" fmla="*/ 16087 w 98675"/>
                <a:gd name="connsiteY41" fmla="*/ 21294 h 83560"/>
                <a:gd name="connsiteX42" fmla="*/ 14067 w 98675"/>
                <a:gd name="connsiteY42" fmla="*/ 23581 h 83560"/>
                <a:gd name="connsiteX43" fmla="*/ 9861 w 98675"/>
                <a:gd name="connsiteY43" fmla="*/ 26643 h 83560"/>
                <a:gd name="connsiteX44" fmla="*/ 11005 w 98675"/>
                <a:gd name="connsiteY44" fmla="*/ 33740 h 83560"/>
                <a:gd name="connsiteX45" fmla="*/ 9861 w 98675"/>
                <a:gd name="connsiteY45" fmla="*/ 36196 h 83560"/>
                <a:gd name="connsiteX46" fmla="*/ 6091 w 98675"/>
                <a:gd name="connsiteY46" fmla="*/ 39527 h 83560"/>
                <a:gd name="connsiteX47" fmla="*/ 2457 w 98675"/>
                <a:gd name="connsiteY47" fmla="*/ 43866 h 83560"/>
                <a:gd name="connsiteX48" fmla="*/ 0 w 98675"/>
                <a:gd name="connsiteY48" fmla="*/ 47365 h 83560"/>
                <a:gd name="connsiteX49" fmla="*/ 7370 w 98675"/>
                <a:gd name="connsiteY49" fmla="*/ 48374 h 83560"/>
                <a:gd name="connsiteX50" fmla="*/ 10433 w 98675"/>
                <a:gd name="connsiteY50" fmla="*/ 51973 h 83560"/>
                <a:gd name="connsiteX51" fmla="*/ 10130 w 98675"/>
                <a:gd name="connsiteY51" fmla="*/ 55606 h 83560"/>
                <a:gd name="connsiteX52" fmla="*/ 10702 w 98675"/>
                <a:gd name="connsiteY52" fmla="*/ 59239 h 83560"/>
                <a:gd name="connsiteX53" fmla="*/ 8245 w 98675"/>
                <a:gd name="connsiteY53" fmla="*/ 62267 h 83560"/>
                <a:gd name="connsiteX54" fmla="*/ 8986 w 98675"/>
                <a:gd name="connsiteY54" fmla="*/ 65463 h 83560"/>
                <a:gd name="connsiteX55" fmla="*/ 9693 w 98675"/>
                <a:gd name="connsiteY55" fmla="*/ 69096 h 83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98675" h="83560">
                  <a:moveTo>
                    <a:pt x="12587" y="69533"/>
                  </a:moveTo>
                  <a:lnTo>
                    <a:pt x="19553" y="69533"/>
                  </a:lnTo>
                  <a:lnTo>
                    <a:pt x="24635" y="71686"/>
                  </a:lnTo>
                  <a:lnTo>
                    <a:pt x="27092" y="74310"/>
                  </a:lnTo>
                  <a:lnTo>
                    <a:pt x="32881" y="73570"/>
                  </a:lnTo>
                  <a:lnTo>
                    <a:pt x="34765" y="71922"/>
                  </a:lnTo>
                  <a:lnTo>
                    <a:pt x="37828" y="76328"/>
                  </a:lnTo>
                  <a:lnTo>
                    <a:pt x="37828" y="79087"/>
                  </a:lnTo>
                  <a:lnTo>
                    <a:pt x="40991" y="80802"/>
                  </a:lnTo>
                  <a:lnTo>
                    <a:pt x="45804" y="83561"/>
                  </a:lnTo>
                  <a:lnTo>
                    <a:pt x="50280" y="79221"/>
                  </a:lnTo>
                  <a:lnTo>
                    <a:pt x="54049" y="77472"/>
                  </a:lnTo>
                  <a:lnTo>
                    <a:pt x="56809" y="75151"/>
                  </a:lnTo>
                  <a:lnTo>
                    <a:pt x="61453" y="72830"/>
                  </a:lnTo>
                  <a:lnTo>
                    <a:pt x="66939" y="72056"/>
                  </a:lnTo>
                  <a:lnTo>
                    <a:pt x="71954" y="71249"/>
                  </a:lnTo>
                  <a:lnTo>
                    <a:pt x="78684" y="71249"/>
                  </a:lnTo>
                  <a:lnTo>
                    <a:pt x="83329" y="69533"/>
                  </a:lnTo>
                  <a:lnTo>
                    <a:pt x="87367" y="69533"/>
                  </a:lnTo>
                  <a:lnTo>
                    <a:pt x="92584" y="69533"/>
                  </a:lnTo>
                  <a:lnTo>
                    <a:pt x="96286" y="67784"/>
                  </a:lnTo>
                  <a:lnTo>
                    <a:pt x="98675" y="64453"/>
                  </a:lnTo>
                  <a:lnTo>
                    <a:pt x="98675" y="59946"/>
                  </a:lnTo>
                  <a:lnTo>
                    <a:pt x="97531" y="54597"/>
                  </a:lnTo>
                  <a:lnTo>
                    <a:pt x="96353" y="50392"/>
                  </a:lnTo>
                  <a:lnTo>
                    <a:pt x="92314" y="41982"/>
                  </a:lnTo>
                  <a:lnTo>
                    <a:pt x="86492" y="34178"/>
                  </a:lnTo>
                  <a:lnTo>
                    <a:pt x="81881" y="27786"/>
                  </a:lnTo>
                  <a:lnTo>
                    <a:pt x="74208" y="20991"/>
                  </a:lnTo>
                  <a:lnTo>
                    <a:pt x="66501" y="15474"/>
                  </a:lnTo>
                  <a:lnTo>
                    <a:pt x="57516" y="10765"/>
                  </a:lnTo>
                  <a:lnTo>
                    <a:pt x="53174" y="8679"/>
                  </a:lnTo>
                  <a:lnTo>
                    <a:pt x="46948" y="5988"/>
                  </a:lnTo>
                  <a:lnTo>
                    <a:pt x="40991" y="2018"/>
                  </a:lnTo>
                  <a:lnTo>
                    <a:pt x="37390" y="0"/>
                  </a:lnTo>
                  <a:lnTo>
                    <a:pt x="33452" y="0"/>
                  </a:lnTo>
                  <a:lnTo>
                    <a:pt x="25510" y="1177"/>
                  </a:lnTo>
                  <a:lnTo>
                    <a:pt x="19553" y="4474"/>
                  </a:lnTo>
                  <a:lnTo>
                    <a:pt x="14774" y="10765"/>
                  </a:lnTo>
                  <a:lnTo>
                    <a:pt x="11745" y="14599"/>
                  </a:lnTo>
                  <a:lnTo>
                    <a:pt x="11745" y="18233"/>
                  </a:lnTo>
                  <a:lnTo>
                    <a:pt x="16087" y="21294"/>
                  </a:lnTo>
                  <a:lnTo>
                    <a:pt x="14067" y="23581"/>
                  </a:lnTo>
                  <a:lnTo>
                    <a:pt x="9861" y="26643"/>
                  </a:lnTo>
                  <a:lnTo>
                    <a:pt x="11005" y="33740"/>
                  </a:lnTo>
                  <a:lnTo>
                    <a:pt x="9861" y="36196"/>
                  </a:lnTo>
                  <a:lnTo>
                    <a:pt x="6091" y="39527"/>
                  </a:lnTo>
                  <a:lnTo>
                    <a:pt x="2457" y="43866"/>
                  </a:lnTo>
                  <a:lnTo>
                    <a:pt x="0" y="47365"/>
                  </a:lnTo>
                  <a:lnTo>
                    <a:pt x="7370" y="48374"/>
                  </a:lnTo>
                  <a:lnTo>
                    <a:pt x="10433" y="51973"/>
                  </a:lnTo>
                  <a:lnTo>
                    <a:pt x="10130" y="55606"/>
                  </a:lnTo>
                  <a:lnTo>
                    <a:pt x="10702" y="59239"/>
                  </a:lnTo>
                  <a:lnTo>
                    <a:pt x="8245" y="62267"/>
                  </a:lnTo>
                  <a:lnTo>
                    <a:pt x="8986" y="65463"/>
                  </a:lnTo>
                  <a:lnTo>
                    <a:pt x="9693" y="6909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715" name="Freeform 884">
              <a:extLst>
                <a:ext uri="{FF2B5EF4-FFF2-40B4-BE49-F238E27FC236}">
                  <a16:creationId xmlns:a16="http://schemas.microsoft.com/office/drawing/2014/main" id="{DB82A1CA-5E90-E7FE-2916-E61157534F58}"/>
                </a:ext>
              </a:extLst>
            </p:cNvPr>
            <p:cNvSpPr/>
            <p:nvPr/>
          </p:nvSpPr>
          <p:spPr>
            <a:xfrm>
              <a:off x="8266148" y="1951245"/>
              <a:ext cx="601408" cy="524289"/>
            </a:xfrm>
            <a:custGeom>
              <a:avLst/>
              <a:gdLst>
                <a:gd name="connsiteX0" fmla="*/ 474226 w 554660"/>
                <a:gd name="connsiteY0" fmla="*/ 434086 h 483536"/>
                <a:gd name="connsiteX1" fmla="*/ 477996 w 554660"/>
                <a:gd name="connsiteY1" fmla="*/ 430756 h 483536"/>
                <a:gd name="connsiteX2" fmla="*/ 479140 w 554660"/>
                <a:gd name="connsiteY2" fmla="*/ 428300 h 483536"/>
                <a:gd name="connsiteX3" fmla="*/ 477996 w 554660"/>
                <a:gd name="connsiteY3" fmla="*/ 421202 h 483536"/>
                <a:gd name="connsiteX4" fmla="*/ 482203 w 554660"/>
                <a:gd name="connsiteY4" fmla="*/ 418174 h 483536"/>
                <a:gd name="connsiteX5" fmla="*/ 484222 w 554660"/>
                <a:gd name="connsiteY5" fmla="*/ 415853 h 483536"/>
                <a:gd name="connsiteX6" fmla="*/ 479881 w 554660"/>
                <a:gd name="connsiteY6" fmla="*/ 412826 h 483536"/>
                <a:gd name="connsiteX7" fmla="*/ 479881 w 554660"/>
                <a:gd name="connsiteY7" fmla="*/ 409193 h 483536"/>
                <a:gd name="connsiteX8" fmla="*/ 482910 w 554660"/>
                <a:gd name="connsiteY8" fmla="*/ 405358 h 483536"/>
                <a:gd name="connsiteX9" fmla="*/ 487688 w 554660"/>
                <a:gd name="connsiteY9" fmla="*/ 399067 h 483536"/>
                <a:gd name="connsiteX10" fmla="*/ 493645 w 554660"/>
                <a:gd name="connsiteY10" fmla="*/ 395770 h 483536"/>
                <a:gd name="connsiteX11" fmla="*/ 501621 w 554660"/>
                <a:gd name="connsiteY11" fmla="*/ 394593 h 483536"/>
                <a:gd name="connsiteX12" fmla="*/ 504246 w 554660"/>
                <a:gd name="connsiteY12" fmla="*/ 394593 h 483536"/>
                <a:gd name="connsiteX13" fmla="*/ 504246 w 554660"/>
                <a:gd name="connsiteY13" fmla="*/ 394526 h 483536"/>
                <a:gd name="connsiteX14" fmla="*/ 494352 w 554660"/>
                <a:gd name="connsiteY14" fmla="*/ 385746 h 483536"/>
                <a:gd name="connsiteX15" fmla="*/ 489136 w 554660"/>
                <a:gd name="connsiteY15" fmla="*/ 380532 h 483536"/>
                <a:gd name="connsiteX16" fmla="*/ 485265 w 554660"/>
                <a:gd name="connsiteY16" fmla="*/ 375553 h 483536"/>
                <a:gd name="connsiteX17" fmla="*/ 482135 w 554660"/>
                <a:gd name="connsiteY17" fmla="*/ 372727 h 483536"/>
                <a:gd name="connsiteX18" fmla="*/ 477356 w 554660"/>
                <a:gd name="connsiteY18" fmla="*/ 367950 h 483536"/>
                <a:gd name="connsiteX19" fmla="*/ 474866 w 554660"/>
                <a:gd name="connsiteY19" fmla="*/ 367076 h 483536"/>
                <a:gd name="connsiteX20" fmla="*/ 471400 w 554660"/>
                <a:gd name="connsiteY20" fmla="*/ 366302 h 483536"/>
                <a:gd name="connsiteX21" fmla="*/ 465745 w 554660"/>
                <a:gd name="connsiteY21" fmla="*/ 366302 h 483536"/>
                <a:gd name="connsiteX22" fmla="*/ 458880 w 554660"/>
                <a:gd name="connsiteY22" fmla="*/ 365427 h 483536"/>
                <a:gd name="connsiteX23" fmla="*/ 450063 w 554660"/>
                <a:gd name="connsiteY23" fmla="*/ 363813 h 483536"/>
                <a:gd name="connsiteX24" fmla="*/ 446461 w 554660"/>
                <a:gd name="connsiteY24" fmla="*/ 361323 h 483536"/>
                <a:gd name="connsiteX25" fmla="*/ 443971 w 554660"/>
                <a:gd name="connsiteY25" fmla="*/ 358498 h 483536"/>
                <a:gd name="connsiteX26" fmla="*/ 446461 w 554660"/>
                <a:gd name="connsiteY26" fmla="*/ 356210 h 483536"/>
                <a:gd name="connsiteX27" fmla="*/ 449188 w 554660"/>
                <a:gd name="connsiteY27" fmla="*/ 354696 h 483536"/>
                <a:gd name="connsiteX28" fmla="*/ 454067 w 554660"/>
                <a:gd name="connsiteY28" fmla="*/ 351433 h 483536"/>
                <a:gd name="connsiteX29" fmla="*/ 457231 w 554660"/>
                <a:gd name="connsiteY29" fmla="*/ 351433 h 483536"/>
                <a:gd name="connsiteX30" fmla="*/ 461034 w 554660"/>
                <a:gd name="connsiteY30" fmla="*/ 352846 h 483536"/>
                <a:gd name="connsiteX31" fmla="*/ 465174 w 554660"/>
                <a:gd name="connsiteY31" fmla="*/ 354158 h 483536"/>
                <a:gd name="connsiteX32" fmla="*/ 474731 w 554660"/>
                <a:gd name="connsiteY32" fmla="*/ 355235 h 483536"/>
                <a:gd name="connsiteX33" fmla="*/ 476044 w 554660"/>
                <a:gd name="connsiteY33" fmla="*/ 354259 h 483536"/>
                <a:gd name="connsiteX34" fmla="*/ 480284 w 554660"/>
                <a:gd name="connsiteY34" fmla="*/ 351837 h 483536"/>
                <a:gd name="connsiteX35" fmla="*/ 483650 w 554660"/>
                <a:gd name="connsiteY35" fmla="*/ 351131 h 483536"/>
                <a:gd name="connsiteX36" fmla="*/ 487688 w 554660"/>
                <a:gd name="connsiteY36" fmla="*/ 351131 h 483536"/>
                <a:gd name="connsiteX37" fmla="*/ 493140 w 554660"/>
                <a:gd name="connsiteY37" fmla="*/ 347666 h 483536"/>
                <a:gd name="connsiteX38" fmla="*/ 499871 w 554660"/>
                <a:gd name="connsiteY38" fmla="*/ 347666 h 483536"/>
                <a:gd name="connsiteX39" fmla="*/ 506165 w 554660"/>
                <a:gd name="connsiteY39" fmla="*/ 349617 h 483536"/>
                <a:gd name="connsiteX40" fmla="*/ 511381 w 554660"/>
                <a:gd name="connsiteY40" fmla="*/ 351030 h 483536"/>
                <a:gd name="connsiteX41" fmla="*/ 516934 w 554660"/>
                <a:gd name="connsiteY41" fmla="*/ 355268 h 483536"/>
                <a:gd name="connsiteX42" fmla="*/ 523901 w 554660"/>
                <a:gd name="connsiteY42" fmla="*/ 359070 h 483536"/>
                <a:gd name="connsiteX43" fmla="*/ 531507 w 554660"/>
                <a:gd name="connsiteY43" fmla="*/ 362333 h 483536"/>
                <a:gd name="connsiteX44" fmla="*/ 537261 w 554660"/>
                <a:gd name="connsiteY44" fmla="*/ 363947 h 483536"/>
                <a:gd name="connsiteX45" fmla="*/ 543017 w 554660"/>
                <a:gd name="connsiteY45" fmla="*/ 364586 h 483536"/>
                <a:gd name="connsiteX46" fmla="*/ 549646 w 554660"/>
                <a:gd name="connsiteY46" fmla="*/ 364385 h 483536"/>
                <a:gd name="connsiteX47" fmla="*/ 553786 w 554660"/>
                <a:gd name="connsiteY47" fmla="*/ 362871 h 483536"/>
                <a:gd name="connsiteX48" fmla="*/ 554661 w 554660"/>
                <a:gd name="connsiteY48" fmla="*/ 359070 h 483536"/>
                <a:gd name="connsiteX49" fmla="*/ 552373 w 554660"/>
                <a:gd name="connsiteY49" fmla="*/ 353855 h 483536"/>
                <a:gd name="connsiteX50" fmla="*/ 547358 w 554660"/>
                <a:gd name="connsiteY50" fmla="*/ 343763 h 483536"/>
                <a:gd name="connsiteX51" fmla="*/ 541603 w 554660"/>
                <a:gd name="connsiteY51" fmla="*/ 332461 h 483536"/>
                <a:gd name="connsiteX52" fmla="*/ 534872 w 554660"/>
                <a:gd name="connsiteY52" fmla="*/ 325598 h 483536"/>
                <a:gd name="connsiteX53" fmla="*/ 526930 w 554660"/>
                <a:gd name="connsiteY53" fmla="*/ 321158 h 483536"/>
                <a:gd name="connsiteX54" fmla="*/ 516732 w 554660"/>
                <a:gd name="connsiteY54" fmla="*/ 317693 h 483536"/>
                <a:gd name="connsiteX55" fmla="*/ 510203 w 554660"/>
                <a:gd name="connsiteY55" fmla="*/ 316280 h 483536"/>
                <a:gd name="connsiteX56" fmla="*/ 501823 w 554660"/>
                <a:gd name="connsiteY56" fmla="*/ 313555 h 483536"/>
                <a:gd name="connsiteX57" fmla="*/ 497414 w 554660"/>
                <a:gd name="connsiteY57" fmla="*/ 310527 h 483536"/>
                <a:gd name="connsiteX58" fmla="*/ 495496 w 554660"/>
                <a:gd name="connsiteY58" fmla="*/ 308778 h 483536"/>
                <a:gd name="connsiteX59" fmla="*/ 495496 w 554660"/>
                <a:gd name="connsiteY59" fmla="*/ 287720 h 483536"/>
                <a:gd name="connsiteX60" fmla="*/ 493544 w 554660"/>
                <a:gd name="connsiteY60" fmla="*/ 283818 h 483536"/>
                <a:gd name="connsiteX61" fmla="*/ 488967 w 554660"/>
                <a:gd name="connsiteY61" fmla="*/ 281429 h 483536"/>
                <a:gd name="connsiteX62" fmla="*/ 485064 w 554660"/>
                <a:gd name="connsiteY62" fmla="*/ 277830 h 483536"/>
                <a:gd name="connsiteX63" fmla="*/ 478097 w 554660"/>
                <a:gd name="connsiteY63" fmla="*/ 275374 h 483536"/>
                <a:gd name="connsiteX64" fmla="*/ 472678 w 554660"/>
                <a:gd name="connsiteY64" fmla="*/ 274668 h 483536"/>
                <a:gd name="connsiteX65" fmla="*/ 465072 w 554660"/>
                <a:gd name="connsiteY65" fmla="*/ 274668 h 483536"/>
                <a:gd name="connsiteX66" fmla="*/ 460293 w 554660"/>
                <a:gd name="connsiteY66" fmla="*/ 273894 h 483536"/>
                <a:gd name="connsiteX67" fmla="*/ 452890 w 554660"/>
                <a:gd name="connsiteY67" fmla="*/ 273356 h 483536"/>
                <a:gd name="connsiteX68" fmla="*/ 447336 w 554660"/>
                <a:gd name="connsiteY68" fmla="*/ 271607 h 483536"/>
                <a:gd name="connsiteX69" fmla="*/ 444510 w 554660"/>
                <a:gd name="connsiteY69" fmla="*/ 267267 h 483536"/>
                <a:gd name="connsiteX70" fmla="*/ 443971 w 554660"/>
                <a:gd name="connsiteY70" fmla="*/ 262154 h 483536"/>
                <a:gd name="connsiteX71" fmla="*/ 441582 w 554660"/>
                <a:gd name="connsiteY71" fmla="*/ 255628 h 483536"/>
                <a:gd name="connsiteX72" fmla="*/ 440707 w 554660"/>
                <a:gd name="connsiteY72" fmla="*/ 251187 h 483536"/>
                <a:gd name="connsiteX73" fmla="*/ 437678 w 554660"/>
                <a:gd name="connsiteY73" fmla="*/ 248698 h 483536"/>
                <a:gd name="connsiteX74" fmla="*/ 436163 w 554660"/>
                <a:gd name="connsiteY74" fmla="*/ 245334 h 483536"/>
                <a:gd name="connsiteX75" fmla="*/ 439730 w 554660"/>
                <a:gd name="connsiteY75" fmla="*/ 239918 h 483536"/>
                <a:gd name="connsiteX76" fmla="*/ 441245 w 554660"/>
                <a:gd name="connsiteY76" fmla="*/ 235040 h 483536"/>
                <a:gd name="connsiteX77" fmla="*/ 440808 w 554660"/>
                <a:gd name="connsiteY77" fmla="*/ 233089 h 483536"/>
                <a:gd name="connsiteX78" fmla="*/ 440471 w 554660"/>
                <a:gd name="connsiteY78" fmla="*/ 227438 h 483536"/>
                <a:gd name="connsiteX79" fmla="*/ 439159 w 554660"/>
                <a:gd name="connsiteY79" fmla="*/ 223737 h 483536"/>
                <a:gd name="connsiteX80" fmla="*/ 436668 w 554660"/>
                <a:gd name="connsiteY80" fmla="*/ 219835 h 483536"/>
                <a:gd name="connsiteX81" fmla="*/ 433202 w 554660"/>
                <a:gd name="connsiteY81" fmla="*/ 215058 h 483536"/>
                <a:gd name="connsiteX82" fmla="*/ 427177 w 554660"/>
                <a:gd name="connsiteY82" fmla="*/ 210382 h 483536"/>
                <a:gd name="connsiteX83" fmla="*/ 424182 w 554660"/>
                <a:gd name="connsiteY83" fmla="*/ 206480 h 483536"/>
                <a:gd name="connsiteX84" fmla="*/ 424182 w 554660"/>
                <a:gd name="connsiteY84" fmla="*/ 200829 h 483536"/>
                <a:gd name="connsiteX85" fmla="*/ 424182 w 554660"/>
                <a:gd name="connsiteY85" fmla="*/ 197364 h 483536"/>
                <a:gd name="connsiteX86" fmla="*/ 421557 w 554660"/>
                <a:gd name="connsiteY86" fmla="*/ 192251 h 483536"/>
                <a:gd name="connsiteX87" fmla="*/ 419269 w 554660"/>
                <a:gd name="connsiteY87" fmla="*/ 189324 h 483536"/>
                <a:gd name="connsiteX88" fmla="*/ 415197 w 554660"/>
                <a:gd name="connsiteY88" fmla="*/ 185422 h 483536"/>
                <a:gd name="connsiteX89" fmla="*/ 413716 w 554660"/>
                <a:gd name="connsiteY89" fmla="*/ 180107 h 483536"/>
                <a:gd name="connsiteX90" fmla="*/ 413716 w 554660"/>
                <a:gd name="connsiteY90" fmla="*/ 174792 h 483536"/>
                <a:gd name="connsiteX91" fmla="*/ 411663 w 554660"/>
                <a:gd name="connsiteY91" fmla="*/ 170015 h 483536"/>
                <a:gd name="connsiteX92" fmla="*/ 409071 w 554660"/>
                <a:gd name="connsiteY92" fmla="*/ 166314 h 483536"/>
                <a:gd name="connsiteX93" fmla="*/ 406783 w 554660"/>
                <a:gd name="connsiteY93" fmla="*/ 162278 h 483536"/>
                <a:gd name="connsiteX94" fmla="*/ 401667 w 554660"/>
                <a:gd name="connsiteY94" fmla="*/ 154002 h 483536"/>
                <a:gd name="connsiteX95" fmla="*/ 397763 w 554660"/>
                <a:gd name="connsiteY95" fmla="*/ 147375 h 483536"/>
                <a:gd name="connsiteX96" fmla="*/ 394499 w 554660"/>
                <a:gd name="connsiteY96" fmla="*/ 139773 h 483536"/>
                <a:gd name="connsiteX97" fmla="*/ 391773 w 554660"/>
                <a:gd name="connsiteY97" fmla="*/ 135736 h 483536"/>
                <a:gd name="connsiteX98" fmla="*/ 389383 w 554660"/>
                <a:gd name="connsiteY98" fmla="*/ 132910 h 483536"/>
                <a:gd name="connsiteX99" fmla="*/ 389383 w 554660"/>
                <a:gd name="connsiteY99" fmla="*/ 126081 h 483536"/>
                <a:gd name="connsiteX100" fmla="*/ 388508 w 554660"/>
                <a:gd name="connsiteY100" fmla="*/ 117167 h 483536"/>
                <a:gd name="connsiteX101" fmla="*/ 386321 w 554660"/>
                <a:gd name="connsiteY101" fmla="*/ 111078 h 483536"/>
                <a:gd name="connsiteX102" fmla="*/ 385008 w 554660"/>
                <a:gd name="connsiteY102" fmla="*/ 105662 h 483536"/>
                <a:gd name="connsiteX103" fmla="*/ 375989 w 554660"/>
                <a:gd name="connsiteY103" fmla="*/ 89145 h 483536"/>
                <a:gd name="connsiteX104" fmla="*/ 372085 w 554660"/>
                <a:gd name="connsiteY104" fmla="*/ 81206 h 483536"/>
                <a:gd name="connsiteX105" fmla="*/ 361012 w 554660"/>
                <a:gd name="connsiteY105" fmla="*/ 73604 h 483536"/>
                <a:gd name="connsiteX106" fmla="*/ 343176 w 554660"/>
                <a:gd name="connsiteY106" fmla="*/ 63713 h 483536"/>
                <a:gd name="connsiteX107" fmla="*/ 333921 w 554660"/>
                <a:gd name="connsiteY107" fmla="*/ 62301 h 483536"/>
                <a:gd name="connsiteX108" fmla="*/ 324228 w 554660"/>
                <a:gd name="connsiteY108" fmla="*/ 61426 h 483536"/>
                <a:gd name="connsiteX109" fmla="*/ 318574 w 554660"/>
                <a:gd name="connsiteY109" fmla="*/ 57288 h 483536"/>
                <a:gd name="connsiteX110" fmla="*/ 312045 w 554660"/>
                <a:gd name="connsiteY110" fmla="*/ 56414 h 483536"/>
                <a:gd name="connsiteX111" fmla="*/ 305954 w 554660"/>
                <a:gd name="connsiteY111" fmla="*/ 55337 h 483536"/>
                <a:gd name="connsiteX112" fmla="*/ 300636 w 554660"/>
                <a:gd name="connsiteY112" fmla="*/ 50459 h 483536"/>
                <a:gd name="connsiteX113" fmla="*/ 294343 w 554660"/>
                <a:gd name="connsiteY113" fmla="*/ 43395 h 483536"/>
                <a:gd name="connsiteX114" fmla="*/ 289766 w 554660"/>
                <a:gd name="connsiteY114" fmla="*/ 39695 h 483536"/>
                <a:gd name="connsiteX115" fmla="*/ 281083 w 554660"/>
                <a:gd name="connsiteY115" fmla="*/ 33068 h 483536"/>
                <a:gd name="connsiteX116" fmla="*/ 271525 w 554660"/>
                <a:gd name="connsiteY116" fmla="*/ 32294 h 483536"/>
                <a:gd name="connsiteX117" fmla="*/ 264626 w 554660"/>
                <a:gd name="connsiteY117" fmla="*/ 31756 h 483536"/>
                <a:gd name="connsiteX118" fmla="*/ 262405 w 554660"/>
                <a:gd name="connsiteY118" fmla="*/ 26004 h 483536"/>
                <a:gd name="connsiteX119" fmla="*/ 262405 w 554660"/>
                <a:gd name="connsiteY119" fmla="*/ 20016 h 483536"/>
                <a:gd name="connsiteX120" fmla="*/ 262405 w 554660"/>
                <a:gd name="connsiteY120" fmla="*/ 13052 h 483536"/>
                <a:gd name="connsiteX121" fmla="*/ 265568 w 554660"/>
                <a:gd name="connsiteY121" fmla="*/ 8175 h 483536"/>
                <a:gd name="connsiteX122" fmla="*/ 270246 w 554660"/>
                <a:gd name="connsiteY122" fmla="*/ 4575 h 483536"/>
                <a:gd name="connsiteX123" fmla="*/ 271996 w 554660"/>
                <a:gd name="connsiteY123" fmla="*/ 3263 h 483536"/>
                <a:gd name="connsiteX124" fmla="*/ 273410 w 554660"/>
                <a:gd name="connsiteY124" fmla="*/ 1615 h 483536"/>
                <a:gd name="connsiteX125" fmla="*/ 271458 w 554660"/>
                <a:gd name="connsiteY125" fmla="*/ 0 h 483536"/>
                <a:gd name="connsiteX126" fmla="*/ 261563 w 554660"/>
                <a:gd name="connsiteY126" fmla="*/ 0 h 483536"/>
                <a:gd name="connsiteX127" fmla="*/ 252645 w 554660"/>
                <a:gd name="connsiteY127" fmla="*/ 1413 h 483536"/>
                <a:gd name="connsiteX128" fmla="*/ 247866 w 554660"/>
                <a:gd name="connsiteY128" fmla="*/ 5113 h 483536"/>
                <a:gd name="connsiteX129" fmla="*/ 241875 w 554660"/>
                <a:gd name="connsiteY129" fmla="*/ 7939 h 483536"/>
                <a:gd name="connsiteX130" fmla="*/ 235784 w 554660"/>
                <a:gd name="connsiteY130" fmla="*/ 9352 h 483536"/>
                <a:gd name="connsiteX131" fmla="*/ 226865 w 554660"/>
                <a:gd name="connsiteY131" fmla="*/ 10126 h 483536"/>
                <a:gd name="connsiteX132" fmla="*/ 224510 w 554660"/>
                <a:gd name="connsiteY132" fmla="*/ 15575 h 483536"/>
                <a:gd name="connsiteX133" fmla="*/ 224139 w 554660"/>
                <a:gd name="connsiteY133" fmla="*/ 19276 h 483536"/>
                <a:gd name="connsiteX134" fmla="*/ 224139 w 554660"/>
                <a:gd name="connsiteY134" fmla="*/ 25263 h 483536"/>
                <a:gd name="connsiteX135" fmla="*/ 223500 w 554660"/>
                <a:gd name="connsiteY135" fmla="*/ 29065 h 483536"/>
                <a:gd name="connsiteX136" fmla="*/ 222187 w 554660"/>
                <a:gd name="connsiteY136" fmla="*/ 34279 h 483536"/>
                <a:gd name="connsiteX137" fmla="*/ 218586 w 554660"/>
                <a:gd name="connsiteY137" fmla="*/ 38854 h 483536"/>
                <a:gd name="connsiteX138" fmla="*/ 217610 w 554660"/>
                <a:gd name="connsiteY138" fmla="*/ 44842 h 483536"/>
                <a:gd name="connsiteX139" fmla="*/ 219461 w 554660"/>
                <a:gd name="connsiteY139" fmla="*/ 48441 h 483536"/>
                <a:gd name="connsiteX140" fmla="*/ 215995 w 554660"/>
                <a:gd name="connsiteY140" fmla="*/ 50729 h 483536"/>
                <a:gd name="connsiteX141" fmla="*/ 205226 w 554660"/>
                <a:gd name="connsiteY141" fmla="*/ 51368 h 483536"/>
                <a:gd name="connsiteX142" fmla="*/ 199672 w 554660"/>
                <a:gd name="connsiteY142" fmla="*/ 52680 h 483536"/>
                <a:gd name="connsiteX143" fmla="*/ 196071 w 554660"/>
                <a:gd name="connsiteY143" fmla="*/ 59845 h 483536"/>
                <a:gd name="connsiteX144" fmla="*/ 194658 w 554660"/>
                <a:gd name="connsiteY144" fmla="*/ 65160 h 483536"/>
                <a:gd name="connsiteX145" fmla="*/ 196307 w 554660"/>
                <a:gd name="connsiteY145" fmla="*/ 74075 h 483536"/>
                <a:gd name="connsiteX146" fmla="*/ 194658 w 554660"/>
                <a:gd name="connsiteY146" fmla="*/ 79289 h 483536"/>
                <a:gd name="connsiteX147" fmla="*/ 189980 w 554660"/>
                <a:gd name="connsiteY147" fmla="*/ 85714 h 483536"/>
                <a:gd name="connsiteX148" fmla="*/ 184427 w 554660"/>
                <a:gd name="connsiteY148" fmla="*/ 89179 h 483536"/>
                <a:gd name="connsiteX149" fmla="*/ 175609 w 554660"/>
                <a:gd name="connsiteY149" fmla="*/ 92105 h 483536"/>
                <a:gd name="connsiteX150" fmla="*/ 169417 w 554660"/>
                <a:gd name="connsiteY150" fmla="*/ 89919 h 483536"/>
                <a:gd name="connsiteX151" fmla="*/ 162989 w 554660"/>
                <a:gd name="connsiteY151" fmla="*/ 80903 h 483536"/>
                <a:gd name="connsiteX152" fmla="*/ 163629 w 554660"/>
                <a:gd name="connsiteY152" fmla="*/ 75454 h 483536"/>
                <a:gd name="connsiteX153" fmla="*/ 162989 w 554660"/>
                <a:gd name="connsiteY153" fmla="*/ 69802 h 483536"/>
                <a:gd name="connsiteX154" fmla="*/ 159186 w 554660"/>
                <a:gd name="connsiteY154" fmla="*/ 64386 h 483536"/>
                <a:gd name="connsiteX155" fmla="*/ 155383 w 554660"/>
                <a:gd name="connsiteY155" fmla="*/ 61897 h 483536"/>
                <a:gd name="connsiteX156" fmla="*/ 148652 w 554660"/>
                <a:gd name="connsiteY156" fmla="*/ 59408 h 483536"/>
                <a:gd name="connsiteX157" fmla="*/ 143436 w 554660"/>
                <a:gd name="connsiteY157" fmla="*/ 60282 h 483536"/>
                <a:gd name="connsiteX158" fmla="*/ 136907 w 554660"/>
                <a:gd name="connsiteY158" fmla="*/ 64723 h 483536"/>
                <a:gd name="connsiteX159" fmla="*/ 136368 w 554660"/>
                <a:gd name="connsiteY159" fmla="*/ 69399 h 483536"/>
                <a:gd name="connsiteX160" fmla="*/ 134854 w 554660"/>
                <a:gd name="connsiteY160" fmla="*/ 76362 h 483536"/>
                <a:gd name="connsiteX161" fmla="*/ 130950 w 554660"/>
                <a:gd name="connsiteY161" fmla="*/ 81677 h 483536"/>
                <a:gd name="connsiteX162" fmla="*/ 125834 w 554660"/>
                <a:gd name="connsiteY162" fmla="*/ 82552 h 483536"/>
                <a:gd name="connsiteX163" fmla="*/ 119406 w 554660"/>
                <a:gd name="connsiteY163" fmla="*/ 83628 h 483536"/>
                <a:gd name="connsiteX164" fmla="*/ 113315 w 554660"/>
                <a:gd name="connsiteY164" fmla="*/ 85041 h 483536"/>
                <a:gd name="connsiteX165" fmla="*/ 107762 w 554660"/>
                <a:gd name="connsiteY165" fmla="*/ 83965 h 483536"/>
                <a:gd name="connsiteX166" fmla="*/ 104598 w 554660"/>
                <a:gd name="connsiteY166" fmla="*/ 80601 h 483536"/>
                <a:gd name="connsiteX167" fmla="*/ 93627 w 554660"/>
                <a:gd name="connsiteY167" fmla="*/ 72897 h 483536"/>
                <a:gd name="connsiteX168" fmla="*/ 86661 w 554660"/>
                <a:gd name="connsiteY168" fmla="*/ 76598 h 483536"/>
                <a:gd name="connsiteX169" fmla="*/ 86661 w 554660"/>
                <a:gd name="connsiteY169" fmla="*/ 82686 h 483536"/>
                <a:gd name="connsiteX170" fmla="*/ 84338 w 554660"/>
                <a:gd name="connsiteY170" fmla="*/ 86454 h 483536"/>
                <a:gd name="connsiteX171" fmla="*/ 78247 w 554660"/>
                <a:gd name="connsiteY171" fmla="*/ 91365 h 483536"/>
                <a:gd name="connsiteX172" fmla="*/ 73905 w 554660"/>
                <a:gd name="connsiteY172" fmla="*/ 86454 h 483536"/>
                <a:gd name="connsiteX173" fmla="*/ 70574 w 554660"/>
                <a:gd name="connsiteY173" fmla="*/ 84436 h 483536"/>
                <a:gd name="connsiteX174" fmla="*/ 64044 w 554660"/>
                <a:gd name="connsiteY174" fmla="*/ 77203 h 483536"/>
                <a:gd name="connsiteX175" fmla="*/ 64044 w 554660"/>
                <a:gd name="connsiteY175" fmla="*/ 67077 h 483536"/>
                <a:gd name="connsiteX176" fmla="*/ 64044 w 554660"/>
                <a:gd name="connsiteY176" fmla="*/ 58399 h 483536"/>
                <a:gd name="connsiteX177" fmla="*/ 59400 w 554660"/>
                <a:gd name="connsiteY177" fmla="*/ 55203 h 483536"/>
                <a:gd name="connsiteX178" fmla="*/ 56237 w 554660"/>
                <a:gd name="connsiteY178" fmla="*/ 47970 h 483536"/>
                <a:gd name="connsiteX179" fmla="*/ 52467 w 554660"/>
                <a:gd name="connsiteY179" fmla="*/ 45077 h 483536"/>
                <a:gd name="connsiteX180" fmla="*/ 42910 w 554660"/>
                <a:gd name="connsiteY180" fmla="*/ 42184 h 483536"/>
                <a:gd name="connsiteX181" fmla="*/ 29582 w 554660"/>
                <a:gd name="connsiteY181" fmla="*/ 40166 h 483536"/>
                <a:gd name="connsiteX182" fmla="*/ 17096 w 554660"/>
                <a:gd name="connsiteY182" fmla="*/ 41310 h 483536"/>
                <a:gd name="connsiteX183" fmla="*/ 11308 w 554660"/>
                <a:gd name="connsiteY183" fmla="*/ 45952 h 483536"/>
                <a:gd name="connsiteX184" fmla="*/ 6529 w 554660"/>
                <a:gd name="connsiteY184" fmla="*/ 49417 h 483536"/>
                <a:gd name="connsiteX185" fmla="*/ 1447 w 554660"/>
                <a:gd name="connsiteY185" fmla="*/ 58399 h 483536"/>
                <a:gd name="connsiteX186" fmla="*/ 1447 w 554660"/>
                <a:gd name="connsiteY186" fmla="*/ 63613 h 483536"/>
                <a:gd name="connsiteX187" fmla="*/ 0 w 554660"/>
                <a:gd name="connsiteY187" fmla="*/ 69399 h 483536"/>
                <a:gd name="connsiteX188" fmla="*/ 4341 w 554660"/>
                <a:gd name="connsiteY188" fmla="*/ 73738 h 483536"/>
                <a:gd name="connsiteX189" fmla="*/ 7808 w 554660"/>
                <a:gd name="connsiteY189" fmla="*/ 77203 h 483536"/>
                <a:gd name="connsiteX190" fmla="*/ 22582 w 554660"/>
                <a:gd name="connsiteY190" fmla="*/ 86488 h 483536"/>
                <a:gd name="connsiteX191" fmla="*/ 30423 w 554660"/>
                <a:gd name="connsiteY191" fmla="*/ 90827 h 483536"/>
                <a:gd name="connsiteX192" fmla="*/ 37390 w 554660"/>
                <a:gd name="connsiteY192" fmla="*/ 91702 h 483536"/>
                <a:gd name="connsiteX193" fmla="*/ 44054 w 554660"/>
                <a:gd name="connsiteY193" fmla="*/ 96613 h 483536"/>
                <a:gd name="connsiteX194" fmla="*/ 48967 w 554660"/>
                <a:gd name="connsiteY194" fmla="*/ 100953 h 483536"/>
                <a:gd name="connsiteX195" fmla="*/ 54487 w 554660"/>
                <a:gd name="connsiteY195" fmla="*/ 100953 h 483536"/>
                <a:gd name="connsiteX196" fmla="*/ 58559 w 554660"/>
                <a:gd name="connsiteY196" fmla="*/ 109060 h 483536"/>
                <a:gd name="connsiteX197" fmla="*/ 64044 w 554660"/>
                <a:gd name="connsiteY197" fmla="*/ 119185 h 483536"/>
                <a:gd name="connsiteX198" fmla="*/ 70439 w 554660"/>
                <a:gd name="connsiteY198" fmla="*/ 119488 h 483536"/>
                <a:gd name="connsiteX199" fmla="*/ 71886 w 554660"/>
                <a:gd name="connsiteY199" fmla="*/ 123827 h 483536"/>
                <a:gd name="connsiteX200" fmla="*/ 76800 w 554660"/>
                <a:gd name="connsiteY200" fmla="*/ 129614 h 483536"/>
                <a:gd name="connsiteX201" fmla="*/ 83194 w 554660"/>
                <a:gd name="connsiteY201" fmla="*/ 132069 h 483536"/>
                <a:gd name="connsiteX202" fmla="*/ 97093 w 554660"/>
                <a:gd name="connsiteY202" fmla="*/ 132204 h 483536"/>
                <a:gd name="connsiteX203" fmla="*/ 108401 w 554660"/>
                <a:gd name="connsiteY203" fmla="*/ 132204 h 483536"/>
                <a:gd name="connsiteX204" fmla="*/ 117387 w 554660"/>
                <a:gd name="connsiteY204" fmla="*/ 133650 h 483536"/>
                <a:gd name="connsiteX205" fmla="*/ 123748 w 554660"/>
                <a:gd name="connsiteY205" fmla="*/ 140614 h 483536"/>
                <a:gd name="connsiteX206" fmla="*/ 128089 w 554660"/>
                <a:gd name="connsiteY206" fmla="*/ 144953 h 483536"/>
                <a:gd name="connsiteX207" fmla="*/ 132565 w 554660"/>
                <a:gd name="connsiteY207" fmla="*/ 150739 h 483536"/>
                <a:gd name="connsiteX208" fmla="*/ 133575 w 554660"/>
                <a:gd name="connsiteY208" fmla="*/ 154507 h 483536"/>
                <a:gd name="connsiteX209" fmla="*/ 133575 w 554660"/>
                <a:gd name="connsiteY209" fmla="*/ 164363 h 483536"/>
                <a:gd name="connsiteX210" fmla="*/ 136469 w 554660"/>
                <a:gd name="connsiteY210" fmla="*/ 168434 h 483536"/>
                <a:gd name="connsiteX211" fmla="*/ 145724 w 554660"/>
                <a:gd name="connsiteY211" fmla="*/ 168434 h 483536"/>
                <a:gd name="connsiteX212" fmla="*/ 152388 w 554660"/>
                <a:gd name="connsiteY212" fmla="*/ 164969 h 483536"/>
                <a:gd name="connsiteX213" fmla="*/ 157032 w 554660"/>
                <a:gd name="connsiteY213" fmla="*/ 160898 h 483536"/>
                <a:gd name="connsiteX214" fmla="*/ 162249 w 554660"/>
                <a:gd name="connsiteY214" fmla="*/ 163522 h 483536"/>
                <a:gd name="connsiteX215" fmla="*/ 171806 w 554660"/>
                <a:gd name="connsiteY215" fmla="*/ 165272 h 483536"/>
                <a:gd name="connsiteX216" fmla="*/ 179042 w 554660"/>
                <a:gd name="connsiteY216" fmla="*/ 166146 h 483536"/>
                <a:gd name="connsiteX217" fmla="*/ 178167 w 554660"/>
                <a:gd name="connsiteY217" fmla="*/ 173984 h 483536"/>
                <a:gd name="connsiteX218" fmla="*/ 174095 w 554660"/>
                <a:gd name="connsiteY218" fmla="*/ 179501 h 483536"/>
                <a:gd name="connsiteX219" fmla="*/ 173523 w 554660"/>
                <a:gd name="connsiteY219" fmla="*/ 184413 h 483536"/>
                <a:gd name="connsiteX220" fmla="*/ 171504 w 554660"/>
                <a:gd name="connsiteY220" fmla="*/ 190804 h 483536"/>
                <a:gd name="connsiteX221" fmla="*/ 167432 w 554660"/>
                <a:gd name="connsiteY221" fmla="*/ 197465 h 483536"/>
                <a:gd name="connsiteX222" fmla="*/ 164840 w 554660"/>
                <a:gd name="connsiteY222" fmla="*/ 202107 h 483536"/>
                <a:gd name="connsiteX223" fmla="*/ 162821 w 554660"/>
                <a:gd name="connsiteY223" fmla="*/ 209070 h 483536"/>
                <a:gd name="connsiteX224" fmla="*/ 161071 w 554660"/>
                <a:gd name="connsiteY224" fmla="*/ 222694 h 483536"/>
                <a:gd name="connsiteX225" fmla="*/ 161340 w 554660"/>
                <a:gd name="connsiteY225" fmla="*/ 224444 h 483536"/>
                <a:gd name="connsiteX226" fmla="*/ 165681 w 554660"/>
                <a:gd name="connsiteY226" fmla="*/ 229355 h 483536"/>
                <a:gd name="connsiteX227" fmla="*/ 176114 w 554660"/>
                <a:gd name="connsiteY227" fmla="*/ 228481 h 483536"/>
                <a:gd name="connsiteX228" fmla="*/ 183081 w 554660"/>
                <a:gd name="connsiteY228" fmla="*/ 226159 h 483536"/>
                <a:gd name="connsiteX229" fmla="*/ 185403 w 554660"/>
                <a:gd name="connsiteY229" fmla="*/ 235713 h 483536"/>
                <a:gd name="connsiteX230" fmla="*/ 189475 w 554660"/>
                <a:gd name="connsiteY230" fmla="*/ 244392 h 483536"/>
                <a:gd name="connsiteX231" fmla="*/ 192672 w 554660"/>
                <a:gd name="connsiteY231" fmla="*/ 252802 h 483536"/>
                <a:gd name="connsiteX232" fmla="*/ 191797 w 554660"/>
                <a:gd name="connsiteY232" fmla="*/ 260606 h 483536"/>
                <a:gd name="connsiteX233" fmla="*/ 194692 w 554660"/>
                <a:gd name="connsiteY233" fmla="*/ 268713 h 483536"/>
                <a:gd name="connsiteX234" fmla="*/ 205697 w 554660"/>
                <a:gd name="connsiteY234" fmla="*/ 277123 h 483536"/>
                <a:gd name="connsiteX235" fmla="*/ 211485 w 554660"/>
                <a:gd name="connsiteY235" fmla="*/ 277998 h 483536"/>
                <a:gd name="connsiteX236" fmla="*/ 220168 w 554660"/>
                <a:gd name="connsiteY236" fmla="*/ 275980 h 483536"/>
                <a:gd name="connsiteX237" fmla="*/ 227404 w 554660"/>
                <a:gd name="connsiteY237" fmla="*/ 276282 h 483536"/>
                <a:gd name="connsiteX238" fmla="*/ 234067 w 554660"/>
                <a:gd name="connsiteY238" fmla="*/ 275980 h 483536"/>
                <a:gd name="connsiteX239" fmla="*/ 239284 w 554660"/>
                <a:gd name="connsiteY239" fmla="*/ 273087 h 483536"/>
                <a:gd name="connsiteX240" fmla="*/ 241034 w 554660"/>
                <a:gd name="connsiteY240" fmla="*/ 266998 h 483536"/>
                <a:gd name="connsiteX241" fmla="*/ 245106 w 554660"/>
                <a:gd name="connsiteY241" fmla="*/ 261481 h 483536"/>
                <a:gd name="connsiteX242" fmla="*/ 245409 w 554660"/>
                <a:gd name="connsiteY242" fmla="*/ 250750 h 483536"/>
                <a:gd name="connsiteX243" fmla="*/ 248000 w 554660"/>
                <a:gd name="connsiteY243" fmla="*/ 244661 h 483536"/>
                <a:gd name="connsiteX244" fmla="*/ 256111 w 554660"/>
                <a:gd name="connsiteY244" fmla="*/ 242340 h 483536"/>
                <a:gd name="connsiteX245" fmla="*/ 261631 w 554660"/>
                <a:gd name="connsiteY245" fmla="*/ 248731 h 483536"/>
                <a:gd name="connsiteX246" fmla="*/ 269438 w 554660"/>
                <a:gd name="connsiteY246" fmla="*/ 255392 h 483536"/>
                <a:gd name="connsiteX247" fmla="*/ 281319 w 554660"/>
                <a:gd name="connsiteY247" fmla="*/ 261481 h 483536"/>
                <a:gd name="connsiteX248" fmla="*/ 287982 w 554660"/>
                <a:gd name="connsiteY248" fmla="*/ 266123 h 483536"/>
                <a:gd name="connsiteX249" fmla="*/ 286232 w 554660"/>
                <a:gd name="connsiteY249" fmla="*/ 277426 h 483536"/>
                <a:gd name="connsiteX250" fmla="*/ 283607 w 554660"/>
                <a:gd name="connsiteY250" fmla="*/ 281194 h 483536"/>
                <a:gd name="connsiteX251" fmla="*/ 285054 w 554660"/>
                <a:gd name="connsiteY251" fmla="*/ 289032 h 483536"/>
                <a:gd name="connsiteX252" fmla="*/ 286501 w 554660"/>
                <a:gd name="connsiteY252" fmla="*/ 294818 h 483536"/>
                <a:gd name="connsiteX253" fmla="*/ 281588 w 554660"/>
                <a:gd name="connsiteY253" fmla="*/ 300335 h 483536"/>
                <a:gd name="connsiteX254" fmla="*/ 274352 w 554660"/>
                <a:gd name="connsiteY254" fmla="*/ 304102 h 483536"/>
                <a:gd name="connsiteX255" fmla="*/ 268563 w 554660"/>
                <a:gd name="connsiteY255" fmla="*/ 299191 h 483536"/>
                <a:gd name="connsiteX256" fmla="*/ 260722 w 554660"/>
                <a:gd name="connsiteY256" fmla="*/ 298888 h 483536"/>
                <a:gd name="connsiteX257" fmla="*/ 252039 w 554660"/>
                <a:gd name="connsiteY257" fmla="*/ 297442 h 483536"/>
                <a:gd name="connsiteX258" fmla="*/ 247698 w 554660"/>
                <a:gd name="connsiteY258" fmla="*/ 292530 h 483536"/>
                <a:gd name="connsiteX259" fmla="*/ 239587 w 554660"/>
                <a:gd name="connsiteY259" fmla="*/ 289335 h 483536"/>
                <a:gd name="connsiteX260" fmla="*/ 234101 w 554660"/>
                <a:gd name="connsiteY260" fmla="*/ 293977 h 483536"/>
                <a:gd name="connsiteX261" fmla="*/ 233529 w 554660"/>
                <a:gd name="connsiteY261" fmla="*/ 301512 h 483536"/>
                <a:gd name="connsiteX262" fmla="*/ 236423 w 554660"/>
                <a:gd name="connsiteY262" fmla="*/ 311066 h 483536"/>
                <a:gd name="connsiteX263" fmla="*/ 237568 w 554660"/>
                <a:gd name="connsiteY263" fmla="*/ 317457 h 483536"/>
                <a:gd name="connsiteX264" fmla="*/ 236693 w 554660"/>
                <a:gd name="connsiteY264" fmla="*/ 327314 h 483536"/>
                <a:gd name="connsiteX265" fmla="*/ 233798 w 554660"/>
                <a:gd name="connsiteY265" fmla="*/ 331384 h 483536"/>
                <a:gd name="connsiteX266" fmla="*/ 232351 w 554660"/>
                <a:gd name="connsiteY266" fmla="*/ 336598 h 483536"/>
                <a:gd name="connsiteX267" fmla="*/ 228010 w 554660"/>
                <a:gd name="connsiteY267" fmla="*/ 338045 h 483536"/>
                <a:gd name="connsiteX268" fmla="*/ 222490 w 554660"/>
                <a:gd name="connsiteY268" fmla="*/ 338617 h 483536"/>
                <a:gd name="connsiteX269" fmla="*/ 217846 w 554660"/>
                <a:gd name="connsiteY269" fmla="*/ 345008 h 483536"/>
                <a:gd name="connsiteX270" fmla="*/ 216096 w 554660"/>
                <a:gd name="connsiteY270" fmla="*/ 353115 h 483536"/>
                <a:gd name="connsiteX271" fmla="*/ 211183 w 554660"/>
                <a:gd name="connsiteY271" fmla="*/ 361222 h 483536"/>
                <a:gd name="connsiteX272" fmla="*/ 208860 w 554660"/>
                <a:gd name="connsiteY272" fmla="*/ 367009 h 483536"/>
                <a:gd name="connsiteX273" fmla="*/ 214649 w 554660"/>
                <a:gd name="connsiteY273" fmla="*/ 370473 h 483536"/>
                <a:gd name="connsiteX274" fmla="*/ 219865 w 554660"/>
                <a:gd name="connsiteY274" fmla="*/ 373366 h 483536"/>
                <a:gd name="connsiteX275" fmla="*/ 224510 w 554660"/>
                <a:gd name="connsiteY275" fmla="*/ 379152 h 483536"/>
                <a:gd name="connsiteX276" fmla="*/ 226832 w 554660"/>
                <a:gd name="connsiteY276" fmla="*/ 389581 h 483536"/>
                <a:gd name="connsiteX277" fmla="*/ 229726 w 554660"/>
                <a:gd name="connsiteY277" fmla="*/ 394795 h 483536"/>
                <a:gd name="connsiteX278" fmla="*/ 238712 w 554660"/>
                <a:gd name="connsiteY278" fmla="*/ 395030 h 483536"/>
                <a:gd name="connsiteX279" fmla="*/ 249145 w 554660"/>
                <a:gd name="connsiteY279" fmla="*/ 396578 h 483536"/>
                <a:gd name="connsiteX280" fmla="*/ 259578 w 554660"/>
                <a:gd name="connsiteY280" fmla="*/ 396578 h 483536"/>
                <a:gd name="connsiteX281" fmla="*/ 261328 w 554660"/>
                <a:gd name="connsiteY281" fmla="*/ 401792 h 483536"/>
                <a:gd name="connsiteX282" fmla="*/ 262472 w 554660"/>
                <a:gd name="connsiteY282" fmla="*/ 408183 h 483536"/>
                <a:gd name="connsiteX283" fmla="*/ 263650 w 554660"/>
                <a:gd name="connsiteY283" fmla="*/ 413700 h 483536"/>
                <a:gd name="connsiteX284" fmla="*/ 260452 w 554660"/>
                <a:gd name="connsiteY284" fmla="*/ 421505 h 483536"/>
                <a:gd name="connsiteX285" fmla="*/ 255236 w 554660"/>
                <a:gd name="connsiteY285" fmla="*/ 425844 h 483536"/>
                <a:gd name="connsiteX286" fmla="*/ 247698 w 554660"/>
                <a:gd name="connsiteY286" fmla="*/ 433077 h 483536"/>
                <a:gd name="connsiteX287" fmla="*/ 249717 w 554660"/>
                <a:gd name="connsiteY287" fmla="*/ 438863 h 483536"/>
                <a:gd name="connsiteX288" fmla="*/ 252914 w 554660"/>
                <a:gd name="connsiteY288" fmla="*/ 442193 h 483536"/>
                <a:gd name="connsiteX289" fmla="*/ 261328 w 554660"/>
                <a:gd name="connsiteY289" fmla="*/ 446970 h 483536"/>
                <a:gd name="connsiteX290" fmla="*/ 270011 w 554660"/>
                <a:gd name="connsiteY290" fmla="*/ 446970 h 483536"/>
                <a:gd name="connsiteX291" fmla="*/ 277112 w 554660"/>
                <a:gd name="connsiteY291" fmla="*/ 444952 h 483536"/>
                <a:gd name="connsiteX292" fmla="*/ 284785 w 554660"/>
                <a:gd name="connsiteY292" fmla="*/ 441756 h 483536"/>
                <a:gd name="connsiteX293" fmla="*/ 292020 w 554660"/>
                <a:gd name="connsiteY293" fmla="*/ 440881 h 483536"/>
                <a:gd name="connsiteX294" fmla="*/ 299862 w 554660"/>
                <a:gd name="connsiteY294" fmla="*/ 438829 h 483536"/>
                <a:gd name="connsiteX295" fmla="*/ 310867 w 554660"/>
                <a:gd name="connsiteY295" fmla="*/ 436542 h 483536"/>
                <a:gd name="connsiteX296" fmla="*/ 315209 w 554660"/>
                <a:gd name="connsiteY296" fmla="*/ 436542 h 483536"/>
                <a:gd name="connsiteX297" fmla="*/ 316084 w 554660"/>
                <a:gd name="connsiteY297" fmla="*/ 444649 h 483536"/>
                <a:gd name="connsiteX298" fmla="*/ 316656 w 554660"/>
                <a:gd name="connsiteY298" fmla="*/ 449863 h 483536"/>
                <a:gd name="connsiteX299" fmla="*/ 326786 w 554660"/>
                <a:gd name="connsiteY299" fmla="*/ 448685 h 483536"/>
                <a:gd name="connsiteX300" fmla="*/ 334055 w 554660"/>
                <a:gd name="connsiteY300" fmla="*/ 446667 h 483536"/>
                <a:gd name="connsiteX301" fmla="*/ 337825 w 554660"/>
                <a:gd name="connsiteY301" fmla="*/ 453631 h 483536"/>
                <a:gd name="connsiteX302" fmla="*/ 342738 w 554660"/>
                <a:gd name="connsiteY302" fmla="*/ 447273 h 483536"/>
                <a:gd name="connsiteX303" fmla="*/ 349704 w 554660"/>
                <a:gd name="connsiteY303" fmla="*/ 444380 h 483536"/>
                <a:gd name="connsiteX304" fmla="*/ 360440 w 554660"/>
                <a:gd name="connsiteY304" fmla="*/ 443808 h 483536"/>
                <a:gd name="connsiteX305" fmla="*/ 367676 w 554660"/>
                <a:gd name="connsiteY305" fmla="*/ 448450 h 483536"/>
                <a:gd name="connsiteX306" fmla="*/ 375787 w 554660"/>
                <a:gd name="connsiteY306" fmla="*/ 455985 h 483536"/>
                <a:gd name="connsiteX307" fmla="*/ 380128 w 554660"/>
                <a:gd name="connsiteY307" fmla="*/ 460897 h 483536"/>
                <a:gd name="connsiteX308" fmla="*/ 384200 w 554660"/>
                <a:gd name="connsiteY308" fmla="*/ 463218 h 483536"/>
                <a:gd name="connsiteX309" fmla="*/ 388542 w 554660"/>
                <a:gd name="connsiteY309" fmla="*/ 466985 h 483536"/>
                <a:gd name="connsiteX310" fmla="*/ 398975 w 554660"/>
                <a:gd name="connsiteY310" fmla="*/ 469576 h 483536"/>
                <a:gd name="connsiteX311" fmla="*/ 412605 w 554660"/>
                <a:gd name="connsiteY311" fmla="*/ 469576 h 483536"/>
                <a:gd name="connsiteX312" fmla="*/ 417249 w 554660"/>
                <a:gd name="connsiteY312" fmla="*/ 468432 h 483536"/>
                <a:gd name="connsiteX313" fmla="*/ 421019 w 554660"/>
                <a:gd name="connsiteY313" fmla="*/ 472502 h 483536"/>
                <a:gd name="connsiteX314" fmla="*/ 424216 w 554660"/>
                <a:gd name="connsiteY314" fmla="*/ 479466 h 483536"/>
                <a:gd name="connsiteX315" fmla="*/ 425091 w 554660"/>
                <a:gd name="connsiteY315" fmla="*/ 483536 h 483536"/>
                <a:gd name="connsiteX316" fmla="*/ 431754 w 554660"/>
                <a:gd name="connsiteY316" fmla="*/ 483536 h 483536"/>
                <a:gd name="connsiteX317" fmla="*/ 432629 w 554660"/>
                <a:gd name="connsiteY317" fmla="*/ 476875 h 483536"/>
                <a:gd name="connsiteX318" fmla="*/ 436096 w 554660"/>
                <a:gd name="connsiteY318" fmla="*/ 473411 h 483536"/>
                <a:gd name="connsiteX319" fmla="*/ 443937 w 554660"/>
                <a:gd name="connsiteY319" fmla="*/ 472839 h 483536"/>
                <a:gd name="connsiteX320" fmla="*/ 446260 w 554660"/>
                <a:gd name="connsiteY320" fmla="*/ 466178 h 483536"/>
                <a:gd name="connsiteX321" fmla="*/ 446832 w 554660"/>
                <a:gd name="connsiteY321" fmla="*/ 461267 h 483536"/>
                <a:gd name="connsiteX322" fmla="*/ 444510 w 554660"/>
                <a:gd name="connsiteY322" fmla="*/ 454034 h 483536"/>
                <a:gd name="connsiteX323" fmla="*/ 447976 w 554660"/>
                <a:gd name="connsiteY323" fmla="*/ 449997 h 483536"/>
                <a:gd name="connsiteX324" fmla="*/ 454942 w 554660"/>
                <a:gd name="connsiteY324" fmla="*/ 444783 h 483536"/>
                <a:gd name="connsiteX325" fmla="*/ 462481 w 554660"/>
                <a:gd name="connsiteY325" fmla="*/ 444514 h 483536"/>
                <a:gd name="connsiteX326" fmla="*/ 467832 w 554660"/>
                <a:gd name="connsiteY326" fmla="*/ 442328 h 483536"/>
                <a:gd name="connsiteX327" fmla="*/ 470289 w 554660"/>
                <a:gd name="connsiteY327" fmla="*/ 438863 h 483536"/>
                <a:gd name="connsiteX328" fmla="*/ 474226 w 554660"/>
                <a:gd name="connsiteY328" fmla="*/ 434086 h 483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</a:cxnLst>
              <a:rect l="l" t="t" r="r" b="b"/>
              <a:pathLst>
                <a:path w="554660" h="483536">
                  <a:moveTo>
                    <a:pt x="474226" y="434086"/>
                  </a:moveTo>
                  <a:lnTo>
                    <a:pt x="477996" y="430756"/>
                  </a:lnTo>
                  <a:lnTo>
                    <a:pt x="479140" y="428300"/>
                  </a:lnTo>
                  <a:lnTo>
                    <a:pt x="477996" y="421202"/>
                  </a:lnTo>
                  <a:lnTo>
                    <a:pt x="482203" y="418174"/>
                  </a:lnTo>
                  <a:lnTo>
                    <a:pt x="484222" y="415853"/>
                  </a:lnTo>
                  <a:lnTo>
                    <a:pt x="479881" y="412826"/>
                  </a:lnTo>
                  <a:lnTo>
                    <a:pt x="479881" y="409193"/>
                  </a:lnTo>
                  <a:lnTo>
                    <a:pt x="482910" y="405358"/>
                  </a:lnTo>
                  <a:lnTo>
                    <a:pt x="487688" y="399067"/>
                  </a:lnTo>
                  <a:lnTo>
                    <a:pt x="493645" y="395770"/>
                  </a:lnTo>
                  <a:lnTo>
                    <a:pt x="501621" y="394593"/>
                  </a:lnTo>
                  <a:lnTo>
                    <a:pt x="504246" y="394593"/>
                  </a:lnTo>
                  <a:lnTo>
                    <a:pt x="504246" y="394526"/>
                  </a:lnTo>
                  <a:lnTo>
                    <a:pt x="494352" y="385746"/>
                  </a:lnTo>
                  <a:lnTo>
                    <a:pt x="489136" y="380532"/>
                  </a:lnTo>
                  <a:lnTo>
                    <a:pt x="485265" y="375553"/>
                  </a:lnTo>
                  <a:lnTo>
                    <a:pt x="482135" y="372727"/>
                  </a:lnTo>
                  <a:lnTo>
                    <a:pt x="477356" y="367950"/>
                  </a:lnTo>
                  <a:lnTo>
                    <a:pt x="474866" y="367076"/>
                  </a:lnTo>
                  <a:cubicBezTo>
                    <a:pt x="474866" y="367076"/>
                    <a:pt x="471736" y="366437"/>
                    <a:pt x="471400" y="366302"/>
                  </a:cubicBezTo>
                  <a:cubicBezTo>
                    <a:pt x="471063" y="366201"/>
                    <a:pt x="465745" y="366302"/>
                    <a:pt x="465745" y="366302"/>
                  </a:cubicBezTo>
                  <a:cubicBezTo>
                    <a:pt x="465745" y="366302"/>
                    <a:pt x="461269" y="365427"/>
                    <a:pt x="458880" y="365427"/>
                  </a:cubicBezTo>
                  <a:cubicBezTo>
                    <a:pt x="456490" y="365427"/>
                    <a:pt x="450063" y="363813"/>
                    <a:pt x="450063" y="363813"/>
                  </a:cubicBezTo>
                  <a:lnTo>
                    <a:pt x="446461" y="361323"/>
                  </a:lnTo>
                  <a:lnTo>
                    <a:pt x="443971" y="358498"/>
                  </a:lnTo>
                  <a:cubicBezTo>
                    <a:pt x="443971" y="358498"/>
                    <a:pt x="446058" y="356311"/>
                    <a:pt x="446461" y="356210"/>
                  </a:cubicBezTo>
                  <a:cubicBezTo>
                    <a:pt x="446899" y="356109"/>
                    <a:pt x="448211" y="355134"/>
                    <a:pt x="449188" y="354696"/>
                  </a:cubicBezTo>
                  <a:cubicBezTo>
                    <a:pt x="450163" y="354259"/>
                    <a:pt x="453765" y="351433"/>
                    <a:pt x="454067" y="351433"/>
                  </a:cubicBezTo>
                  <a:cubicBezTo>
                    <a:pt x="454370" y="351433"/>
                    <a:pt x="456457" y="351332"/>
                    <a:pt x="457231" y="351433"/>
                  </a:cubicBezTo>
                  <a:cubicBezTo>
                    <a:pt x="458005" y="351534"/>
                    <a:pt x="459957" y="351972"/>
                    <a:pt x="461034" y="352846"/>
                  </a:cubicBezTo>
                  <a:cubicBezTo>
                    <a:pt x="462111" y="353721"/>
                    <a:pt x="463524" y="353822"/>
                    <a:pt x="465174" y="354158"/>
                  </a:cubicBezTo>
                  <a:cubicBezTo>
                    <a:pt x="466823" y="354494"/>
                    <a:pt x="474731" y="355235"/>
                    <a:pt x="474731" y="355235"/>
                  </a:cubicBezTo>
                  <a:cubicBezTo>
                    <a:pt x="474731" y="355235"/>
                    <a:pt x="475606" y="354360"/>
                    <a:pt x="476044" y="354259"/>
                  </a:cubicBezTo>
                  <a:cubicBezTo>
                    <a:pt x="476481" y="354158"/>
                    <a:pt x="478972" y="352005"/>
                    <a:pt x="480284" y="351837"/>
                  </a:cubicBezTo>
                  <a:cubicBezTo>
                    <a:pt x="481597" y="351669"/>
                    <a:pt x="482910" y="351131"/>
                    <a:pt x="483650" y="351131"/>
                  </a:cubicBezTo>
                  <a:cubicBezTo>
                    <a:pt x="484424" y="351131"/>
                    <a:pt x="487688" y="351131"/>
                    <a:pt x="487688" y="351131"/>
                  </a:cubicBezTo>
                  <a:lnTo>
                    <a:pt x="493140" y="347666"/>
                  </a:lnTo>
                  <a:lnTo>
                    <a:pt x="499871" y="347666"/>
                  </a:lnTo>
                  <a:cubicBezTo>
                    <a:pt x="499871" y="347666"/>
                    <a:pt x="505862" y="349516"/>
                    <a:pt x="506165" y="349617"/>
                  </a:cubicBezTo>
                  <a:cubicBezTo>
                    <a:pt x="506501" y="349718"/>
                    <a:pt x="510944" y="351030"/>
                    <a:pt x="511381" y="351030"/>
                  </a:cubicBezTo>
                  <a:cubicBezTo>
                    <a:pt x="511819" y="351030"/>
                    <a:pt x="516934" y="355268"/>
                    <a:pt x="516934" y="355268"/>
                  </a:cubicBezTo>
                  <a:lnTo>
                    <a:pt x="523901" y="359070"/>
                  </a:lnTo>
                  <a:lnTo>
                    <a:pt x="531507" y="362333"/>
                  </a:lnTo>
                  <a:lnTo>
                    <a:pt x="537261" y="363947"/>
                  </a:lnTo>
                  <a:cubicBezTo>
                    <a:pt x="537261" y="363947"/>
                    <a:pt x="542478" y="364586"/>
                    <a:pt x="543017" y="364586"/>
                  </a:cubicBezTo>
                  <a:cubicBezTo>
                    <a:pt x="543555" y="364586"/>
                    <a:pt x="549646" y="364385"/>
                    <a:pt x="549646" y="364385"/>
                  </a:cubicBezTo>
                  <a:lnTo>
                    <a:pt x="553786" y="362871"/>
                  </a:lnTo>
                  <a:lnTo>
                    <a:pt x="554661" y="359070"/>
                  </a:lnTo>
                  <a:lnTo>
                    <a:pt x="552373" y="353855"/>
                  </a:lnTo>
                  <a:lnTo>
                    <a:pt x="547358" y="343763"/>
                  </a:lnTo>
                  <a:lnTo>
                    <a:pt x="541603" y="332461"/>
                  </a:lnTo>
                  <a:lnTo>
                    <a:pt x="534872" y="325598"/>
                  </a:lnTo>
                  <a:cubicBezTo>
                    <a:pt x="534872" y="325598"/>
                    <a:pt x="527805" y="321360"/>
                    <a:pt x="526930" y="321158"/>
                  </a:cubicBezTo>
                  <a:cubicBezTo>
                    <a:pt x="526055" y="320922"/>
                    <a:pt x="516732" y="317693"/>
                    <a:pt x="516732" y="317693"/>
                  </a:cubicBezTo>
                  <a:lnTo>
                    <a:pt x="510203" y="316280"/>
                  </a:lnTo>
                  <a:lnTo>
                    <a:pt x="501823" y="313555"/>
                  </a:lnTo>
                  <a:lnTo>
                    <a:pt x="497414" y="310527"/>
                  </a:lnTo>
                  <a:lnTo>
                    <a:pt x="495496" y="308778"/>
                  </a:lnTo>
                  <a:lnTo>
                    <a:pt x="495496" y="287720"/>
                  </a:lnTo>
                  <a:lnTo>
                    <a:pt x="493544" y="283818"/>
                  </a:lnTo>
                  <a:lnTo>
                    <a:pt x="488967" y="281429"/>
                  </a:lnTo>
                  <a:lnTo>
                    <a:pt x="485064" y="277830"/>
                  </a:lnTo>
                  <a:lnTo>
                    <a:pt x="478097" y="275374"/>
                  </a:lnTo>
                  <a:cubicBezTo>
                    <a:pt x="478097" y="275374"/>
                    <a:pt x="473116" y="274668"/>
                    <a:pt x="472678" y="274668"/>
                  </a:cubicBezTo>
                  <a:cubicBezTo>
                    <a:pt x="472241" y="274668"/>
                    <a:pt x="465072" y="274668"/>
                    <a:pt x="465072" y="274668"/>
                  </a:cubicBezTo>
                  <a:lnTo>
                    <a:pt x="460293" y="273894"/>
                  </a:lnTo>
                  <a:cubicBezTo>
                    <a:pt x="460293" y="273894"/>
                    <a:pt x="453327" y="273356"/>
                    <a:pt x="452890" y="273356"/>
                  </a:cubicBezTo>
                  <a:cubicBezTo>
                    <a:pt x="452452" y="273356"/>
                    <a:pt x="447673" y="272044"/>
                    <a:pt x="447336" y="271607"/>
                  </a:cubicBezTo>
                  <a:cubicBezTo>
                    <a:pt x="447000" y="271169"/>
                    <a:pt x="444711" y="268781"/>
                    <a:pt x="444510" y="267267"/>
                  </a:cubicBezTo>
                  <a:cubicBezTo>
                    <a:pt x="444274" y="265753"/>
                    <a:pt x="443971" y="262154"/>
                    <a:pt x="443971" y="262154"/>
                  </a:cubicBezTo>
                  <a:lnTo>
                    <a:pt x="441582" y="255628"/>
                  </a:lnTo>
                  <a:lnTo>
                    <a:pt x="440707" y="251187"/>
                  </a:lnTo>
                  <a:cubicBezTo>
                    <a:pt x="440707" y="251187"/>
                    <a:pt x="438081" y="249438"/>
                    <a:pt x="437678" y="248698"/>
                  </a:cubicBezTo>
                  <a:cubicBezTo>
                    <a:pt x="437240" y="247924"/>
                    <a:pt x="435625" y="246310"/>
                    <a:pt x="436163" y="245334"/>
                  </a:cubicBezTo>
                  <a:cubicBezTo>
                    <a:pt x="436701" y="244358"/>
                    <a:pt x="439730" y="239918"/>
                    <a:pt x="439730" y="239918"/>
                  </a:cubicBezTo>
                  <a:lnTo>
                    <a:pt x="441245" y="235040"/>
                  </a:lnTo>
                  <a:cubicBezTo>
                    <a:pt x="441245" y="235040"/>
                    <a:pt x="440808" y="233425"/>
                    <a:pt x="440808" y="233089"/>
                  </a:cubicBezTo>
                  <a:cubicBezTo>
                    <a:pt x="440808" y="232753"/>
                    <a:pt x="440471" y="227976"/>
                    <a:pt x="440471" y="227438"/>
                  </a:cubicBezTo>
                  <a:cubicBezTo>
                    <a:pt x="440471" y="226899"/>
                    <a:pt x="439159" y="224175"/>
                    <a:pt x="439159" y="223737"/>
                  </a:cubicBezTo>
                  <a:cubicBezTo>
                    <a:pt x="439159" y="223300"/>
                    <a:pt x="436971" y="221147"/>
                    <a:pt x="436668" y="219835"/>
                  </a:cubicBezTo>
                  <a:cubicBezTo>
                    <a:pt x="436365" y="218523"/>
                    <a:pt x="433202" y="215058"/>
                    <a:pt x="433202" y="215058"/>
                  </a:cubicBezTo>
                  <a:lnTo>
                    <a:pt x="427177" y="210382"/>
                  </a:lnTo>
                  <a:lnTo>
                    <a:pt x="424182" y="206480"/>
                  </a:lnTo>
                  <a:lnTo>
                    <a:pt x="424182" y="200829"/>
                  </a:lnTo>
                  <a:lnTo>
                    <a:pt x="424182" y="197364"/>
                  </a:lnTo>
                  <a:lnTo>
                    <a:pt x="421557" y="192251"/>
                  </a:lnTo>
                  <a:lnTo>
                    <a:pt x="419269" y="189324"/>
                  </a:lnTo>
                  <a:lnTo>
                    <a:pt x="415197" y="185422"/>
                  </a:lnTo>
                  <a:lnTo>
                    <a:pt x="413716" y="180107"/>
                  </a:lnTo>
                  <a:lnTo>
                    <a:pt x="413716" y="174792"/>
                  </a:lnTo>
                  <a:lnTo>
                    <a:pt x="411663" y="170015"/>
                  </a:lnTo>
                  <a:lnTo>
                    <a:pt x="409071" y="166314"/>
                  </a:lnTo>
                  <a:lnTo>
                    <a:pt x="406783" y="162278"/>
                  </a:lnTo>
                  <a:lnTo>
                    <a:pt x="401667" y="154002"/>
                  </a:lnTo>
                  <a:cubicBezTo>
                    <a:pt x="401667" y="154002"/>
                    <a:pt x="397763" y="147813"/>
                    <a:pt x="397763" y="147375"/>
                  </a:cubicBezTo>
                  <a:cubicBezTo>
                    <a:pt x="397763" y="146938"/>
                    <a:pt x="394499" y="139773"/>
                    <a:pt x="394499" y="139773"/>
                  </a:cubicBezTo>
                  <a:lnTo>
                    <a:pt x="391773" y="135736"/>
                  </a:lnTo>
                  <a:lnTo>
                    <a:pt x="389383" y="132910"/>
                  </a:lnTo>
                  <a:lnTo>
                    <a:pt x="389383" y="126081"/>
                  </a:lnTo>
                  <a:lnTo>
                    <a:pt x="388508" y="117167"/>
                  </a:lnTo>
                  <a:lnTo>
                    <a:pt x="386321" y="111078"/>
                  </a:lnTo>
                  <a:lnTo>
                    <a:pt x="385008" y="105662"/>
                  </a:lnTo>
                  <a:lnTo>
                    <a:pt x="375989" y="89145"/>
                  </a:lnTo>
                  <a:lnTo>
                    <a:pt x="372085" y="81206"/>
                  </a:lnTo>
                  <a:lnTo>
                    <a:pt x="361012" y="73604"/>
                  </a:lnTo>
                  <a:lnTo>
                    <a:pt x="343176" y="63713"/>
                  </a:lnTo>
                  <a:lnTo>
                    <a:pt x="333921" y="62301"/>
                  </a:lnTo>
                  <a:lnTo>
                    <a:pt x="324228" y="61426"/>
                  </a:lnTo>
                  <a:lnTo>
                    <a:pt x="318574" y="57288"/>
                  </a:lnTo>
                  <a:lnTo>
                    <a:pt x="312045" y="56414"/>
                  </a:lnTo>
                  <a:cubicBezTo>
                    <a:pt x="312045" y="56414"/>
                    <a:pt x="307165" y="56077"/>
                    <a:pt x="305954" y="55337"/>
                  </a:cubicBezTo>
                  <a:cubicBezTo>
                    <a:pt x="304776" y="54564"/>
                    <a:pt x="301074" y="51099"/>
                    <a:pt x="300636" y="50459"/>
                  </a:cubicBezTo>
                  <a:cubicBezTo>
                    <a:pt x="300199" y="49820"/>
                    <a:pt x="295622" y="44169"/>
                    <a:pt x="294343" y="43395"/>
                  </a:cubicBezTo>
                  <a:cubicBezTo>
                    <a:pt x="293030" y="42622"/>
                    <a:pt x="289766" y="39695"/>
                    <a:pt x="289766" y="39695"/>
                  </a:cubicBezTo>
                  <a:lnTo>
                    <a:pt x="281083" y="33068"/>
                  </a:lnTo>
                  <a:lnTo>
                    <a:pt x="271525" y="32294"/>
                  </a:lnTo>
                  <a:lnTo>
                    <a:pt x="264626" y="31756"/>
                  </a:lnTo>
                  <a:cubicBezTo>
                    <a:pt x="264626" y="31756"/>
                    <a:pt x="262405" y="26340"/>
                    <a:pt x="262405" y="26004"/>
                  </a:cubicBezTo>
                  <a:cubicBezTo>
                    <a:pt x="262405" y="25667"/>
                    <a:pt x="262405" y="20016"/>
                    <a:pt x="262405" y="20016"/>
                  </a:cubicBezTo>
                  <a:lnTo>
                    <a:pt x="262405" y="13052"/>
                  </a:lnTo>
                  <a:cubicBezTo>
                    <a:pt x="262405" y="13052"/>
                    <a:pt x="265130" y="8376"/>
                    <a:pt x="265568" y="8175"/>
                  </a:cubicBezTo>
                  <a:cubicBezTo>
                    <a:pt x="266006" y="7973"/>
                    <a:pt x="270246" y="4575"/>
                    <a:pt x="270246" y="4575"/>
                  </a:cubicBezTo>
                  <a:lnTo>
                    <a:pt x="271996" y="3263"/>
                  </a:lnTo>
                  <a:lnTo>
                    <a:pt x="273410" y="1615"/>
                  </a:lnTo>
                  <a:lnTo>
                    <a:pt x="271458" y="0"/>
                  </a:lnTo>
                  <a:lnTo>
                    <a:pt x="261563" y="0"/>
                  </a:lnTo>
                  <a:lnTo>
                    <a:pt x="252645" y="1413"/>
                  </a:lnTo>
                  <a:lnTo>
                    <a:pt x="247866" y="5113"/>
                  </a:lnTo>
                  <a:lnTo>
                    <a:pt x="241875" y="7939"/>
                  </a:lnTo>
                  <a:cubicBezTo>
                    <a:pt x="241875" y="7939"/>
                    <a:pt x="236221" y="9150"/>
                    <a:pt x="235784" y="9352"/>
                  </a:cubicBezTo>
                  <a:cubicBezTo>
                    <a:pt x="235346" y="9554"/>
                    <a:pt x="226865" y="10126"/>
                    <a:pt x="226865" y="10126"/>
                  </a:cubicBezTo>
                  <a:lnTo>
                    <a:pt x="224510" y="15575"/>
                  </a:lnTo>
                  <a:cubicBezTo>
                    <a:pt x="224510" y="15575"/>
                    <a:pt x="224139" y="18838"/>
                    <a:pt x="224139" y="19276"/>
                  </a:cubicBezTo>
                  <a:cubicBezTo>
                    <a:pt x="224139" y="19713"/>
                    <a:pt x="224139" y="25263"/>
                    <a:pt x="224139" y="25263"/>
                  </a:cubicBezTo>
                  <a:lnTo>
                    <a:pt x="223500" y="29065"/>
                  </a:lnTo>
                  <a:lnTo>
                    <a:pt x="222187" y="34279"/>
                  </a:lnTo>
                  <a:lnTo>
                    <a:pt x="218586" y="38854"/>
                  </a:lnTo>
                  <a:lnTo>
                    <a:pt x="217610" y="44842"/>
                  </a:lnTo>
                  <a:lnTo>
                    <a:pt x="219461" y="48441"/>
                  </a:lnTo>
                  <a:lnTo>
                    <a:pt x="215995" y="50729"/>
                  </a:lnTo>
                  <a:cubicBezTo>
                    <a:pt x="215995" y="50729"/>
                    <a:pt x="206000" y="51166"/>
                    <a:pt x="205226" y="51368"/>
                  </a:cubicBezTo>
                  <a:cubicBezTo>
                    <a:pt x="204452" y="51570"/>
                    <a:pt x="199672" y="52680"/>
                    <a:pt x="199672" y="52680"/>
                  </a:cubicBezTo>
                  <a:lnTo>
                    <a:pt x="196071" y="59845"/>
                  </a:lnTo>
                  <a:lnTo>
                    <a:pt x="194658" y="65160"/>
                  </a:lnTo>
                  <a:lnTo>
                    <a:pt x="196307" y="74075"/>
                  </a:lnTo>
                  <a:cubicBezTo>
                    <a:pt x="196307" y="74075"/>
                    <a:pt x="194893" y="78952"/>
                    <a:pt x="194658" y="79289"/>
                  </a:cubicBezTo>
                  <a:cubicBezTo>
                    <a:pt x="194456" y="79625"/>
                    <a:pt x="189980" y="85714"/>
                    <a:pt x="189980" y="85714"/>
                  </a:cubicBezTo>
                  <a:cubicBezTo>
                    <a:pt x="189980" y="85714"/>
                    <a:pt x="185100" y="88977"/>
                    <a:pt x="184427" y="89179"/>
                  </a:cubicBezTo>
                  <a:cubicBezTo>
                    <a:pt x="183788" y="89414"/>
                    <a:pt x="175609" y="92105"/>
                    <a:pt x="175609" y="92105"/>
                  </a:cubicBezTo>
                  <a:lnTo>
                    <a:pt x="169417" y="89919"/>
                  </a:lnTo>
                  <a:lnTo>
                    <a:pt x="162989" y="80903"/>
                  </a:lnTo>
                  <a:cubicBezTo>
                    <a:pt x="162989" y="80903"/>
                    <a:pt x="163629" y="75891"/>
                    <a:pt x="163629" y="75454"/>
                  </a:cubicBezTo>
                  <a:cubicBezTo>
                    <a:pt x="163629" y="75017"/>
                    <a:pt x="162652" y="70341"/>
                    <a:pt x="162989" y="69802"/>
                  </a:cubicBezTo>
                  <a:cubicBezTo>
                    <a:pt x="163325" y="69264"/>
                    <a:pt x="159186" y="64386"/>
                    <a:pt x="159186" y="64386"/>
                  </a:cubicBezTo>
                  <a:cubicBezTo>
                    <a:pt x="159186" y="64386"/>
                    <a:pt x="156023" y="62200"/>
                    <a:pt x="155383" y="61897"/>
                  </a:cubicBezTo>
                  <a:cubicBezTo>
                    <a:pt x="154744" y="61561"/>
                    <a:pt x="148652" y="59408"/>
                    <a:pt x="148652" y="59408"/>
                  </a:cubicBezTo>
                  <a:lnTo>
                    <a:pt x="143436" y="60282"/>
                  </a:lnTo>
                  <a:lnTo>
                    <a:pt x="136907" y="64723"/>
                  </a:lnTo>
                  <a:lnTo>
                    <a:pt x="136368" y="69399"/>
                  </a:lnTo>
                  <a:lnTo>
                    <a:pt x="134854" y="76362"/>
                  </a:lnTo>
                  <a:lnTo>
                    <a:pt x="130950" y="81677"/>
                  </a:lnTo>
                  <a:cubicBezTo>
                    <a:pt x="130950" y="81677"/>
                    <a:pt x="126272" y="82552"/>
                    <a:pt x="125834" y="82552"/>
                  </a:cubicBezTo>
                  <a:cubicBezTo>
                    <a:pt x="125397" y="82552"/>
                    <a:pt x="119844" y="83325"/>
                    <a:pt x="119406" y="83628"/>
                  </a:cubicBezTo>
                  <a:cubicBezTo>
                    <a:pt x="118969" y="83965"/>
                    <a:pt x="113315" y="85041"/>
                    <a:pt x="113315" y="85041"/>
                  </a:cubicBezTo>
                  <a:cubicBezTo>
                    <a:pt x="113315" y="85041"/>
                    <a:pt x="108099" y="84066"/>
                    <a:pt x="107762" y="83965"/>
                  </a:cubicBezTo>
                  <a:cubicBezTo>
                    <a:pt x="107425" y="83864"/>
                    <a:pt x="104598" y="80601"/>
                    <a:pt x="104598" y="80601"/>
                  </a:cubicBezTo>
                  <a:lnTo>
                    <a:pt x="93627" y="72897"/>
                  </a:lnTo>
                  <a:lnTo>
                    <a:pt x="86661" y="76598"/>
                  </a:lnTo>
                  <a:lnTo>
                    <a:pt x="86661" y="82686"/>
                  </a:lnTo>
                  <a:lnTo>
                    <a:pt x="84338" y="86454"/>
                  </a:lnTo>
                  <a:lnTo>
                    <a:pt x="78247" y="91365"/>
                  </a:lnTo>
                  <a:lnTo>
                    <a:pt x="73905" y="86454"/>
                  </a:lnTo>
                  <a:lnTo>
                    <a:pt x="70574" y="84436"/>
                  </a:lnTo>
                  <a:lnTo>
                    <a:pt x="64044" y="77203"/>
                  </a:lnTo>
                  <a:lnTo>
                    <a:pt x="64044" y="67077"/>
                  </a:lnTo>
                  <a:lnTo>
                    <a:pt x="64044" y="58399"/>
                  </a:lnTo>
                  <a:lnTo>
                    <a:pt x="59400" y="55203"/>
                  </a:lnTo>
                  <a:lnTo>
                    <a:pt x="56237" y="47970"/>
                  </a:lnTo>
                  <a:cubicBezTo>
                    <a:pt x="56237" y="47970"/>
                    <a:pt x="53612" y="45649"/>
                    <a:pt x="52467" y="45077"/>
                  </a:cubicBezTo>
                  <a:cubicBezTo>
                    <a:pt x="51323" y="44505"/>
                    <a:pt x="42910" y="42184"/>
                    <a:pt x="42910" y="42184"/>
                  </a:cubicBezTo>
                  <a:lnTo>
                    <a:pt x="29582" y="40166"/>
                  </a:lnTo>
                  <a:lnTo>
                    <a:pt x="17096" y="41310"/>
                  </a:lnTo>
                  <a:lnTo>
                    <a:pt x="11308" y="45952"/>
                  </a:lnTo>
                  <a:lnTo>
                    <a:pt x="6529" y="49417"/>
                  </a:lnTo>
                  <a:lnTo>
                    <a:pt x="1447" y="58399"/>
                  </a:lnTo>
                  <a:lnTo>
                    <a:pt x="1447" y="63613"/>
                  </a:lnTo>
                  <a:lnTo>
                    <a:pt x="0" y="69399"/>
                  </a:lnTo>
                  <a:lnTo>
                    <a:pt x="4341" y="73738"/>
                  </a:lnTo>
                  <a:lnTo>
                    <a:pt x="7808" y="77203"/>
                  </a:lnTo>
                  <a:lnTo>
                    <a:pt x="22582" y="86488"/>
                  </a:lnTo>
                  <a:lnTo>
                    <a:pt x="30423" y="90827"/>
                  </a:lnTo>
                  <a:lnTo>
                    <a:pt x="37390" y="91702"/>
                  </a:lnTo>
                  <a:lnTo>
                    <a:pt x="44054" y="96613"/>
                  </a:lnTo>
                  <a:lnTo>
                    <a:pt x="48967" y="100953"/>
                  </a:lnTo>
                  <a:lnTo>
                    <a:pt x="54487" y="100953"/>
                  </a:lnTo>
                  <a:lnTo>
                    <a:pt x="58559" y="109060"/>
                  </a:lnTo>
                  <a:lnTo>
                    <a:pt x="64044" y="119185"/>
                  </a:lnTo>
                  <a:lnTo>
                    <a:pt x="70439" y="119488"/>
                  </a:lnTo>
                  <a:lnTo>
                    <a:pt x="71886" y="123827"/>
                  </a:lnTo>
                  <a:lnTo>
                    <a:pt x="76800" y="129614"/>
                  </a:lnTo>
                  <a:lnTo>
                    <a:pt x="83194" y="132069"/>
                  </a:lnTo>
                  <a:lnTo>
                    <a:pt x="97093" y="132204"/>
                  </a:lnTo>
                  <a:lnTo>
                    <a:pt x="108401" y="132204"/>
                  </a:lnTo>
                  <a:lnTo>
                    <a:pt x="117387" y="133650"/>
                  </a:lnTo>
                  <a:lnTo>
                    <a:pt x="123748" y="140614"/>
                  </a:lnTo>
                  <a:lnTo>
                    <a:pt x="128089" y="144953"/>
                  </a:lnTo>
                  <a:lnTo>
                    <a:pt x="132565" y="150739"/>
                  </a:lnTo>
                  <a:lnTo>
                    <a:pt x="133575" y="154507"/>
                  </a:lnTo>
                  <a:lnTo>
                    <a:pt x="133575" y="164363"/>
                  </a:lnTo>
                  <a:lnTo>
                    <a:pt x="136469" y="168434"/>
                  </a:lnTo>
                  <a:cubicBezTo>
                    <a:pt x="136469" y="168434"/>
                    <a:pt x="144580" y="168737"/>
                    <a:pt x="145724" y="168434"/>
                  </a:cubicBezTo>
                  <a:cubicBezTo>
                    <a:pt x="146902" y="168131"/>
                    <a:pt x="152388" y="164969"/>
                    <a:pt x="152388" y="164969"/>
                  </a:cubicBezTo>
                  <a:lnTo>
                    <a:pt x="157032" y="160898"/>
                  </a:lnTo>
                  <a:lnTo>
                    <a:pt x="162249" y="163522"/>
                  </a:lnTo>
                  <a:lnTo>
                    <a:pt x="171806" y="165272"/>
                  </a:lnTo>
                  <a:lnTo>
                    <a:pt x="179042" y="166146"/>
                  </a:lnTo>
                  <a:lnTo>
                    <a:pt x="178167" y="173984"/>
                  </a:lnTo>
                  <a:lnTo>
                    <a:pt x="174095" y="179501"/>
                  </a:lnTo>
                  <a:lnTo>
                    <a:pt x="173523" y="184413"/>
                  </a:lnTo>
                  <a:lnTo>
                    <a:pt x="171504" y="190804"/>
                  </a:lnTo>
                  <a:lnTo>
                    <a:pt x="167432" y="197465"/>
                  </a:lnTo>
                  <a:lnTo>
                    <a:pt x="164840" y="202107"/>
                  </a:lnTo>
                  <a:lnTo>
                    <a:pt x="162821" y="209070"/>
                  </a:lnTo>
                  <a:lnTo>
                    <a:pt x="161071" y="222694"/>
                  </a:lnTo>
                  <a:lnTo>
                    <a:pt x="161340" y="224444"/>
                  </a:lnTo>
                  <a:lnTo>
                    <a:pt x="165681" y="229355"/>
                  </a:lnTo>
                  <a:lnTo>
                    <a:pt x="176114" y="228481"/>
                  </a:lnTo>
                  <a:lnTo>
                    <a:pt x="183081" y="226159"/>
                  </a:lnTo>
                  <a:lnTo>
                    <a:pt x="185403" y="235713"/>
                  </a:lnTo>
                  <a:lnTo>
                    <a:pt x="189475" y="244392"/>
                  </a:lnTo>
                  <a:lnTo>
                    <a:pt x="192672" y="252802"/>
                  </a:lnTo>
                  <a:lnTo>
                    <a:pt x="191797" y="260606"/>
                  </a:lnTo>
                  <a:cubicBezTo>
                    <a:pt x="191797" y="260606"/>
                    <a:pt x="193547" y="268713"/>
                    <a:pt x="194692" y="268713"/>
                  </a:cubicBezTo>
                  <a:cubicBezTo>
                    <a:pt x="195836" y="268713"/>
                    <a:pt x="205697" y="277123"/>
                    <a:pt x="205697" y="277123"/>
                  </a:cubicBezTo>
                  <a:lnTo>
                    <a:pt x="211485" y="277998"/>
                  </a:lnTo>
                  <a:lnTo>
                    <a:pt x="220168" y="275980"/>
                  </a:lnTo>
                  <a:lnTo>
                    <a:pt x="227404" y="276282"/>
                  </a:lnTo>
                  <a:lnTo>
                    <a:pt x="234067" y="275980"/>
                  </a:lnTo>
                  <a:lnTo>
                    <a:pt x="239284" y="273087"/>
                  </a:lnTo>
                  <a:lnTo>
                    <a:pt x="241034" y="266998"/>
                  </a:lnTo>
                  <a:lnTo>
                    <a:pt x="245106" y="261481"/>
                  </a:lnTo>
                  <a:lnTo>
                    <a:pt x="245409" y="250750"/>
                  </a:lnTo>
                  <a:cubicBezTo>
                    <a:pt x="245409" y="250750"/>
                    <a:pt x="245981" y="245839"/>
                    <a:pt x="248000" y="244661"/>
                  </a:cubicBezTo>
                  <a:cubicBezTo>
                    <a:pt x="250020" y="243517"/>
                    <a:pt x="256111" y="242340"/>
                    <a:pt x="256111" y="242340"/>
                  </a:cubicBezTo>
                  <a:lnTo>
                    <a:pt x="261631" y="248731"/>
                  </a:lnTo>
                  <a:lnTo>
                    <a:pt x="269438" y="255392"/>
                  </a:lnTo>
                  <a:lnTo>
                    <a:pt x="281319" y="261481"/>
                  </a:lnTo>
                  <a:lnTo>
                    <a:pt x="287982" y="266123"/>
                  </a:lnTo>
                  <a:lnTo>
                    <a:pt x="286232" y="277426"/>
                  </a:lnTo>
                  <a:lnTo>
                    <a:pt x="283607" y="281194"/>
                  </a:lnTo>
                  <a:lnTo>
                    <a:pt x="285054" y="289032"/>
                  </a:lnTo>
                  <a:lnTo>
                    <a:pt x="286501" y="294818"/>
                  </a:lnTo>
                  <a:lnTo>
                    <a:pt x="281588" y="300335"/>
                  </a:lnTo>
                  <a:lnTo>
                    <a:pt x="274352" y="304102"/>
                  </a:lnTo>
                  <a:lnTo>
                    <a:pt x="268563" y="299191"/>
                  </a:lnTo>
                  <a:lnTo>
                    <a:pt x="260722" y="298888"/>
                  </a:lnTo>
                  <a:lnTo>
                    <a:pt x="252039" y="297442"/>
                  </a:lnTo>
                  <a:cubicBezTo>
                    <a:pt x="252039" y="297442"/>
                    <a:pt x="248842" y="293371"/>
                    <a:pt x="247698" y="292530"/>
                  </a:cubicBezTo>
                  <a:cubicBezTo>
                    <a:pt x="246553" y="291689"/>
                    <a:pt x="239587" y="289335"/>
                    <a:pt x="239587" y="289335"/>
                  </a:cubicBezTo>
                  <a:lnTo>
                    <a:pt x="234101" y="293977"/>
                  </a:lnTo>
                  <a:lnTo>
                    <a:pt x="233529" y="301512"/>
                  </a:lnTo>
                  <a:lnTo>
                    <a:pt x="236423" y="311066"/>
                  </a:lnTo>
                  <a:lnTo>
                    <a:pt x="237568" y="317457"/>
                  </a:lnTo>
                  <a:cubicBezTo>
                    <a:pt x="237568" y="317457"/>
                    <a:pt x="238139" y="326439"/>
                    <a:pt x="236693" y="327314"/>
                  </a:cubicBezTo>
                  <a:cubicBezTo>
                    <a:pt x="235245" y="328188"/>
                    <a:pt x="233798" y="331384"/>
                    <a:pt x="233798" y="331384"/>
                  </a:cubicBezTo>
                  <a:lnTo>
                    <a:pt x="232351" y="336598"/>
                  </a:lnTo>
                  <a:lnTo>
                    <a:pt x="228010" y="338045"/>
                  </a:lnTo>
                  <a:lnTo>
                    <a:pt x="222490" y="338617"/>
                  </a:lnTo>
                  <a:lnTo>
                    <a:pt x="217846" y="345008"/>
                  </a:lnTo>
                  <a:lnTo>
                    <a:pt x="216096" y="353115"/>
                  </a:lnTo>
                  <a:lnTo>
                    <a:pt x="211183" y="361222"/>
                  </a:lnTo>
                  <a:lnTo>
                    <a:pt x="208860" y="367009"/>
                  </a:lnTo>
                  <a:lnTo>
                    <a:pt x="214649" y="370473"/>
                  </a:lnTo>
                  <a:lnTo>
                    <a:pt x="219865" y="373366"/>
                  </a:lnTo>
                  <a:lnTo>
                    <a:pt x="224510" y="379152"/>
                  </a:lnTo>
                  <a:lnTo>
                    <a:pt x="226832" y="389581"/>
                  </a:lnTo>
                  <a:cubicBezTo>
                    <a:pt x="226832" y="389581"/>
                    <a:pt x="228582" y="395636"/>
                    <a:pt x="229726" y="394795"/>
                  </a:cubicBezTo>
                  <a:cubicBezTo>
                    <a:pt x="230870" y="393954"/>
                    <a:pt x="238712" y="395030"/>
                    <a:pt x="238712" y="395030"/>
                  </a:cubicBezTo>
                  <a:lnTo>
                    <a:pt x="249145" y="396578"/>
                  </a:lnTo>
                  <a:lnTo>
                    <a:pt x="259578" y="396578"/>
                  </a:lnTo>
                  <a:lnTo>
                    <a:pt x="261328" y="401792"/>
                  </a:lnTo>
                  <a:lnTo>
                    <a:pt x="262472" y="408183"/>
                  </a:lnTo>
                  <a:lnTo>
                    <a:pt x="263650" y="413700"/>
                  </a:lnTo>
                  <a:lnTo>
                    <a:pt x="260452" y="421505"/>
                  </a:lnTo>
                  <a:lnTo>
                    <a:pt x="255236" y="425844"/>
                  </a:lnTo>
                  <a:lnTo>
                    <a:pt x="247698" y="433077"/>
                  </a:lnTo>
                  <a:lnTo>
                    <a:pt x="249717" y="438863"/>
                  </a:lnTo>
                  <a:lnTo>
                    <a:pt x="252914" y="442193"/>
                  </a:lnTo>
                  <a:lnTo>
                    <a:pt x="261328" y="446970"/>
                  </a:lnTo>
                  <a:lnTo>
                    <a:pt x="270011" y="446970"/>
                  </a:lnTo>
                  <a:lnTo>
                    <a:pt x="277112" y="444952"/>
                  </a:lnTo>
                  <a:lnTo>
                    <a:pt x="284785" y="441756"/>
                  </a:lnTo>
                  <a:lnTo>
                    <a:pt x="292020" y="440881"/>
                  </a:lnTo>
                  <a:lnTo>
                    <a:pt x="299862" y="438829"/>
                  </a:lnTo>
                  <a:lnTo>
                    <a:pt x="310867" y="436542"/>
                  </a:lnTo>
                  <a:lnTo>
                    <a:pt x="315209" y="436542"/>
                  </a:lnTo>
                  <a:lnTo>
                    <a:pt x="316084" y="444649"/>
                  </a:lnTo>
                  <a:lnTo>
                    <a:pt x="316656" y="449863"/>
                  </a:lnTo>
                  <a:lnTo>
                    <a:pt x="326786" y="448685"/>
                  </a:lnTo>
                  <a:lnTo>
                    <a:pt x="334055" y="446667"/>
                  </a:lnTo>
                  <a:cubicBezTo>
                    <a:pt x="334055" y="446667"/>
                    <a:pt x="337522" y="454505"/>
                    <a:pt x="337825" y="453631"/>
                  </a:cubicBezTo>
                  <a:cubicBezTo>
                    <a:pt x="338127" y="452756"/>
                    <a:pt x="342738" y="447273"/>
                    <a:pt x="342738" y="447273"/>
                  </a:cubicBezTo>
                  <a:lnTo>
                    <a:pt x="349704" y="444380"/>
                  </a:lnTo>
                  <a:lnTo>
                    <a:pt x="360440" y="443808"/>
                  </a:lnTo>
                  <a:lnTo>
                    <a:pt x="367676" y="448450"/>
                  </a:lnTo>
                  <a:lnTo>
                    <a:pt x="375787" y="455985"/>
                  </a:lnTo>
                  <a:lnTo>
                    <a:pt x="380128" y="460897"/>
                  </a:lnTo>
                  <a:lnTo>
                    <a:pt x="384200" y="463218"/>
                  </a:lnTo>
                  <a:lnTo>
                    <a:pt x="388542" y="466985"/>
                  </a:lnTo>
                  <a:lnTo>
                    <a:pt x="398975" y="469576"/>
                  </a:lnTo>
                  <a:lnTo>
                    <a:pt x="412605" y="469576"/>
                  </a:lnTo>
                  <a:lnTo>
                    <a:pt x="417249" y="468432"/>
                  </a:lnTo>
                  <a:lnTo>
                    <a:pt x="421019" y="472502"/>
                  </a:lnTo>
                  <a:lnTo>
                    <a:pt x="424216" y="479466"/>
                  </a:lnTo>
                  <a:lnTo>
                    <a:pt x="425091" y="483536"/>
                  </a:lnTo>
                  <a:lnTo>
                    <a:pt x="431754" y="483536"/>
                  </a:lnTo>
                  <a:lnTo>
                    <a:pt x="432629" y="476875"/>
                  </a:lnTo>
                  <a:lnTo>
                    <a:pt x="436096" y="473411"/>
                  </a:lnTo>
                  <a:lnTo>
                    <a:pt x="443937" y="472839"/>
                  </a:lnTo>
                  <a:lnTo>
                    <a:pt x="446260" y="466178"/>
                  </a:lnTo>
                  <a:lnTo>
                    <a:pt x="446832" y="461267"/>
                  </a:lnTo>
                  <a:lnTo>
                    <a:pt x="444510" y="454034"/>
                  </a:lnTo>
                  <a:lnTo>
                    <a:pt x="447976" y="449997"/>
                  </a:lnTo>
                  <a:lnTo>
                    <a:pt x="454942" y="444783"/>
                  </a:lnTo>
                  <a:lnTo>
                    <a:pt x="462481" y="444514"/>
                  </a:lnTo>
                  <a:lnTo>
                    <a:pt x="467832" y="442328"/>
                  </a:lnTo>
                  <a:lnTo>
                    <a:pt x="470289" y="438863"/>
                  </a:lnTo>
                  <a:lnTo>
                    <a:pt x="474226" y="434086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716" name="Freeform 952">
              <a:extLst>
                <a:ext uri="{FF2B5EF4-FFF2-40B4-BE49-F238E27FC236}">
                  <a16:creationId xmlns:a16="http://schemas.microsoft.com/office/drawing/2014/main" id="{E1F178DD-78E8-FF06-765E-8303DD49155D}"/>
                </a:ext>
              </a:extLst>
            </p:cNvPr>
            <p:cNvSpPr/>
            <p:nvPr/>
          </p:nvSpPr>
          <p:spPr>
            <a:xfrm>
              <a:off x="8482796" y="2430379"/>
              <a:ext cx="435665" cy="487340"/>
            </a:xfrm>
            <a:custGeom>
              <a:avLst/>
              <a:gdLst>
                <a:gd name="connsiteX0" fmla="*/ 401196 w 401801"/>
                <a:gd name="connsiteY0" fmla="*/ 126317 h 449459"/>
                <a:gd name="connsiteX1" fmla="*/ 400186 w 401801"/>
                <a:gd name="connsiteY1" fmla="*/ 124567 h 449459"/>
                <a:gd name="connsiteX2" fmla="*/ 397494 w 401801"/>
                <a:gd name="connsiteY2" fmla="*/ 123693 h 449459"/>
                <a:gd name="connsiteX3" fmla="*/ 393388 w 401801"/>
                <a:gd name="connsiteY3" fmla="*/ 123390 h 449459"/>
                <a:gd name="connsiteX4" fmla="*/ 384167 w 401801"/>
                <a:gd name="connsiteY4" fmla="*/ 124265 h 449459"/>
                <a:gd name="connsiteX5" fmla="*/ 379859 w 401801"/>
                <a:gd name="connsiteY5" fmla="*/ 123390 h 449459"/>
                <a:gd name="connsiteX6" fmla="*/ 375383 w 401801"/>
                <a:gd name="connsiteY6" fmla="*/ 122650 h 449459"/>
                <a:gd name="connsiteX7" fmla="*/ 371917 w 401801"/>
                <a:gd name="connsiteY7" fmla="*/ 121506 h 449459"/>
                <a:gd name="connsiteX8" fmla="*/ 365994 w 401801"/>
                <a:gd name="connsiteY8" fmla="*/ 120194 h 449459"/>
                <a:gd name="connsiteX9" fmla="*/ 361787 w 401801"/>
                <a:gd name="connsiteY9" fmla="*/ 119623 h 449459"/>
                <a:gd name="connsiteX10" fmla="*/ 357748 w 401801"/>
                <a:gd name="connsiteY10" fmla="*/ 116999 h 449459"/>
                <a:gd name="connsiteX11" fmla="*/ 354416 w 401801"/>
                <a:gd name="connsiteY11" fmla="*/ 115418 h 449459"/>
                <a:gd name="connsiteX12" fmla="*/ 349637 w 401801"/>
                <a:gd name="connsiteY12" fmla="*/ 112524 h 449459"/>
                <a:gd name="connsiteX13" fmla="*/ 345868 w 401801"/>
                <a:gd name="connsiteY13" fmla="*/ 110338 h 449459"/>
                <a:gd name="connsiteX14" fmla="*/ 344858 w 401801"/>
                <a:gd name="connsiteY14" fmla="*/ 108589 h 449459"/>
                <a:gd name="connsiteX15" fmla="*/ 341089 w 401801"/>
                <a:gd name="connsiteY15" fmla="*/ 105830 h 449459"/>
                <a:gd name="connsiteX16" fmla="*/ 337454 w 401801"/>
                <a:gd name="connsiteY16" fmla="*/ 103072 h 449459"/>
                <a:gd name="connsiteX17" fmla="*/ 334997 w 401801"/>
                <a:gd name="connsiteY17" fmla="*/ 101760 h 449459"/>
                <a:gd name="connsiteX18" fmla="*/ 333247 w 401801"/>
                <a:gd name="connsiteY18" fmla="*/ 100011 h 449459"/>
                <a:gd name="connsiteX19" fmla="*/ 331498 w 401801"/>
                <a:gd name="connsiteY19" fmla="*/ 96377 h 449459"/>
                <a:gd name="connsiteX20" fmla="*/ 330050 w 401801"/>
                <a:gd name="connsiteY20" fmla="*/ 94056 h 449459"/>
                <a:gd name="connsiteX21" fmla="*/ 328435 w 401801"/>
                <a:gd name="connsiteY21" fmla="*/ 92172 h 449459"/>
                <a:gd name="connsiteX22" fmla="*/ 324968 w 401801"/>
                <a:gd name="connsiteY22" fmla="*/ 87833 h 449459"/>
                <a:gd name="connsiteX23" fmla="*/ 322781 w 401801"/>
                <a:gd name="connsiteY23" fmla="*/ 88136 h 449459"/>
                <a:gd name="connsiteX24" fmla="*/ 318574 w 401801"/>
                <a:gd name="connsiteY24" fmla="*/ 88136 h 449459"/>
                <a:gd name="connsiteX25" fmla="*/ 310464 w 401801"/>
                <a:gd name="connsiteY25" fmla="*/ 88136 h 449459"/>
                <a:gd name="connsiteX26" fmla="*/ 304507 w 401801"/>
                <a:gd name="connsiteY26" fmla="*/ 88136 h 449459"/>
                <a:gd name="connsiteX27" fmla="*/ 300030 w 401801"/>
                <a:gd name="connsiteY27" fmla="*/ 88136 h 449459"/>
                <a:gd name="connsiteX28" fmla="*/ 294679 w 401801"/>
                <a:gd name="connsiteY28" fmla="*/ 89313 h 449459"/>
                <a:gd name="connsiteX29" fmla="*/ 291920 w 401801"/>
                <a:gd name="connsiteY29" fmla="*/ 93215 h 449459"/>
                <a:gd name="connsiteX30" fmla="*/ 288891 w 401801"/>
                <a:gd name="connsiteY30" fmla="*/ 96176 h 449459"/>
                <a:gd name="connsiteX31" fmla="*/ 286703 w 401801"/>
                <a:gd name="connsiteY31" fmla="*/ 99237 h 449459"/>
                <a:gd name="connsiteX32" fmla="*/ 284246 w 401801"/>
                <a:gd name="connsiteY32" fmla="*/ 101659 h 449459"/>
                <a:gd name="connsiteX33" fmla="*/ 281217 w 401801"/>
                <a:gd name="connsiteY33" fmla="*/ 104518 h 449459"/>
                <a:gd name="connsiteX34" fmla="*/ 279198 w 401801"/>
                <a:gd name="connsiteY34" fmla="*/ 105796 h 449459"/>
                <a:gd name="connsiteX35" fmla="*/ 274722 w 401801"/>
                <a:gd name="connsiteY35" fmla="*/ 106671 h 449459"/>
                <a:gd name="connsiteX36" fmla="*/ 270818 w 401801"/>
                <a:gd name="connsiteY36" fmla="*/ 108690 h 449459"/>
                <a:gd name="connsiteX37" fmla="*/ 265164 w 401801"/>
                <a:gd name="connsiteY37" fmla="*/ 108824 h 449459"/>
                <a:gd name="connsiteX38" fmla="*/ 261395 w 401801"/>
                <a:gd name="connsiteY38" fmla="*/ 110405 h 449459"/>
                <a:gd name="connsiteX39" fmla="*/ 257323 w 401801"/>
                <a:gd name="connsiteY39" fmla="*/ 112726 h 449459"/>
                <a:gd name="connsiteX40" fmla="*/ 253688 w 401801"/>
                <a:gd name="connsiteY40" fmla="*/ 111549 h 449459"/>
                <a:gd name="connsiteX41" fmla="*/ 251501 w 401801"/>
                <a:gd name="connsiteY41" fmla="*/ 109228 h 449459"/>
                <a:gd name="connsiteX42" fmla="*/ 248606 w 401801"/>
                <a:gd name="connsiteY42" fmla="*/ 103442 h 449459"/>
                <a:gd name="connsiteX43" fmla="*/ 248169 w 401801"/>
                <a:gd name="connsiteY43" fmla="*/ 97218 h 449459"/>
                <a:gd name="connsiteX44" fmla="*/ 247294 w 401801"/>
                <a:gd name="connsiteY44" fmla="*/ 95032 h 449459"/>
                <a:gd name="connsiteX45" fmla="*/ 243962 w 401801"/>
                <a:gd name="connsiteY45" fmla="*/ 92576 h 449459"/>
                <a:gd name="connsiteX46" fmla="*/ 240058 w 401801"/>
                <a:gd name="connsiteY46" fmla="*/ 90995 h 449459"/>
                <a:gd name="connsiteX47" fmla="*/ 235851 w 401801"/>
                <a:gd name="connsiteY47" fmla="*/ 91702 h 449459"/>
                <a:gd name="connsiteX48" fmla="*/ 230769 w 401801"/>
                <a:gd name="connsiteY48" fmla="*/ 94325 h 449459"/>
                <a:gd name="connsiteX49" fmla="*/ 227707 w 401801"/>
                <a:gd name="connsiteY49" fmla="*/ 97656 h 449459"/>
                <a:gd name="connsiteX50" fmla="*/ 223500 w 401801"/>
                <a:gd name="connsiteY50" fmla="*/ 99977 h 449459"/>
                <a:gd name="connsiteX51" fmla="*/ 220471 w 401801"/>
                <a:gd name="connsiteY51" fmla="*/ 97656 h 449459"/>
                <a:gd name="connsiteX52" fmla="*/ 223365 w 401801"/>
                <a:gd name="connsiteY52" fmla="*/ 93585 h 449459"/>
                <a:gd name="connsiteX53" fmla="*/ 226394 w 401801"/>
                <a:gd name="connsiteY53" fmla="*/ 91567 h 449459"/>
                <a:gd name="connsiteX54" fmla="*/ 231745 w 401801"/>
                <a:gd name="connsiteY54" fmla="*/ 88977 h 449459"/>
                <a:gd name="connsiteX55" fmla="*/ 235515 w 401801"/>
                <a:gd name="connsiteY55" fmla="*/ 87968 h 449459"/>
                <a:gd name="connsiteX56" fmla="*/ 238409 w 401801"/>
                <a:gd name="connsiteY56" fmla="*/ 86387 h 449459"/>
                <a:gd name="connsiteX57" fmla="*/ 241606 w 401801"/>
                <a:gd name="connsiteY57" fmla="*/ 85747 h 449459"/>
                <a:gd name="connsiteX58" fmla="*/ 245510 w 401801"/>
                <a:gd name="connsiteY58" fmla="*/ 84671 h 449459"/>
                <a:gd name="connsiteX59" fmla="*/ 251299 w 401801"/>
                <a:gd name="connsiteY59" fmla="*/ 84671 h 449459"/>
                <a:gd name="connsiteX60" fmla="*/ 253318 w 401801"/>
                <a:gd name="connsiteY60" fmla="*/ 84368 h 449459"/>
                <a:gd name="connsiteX61" fmla="*/ 257087 w 401801"/>
                <a:gd name="connsiteY61" fmla="*/ 85680 h 449459"/>
                <a:gd name="connsiteX62" fmla="*/ 260991 w 401801"/>
                <a:gd name="connsiteY62" fmla="*/ 86925 h 449459"/>
                <a:gd name="connsiteX63" fmla="*/ 268395 w 401801"/>
                <a:gd name="connsiteY63" fmla="*/ 86958 h 449459"/>
                <a:gd name="connsiteX64" fmla="*/ 272467 w 401801"/>
                <a:gd name="connsiteY64" fmla="*/ 86319 h 449459"/>
                <a:gd name="connsiteX65" fmla="*/ 276809 w 401801"/>
                <a:gd name="connsiteY65" fmla="*/ 84267 h 449459"/>
                <a:gd name="connsiteX66" fmla="*/ 278121 w 401801"/>
                <a:gd name="connsiteY66" fmla="*/ 81509 h 449459"/>
                <a:gd name="connsiteX67" fmla="*/ 278996 w 401801"/>
                <a:gd name="connsiteY67" fmla="*/ 79053 h 449459"/>
                <a:gd name="connsiteX68" fmla="*/ 280578 w 401801"/>
                <a:gd name="connsiteY68" fmla="*/ 73536 h 449459"/>
                <a:gd name="connsiteX69" fmla="*/ 281588 w 401801"/>
                <a:gd name="connsiteY69" fmla="*/ 71350 h 449459"/>
                <a:gd name="connsiteX70" fmla="*/ 283910 w 401801"/>
                <a:gd name="connsiteY70" fmla="*/ 67885 h 449459"/>
                <a:gd name="connsiteX71" fmla="*/ 286535 w 401801"/>
                <a:gd name="connsiteY71" fmla="*/ 63982 h 449459"/>
                <a:gd name="connsiteX72" fmla="*/ 290170 w 401801"/>
                <a:gd name="connsiteY72" fmla="*/ 60787 h 449459"/>
                <a:gd name="connsiteX73" fmla="*/ 293501 w 401801"/>
                <a:gd name="connsiteY73" fmla="*/ 55875 h 449459"/>
                <a:gd name="connsiteX74" fmla="*/ 300300 w 401801"/>
                <a:gd name="connsiteY74" fmla="*/ 50661 h 449459"/>
                <a:gd name="connsiteX75" fmla="*/ 304069 w 401801"/>
                <a:gd name="connsiteY75" fmla="*/ 47465 h 449459"/>
                <a:gd name="connsiteX76" fmla="*/ 310160 w 401801"/>
                <a:gd name="connsiteY76" fmla="*/ 40233 h 449459"/>
                <a:gd name="connsiteX77" fmla="*/ 311776 w 401801"/>
                <a:gd name="connsiteY77" fmla="*/ 37340 h 449459"/>
                <a:gd name="connsiteX78" fmla="*/ 314098 w 401801"/>
                <a:gd name="connsiteY78" fmla="*/ 36196 h 449459"/>
                <a:gd name="connsiteX79" fmla="*/ 308444 w 401801"/>
                <a:gd name="connsiteY79" fmla="*/ 33438 h 449459"/>
                <a:gd name="connsiteX80" fmla="*/ 304372 w 401801"/>
                <a:gd name="connsiteY80" fmla="*/ 31688 h 449459"/>
                <a:gd name="connsiteX81" fmla="*/ 304372 w 401801"/>
                <a:gd name="connsiteY81" fmla="*/ 28930 h 449459"/>
                <a:gd name="connsiteX82" fmla="*/ 302184 w 401801"/>
                <a:gd name="connsiteY82" fmla="*/ 24523 h 449459"/>
                <a:gd name="connsiteX83" fmla="*/ 300737 w 401801"/>
                <a:gd name="connsiteY83" fmla="*/ 26205 h 449459"/>
                <a:gd name="connsiteX84" fmla="*/ 295151 w 401801"/>
                <a:gd name="connsiteY84" fmla="*/ 26945 h 449459"/>
                <a:gd name="connsiteX85" fmla="*/ 292795 w 401801"/>
                <a:gd name="connsiteY85" fmla="*/ 25196 h 449459"/>
                <a:gd name="connsiteX86" fmla="*/ 287847 w 401801"/>
                <a:gd name="connsiteY86" fmla="*/ 23884 h 449459"/>
                <a:gd name="connsiteX87" fmla="*/ 280881 w 401801"/>
                <a:gd name="connsiteY87" fmla="*/ 23884 h 449459"/>
                <a:gd name="connsiteX88" fmla="*/ 277987 w 401801"/>
                <a:gd name="connsiteY88" fmla="*/ 22572 h 449459"/>
                <a:gd name="connsiteX89" fmla="*/ 277280 w 401801"/>
                <a:gd name="connsiteY89" fmla="*/ 18502 h 449459"/>
                <a:gd name="connsiteX90" fmla="*/ 276573 w 401801"/>
                <a:gd name="connsiteY90" fmla="*/ 15104 h 449459"/>
                <a:gd name="connsiteX91" fmla="*/ 279030 w 401801"/>
                <a:gd name="connsiteY91" fmla="*/ 11942 h 449459"/>
                <a:gd name="connsiteX92" fmla="*/ 278458 w 401801"/>
                <a:gd name="connsiteY92" fmla="*/ 8275 h 449459"/>
                <a:gd name="connsiteX93" fmla="*/ 278761 w 401801"/>
                <a:gd name="connsiteY93" fmla="*/ 4642 h 449459"/>
                <a:gd name="connsiteX94" fmla="*/ 275698 w 401801"/>
                <a:gd name="connsiteY94" fmla="*/ 1009 h 449459"/>
                <a:gd name="connsiteX95" fmla="*/ 268294 w 401801"/>
                <a:gd name="connsiteY95" fmla="*/ 0 h 449459"/>
                <a:gd name="connsiteX96" fmla="*/ 262943 w 401801"/>
                <a:gd name="connsiteY96" fmla="*/ 2153 h 449459"/>
                <a:gd name="connsiteX97" fmla="*/ 255404 w 401801"/>
                <a:gd name="connsiteY97" fmla="*/ 2456 h 449459"/>
                <a:gd name="connsiteX98" fmla="*/ 248438 w 401801"/>
                <a:gd name="connsiteY98" fmla="*/ 7670 h 449459"/>
                <a:gd name="connsiteX99" fmla="*/ 244971 w 401801"/>
                <a:gd name="connsiteY99" fmla="*/ 11707 h 449459"/>
                <a:gd name="connsiteX100" fmla="*/ 247294 w 401801"/>
                <a:gd name="connsiteY100" fmla="*/ 18939 h 449459"/>
                <a:gd name="connsiteX101" fmla="*/ 246722 w 401801"/>
                <a:gd name="connsiteY101" fmla="*/ 23850 h 449459"/>
                <a:gd name="connsiteX102" fmla="*/ 244400 w 401801"/>
                <a:gd name="connsiteY102" fmla="*/ 30511 h 449459"/>
                <a:gd name="connsiteX103" fmla="*/ 236558 w 401801"/>
                <a:gd name="connsiteY103" fmla="*/ 31083 h 449459"/>
                <a:gd name="connsiteX104" fmla="*/ 233092 w 401801"/>
                <a:gd name="connsiteY104" fmla="*/ 35422 h 449459"/>
                <a:gd name="connsiteX105" fmla="*/ 232217 w 401801"/>
                <a:gd name="connsiteY105" fmla="*/ 42958 h 449459"/>
                <a:gd name="connsiteX106" fmla="*/ 225553 w 401801"/>
                <a:gd name="connsiteY106" fmla="*/ 42958 h 449459"/>
                <a:gd name="connsiteX107" fmla="*/ 224678 w 401801"/>
                <a:gd name="connsiteY107" fmla="*/ 38046 h 449459"/>
                <a:gd name="connsiteX108" fmla="*/ 221481 w 401801"/>
                <a:gd name="connsiteY108" fmla="*/ 30646 h 449459"/>
                <a:gd name="connsiteX109" fmla="*/ 217711 w 401801"/>
                <a:gd name="connsiteY109" fmla="*/ 27248 h 449459"/>
                <a:gd name="connsiteX110" fmla="*/ 213067 w 401801"/>
                <a:gd name="connsiteY110" fmla="*/ 29064 h 449459"/>
                <a:gd name="connsiteX111" fmla="*/ 199437 w 401801"/>
                <a:gd name="connsiteY111" fmla="*/ 29064 h 449459"/>
                <a:gd name="connsiteX112" fmla="*/ 189004 w 401801"/>
                <a:gd name="connsiteY112" fmla="*/ 25600 h 449459"/>
                <a:gd name="connsiteX113" fmla="*/ 184663 w 401801"/>
                <a:gd name="connsiteY113" fmla="*/ 21395 h 449459"/>
                <a:gd name="connsiteX114" fmla="*/ 180590 w 401801"/>
                <a:gd name="connsiteY114" fmla="*/ 18872 h 449459"/>
                <a:gd name="connsiteX115" fmla="*/ 176249 w 401801"/>
                <a:gd name="connsiteY115" fmla="*/ 13826 h 449459"/>
                <a:gd name="connsiteX116" fmla="*/ 168138 w 401801"/>
                <a:gd name="connsiteY116" fmla="*/ 6257 h 449459"/>
                <a:gd name="connsiteX117" fmla="*/ 160902 w 401801"/>
                <a:gd name="connsiteY117" fmla="*/ 1581 h 449459"/>
                <a:gd name="connsiteX118" fmla="*/ 150167 w 401801"/>
                <a:gd name="connsiteY118" fmla="*/ 2153 h 449459"/>
                <a:gd name="connsiteX119" fmla="*/ 143200 w 401801"/>
                <a:gd name="connsiteY119" fmla="*/ 5046 h 449459"/>
                <a:gd name="connsiteX120" fmla="*/ 138287 w 401801"/>
                <a:gd name="connsiteY120" fmla="*/ 11404 h 449459"/>
                <a:gd name="connsiteX121" fmla="*/ 136638 w 401801"/>
                <a:gd name="connsiteY121" fmla="*/ 10563 h 449459"/>
                <a:gd name="connsiteX122" fmla="*/ 135661 w 401801"/>
                <a:gd name="connsiteY122" fmla="*/ 10832 h 449459"/>
                <a:gd name="connsiteX123" fmla="*/ 135661 w 401801"/>
                <a:gd name="connsiteY123" fmla="*/ 19511 h 449459"/>
                <a:gd name="connsiteX124" fmla="*/ 134349 w 401801"/>
                <a:gd name="connsiteY124" fmla="*/ 36163 h 449459"/>
                <a:gd name="connsiteX125" fmla="*/ 130882 w 401801"/>
                <a:gd name="connsiteY125" fmla="*/ 43832 h 449459"/>
                <a:gd name="connsiteX126" fmla="*/ 125229 w 401801"/>
                <a:gd name="connsiteY126" fmla="*/ 53823 h 449459"/>
                <a:gd name="connsiteX127" fmla="*/ 125229 w 401801"/>
                <a:gd name="connsiteY127" fmla="*/ 64689 h 449459"/>
                <a:gd name="connsiteX128" fmla="*/ 119574 w 401801"/>
                <a:gd name="connsiteY128" fmla="*/ 69028 h 449459"/>
                <a:gd name="connsiteX129" fmla="*/ 112171 w 401801"/>
                <a:gd name="connsiteY129" fmla="*/ 69028 h 449459"/>
                <a:gd name="connsiteX130" fmla="*/ 105641 w 401801"/>
                <a:gd name="connsiteY130" fmla="*/ 76833 h 449459"/>
                <a:gd name="connsiteX131" fmla="*/ 112372 w 401801"/>
                <a:gd name="connsiteY131" fmla="*/ 83796 h 449459"/>
                <a:gd name="connsiteX132" fmla="*/ 116512 w 401801"/>
                <a:gd name="connsiteY132" fmla="*/ 89010 h 449459"/>
                <a:gd name="connsiteX133" fmla="*/ 116512 w 401801"/>
                <a:gd name="connsiteY133" fmla="*/ 97689 h 449459"/>
                <a:gd name="connsiteX134" fmla="*/ 113483 w 401801"/>
                <a:gd name="connsiteY134" fmla="*/ 105292 h 449459"/>
                <a:gd name="connsiteX135" fmla="*/ 103488 w 401801"/>
                <a:gd name="connsiteY135" fmla="*/ 108992 h 449459"/>
                <a:gd name="connsiteX136" fmla="*/ 91305 w 401801"/>
                <a:gd name="connsiteY136" fmla="*/ 108992 h 449459"/>
                <a:gd name="connsiteX137" fmla="*/ 80872 w 401801"/>
                <a:gd name="connsiteY137" fmla="*/ 108992 h 449459"/>
                <a:gd name="connsiteX138" fmla="*/ 77102 w 401801"/>
                <a:gd name="connsiteY138" fmla="*/ 103778 h 449459"/>
                <a:gd name="connsiteX139" fmla="*/ 73030 w 401801"/>
                <a:gd name="connsiteY139" fmla="*/ 103778 h 449459"/>
                <a:gd name="connsiteX140" fmla="*/ 73030 w 401801"/>
                <a:gd name="connsiteY140" fmla="*/ 120295 h 449459"/>
                <a:gd name="connsiteX141" fmla="*/ 73030 w 401801"/>
                <a:gd name="connsiteY141" fmla="*/ 128974 h 449459"/>
                <a:gd name="connsiteX142" fmla="*/ 76665 w 401801"/>
                <a:gd name="connsiteY142" fmla="*/ 134188 h 449459"/>
                <a:gd name="connsiteX143" fmla="*/ 79559 w 401801"/>
                <a:gd name="connsiteY143" fmla="*/ 144179 h 449459"/>
                <a:gd name="connsiteX144" fmla="*/ 73468 w 401801"/>
                <a:gd name="connsiteY144" fmla="*/ 159385 h 449459"/>
                <a:gd name="connsiteX145" fmla="*/ 67814 w 401801"/>
                <a:gd name="connsiteY145" fmla="*/ 162446 h 449459"/>
                <a:gd name="connsiteX146" fmla="*/ 67814 w 401801"/>
                <a:gd name="connsiteY146" fmla="*/ 170687 h 449459"/>
                <a:gd name="connsiteX147" fmla="*/ 64785 w 401801"/>
                <a:gd name="connsiteY147" fmla="*/ 176574 h 449459"/>
                <a:gd name="connsiteX148" fmla="*/ 55227 w 401801"/>
                <a:gd name="connsiteY148" fmla="*/ 181789 h 449459"/>
                <a:gd name="connsiteX149" fmla="*/ 50448 w 401801"/>
                <a:gd name="connsiteY149" fmla="*/ 184816 h 449459"/>
                <a:gd name="connsiteX150" fmla="*/ 46847 w 401801"/>
                <a:gd name="connsiteY150" fmla="*/ 189828 h 449459"/>
                <a:gd name="connsiteX151" fmla="*/ 41025 w 401801"/>
                <a:gd name="connsiteY151" fmla="*/ 194403 h 449459"/>
                <a:gd name="connsiteX152" fmla="*/ 36279 w 401801"/>
                <a:gd name="connsiteY152" fmla="*/ 201804 h 449459"/>
                <a:gd name="connsiteX153" fmla="*/ 30222 w 401801"/>
                <a:gd name="connsiteY153" fmla="*/ 205504 h 449459"/>
                <a:gd name="connsiteX154" fmla="*/ 23255 w 401801"/>
                <a:gd name="connsiteY154" fmla="*/ 211358 h 449459"/>
                <a:gd name="connsiteX155" fmla="*/ 19116 w 401801"/>
                <a:gd name="connsiteY155" fmla="*/ 215697 h 449459"/>
                <a:gd name="connsiteX156" fmla="*/ 17601 w 401801"/>
                <a:gd name="connsiteY156" fmla="*/ 222425 h 449459"/>
                <a:gd name="connsiteX157" fmla="*/ 15414 w 401801"/>
                <a:gd name="connsiteY157" fmla="*/ 226126 h 449459"/>
                <a:gd name="connsiteX158" fmla="*/ 7808 w 401801"/>
                <a:gd name="connsiteY158" fmla="*/ 227639 h 449459"/>
                <a:gd name="connsiteX159" fmla="*/ 3466 w 401801"/>
                <a:gd name="connsiteY159" fmla="*/ 231979 h 449459"/>
                <a:gd name="connsiteX160" fmla="*/ 3466 w 401801"/>
                <a:gd name="connsiteY160" fmla="*/ 240254 h 449459"/>
                <a:gd name="connsiteX161" fmla="*/ 0 w 401801"/>
                <a:gd name="connsiteY161" fmla="*/ 242643 h 449459"/>
                <a:gd name="connsiteX162" fmla="*/ 3466 w 401801"/>
                <a:gd name="connsiteY162" fmla="*/ 254383 h 449459"/>
                <a:gd name="connsiteX163" fmla="*/ 9322 w 401801"/>
                <a:gd name="connsiteY163" fmla="*/ 260472 h 449459"/>
                <a:gd name="connsiteX164" fmla="*/ 20731 w 401801"/>
                <a:gd name="connsiteY164" fmla="*/ 267839 h 449459"/>
                <a:gd name="connsiteX165" fmla="*/ 29279 w 401801"/>
                <a:gd name="connsiteY165" fmla="*/ 276518 h 449459"/>
                <a:gd name="connsiteX166" fmla="*/ 37996 w 401801"/>
                <a:gd name="connsiteY166" fmla="*/ 287383 h 449459"/>
                <a:gd name="connsiteX167" fmla="*/ 45838 w 401801"/>
                <a:gd name="connsiteY167" fmla="*/ 297610 h 449459"/>
                <a:gd name="connsiteX168" fmla="*/ 45198 w 401801"/>
                <a:gd name="connsiteY168" fmla="*/ 308913 h 449459"/>
                <a:gd name="connsiteX169" fmla="*/ 47823 w 401801"/>
                <a:gd name="connsiteY169" fmla="*/ 319778 h 449459"/>
                <a:gd name="connsiteX170" fmla="*/ 54116 w 401801"/>
                <a:gd name="connsiteY170" fmla="*/ 325867 h 449459"/>
                <a:gd name="connsiteX171" fmla="*/ 51087 w 401801"/>
                <a:gd name="connsiteY171" fmla="*/ 337170 h 449459"/>
                <a:gd name="connsiteX172" fmla="*/ 47823 w 401801"/>
                <a:gd name="connsiteY172" fmla="*/ 344133 h 449459"/>
                <a:gd name="connsiteX173" fmla="*/ 54352 w 401801"/>
                <a:gd name="connsiteY173" fmla="*/ 346320 h 449459"/>
                <a:gd name="connsiteX174" fmla="*/ 62395 w 401801"/>
                <a:gd name="connsiteY174" fmla="*/ 343494 h 449459"/>
                <a:gd name="connsiteX175" fmla="*/ 72828 w 401801"/>
                <a:gd name="connsiteY175" fmla="*/ 339357 h 449459"/>
                <a:gd name="connsiteX176" fmla="*/ 79997 w 401801"/>
                <a:gd name="connsiteY176" fmla="*/ 338482 h 449459"/>
                <a:gd name="connsiteX177" fmla="*/ 86963 w 401801"/>
                <a:gd name="connsiteY177" fmla="*/ 346320 h 449459"/>
                <a:gd name="connsiteX178" fmla="*/ 85886 w 401801"/>
                <a:gd name="connsiteY178" fmla="*/ 355874 h 449459"/>
                <a:gd name="connsiteX179" fmla="*/ 82184 w 401801"/>
                <a:gd name="connsiteY179" fmla="*/ 363039 h 449459"/>
                <a:gd name="connsiteX180" fmla="*/ 81107 w 401801"/>
                <a:gd name="connsiteY180" fmla="*/ 372391 h 449459"/>
                <a:gd name="connsiteX181" fmla="*/ 90026 w 401801"/>
                <a:gd name="connsiteY181" fmla="*/ 385645 h 449459"/>
                <a:gd name="connsiteX182" fmla="*/ 94603 w 401801"/>
                <a:gd name="connsiteY182" fmla="*/ 395434 h 449459"/>
                <a:gd name="connsiteX183" fmla="*/ 97665 w 401801"/>
                <a:gd name="connsiteY183" fmla="*/ 404113 h 449459"/>
                <a:gd name="connsiteX184" fmla="*/ 100694 w 401801"/>
                <a:gd name="connsiteY184" fmla="*/ 413465 h 449459"/>
                <a:gd name="connsiteX185" fmla="*/ 100896 w 401801"/>
                <a:gd name="connsiteY185" fmla="*/ 423254 h 449459"/>
                <a:gd name="connsiteX186" fmla="*/ 102209 w 401801"/>
                <a:gd name="connsiteY186" fmla="*/ 429343 h 449459"/>
                <a:gd name="connsiteX187" fmla="*/ 109377 w 401801"/>
                <a:gd name="connsiteY187" fmla="*/ 431933 h 449459"/>
                <a:gd name="connsiteX188" fmla="*/ 116344 w 401801"/>
                <a:gd name="connsiteY188" fmla="*/ 429343 h 449459"/>
                <a:gd name="connsiteX189" fmla="*/ 120921 w 401801"/>
                <a:gd name="connsiteY189" fmla="*/ 427392 h 449459"/>
                <a:gd name="connsiteX190" fmla="*/ 130916 w 401801"/>
                <a:gd name="connsiteY190" fmla="*/ 426954 h 449459"/>
                <a:gd name="connsiteX191" fmla="*/ 132868 w 401801"/>
                <a:gd name="connsiteY191" fmla="*/ 431966 h 449459"/>
                <a:gd name="connsiteX192" fmla="*/ 133507 w 401801"/>
                <a:gd name="connsiteY192" fmla="*/ 436743 h 449459"/>
                <a:gd name="connsiteX193" fmla="*/ 140474 w 401801"/>
                <a:gd name="connsiteY193" fmla="*/ 436743 h 449459"/>
                <a:gd name="connsiteX194" fmla="*/ 145253 w 401801"/>
                <a:gd name="connsiteY194" fmla="*/ 433716 h 449459"/>
                <a:gd name="connsiteX195" fmla="*/ 151345 w 401801"/>
                <a:gd name="connsiteY195" fmla="*/ 425878 h 449459"/>
                <a:gd name="connsiteX196" fmla="*/ 151345 w 401801"/>
                <a:gd name="connsiteY196" fmla="*/ 422850 h 449459"/>
                <a:gd name="connsiteX197" fmla="*/ 155922 w 401801"/>
                <a:gd name="connsiteY197" fmla="*/ 419587 h 449459"/>
                <a:gd name="connsiteX198" fmla="*/ 160499 w 401801"/>
                <a:gd name="connsiteY198" fmla="*/ 418511 h 449459"/>
                <a:gd name="connsiteX199" fmla="*/ 164638 w 401801"/>
                <a:gd name="connsiteY199" fmla="*/ 411985 h 449459"/>
                <a:gd name="connsiteX200" fmla="*/ 166489 w 401801"/>
                <a:gd name="connsiteY200" fmla="*/ 406569 h 449459"/>
                <a:gd name="connsiteX201" fmla="*/ 169148 w 401801"/>
                <a:gd name="connsiteY201" fmla="*/ 403945 h 449459"/>
                <a:gd name="connsiteX202" fmla="*/ 175273 w 401801"/>
                <a:gd name="connsiteY202" fmla="*/ 402868 h 449459"/>
                <a:gd name="connsiteX203" fmla="*/ 179412 w 401801"/>
                <a:gd name="connsiteY203" fmla="*/ 409832 h 449459"/>
                <a:gd name="connsiteX204" fmla="*/ 181364 w 401801"/>
                <a:gd name="connsiteY204" fmla="*/ 418746 h 449459"/>
                <a:gd name="connsiteX205" fmla="*/ 185706 w 401801"/>
                <a:gd name="connsiteY205" fmla="*/ 426349 h 449459"/>
                <a:gd name="connsiteX206" fmla="*/ 189172 w 401801"/>
                <a:gd name="connsiteY206" fmla="*/ 433312 h 449459"/>
                <a:gd name="connsiteX207" fmla="*/ 191764 w 401801"/>
                <a:gd name="connsiteY207" fmla="*/ 438762 h 449459"/>
                <a:gd name="connsiteX208" fmla="*/ 198091 w 401801"/>
                <a:gd name="connsiteY208" fmla="*/ 440511 h 449459"/>
                <a:gd name="connsiteX209" fmla="*/ 205259 w 401801"/>
                <a:gd name="connsiteY209" fmla="*/ 439435 h 449459"/>
                <a:gd name="connsiteX210" fmla="*/ 211990 w 401801"/>
                <a:gd name="connsiteY210" fmla="*/ 437685 h 449459"/>
                <a:gd name="connsiteX211" fmla="*/ 215692 w 401801"/>
                <a:gd name="connsiteY211" fmla="*/ 432269 h 449459"/>
                <a:gd name="connsiteX212" fmla="*/ 220908 w 401801"/>
                <a:gd name="connsiteY212" fmla="*/ 425541 h 449459"/>
                <a:gd name="connsiteX213" fmla="*/ 227202 w 401801"/>
                <a:gd name="connsiteY213" fmla="*/ 422278 h 449459"/>
                <a:gd name="connsiteX214" fmla="*/ 238072 w 401801"/>
                <a:gd name="connsiteY214" fmla="*/ 420764 h 449459"/>
                <a:gd name="connsiteX215" fmla="*/ 248068 w 401801"/>
                <a:gd name="connsiteY215" fmla="*/ 422514 h 449459"/>
                <a:gd name="connsiteX216" fmla="*/ 251097 w 401801"/>
                <a:gd name="connsiteY216" fmla="*/ 426853 h 449459"/>
                <a:gd name="connsiteX217" fmla="*/ 251299 w 401801"/>
                <a:gd name="connsiteY217" fmla="*/ 432269 h 449459"/>
                <a:gd name="connsiteX218" fmla="*/ 253890 w 401801"/>
                <a:gd name="connsiteY218" fmla="*/ 438795 h 449459"/>
                <a:gd name="connsiteX219" fmla="*/ 253890 w 401801"/>
                <a:gd name="connsiteY219" fmla="*/ 443808 h 449459"/>
                <a:gd name="connsiteX220" fmla="*/ 258904 w 401801"/>
                <a:gd name="connsiteY220" fmla="*/ 447710 h 449459"/>
                <a:gd name="connsiteX221" fmla="*/ 261092 w 401801"/>
                <a:gd name="connsiteY221" fmla="*/ 449459 h 449459"/>
                <a:gd name="connsiteX222" fmla="*/ 264895 w 401801"/>
                <a:gd name="connsiteY222" fmla="*/ 447508 h 449459"/>
                <a:gd name="connsiteX223" fmla="*/ 269573 w 401801"/>
                <a:gd name="connsiteY223" fmla="*/ 445759 h 449459"/>
                <a:gd name="connsiteX224" fmla="*/ 269573 w 401801"/>
                <a:gd name="connsiteY224" fmla="*/ 440343 h 449459"/>
                <a:gd name="connsiteX225" fmla="*/ 269371 w 401801"/>
                <a:gd name="connsiteY225" fmla="*/ 432303 h 449459"/>
                <a:gd name="connsiteX226" fmla="*/ 267621 w 401801"/>
                <a:gd name="connsiteY226" fmla="*/ 426012 h 449459"/>
                <a:gd name="connsiteX227" fmla="*/ 268496 w 401801"/>
                <a:gd name="connsiteY227" fmla="*/ 421437 h 449459"/>
                <a:gd name="connsiteX228" fmla="*/ 271222 w 401801"/>
                <a:gd name="connsiteY228" fmla="*/ 423826 h 449459"/>
                <a:gd name="connsiteX229" fmla="*/ 274319 w 401801"/>
                <a:gd name="connsiteY229" fmla="*/ 425340 h 449459"/>
                <a:gd name="connsiteX230" fmla="*/ 274453 w 401801"/>
                <a:gd name="connsiteY230" fmla="*/ 423388 h 449459"/>
                <a:gd name="connsiteX231" fmla="*/ 274789 w 401801"/>
                <a:gd name="connsiteY231" fmla="*/ 421000 h 449459"/>
                <a:gd name="connsiteX232" fmla="*/ 274789 w 401801"/>
                <a:gd name="connsiteY232" fmla="*/ 419486 h 449459"/>
                <a:gd name="connsiteX233" fmla="*/ 276539 w 401801"/>
                <a:gd name="connsiteY233" fmla="*/ 416425 h 449459"/>
                <a:gd name="connsiteX234" fmla="*/ 276539 w 401801"/>
                <a:gd name="connsiteY234" fmla="*/ 414272 h 449459"/>
                <a:gd name="connsiteX235" fmla="*/ 275664 w 401801"/>
                <a:gd name="connsiteY235" fmla="*/ 407981 h 449459"/>
                <a:gd name="connsiteX236" fmla="*/ 273713 w 401801"/>
                <a:gd name="connsiteY236" fmla="*/ 403844 h 449459"/>
                <a:gd name="connsiteX237" fmla="*/ 271525 w 401801"/>
                <a:gd name="connsiteY237" fmla="*/ 400782 h 449459"/>
                <a:gd name="connsiteX238" fmla="*/ 272703 w 401801"/>
                <a:gd name="connsiteY238" fmla="*/ 397721 h 449459"/>
                <a:gd name="connsiteX239" fmla="*/ 275160 w 401801"/>
                <a:gd name="connsiteY239" fmla="*/ 396006 h 449459"/>
                <a:gd name="connsiteX240" fmla="*/ 276506 w 401801"/>
                <a:gd name="connsiteY240" fmla="*/ 392743 h 449459"/>
                <a:gd name="connsiteX241" fmla="*/ 276506 w 401801"/>
                <a:gd name="connsiteY241" fmla="*/ 389917 h 449459"/>
                <a:gd name="connsiteX242" fmla="*/ 276506 w 401801"/>
                <a:gd name="connsiteY242" fmla="*/ 382953 h 449459"/>
                <a:gd name="connsiteX243" fmla="*/ 275631 w 401801"/>
                <a:gd name="connsiteY243" fmla="*/ 380902 h 449459"/>
                <a:gd name="connsiteX244" fmla="*/ 281049 w 401801"/>
                <a:gd name="connsiteY244" fmla="*/ 380363 h 449459"/>
                <a:gd name="connsiteX245" fmla="*/ 284314 w 401801"/>
                <a:gd name="connsiteY245" fmla="*/ 380363 h 449459"/>
                <a:gd name="connsiteX246" fmla="*/ 286939 w 401801"/>
                <a:gd name="connsiteY246" fmla="*/ 377739 h 449459"/>
                <a:gd name="connsiteX247" fmla="*/ 286939 w 401801"/>
                <a:gd name="connsiteY247" fmla="*/ 374174 h 449459"/>
                <a:gd name="connsiteX248" fmla="*/ 290203 w 401801"/>
                <a:gd name="connsiteY248" fmla="*/ 369397 h 449459"/>
                <a:gd name="connsiteX249" fmla="*/ 293468 w 401801"/>
                <a:gd name="connsiteY249" fmla="*/ 363745 h 449459"/>
                <a:gd name="connsiteX250" fmla="*/ 292155 w 401801"/>
                <a:gd name="connsiteY250" fmla="*/ 358094 h 449459"/>
                <a:gd name="connsiteX251" fmla="*/ 291179 w 401801"/>
                <a:gd name="connsiteY251" fmla="*/ 355470 h 449459"/>
                <a:gd name="connsiteX252" fmla="*/ 287545 w 401801"/>
                <a:gd name="connsiteY252" fmla="*/ 354595 h 449459"/>
                <a:gd name="connsiteX253" fmla="*/ 281285 w 401801"/>
                <a:gd name="connsiteY253" fmla="*/ 352644 h 449459"/>
                <a:gd name="connsiteX254" fmla="*/ 280006 w 401801"/>
                <a:gd name="connsiteY254" fmla="*/ 350256 h 449459"/>
                <a:gd name="connsiteX255" fmla="*/ 280006 w 401801"/>
                <a:gd name="connsiteY255" fmla="*/ 348069 h 449459"/>
                <a:gd name="connsiteX256" fmla="*/ 283270 w 401801"/>
                <a:gd name="connsiteY256" fmla="*/ 346993 h 449459"/>
                <a:gd name="connsiteX257" fmla="*/ 286535 w 401801"/>
                <a:gd name="connsiteY257" fmla="*/ 346555 h 449459"/>
                <a:gd name="connsiteX258" fmla="*/ 289564 w 401801"/>
                <a:gd name="connsiteY258" fmla="*/ 348069 h 449459"/>
                <a:gd name="connsiteX259" fmla="*/ 291852 w 401801"/>
                <a:gd name="connsiteY259" fmla="*/ 348507 h 449459"/>
                <a:gd name="connsiteX260" fmla="*/ 296261 w 401801"/>
                <a:gd name="connsiteY260" fmla="*/ 350996 h 449459"/>
                <a:gd name="connsiteX261" fmla="*/ 301545 w 401801"/>
                <a:gd name="connsiteY261" fmla="*/ 352409 h 449459"/>
                <a:gd name="connsiteX262" fmla="*/ 305247 w 401801"/>
                <a:gd name="connsiteY262" fmla="*/ 352409 h 449459"/>
                <a:gd name="connsiteX263" fmla="*/ 306122 w 401801"/>
                <a:gd name="connsiteY263" fmla="*/ 346757 h 449459"/>
                <a:gd name="connsiteX264" fmla="*/ 306122 w 401801"/>
                <a:gd name="connsiteY264" fmla="*/ 342855 h 449459"/>
                <a:gd name="connsiteX265" fmla="*/ 306122 w 401801"/>
                <a:gd name="connsiteY265" fmla="*/ 335892 h 449459"/>
                <a:gd name="connsiteX266" fmla="*/ 308511 w 401801"/>
                <a:gd name="connsiteY266" fmla="*/ 332427 h 449459"/>
                <a:gd name="connsiteX267" fmla="*/ 310901 w 401801"/>
                <a:gd name="connsiteY267" fmla="*/ 330274 h 449459"/>
                <a:gd name="connsiteX268" fmla="*/ 313728 w 401801"/>
                <a:gd name="connsiteY268" fmla="*/ 329399 h 449459"/>
                <a:gd name="connsiteX269" fmla="*/ 316218 w 401801"/>
                <a:gd name="connsiteY269" fmla="*/ 325934 h 449459"/>
                <a:gd name="connsiteX270" fmla="*/ 318877 w 401801"/>
                <a:gd name="connsiteY270" fmla="*/ 324622 h 449459"/>
                <a:gd name="connsiteX271" fmla="*/ 320863 w 401801"/>
                <a:gd name="connsiteY271" fmla="*/ 320922 h 449459"/>
                <a:gd name="connsiteX272" fmla="*/ 317834 w 401801"/>
                <a:gd name="connsiteY272" fmla="*/ 317895 h 449459"/>
                <a:gd name="connsiteX273" fmla="*/ 312954 w 401801"/>
                <a:gd name="connsiteY273" fmla="*/ 315506 h 449459"/>
                <a:gd name="connsiteX274" fmla="*/ 309588 w 401801"/>
                <a:gd name="connsiteY274" fmla="*/ 315069 h 449459"/>
                <a:gd name="connsiteX275" fmla="*/ 309588 w 401801"/>
                <a:gd name="connsiteY275" fmla="*/ 313319 h 449459"/>
                <a:gd name="connsiteX276" fmla="*/ 311776 w 401801"/>
                <a:gd name="connsiteY276" fmla="*/ 310494 h 449459"/>
                <a:gd name="connsiteX277" fmla="*/ 314165 w 401801"/>
                <a:gd name="connsiteY277" fmla="*/ 309619 h 449459"/>
                <a:gd name="connsiteX278" fmla="*/ 318305 w 401801"/>
                <a:gd name="connsiteY278" fmla="*/ 307432 h 449459"/>
                <a:gd name="connsiteX279" fmla="*/ 320795 w 401801"/>
                <a:gd name="connsiteY279" fmla="*/ 306625 h 449459"/>
                <a:gd name="connsiteX280" fmla="*/ 323319 w 401801"/>
                <a:gd name="connsiteY280" fmla="*/ 307702 h 449459"/>
                <a:gd name="connsiteX281" fmla="*/ 324800 w 401801"/>
                <a:gd name="connsiteY281" fmla="*/ 309720 h 449459"/>
                <a:gd name="connsiteX282" fmla="*/ 325238 w 401801"/>
                <a:gd name="connsiteY282" fmla="*/ 313353 h 449459"/>
                <a:gd name="connsiteX283" fmla="*/ 325238 w 401801"/>
                <a:gd name="connsiteY283" fmla="*/ 316683 h 449459"/>
                <a:gd name="connsiteX284" fmla="*/ 325238 w 401801"/>
                <a:gd name="connsiteY284" fmla="*/ 320216 h 449459"/>
                <a:gd name="connsiteX285" fmla="*/ 325238 w 401801"/>
                <a:gd name="connsiteY285" fmla="*/ 323680 h 449459"/>
                <a:gd name="connsiteX286" fmla="*/ 323218 w 401801"/>
                <a:gd name="connsiteY286" fmla="*/ 326506 h 449459"/>
                <a:gd name="connsiteX287" fmla="*/ 321637 w 401801"/>
                <a:gd name="connsiteY287" fmla="*/ 328693 h 449459"/>
                <a:gd name="connsiteX288" fmla="*/ 320829 w 401801"/>
                <a:gd name="connsiteY288" fmla="*/ 331956 h 449459"/>
                <a:gd name="connsiteX289" fmla="*/ 319920 w 401801"/>
                <a:gd name="connsiteY289" fmla="*/ 336026 h 449459"/>
                <a:gd name="connsiteX290" fmla="*/ 321132 w 401801"/>
                <a:gd name="connsiteY290" fmla="*/ 338785 h 449459"/>
                <a:gd name="connsiteX291" fmla="*/ 322478 w 401801"/>
                <a:gd name="connsiteY291" fmla="*/ 341678 h 449459"/>
                <a:gd name="connsiteX292" fmla="*/ 324968 w 401801"/>
                <a:gd name="connsiteY292" fmla="*/ 341913 h 449459"/>
                <a:gd name="connsiteX293" fmla="*/ 327358 w 401801"/>
                <a:gd name="connsiteY293" fmla="*/ 342048 h 449459"/>
                <a:gd name="connsiteX294" fmla="*/ 329545 w 401801"/>
                <a:gd name="connsiteY294" fmla="*/ 340366 h 449459"/>
                <a:gd name="connsiteX295" fmla="*/ 331363 w 401801"/>
                <a:gd name="connsiteY295" fmla="*/ 338415 h 449459"/>
                <a:gd name="connsiteX296" fmla="*/ 333618 w 401801"/>
                <a:gd name="connsiteY296" fmla="*/ 336329 h 449459"/>
                <a:gd name="connsiteX297" fmla="*/ 336882 w 401801"/>
                <a:gd name="connsiteY297" fmla="*/ 334748 h 449459"/>
                <a:gd name="connsiteX298" fmla="*/ 340517 w 401801"/>
                <a:gd name="connsiteY298" fmla="*/ 332629 h 449459"/>
                <a:gd name="connsiteX299" fmla="*/ 344421 w 401801"/>
                <a:gd name="connsiteY299" fmla="*/ 332124 h 449459"/>
                <a:gd name="connsiteX300" fmla="*/ 349637 w 401801"/>
                <a:gd name="connsiteY300" fmla="*/ 333436 h 449459"/>
                <a:gd name="connsiteX301" fmla="*/ 353979 w 401801"/>
                <a:gd name="connsiteY301" fmla="*/ 330846 h 449459"/>
                <a:gd name="connsiteX302" fmla="*/ 353407 w 401801"/>
                <a:gd name="connsiteY302" fmla="*/ 325766 h 449459"/>
                <a:gd name="connsiteX303" fmla="*/ 350512 w 401801"/>
                <a:gd name="connsiteY303" fmla="*/ 321124 h 449459"/>
                <a:gd name="connsiteX304" fmla="*/ 346945 w 401801"/>
                <a:gd name="connsiteY304" fmla="*/ 318803 h 449459"/>
                <a:gd name="connsiteX305" fmla="*/ 344421 w 401801"/>
                <a:gd name="connsiteY305" fmla="*/ 315472 h 449459"/>
                <a:gd name="connsiteX306" fmla="*/ 344421 w 401801"/>
                <a:gd name="connsiteY306" fmla="*/ 309821 h 449459"/>
                <a:gd name="connsiteX307" fmla="*/ 346003 w 401801"/>
                <a:gd name="connsiteY307" fmla="*/ 309821 h 449459"/>
                <a:gd name="connsiteX308" fmla="*/ 350782 w 401801"/>
                <a:gd name="connsiteY308" fmla="*/ 308946 h 449459"/>
                <a:gd name="connsiteX309" fmla="*/ 353979 w 401801"/>
                <a:gd name="connsiteY309" fmla="*/ 308946 h 449459"/>
                <a:gd name="connsiteX310" fmla="*/ 359498 w 401801"/>
                <a:gd name="connsiteY310" fmla="*/ 309384 h 449459"/>
                <a:gd name="connsiteX311" fmla="*/ 362258 w 401801"/>
                <a:gd name="connsiteY311" fmla="*/ 314295 h 449459"/>
                <a:gd name="connsiteX312" fmla="*/ 363133 w 401801"/>
                <a:gd name="connsiteY312" fmla="*/ 319745 h 449459"/>
                <a:gd name="connsiteX313" fmla="*/ 364445 w 401801"/>
                <a:gd name="connsiteY313" fmla="*/ 321225 h 449459"/>
                <a:gd name="connsiteX314" fmla="*/ 365320 w 401801"/>
                <a:gd name="connsiteY314" fmla="*/ 319106 h 449459"/>
                <a:gd name="connsiteX315" fmla="*/ 365320 w 401801"/>
                <a:gd name="connsiteY315" fmla="*/ 313319 h 449459"/>
                <a:gd name="connsiteX316" fmla="*/ 368585 w 401801"/>
                <a:gd name="connsiteY316" fmla="*/ 309417 h 449459"/>
                <a:gd name="connsiteX317" fmla="*/ 370537 w 401801"/>
                <a:gd name="connsiteY317" fmla="*/ 305078 h 449459"/>
                <a:gd name="connsiteX318" fmla="*/ 370537 w 401801"/>
                <a:gd name="connsiteY318" fmla="*/ 301176 h 449459"/>
                <a:gd name="connsiteX319" fmla="*/ 365758 w 401801"/>
                <a:gd name="connsiteY319" fmla="*/ 298417 h 449459"/>
                <a:gd name="connsiteX320" fmla="*/ 362864 w 401801"/>
                <a:gd name="connsiteY320" fmla="*/ 294347 h 449459"/>
                <a:gd name="connsiteX321" fmla="*/ 360171 w 401801"/>
                <a:gd name="connsiteY321" fmla="*/ 289570 h 449459"/>
                <a:gd name="connsiteX322" fmla="*/ 356806 w 401801"/>
                <a:gd name="connsiteY322" fmla="*/ 280891 h 449459"/>
                <a:gd name="connsiteX323" fmla="*/ 353238 w 401801"/>
                <a:gd name="connsiteY323" fmla="*/ 275811 h 449459"/>
                <a:gd name="connsiteX324" fmla="*/ 348762 w 401801"/>
                <a:gd name="connsiteY324" fmla="*/ 270294 h 449459"/>
                <a:gd name="connsiteX325" fmla="*/ 348055 w 401801"/>
                <a:gd name="connsiteY325" fmla="*/ 266830 h 449459"/>
                <a:gd name="connsiteX326" fmla="*/ 349806 w 401801"/>
                <a:gd name="connsiteY326" fmla="*/ 263062 h 449459"/>
                <a:gd name="connsiteX327" fmla="*/ 353710 w 401801"/>
                <a:gd name="connsiteY327" fmla="*/ 261178 h 449459"/>
                <a:gd name="connsiteX328" fmla="*/ 357479 w 401801"/>
                <a:gd name="connsiteY328" fmla="*/ 259597 h 449459"/>
                <a:gd name="connsiteX329" fmla="*/ 361955 w 401801"/>
                <a:gd name="connsiteY329" fmla="*/ 258722 h 449459"/>
                <a:gd name="connsiteX330" fmla="*/ 363705 w 401801"/>
                <a:gd name="connsiteY330" fmla="*/ 255829 h 449459"/>
                <a:gd name="connsiteX331" fmla="*/ 365455 w 401801"/>
                <a:gd name="connsiteY331" fmla="*/ 253508 h 449459"/>
                <a:gd name="connsiteX332" fmla="*/ 366768 w 401801"/>
                <a:gd name="connsiteY332" fmla="*/ 252062 h 449459"/>
                <a:gd name="connsiteX333" fmla="*/ 368787 w 401801"/>
                <a:gd name="connsiteY333" fmla="*/ 249169 h 449459"/>
                <a:gd name="connsiteX334" fmla="*/ 368046 w 401801"/>
                <a:gd name="connsiteY334" fmla="*/ 245704 h 449459"/>
                <a:gd name="connsiteX335" fmla="*/ 365152 w 401801"/>
                <a:gd name="connsiteY335" fmla="*/ 243517 h 449459"/>
                <a:gd name="connsiteX336" fmla="*/ 359363 w 401801"/>
                <a:gd name="connsiteY336" fmla="*/ 242374 h 449459"/>
                <a:gd name="connsiteX337" fmla="*/ 356032 w 401801"/>
                <a:gd name="connsiteY337" fmla="*/ 241499 h 449459"/>
                <a:gd name="connsiteX338" fmla="*/ 351959 w 401801"/>
                <a:gd name="connsiteY338" fmla="*/ 238740 h 449459"/>
                <a:gd name="connsiteX339" fmla="*/ 353407 w 401801"/>
                <a:gd name="connsiteY339" fmla="*/ 237866 h 449459"/>
                <a:gd name="connsiteX340" fmla="*/ 354551 w 401801"/>
                <a:gd name="connsiteY340" fmla="*/ 238236 h 449459"/>
                <a:gd name="connsiteX341" fmla="*/ 359330 w 401801"/>
                <a:gd name="connsiteY341" fmla="*/ 239481 h 449459"/>
                <a:gd name="connsiteX342" fmla="*/ 364412 w 401801"/>
                <a:gd name="connsiteY342" fmla="*/ 239481 h 449459"/>
                <a:gd name="connsiteX343" fmla="*/ 369628 w 401801"/>
                <a:gd name="connsiteY343" fmla="*/ 239481 h 449459"/>
                <a:gd name="connsiteX344" fmla="*/ 371210 w 401801"/>
                <a:gd name="connsiteY344" fmla="*/ 236453 h 449459"/>
                <a:gd name="connsiteX345" fmla="*/ 371345 w 401801"/>
                <a:gd name="connsiteY345" fmla="*/ 232248 h 449459"/>
                <a:gd name="connsiteX346" fmla="*/ 368450 w 401801"/>
                <a:gd name="connsiteY346" fmla="*/ 228850 h 449459"/>
                <a:gd name="connsiteX347" fmla="*/ 368753 w 401801"/>
                <a:gd name="connsiteY347" fmla="*/ 226899 h 449459"/>
                <a:gd name="connsiteX348" fmla="*/ 368753 w 401801"/>
                <a:gd name="connsiteY348" fmla="*/ 222997 h 449459"/>
                <a:gd name="connsiteX349" fmla="*/ 370503 w 401801"/>
                <a:gd name="connsiteY349" fmla="*/ 220407 h 449459"/>
                <a:gd name="connsiteX350" fmla="*/ 367407 w 401801"/>
                <a:gd name="connsiteY350" fmla="*/ 220407 h 449459"/>
                <a:gd name="connsiteX351" fmla="*/ 365152 w 401801"/>
                <a:gd name="connsiteY351" fmla="*/ 222156 h 449459"/>
                <a:gd name="connsiteX352" fmla="*/ 362695 w 401801"/>
                <a:gd name="connsiteY352" fmla="*/ 222156 h 449459"/>
                <a:gd name="connsiteX353" fmla="*/ 359498 w 401801"/>
                <a:gd name="connsiteY353" fmla="*/ 220340 h 449459"/>
                <a:gd name="connsiteX354" fmla="*/ 356166 w 401801"/>
                <a:gd name="connsiteY354" fmla="*/ 220407 h 449459"/>
                <a:gd name="connsiteX355" fmla="*/ 352262 w 401801"/>
                <a:gd name="connsiteY355" fmla="*/ 220407 h 449459"/>
                <a:gd name="connsiteX356" fmla="*/ 348628 w 401801"/>
                <a:gd name="connsiteY356" fmla="*/ 219835 h 449459"/>
                <a:gd name="connsiteX357" fmla="*/ 343411 w 401801"/>
                <a:gd name="connsiteY357" fmla="*/ 219700 h 449459"/>
                <a:gd name="connsiteX358" fmla="*/ 340652 w 401801"/>
                <a:gd name="connsiteY358" fmla="*/ 218187 h 449459"/>
                <a:gd name="connsiteX359" fmla="*/ 339642 w 401801"/>
                <a:gd name="connsiteY359" fmla="*/ 213443 h 449459"/>
                <a:gd name="connsiteX360" fmla="*/ 342839 w 401801"/>
                <a:gd name="connsiteY360" fmla="*/ 208768 h 449459"/>
                <a:gd name="connsiteX361" fmla="*/ 345296 w 401801"/>
                <a:gd name="connsiteY361" fmla="*/ 206715 h 449459"/>
                <a:gd name="connsiteX362" fmla="*/ 348190 w 401801"/>
                <a:gd name="connsiteY362" fmla="*/ 203217 h 449459"/>
                <a:gd name="connsiteX363" fmla="*/ 348459 w 401801"/>
                <a:gd name="connsiteY363" fmla="*/ 197700 h 449459"/>
                <a:gd name="connsiteX364" fmla="*/ 348594 w 401801"/>
                <a:gd name="connsiteY364" fmla="*/ 196085 h 449459"/>
                <a:gd name="connsiteX365" fmla="*/ 350344 w 401801"/>
                <a:gd name="connsiteY365" fmla="*/ 196085 h 449459"/>
                <a:gd name="connsiteX366" fmla="*/ 352229 w 401801"/>
                <a:gd name="connsiteY366" fmla="*/ 196085 h 449459"/>
                <a:gd name="connsiteX367" fmla="*/ 354854 w 401801"/>
                <a:gd name="connsiteY367" fmla="*/ 195076 h 449459"/>
                <a:gd name="connsiteX368" fmla="*/ 354854 w 401801"/>
                <a:gd name="connsiteY368" fmla="*/ 198844 h 449459"/>
                <a:gd name="connsiteX369" fmla="*/ 354854 w 401801"/>
                <a:gd name="connsiteY369" fmla="*/ 202174 h 449459"/>
                <a:gd name="connsiteX370" fmla="*/ 354854 w 401801"/>
                <a:gd name="connsiteY370" fmla="*/ 205639 h 449459"/>
                <a:gd name="connsiteX371" fmla="*/ 356873 w 401801"/>
                <a:gd name="connsiteY371" fmla="*/ 206076 h 449459"/>
                <a:gd name="connsiteX372" fmla="*/ 359767 w 401801"/>
                <a:gd name="connsiteY372" fmla="*/ 206379 h 449459"/>
                <a:gd name="connsiteX373" fmla="*/ 362594 w 401801"/>
                <a:gd name="connsiteY373" fmla="*/ 206682 h 449459"/>
                <a:gd name="connsiteX374" fmla="*/ 364715 w 401801"/>
                <a:gd name="connsiteY374" fmla="*/ 206379 h 449459"/>
                <a:gd name="connsiteX375" fmla="*/ 367239 w 401801"/>
                <a:gd name="connsiteY375" fmla="*/ 205504 h 449459"/>
                <a:gd name="connsiteX376" fmla="*/ 368988 w 401801"/>
                <a:gd name="connsiteY376" fmla="*/ 203755 h 449459"/>
                <a:gd name="connsiteX377" fmla="*/ 369864 w 401801"/>
                <a:gd name="connsiteY377" fmla="*/ 201165 h 449459"/>
                <a:gd name="connsiteX378" fmla="*/ 369729 w 401801"/>
                <a:gd name="connsiteY378" fmla="*/ 197835 h 449459"/>
                <a:gd name="connsiteX379" fmla="*/ 368719 w 401801"/>
                <a:gd name="connsiteY379" fmla="*/ 195514 h 449459"/>
                <a:gd name="connsiteX380" fmla="*/ 368719 w 401801"/>
                <a:gd name="connsiteY380" fmla="*/ 191746 h 449459"/>
                <a:gd name="connsiteX381" fmla="*/ 370873 w 401801"/>
                <a:gd name="connsiteY381" fmla="*/ 189997 h 449459"/>
                <a:gd name="connsiteX382" fmla="*/ 370806 w 401801"/>
                <a:gd name="connsiteY382" fmla="*/ 187675 h 449459"/>
                <a:gd name="connsiteX383" fmla="*/ 372287 w 401801"/>
                <a:gd name="connsiteY383" fmla="*/ 187238 h 449459"/>
                <a:gd name="connsiteX384" fmla="*/ 373095 w 401801"/>
                <a:gd name="connsiteY384" fmla="*/ 187373 h 449459"/>
                <a:gd name="connsiteX385" fmla="*/ 374508 w 401801"/>
                <a:gd name="connsiteY385" fmla="*/ 188819 h 449459"/>
                <a:gd name="connsiteX386" fmla="*/ 376090 w 401801"/>
                <a:gd name="connsiteY386" fmla="*/ 189963 h 449459"/>
                <a:gd name="connsiteX387" fmla="*/ 374912 w 401801"/>
                <a:gd name="connsiteY387" fmla="*/ 196489 h 449459"/>
                <a:gd name="connsiteX388" fmla="*/ 373902 w 401801"/>
                <a:gd name="connsiteY388" fmla="*/ 198810 h 449459"/>
                <a:gd name="connsiteX389" fmla="*/ 373902 w 401801"/>
                <a:gd name="connsiteY389" fmla="*/ 202140 h 449459"/>
                <a:gd name="connsiteX390" fmla="*/ 376224 w 401801"/>
                <a:gd name="connsiteY390" fmla="*/ 206480 h 449459"/>
                <a:gd name="connsiteX391" fmla="*/ 378984 w 401801"/>
                <a:gd name="connsiteY391" fmla="*/ 208229 h 449459"/>
                <a:gd name="connsiteX392" fmla="*/ 381744 w 401801"/>
                <a:gd name="connsiteY392" fmla="*/ 208229 h 449459"/>
                <a:gd name="connsiteX393" fmla="*/ 383124 w 401801"/>
                <a:gd name="connsiteY393" fmla="*/ 206480 h 449459"/>
                <a:gd name="connsiteX394" fmla="*/ 384369 w 401801"/>
                <a:gd name="connsiteY394" fmla="*/ 206480 h 449459"/>
                <a:gd name="connsiteX395" fmla="*/ 384369 w 401801"/>
                <a:gd name="connsiteY395" fmla="*/ 209104 h 449459"/>
                <a:gd name="connsiteX396" fmla="*/ 386994 w 401801"/>
                <a:gd name="connsiteY396" fmla="*/ 212434 h 449459"/>
                <a:gd name="connsiteX397" fmla="*/ 388441 w 401801"/>
                <a:gd name="connsiteY397" fmla="*/ 211291 h 449459"/>
                <a:gd name="connsiteX398" fmla="*/ 390629 w 401801"/>
                <a:gd name="connsiteY398" fmla="*/ 209541 h 449459"/>
                <a:gd name="connsiteX399" fmla="*/ 391335 w 401801"/>
                <a:gd name="connsiteY399" fmla="*/ 206480 h 449459"/>
                <a:gd name="connsiteX400" fmla="*/ 391335 w 401801"/>
                <a:gd name="connsiteY400" fmla="*/ 203890 h 449459"/>
                <a:gd name="connsiteX401" fmla="*/ 391032 w 401801"/>
                <a:gd name="connsiteY401" fmla="*/ 200559 h 449459"/>
                <a:gd name="connsiteX402" fmla="*/ 391167 w 401801"/>
                <a:gd name="connsiteY402" fmla="*/ 194605 h 449459"/>
                <a:gd name="connsiteX403" fmla="*/ 391235 w 401801"/>
                <a:gd name="connsiteY403" fmla="*/ 190838 h 449459"/>
                <a:gd name="connsiteX404" fmla="*/ 389619 w 401801"/>
                <a:gd name="connsiteY404" fmla="*/ 186363 h 449459"/>
                <a:gd name="connsiteX405" fmla="*/ 389383 w 401801"/>
                <a:gd name="connsiteY405" fmla="*/ 183740 h 449459"/>
                <a:gd name="connsiteX406" fmla="*/ 386792 w 401801"/>
                <a:gd name="connsiteY406" fmla="*/ 181284 h 449459"/>
                <a:gd name="connsiteX407" fmla="*/ 385951 w 401801"/>
                <a:gd name="connsiteY407" fmla="*/ 178256 h 449459"/>
                <a:gd name="connsiteX408" fmla="*/ 387835 w 401801"/>
                <a:gd name="connsiteY408" fmla="*/ 176507 h 449459"/>
                <a:gd name="connsiteX409" fmla="*/ 388710 w 401801"/>
                <a:gd name="connsiteY409" fmla="*/ 173480 h 449459"/>
                <a:gd name="connsiteX410" fmla="*/ 388576 w 401801"/>
                <a:gd name="connsiteY410" fmla="*/ 169846 h 449459"/>
                <a:gd name="connsiteX411" fmla="*/ 386691 w 401801"/>
                <a:gd name="connsiteY411" fmla="*/ 167088 h 449459"/>
                <a:gd name="connsiteX412" fmla="*/ 384369 w 401801"/>
                <a:gd name="connsiteY412" fmla="*/ 165507 h 449459"/>
                <a:gd name="connsiteX413" fmla="*/ 384369 w 401801"/>
                <a:gd name="connsiteY413" fmla="*/ 163926 h 449459"/>
                <a:gd name="connsiteX414" fmla="*/ 387128 w 401801"/>
                <a:gd name="connsiteY414" fmla="*/ 160898 h 449459"/>
                <a:gd name="connsiteX415" fmla="*/ 387869 w 401801"/>
                <a:gd name="connsiteY415" fmla="*/ 159317 h 449459"/>
                <a:gd name="connsiteX416" fmla="*/ 387802 w 401801"/>
                <a:gd name="connsiteY416" fmla="*/ 156424 h 449459"/>
                <a:gd name="connsiteX417" fmla="*/ 387330 w 401801"/>
                <a:gd name="connsiteY417" fmla="*/ 155247 h 449459"/>
                <a:gd name="connsiteX418" fmla="*/ 384773 w 401801"/>
                <a:gd name="connsiteY418" fmla="*/ 155112 h 449459"/>
                <a:gd name="connsiteX419" fmla="*/ 381037 w 401801"/>
                <a:gd name="connsiteY419" fmla="*/ 154978 h 449459"/>
                <a:gd name="connsiteX420" fmla="*/ 374676 w 401801"/>
                <a:gd name="connsiteY420" fmla="*/ 155718 h 449459"/>
                <a:gd name="connsiteX421" fmla="*/ 371782 w 401801"/>
                <a:gd name="connsiteY421" fmla="*/ 158039 h 449459"/>
                <a:gd name="connsiteX422" fmla="*/ 369460 w 401801"/>
                <a:gd name="connsiteY422" fmla="*/ 162816 h 449459"/>
                <a:gd name="connsiteX423" fmla="*/ 368585 w 401801"/>
                <a:gd name="connsiteY423" fmla="*/ 166281 h 449459"/>
                <a:gd name="connsiteX424" fmla="*/ 368147 w 401801"/>
                <a:gd name="connsiteY424" fmla="*/ 169308 h 449459"/>
                <a:gd name="connsiteX425" fmla="*/ 364378 w 401801"/>
                <a:gd name="connsiteY425" fmla="*/ 169611 h 449459"/>
                <a:gd name="connsiteX426" fmla="*/ 359599 w 401801"/>
                <a:gd name="connsiteY426" fmla="*/ 169745 h 449459"/>
                <a:gd name="connsiteX427" fmla="*/ 355830 w 401801"/>
                <a:gd name="connsiteY427" fmla="*/ 170048 h 449459"/>
                <a:gd name="connsiteX428" fmla="*/ 352801 w 401801"/>
                <a:gd name="connsiteY428" fmla="*/ 171057 h 449459"/>
                <a:gd name="connsiteX429" fmla="*/ 348459 w 401801"/>
                <a:gd name="connsiteY429" fmla="*/ 173379 h 449459"/>
                <a:gd name="connsiteX430" fmla="*/ 346305 w 401801"/>
                <a:gd name="connsiteY430" fmla="*/ 174522 h 449459"/>
                <a:gd name="connsiteX431" fmla="*/ 342671 w 401801"/>
                <a:gd name="connsiteY431" fmla="*/ 175834 h 449459"/>
                <a:gd name="connsiteX432" fmla="*/ 340483 w 401801"/>
                <a:gd name="connsiteY432" fmla="*/ 177853 h 449459"/>
                <a:gd name="connsiteX433" fmla="*/ 337589 w 401801"/>
                <a:gd name="connsiteY433" fmla="*/ 178425 h 449459"/>
                <a:gd name="connsiteX434" fmla="*/ 337151 w 401801"/>
                <a:gd name="connsiteY434" fmla="*/ 177415 h 449459"/>
                <a:gd name="connsiteX435" fmla="*/ 336849 w 401801"/>
                <a:gd name="connsiteY435" fmla="*/ 174825 h 449459"/>
                <a:gd name="connsiteX436" fmla="*/ 337724 w 401801"/>
                <a:gd name="connsiteY436" fmla="*/ 172067 h 449459"/>
                <a:gd name="connsiteX437" fmla="*/ 339036 w 401801"/>
                <a:gd name="connsiteY437" fmla="*/ 170486 h 449459"/>
                <a:gd name="connsiteX438" fmla="*/ 341190 w 401801"/>
                <a:gd name="connsiteY438" fmla="*/ 169611 h 449459"/>
                <a:gd name="connsiteX439" fmla="*/ 343815 w 401801"/>
                <a:gd name="connsiteY439" fmla="*/ 168165 h 449459"/>
                <a:gd name="connsiteX440" fmla="*/ 346406 w 401801"/>
                <a:gd name="connsiteY440" fmla="*/ 166853 h 449459"/>
                <a:gd name="connsiteX441" fmla="*/ 351488 w 401801"/>
                <a:gd name="connsiteY441" fmla="*/ 165978 h 449459"/>
                <a:gd name="connsiteX442" fmla="*/ 355392 w 401801"/>
                <a:gd name="connsiteY442" fmla="*/ 165843 h 449459"/>
                <a:gd name="connsiteX443" fmla="*/ 357849 w 401801"/>
                <a:gd name="connsiteY443" fmla="*/ 162513 h 449459"/>
                <a:gd name="connsiteX444" fmla="*/ 359296 w 401801"/>
                <a:gd name="connsiteY444" fmla="*/ 160192 h 449459"/>
                <a:gd name="connsiteX445" fmla="*/ 364075 w 401801"/>
                <a:gd name="connsiteY445" fmla="*/ 157299 h 449459"/>
                <a:gd name="connsiteX446" fmla="*/ 365522 w 401801"/>
                <a:gd name="connsiteY446" fmla="*/ 155718 h 449459"/>
                <a:gd name="connsiteX447" fmla="*/ 367272 w 401801"/>
                <a:gd name="connsiteY447" fmla="*/ 153094 h 449459"/>
                <a:gd name="connsiteX448" fmla="*/ 369292 w 401801"/>
                <a:gd name="connsiteY448" fmla="*/ 150066 h 449459"/>
                <a:gd name="connsiteX449" fmla="*/ 371614 w 401801"/>
                <a:gd name="connsiteY449" fmla="*/ 146871 h 449459"/>
                <a:gd name="connsiteX450" fmla="*/ 373364 w 401801"/>
                <a:gd name="connsiteY450" fmla="*/ 143103 h 449459"/>
                <a:gd name="connsiteX451" fmla="*/ 376998 w 401801"/>
                <a:gd name="connsiteY451" fmla="*/ 140075 h 449459"/>
                <a:gd name="connsiteX452" fmla="*/ 379758 w 401801"/>
                <a:gd name="connsiteY452" fmla="*/ 137182 h 449459"/>
                <a:gd name="connsiteX453" fmla="*/ 382955 w 401801"/>
                <a:gd name="connsiteY453" fmla="*/ 134727 h 449459"/>
                <a:gd name="connsiteX454" fmla="*/ 387903 w 401801"/>
                <a:gd name="connsiteY454" fmla="*/ 133583 h 449459"/>
                <a:gd name="connsiteX455" fmla="*/ 393119 w 401801"/>
                <a:gd name="connsiteY455" fmla="*/ 133280 h 449459"/>
                <a:gd name="connsiteX456" fmla="*/ 398470 w 401801"/>
                <a:gd name="connsiteY456" fmla="*/ 132977 h 449459"/>
                <a:gd name="connsiteX457" fmla="*/ 400355 w 401801"/>
                <a:gd name="connsiteY457" fmla="*/ 132675 h 449459"/>
                <a:gd name="connsiteX458" fmla="*/ 401297 w 401801"/>
                <a:gd name="connsiteY458" fmla="*/ 131363 h 449459"/>
                <a:gd name="connsiteX459" fmla="*/ 401802 w 401801"/>
                <a:gd name="connsiteY459" fmla="*/ 130051 h 449459"/>
                <a:gd name="connsiteX460" fmla="*/ 401802 w 401801"/>
                <a:gd name="connsiteY460" fmla="*/ 127460 h 449459"/>
                <a:gd name="connsiteX461" fmla="*/ 401196 w 401801"/>
                <a:gd name="connsiteY461" fmla="*/ 126317 h 449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</a:cxnLst>
              <a:rect l="l" t="t" r="r" b="b"/>
              <a:pathLst>
                <a:path w="401801" h="449459">
                  <a:moveTo>
                    <a:pt x="401196" y="126317"/>
                  </a:moveTo>
                  <a:lnTo>
                    <a:pt x="400186" y="124567"/>
                  </a:lnTo>
                  <a:cubicBezTo>
                    <a:pt x="400186" y="124567"/>
                    <a:pt x="398100" y="123996"/>
                    <a:pt x="397494" y="123693"/>
                  </a:cubicBezTo>
                  <a:cubicBezTo>
                    <a:pt x="396922" y="123390"/>
                    <a:pt x="393388" y="123390"/>
                    <a:pt x="393388" y="123390"/>
                  </a:cubicBezTo>
                  <a:lnTo>
                    <a:pt x="384167" y="124265"/>
                  </a:lnTo>
                  <a:lnTo>
                    <a:pt x="379859" y="123390"/>
                  </a:lnTo>
                  <a:lnTo>
                    <a:pt x="375383" y="122650"/>
                  </a:lnTo>
                  <a:lnTo>
                    <a:pt x="371917" y="121506"/>
                  </a:lnTo>
                  <a:lnTo>
                    <a:pt x="365994" y="120194"/>
                  </a:lnTo>
                  <a:lnTo>
                    <a:pt x="361787" y="119623"/>
                  </a:lnTo>
                  <a:lnTo>
                    <a:pt x="357748" y="116999"/>
                  </a:lnTo>
                  <a:lnTo>
                    <a:pt x="354416" y="115418"/>
                  </a:lnTo>
                  <a:lnTo>
                    <a:pt x="349637" y="112524"/>
                  </a:lnTo>
                  <a:lnTo>
                    <a:pt x="345868" y="110338"/>
                  </a:lnTo>
                  <a:lnTo>
                    <a:pt x="344858" y="108589"/>
                  </a:lnTo>
                  <a:lnTo>
                    <a:pt x="341089" y="105830"/>
                  </a:lnTo>
                  <a:lnTo>
                    <a:pt x="337454" y="103072"/>
                  </a:lnTo>
                  <a:lnTo>
                    <a:pt x="334997" y="101760"/>
                  </a:lnTo>
                  <a:lnTo>
                    <a:pt x="333247" y="100011"/>
                  </a:lnTo>
                  <a:lnTo>
                    <a:pt x="331498" y="96377"/>
                  </a:lnTo>
                  <a:lnTo>
                    <a:pt x="330050" y="94056"/>
                  </a:lnTo>
                  <a:lnTo>
                    <a:pt x="328435" y="92172"/>
                  </a:lnTo>
                  <a:lnTo>
                    <a:pt x="324968" y="87833"/>
                  </a:lnTo>
                  <a:lnTo>
                    <a:pt x="322781" y="88136"/>
                  </a:lnTo>
                  <a:cubicBezTo>
                    <a:pt x="322781" y="88136"/>
                    <a:pt x="319752" y="88136"/>
                    <a:pt x="318574" y="88136"/>
                  </a:cubicBezTo>
                  <a:cubicBezTo>
                    <a:pt x="317396" y="88136"/>
                    <a:pt x="310464" y="88136"/>
                    <a:pt x="310464" y="88136"/>
                  </a:cubicBezTo>
                  <a:cubicBezTo>
                    <a:pt x="310464" y="88136"/>
                    <a:pt x="305382" y="88136"/>
                    <a:pt x="304507" y="88136"/>
                  </a:cubicBezTo>
                  <a:cubicBezTo>
                    <a:pt x="303632" y="88136"/>
                    <a:pt x="300030" y="88136"/>
                    <a:pt x="300030" y="88136"/>
                  </a:cubicBezTo>
                  <a:lnTo>
                    <a:pt x="294679" y="89313"/>
                  </a:lnTo>
                  <a:lnTo>
                    <a:pt x="291920" y="93215"/>
                  </a:lnTo>
                  <a:lnTo>
                    <a:pt x="288891" y="96176"/>
                  </a:lnTo>
                  <a:lnTo>
                    <a:pt x="286703" y="99237"/>
                  </a:lnTo>
                  <a:lnTo>
                    <a:pt x="284246" y="101659"/>
                  </a:lnTo>
                  <a:lnTo>
                    <a:pt x="281217" y="104518"/>
                  </a:lnTo>
                  <a:lnTo>
                    <a:pt x="279198" y="105796"/>
                  </a:lnTo>
                  <a:lnTo>
                    <a:pt x="274722" y="106671"/>
                  </a:lnTo>
                  <a:lnTo>
                    <a:pt x="270818" y="108690"/>
                  </a:lnTo>
                  <a:lnTo>
                    <a:pt x="265164" y="108824"/>
                  </a:lnTo>
                  <a:lnTo>
                    <a:pt x="261395" y="110405"/>
                  </a:lnTo>
                  <a:lnTo>
                    <a:pt x="257323" y="112726"/>
                  </a:lnTo>
                  <a:lnTo>
                    <a:pt x="253688" y="111549"/>
                  </a:lnTo>
                  <a:cubicBezTo>
                    <a:pt x="253688" y="111549"/>
                    <a:pt x="252376" y="111112"/>
                    <a:pt x="251501" y="109228"/>
                  </a:cubicBezTo>
                  <a:cubicBezTo>
                    <a:pt x="250626" y="107344"/>
                    <a:pt x="248741" y="104014"/>
                    <a:pt x="248606" y="103442"/>
                  </a:cubicBezTo>
                  <a:cubicBezTo>
                    <a:pt x="248472" y="102870"/>
                    <a:pt x="248169" y="97218"/>
                    <a:pt x="248169" y="97218"/>
                  </a:cubicBezTo>
                  <a:cubicBezTo>
                    <a:pt x="248169" y="97218"/>
                    <a:pt x="248472" y="95907"/>
                    <a:pt x="247294" y="95032"/>
                  </a:cubicBezTo>
                  <a:cubicBezTo>
                    <a:pt x="246149" y="94157"/>
                    <a:pt x="243962" y="92576"/>
                    <a:pt x="243962" y="92576"/>
                  </a:cubicBezTo>
                  <a:lnTo>
                    <a:pt x="240058" y="90995"/>
                  </a:lnTo>
                  <a:cubicBezTo>
                    <a:pt x="240058" y="90995"/>
                    <a:pt x="236423" y="91567"/>
                    <a:pt x="235851" y="91702"/>
                  </a:cubicBezTo>
                  <a:cubicBezTo>
                    <a:pt x="235279" y="91836"/>
                    <a:pt x="230769" y="94325"/>
                    <a:pt x="230769" y="94325"/>
                  </a:cubicBezTo>
                  <a:lnTo>
                    <a:pt x="227707" y="97656"/>
                  </a:lnTo>
                  <a:lnTo>
                    <a:pt x="223500" y="99977"/>
                  </a:lnTo>
                  <a:lnTo>
                    <a:pt x="220471" y="97656"/>
                  </a:lnTo>
                  <a:cubicBezTo>
                    <a:pt x="220471" y="97656"/>
                    <a:pt x="222658" y="93888"/>
                    <a:pt x="223365" y="93585"/>
                  </a:cubicBezTo>
                  <a:cubicBezTo>
                    <a:pt x="224072" y="93283"/>
                    <a:pt x="224812" y="92004"/>
                    <a:pt x="226394" y="91567"/>
                  </a:cubicBezTo>
                  <a:cubicBezTo>
                    <a:pt x="227976" y="91130"/>
                    <a:pt x="231745" y="88977"/>
                    <a:pt x="231745" y="88977"/>
                  </a:cubicBezTo>
                  <a:cubicBezTo>
                    <a:pt x="231745" y="88977"/>
                    <a:pt x="234942" y="88102"/>
                    <a:pt x="235515" y="87968"/>
                  </a:cubicBezTo>
                  <a:cubicBezTo>
                    <a:pt x="236087" y="87833"/>
                    <a:pt x="236827" y="86824"/>
                    <a:pt x="238409" y="86387"/>
                  </a:cubicBezTo>
                  <a:cubicBezTo>
                    <a:pt x="240024" y="85949"/>
                    <a:pt x="240428" y="86017"/>
                    <a:pt x="241606" y="85747"/>
                  </a:cubicBezTo>
                  <a:cubicBezTo>
                    <a:pt x="242751" y="85445"/>
                    <a:pt x="242616" y="84671"/>
                    <a:pt x="245510" y="84671"/>
                  </a:cubicBezTo>
                  <a:cubicBezTo>
                    <a:pt x="248404" y="84671"/>
                    <a:pt x="251299" y="84671"/>
                    <a:pt x="251299" y="84671"/>
                  </a:cubicBezTo>
                  <a:cubicBezTo>
                    <a:pt x="251299" y="84671"/>
                    <a:pt x="251871" y="83796"/>
                    <a:pt x="253318" y="84368"/>
                  </a:cubicBezTo>
                  <a:cubicBezTo>
                    <a:pt x="254765" y="84940"/>
                    <a:pt x="257087" y="85680"/>
                    <a:pt x="257087" y="85680"/>
                  </a:cubicBezTo>
                  <a:cubicBezTo>
                    <a:pt x="257087" y="85680"/>
                    <a:pt x="260419" y="86925"/>
                    <a:pt x="260991" y="86925"/>
                  </a:cubicBezTo>
                  <a:cubicBezTo>
                    <a:pt x="261563" y="86925"/>
                    <a:pt x="268395" y="86958"/>
                    <a:pt x="268395" y="86958"/>
                  </a:cubicBezTo>
                  <a:lnTo>
                    <a:pt x="272467" y="86319"/>
                  </a:lnTo>
                  <a:lnTo>
                    <a:pt x="276809" y="84267"/>
                  </a:lnTo>
                  <a:lnTo>
                    <a:pt x="278121" y="81509"/>
                  </a:lnTo>
                  <a:cubicBezTo>
                    <a:pt x="278121" y="81509"/>
                    <a:pt x="278693" y="79625"/>
                    <a:pt x="278996" y="79053"/>
                  </a:cubicBezTo>
                  <a:cubicBezTo>
                    <a:pt x="279299" y="78481"/>
                    <a:pt x="280578" y="73536"/>
                    <a:pt x="280578" y="73536"/>
                  </a:cubicBezTo>
                  <a:lnTo>
                    <a:pt x="281588" y="71350"/>
                  </a:lnTo>
                  <a:cubicBezTo>
                    <a:pt x="281588" y="71350"/>
                    <a:pt x="283775" y="68322"/>
                    <a:pt x="283910" y="67885"/>
                  </a:cubicBezTo>
                  <a:cubicBezTo>
                    <a:pt x="284044" y="67447"/>
                    <a:pt x="286535" y="63982"/>
                    <a:pt x="286535" y="63982"/>
                  </a:cubicBezTo>
                  <a:lnTo>
                    <a:pt x="290170" y="60787"/>
                  </a:lnTo>
                  <a:lnTo>
                    <a:pt x="293501" y="55875"/>
                  </a:lnTo>
                  <a:lnTo>
                    <a:pt x="300300" y="50661"/>
                  </a:lnTo>
                  <a:cubicBezTo>
                    <a:pt x="300300" y="50661"/>
                    <a:pt x="303497" y="47903"/>
                    <a:pt x="304069" y="47465"/>
                  </a:cubicBezTo>
                  <a:cubicBezTo>
                    <a:pt x="304641" y="47028"/>
                    <a:pt x="310160" y="40233"/>
                    <a:pt x="310160" y="40233"/>
                  </a:cubicBezTo>
                  <a:lnTo>
                    <a:pt x="311776" y="37340"/>
                  </a:lnTo>
                  <a:lnTo>
                    <a:pt x="314098" y="36196"/>
                  </a:lnTo>
                  <a:lnTo>
                    <a:pt x="308444" y="33438"/>
                  </a:lnTo>
                  <a:lnTo>
                    <a:pt x="304372" y="31688"/>
                  </a:lnTo>
                  <a:lnTo>
                    <a:pt x="304372" y="28930"/>
                  </a:lnTo>
                  <a:lnTo>
                    <a:pt x="302184" y="24523"/>
                  </a:lnTo>
                  <a:lnTo>
                    <a:pt x="300737" y="26205"/>
                  </a:lnTo>
                  <a:lnTo>
                    <a:pt x="295151" y="26945"/>
                  </a:lnTo>
                  <a:lnTo>
                    <a:pt x="292795" y="25196"/>
                  </a:lnTo>
                  <a:lnTo>
                    <a:pt x="287847" y="23884"/>
                  </a:lnTo>
                  <a:lnTo>
                    <a:pt x="280881" y="23884"/>
                  </a:lnTo>
                  <a:lnTo>
                    <a:pt x="277987" y="22572"/>
                  </a:lnTo>
                  <a:lnTo>
                    <a:pt x="277280" y="18502"/>
                  </a:lnTo>
                  <a:lnTo>
                    <a:pt x="276573" y="15104"/>
                  </a:lnTo>
                  <a:lnTo>
                    <a:pt x="279030" y="11942"/>
                  </a:lnTo>
                  <a:lnTo>
                    <a:pt x="278458" y="8275"/>
                  </a:lnTo>
                  <a:lnTo>
                    <a:pt x="278761" y="4642"/>
                  </a:lnTo>
                  <a:lnTo>
                    <a:pt x="275698" y="1009"/>
                  </a:lnTo>
                  <a:lnTo>
                    <a:pt x="268294" y="0"/>
                  </a:lnTo>
                  <a:lnTo>
                    <a:pt x="262943" y="2153"/>
                  </a:lnTo>
                  <a:lnTo>
                    <a:pt x="255404" y="2456"/>
                  </a:lnTo>
                  <a:lnTo>
                    <a:pt x="248438" y="7670"/>
                  </a:lnTo>
                  <a:lnTo>
                    <a:pt x="244971" y="11707"/>
                  </a:lnTo>
                  <a:lnTo>
                    <a:pt x="247294" y="18939"/>
                  </a:lnTo>
                  <a:lnTo>
                    <a:pt x="246722" y="23850"/>
                  </a:lnTo>
                  <a:lnTo>
                    <a:pt x="244400" y="30511"/>
                  </a:lnTo>
                  <a:lnTo>
                    <a:pt x="236558" y="31083"/>
                  </a:lnTo>
                  <a:lnTo>
                    <a:pt x="233092" y="35422"/>
                  </a:lnTo>
                  <a:lnTo>
                    <a:pt x="232217" y="42958"/>
                  </a:lnTo>
                  <a:lnTo>
                    <a:pt x="225553" y="42958"/>
                  </a:lnTo>
                  <a:lnTo>
                    <a:pt x="224678" y="38046"/>
                  </a:lnTo>
                  <a:lnTo>
                    <a:pt x="221481" y="30646"/>
                  </a:lnTo>
                  <a:lnTo>
                    <a:pt x="217711" y="27248"/>
                  </a:lnTo>
                  <a:lnTo>
                    <a:pt x="213067" y="29064"/>
                  </a:lnTo>
                  <a:lnTo>
                    <a:pt x="199437" y="29064"/>
                  </a:lnTo>
                  <a:lnTo>
                    <a:pt x="189004" y="25600"/>
                  </a:lnTo>
                  <a:lnTo>
                    <a:pt x="184663" y="21395"/>
                  </a:lnTo>
                  <a:lnTo>
                    <a:pt x="180590" y="18872"/>
                  </a:lnTo>
                  <a:lnTo>
                    <a:pt x="176249" y="13826"/>
                  </a:lnTo>
                  <a:lnTo>
                    <a:pt x="168138" y="6257"/>
                  </a:lnTo>
                  <a:lnTo>
                    <a:pt x="160902" y="1581"/>
                  </a:lnTo>
                  <a:lnTo>
                    <a:pt x="150167" y="2153"/>
                  </a:lnTo>
                  <a:lnTo>
                    <a:pt x="143200" y="5046"/>
                  </a:lnTo>
                  <a:cubicBezTo>
                    <a:pt x="143200" y="5046"/>
                    <a:pt x="138556" y="10563"/>
                    <a:pt x="138287" y="11404"/>
                  </a:cubicBezTo>
                  <a:cubicBezTo>
                    <a:pt x="138219" y="11639"/>
                    <a:pt x="137041" y="11236"/>
                    <a:pt x="136638" y="10563"/>
                  </a:cubicBezTo>
                  <a:lnTo>
                    <a:pt x="135661" y="10832"/>
                  </a:lnTo>
                  <a:lnTo>
                    <a:pt x="135661" y="19511"/>
                  </a:lnTo>
                  <a:lnTo>
                    <a:pt x="134349" y="36163"/>
                  </a:lnTo>
                  <a:lnTo>
                    <a:pt x="130882" y="43832"/>
                  </a:lnTo>
                  <a:lnTo>
                    <a:pt x="125229" y="53823"/>
                  </a:lnTo>
                  <a:lnTo>
                    <a:pt x="125229" y="64689"/>
                  </a:lnTo>
                  <a:lnTo>
                    <a:pt x="119574" y="69028"/>
                  </a:lnTo>
                  <a:lnTo>
                    <a:pt x="112171" y="69028"/>
                  </a:lnTo>
                  <a:cubicBezTo>
                    <a:pt x="112171" y="69028"/>
                    <a:pt x="106079" y="74243"/>
                    <a:pt x="105641" y="76833"/>
                  </a:cubicBezTo>
                  <a:cubicBezTo>
                    <a:pt x="105204" y="79457"/>
                    <a:pt x="112372" y="83796"/>
                    <a:pt x="112372" y="83796"/>
                  </a:cubicBezTo>
                  <a:lnTo>
                    <a:pt x="116512" y="89010"/>
                  </a:lnTo>
                  <a:lnTo>
                    <a:pt x="116512" y="97689"/>
                  </a:lnTo>
                  <a:lnTo>
                    <a:pt x="113483" y="105292"/>
                  </a:lnTo>
                  <a:lnTo>
                    <a:pt x="103488" y="108992"/>
                  </a:lnTo>
                  <a:lnTo>
                    <a:pt x="91305" y="108992"/>
                  </a:lnTo>
                  <a:lnTo>
                    <a:pt x="80872" y="108992"/>
                  </a:lnTo>
                  <a:lnTo>
                    <a:pt x="77102" y="103778"/>
                  </a:lnTo>
                  <a:lnTo>
                    <a:pt x="73030" y="103778"/>
                  </a:lnTo>
                  <a:lnTo>
                    <a:pt x="73030" y="120295"/>
                  </a:lnTo>
                  <a:lnTo>
                    <a:pt x="73030" y="128974"/>
                  </a:lnTo>
                  <a:lnTo>
                    <a:pt x="76665" y="134188"/>
                  </a:lnTo>
                  <a:lnTo>
                    <a:pt x="79559" y="144179"/>
                  </a:lnTo>
                  <a:lnTo>
                    <a:pt x="73468" y="159385"/>
                  </a:lnTo>
                  <a:lnTo>
                    <a:pt x="67814" y="162446"/>
                  </a:lnTo>
                  <a:lnTo>
                    <a:pt x="67814" y="170687"/>
                  </a:lnTo>
                  <a:lnTo>
                    <a:pt x="64785" y="176574"/>
                  </a:lnTo>
                  <a:lnTo>
                    <a:pt x="55227" y="181789"/>
                  </a:lnTo>
                  <a:lnTo>
                    <a:pt x="50448" y="184816"/>
                  </a:lnTo>
                  <a:lnTo>
                    <a:pt x="46847" y="189828"/>
                  </a:lnTo>
                  <a:lnTo>
                    <a:pt x="41025" y="194403"/>
                  </a:lnTo>
                  <a:lnTo>
                    <a:pt x="36279" y="201804"/>
                  </a:lnTo>
                  <a:cubicBezTo>
                    <a:pt x="36279" y="201804"/>
                    <a:pt x="31063" y="205269"/>
                    <a:pt x="30222" y="205504"/>
                  </a:cubicBezTo>
                  <a:cubicBezTo>
                    <a:pt x="29347" y="205706"/>
                    <a:pt x="23255" y="211358"/>
                    <a:pt x="23255" y="211358"/>
                  </a:cubicBezTo>
                  <a:lnTo>
                    <a:pt x="19116" y="215697"/>
                  </a:lnTo>
                  <a:lnTo>
                    <a:pt x="17601" y="222425"/>
                  </a:lnTo>
                  <a:lnTo>
                    <a:pt x="15414" y="226126"/>
                  </a:lnTo>
                  <a:lnTo>
                    <a:pt x="7808" y="227639"/>
                  </a:lnTo>
                  <a:lnTo>
                    <a:pt x="3466" y="231979"/>
                  </a:lnTo>
                  <a:lnTo>
                    <a:pt x="3466" y="240254"/>
                  </a:lnTo>
                  <a:lnTo>
                    <a:pt x="0" y="242643"/>
                  </a:lnTo>
                  <a:lnTo>
                    <a:pt x="3466" y="254383"/>
                  </a:lnTo>
                  <a:lnTo>
                    <a:pt x="9322" y="260472"/>
                  </a:lnTo>
                  <a:lnTo>
                    <a:pt x="20731" y="267839"/>
                  </a:lnTo>
                  <a:lnTo>
                    <a:pt x="29279" y="276518"/>
                  </a:lnTo>
                  <a:lnTo>
                    <a:pt x="37996" y="287383"/>
                  </a:lnTo>
                  <a:lnTo>
                    <a:pt x="45838" y="297610"/>
                  </a:lnTo>
                  <a:lnTo>
                    <a:pt x="45198" y="308913"/>
                  </a:lnTo>
                  <a:lnTo>
                    <a:pt x="47823" y="319778"/>
                  </a:lnTo>
                  <a:lnTo>
                    <a:pt x="54116" y="325867"/>
                  </a:lnTo>
                  <a:lnTo>
                    <a:pt x="51087" y="337170"/>
                  </a:lnTo>
                  <a:lnTo>
                    <a:pt x="47823" y="344133"/>
                  </a:lnTo>
                  <a:cubicBezTo>
                    <a:pt x="47823" y="344133"/>
                    <a:pt x="53679" y="346522"/>
                    <a:pt x="54352" y="346320"/>
                  </a:cubicBezTo>
                  <a:cubicBezTo>
                    <a:pt x="54991" y="346085"/>
                    <a:pt x="62395" y="343494"/>
                    <a:pt x="62395" y="343494"/>
                  </a:cubicBezTo>
                  <a:lnTo>
                    <a:pt x="72828" y="339357"/>
                  </a:lnTo>
                  <a:lnTo>
                    <a:pt x="79997" y="338482"/>
                  </a:lnTo>
                  <a:lnTo>
                    <a:pt x="86963" y="346320"/>
                  </a:lnTo>
                  <a:lnTo>
                    <a:pt x="85886" y="355874"/>
                  </a:lnTo>
                  <a:lnTo>
                    <a:pt x="82184" y="363039"/>
                  </a:lnTo>
                  <a:lnTo>
                    <a:pt x="81107" y="372391"/>
                  </a:lnTo>
                  <a:lnTo>
                    <a:pt x="90026" y="385645"/>
                  </a:lnTo>
                  <a:lnTo>
                    <a:pt x="94603" y="395434"/>
                  </a:lnTo>
                  <a:lnTo>
                    <a:pt x="97665" y="404113"/>
                  </a:lnTo>
                  <a:lnTo>
                    <a:pt x="100694" y="413465"/>
                  </a:lnTo>
                  <a:lnTo>
                    <a:pt x="100896" y="423254"/>
                  </a:lnTo>
                  <a:lnTo>
                    <a:pt x="102209" y="429343"/>
                  </a:lnTo>
                  <a:cubicBezTo>
                    <a:pt x="102209" y="429343"/>
                    <a:pt x="108738" y="431933"/>
                    <a:pt x="109377" y="431933"/>
                  </a:cubicBezTo>
                  <a:cubicBezTo>
                    <a:pt x="110017" y="431933"/>
                    <a:pt x="115469" y="429343"/>
                    <a:pt x="116344" y="429343"/>
                  </a:cubicBezTo>
                  <a:cubicBezTo>
                    <a:pt x="117219" y="429343"/>
                    <a:pt x="117420" y="427829"/>
                    <a:pt x="120921" y="427392"/>
                  </a:cubicBezTo>
                  <a:cubicBezTo>
                    <a:pt x="124387" y="426954"/>
                    <a:pt x="130916" y="426954"/>
                    <a:pt x="130916" y="426954"/>
                  </a:cubicBezTo>
                  <a:lnTo>
                    <a:pt x="132868" y="431966"/>
                  </a:lnTo>
                  <a:cubicBezTo>
                    <a:pt x="132868" y="431966"/>
                    <a:pt x="132868" y="436541"/>
                    <a:pt x="133507" y="436743"/>
                  </a:cubicBezTo>
                  <a:cubicBezTo>
                    <a:pt x="134147" y="436945"/>
                    <a:pt x="139599" y="437382"/>
                    <a:pt x="140474" y="436743"/>
                  </a:cubicBezTo>
                  <a:cubicBezTo>
                    <a:pt x="141349" y="436104"/>
                    <a:pt x="144378" y="434153"/>
                    <a:pt x="145253" y="433716"/>
                  </a:cubicBezTo>
                  <a:cubicBezTo>
                    <a:pt x="146128" y="433278"/>
                    <a:pt x="151345" y="427627"/>
                    <a:pt x="151345" y="425878"/>
                  </a:cubicBezTo>
                  <a:cubicBezTo>
                    <a:pt x="151345" y="424128"/>
                    <a:pt x="151345" y="422850"/>
                    <a:pt x="151345" y="422850"/>
                  </a:cubicBezTo>
                  <a:lnTo>
                    <a:pt x="155922" y="419587"/>
                  </a:lnTo>
                  <a:cubicBezTo>
                    <a:pt x="155922" y="419587"/>
                    <a:pt x="159623" y="418511"/>
                    <a:pt x="160499" y="418511"/>
                  </a:cubicBezTo>
                  <a:cubicBezTo>
                    <a:pt x="161374" y="418511"/>
                    <a:pt x="164638" y="411985"/>
                    <a:pt x="164638" y="411985"/>
                  </a:cubicBezTo>
                  <a:lnTo>
                    <a:pt x="166489" y="406569"/>
                  </a:lnTo>
                  <a:lnTo>
                    <a:pt x="169148" y="403945"/>
                  </a:lnTo>
                  <a:lnTo>
                    <a:pt x="175273" y="402868"/>
                  </a:lnTo>
                  <a:lnTo>
                    <a:pt x="179412" y="409832"/>
                  </a:lnTo>
                  <a:lnTo>
                    <a:pt x="181364" y="418746"/>
                  </a:lnTo>
                  <a:lnTo>
                    <a:pt x="185706" y="426349"/>
                  </a:lnTo>
                  <a:lnTo>
                    <a:pt x="189172" y="433312"/>
                  </a:lnTo>
                  <a:lnTo>
                    <a:pt x="191764" y="438762"/>
                  </a:lnTo>
                  <a:lnTo>
                    <a:pt x="198091" y="440511"/>
                  </a:lnTo>
                  <a:cubicBezTo>
                    <a:pt x="198091" y="440511"/>
                    <a:pt x="204620" y="439636"/>
                    <a:pt x="205259" y="439435"/>
                  </a:cubicBezTo>
                  <a:cubicBezTo>
                    <a:pt x="205899" y="439233"/>
                    <a:pt x="211990" y="437685"/>
                    <a:pt x="211990" y="437685"/>
                  </a:cubicBezTo>
                  <a:lnTo>
                    <a:pt x="215692" y="432269"/>
                  </a:lnTo>
                  <a:lnTo>
                    <a:pt x="220908" y="425541"/>
                  </a:lnTo>
                  <a:cubicBezTo>
                    <a:pt x="220908" y="425541"/>
                    <a:pt x="226562" y="422514"/>
                    <a:pt x="227202" y="422278"/>
                  </a:cubicBezTo>
                  <a:cubicBezTo>
                    <a:pt x="227841" y="422076"/>
                    <a:pt x="238072" y="420764"/>
                    <a:pt x="238072" y="420764"/>
                  </a:cubicBezTo>
                  <a:lnTo>
                    <a:pt x="248068" y="422514"/>
                  </a:lnTo>
                  <a:cubicBezTo>
                    <a:pt x="248068" y="422514"/>
                    <a:pt x="250457" y="426214"/>
                    <a:pt x="251097" y="426853"/>
                  </a:cubicBezTo>
                  <a:cubicBezTo>
                    <a:pt x="251736" y="427492"/>
                    <a:pt x="251299" y="432269"/>
                    <a:pt x="251299" y="432269"/>
                  </a:cubicBezTo>
                  <a:lnTo>
                    <a:pt x="253890" y="438795"/>
                  </a:lnTo>
                  <a:lnTo>
                    <a:pt x="253890" y="443808"/>
                  </a:lnTo>
                  <a:lnTo>
                    <a:pt x="258904" y="447710"/>
                  </a:lnTo>
                  <a:lnTo>
                    <a:pt x="261092" y="449459"/>
                  </a:lnTo>
                  <a:lnTo>
                    <a:pt x="264895" y="447508"/>
                  </a:lnTo>
                  <a:lnTo>
                    <a:pt x="269573" y="445759"/>
                  </a:lnTo>
                  <a:lnTo>
                    <a:pt x="269573" y="440343"/>
                  </a:lnTo>
                  <a:lnTo>
                    <a:pt x="269371" y="432303"/>
                  </a:lnTo>
                  <a:lnTo>
                    <a:pt x="267621" y="426012"/>
                  </a:lnTo>
                  <a:lnTo>
                    <a:pt x="268496" y="421437"/>
                  </a:lnTo>
                  <a:lnTo>
                    <a:pt x="271222" y="423826"/>
                  </a:lnTo>
                  <a:lnTo>
                    <a:pt x="274319" y="425340"/>
                  </a:lnTo>
                  <a:lnTo>
                    <a:pt x="274453" y="423388"/>
                  </a:lnTo>
                  <a:lnTo>
                    <a:pt x="274789" y="421000"/>
                  </a:lnTo>
                  <a:lnTo>
                    <a:pt x="274789" y="419486"/>
                  </a:lnTo>
                  <a:lnTo>
                    <a:pt x="276539" y="416425"/>
                  </a:lnTo>
                  <a:lnTo>
                    <a:pt x="276539" y="414272"/>
                  </a:lnTo>
                  <a:lnTo>
                    <a:pt x="275664" y="407981"/>
                  </a:lnTo>
                  <a:lnTo>
                    <a:pt x="273713" y="403844"/>
                  </a:lnTo>
                  <a:lnTo>
                    <a:pt x="271525" y="400782"/>
                  </a:lnTo>
                  <a:lnTo>
                    <a:pt x="272703" y="397721"/>
                  </a:lnTo>
                  <a:lnTo>
                    <a:pt x="275160" y="396006"/>
                  </a:lnTo>
                  <a:lnTo>
                    <a:pt x="276506" y="392743"/>
                  </a:lnTo>
                  <a:lnTo>
                    <a:pt x="276506" y="389917"/>
                  </a:lnTo>
                  <a:lnTo>
                    <a:pt x="276506" y="382953"/>
                  </a:lnTo>
                  <a:lnTo>
                    <a:pt x="275631" y="380902"/>
                  </a:lnTo>
                  <a:lnTo>
                    <a:pt x="281049" y="380363"/>
                  </a:lnTo>
                  <a:lnTo>
                    <a:pt x="284314" y="380363"/>
                  </a:lnTo>
                  <a:lnTo>
                    <a:pt x="286939" y="377739"/>
                  </a:lnTo>
                  <a:lnTo>
                    <a:pt x="286939" y="374174"/>
                  </a:lnTo>
                  <a:lnTo>
                    <a:pt x="290203" y="369397"/>
                  </a:lnTo>
                  <a:lnTo>
                    <a:pt x="293468" y="363745"/>
                  </a:lnTo>
                  <a:lnTo>
                    <a:pt x="292155" y="358094"/>
                  </a:lnTo>
                  <a:lnTo>
                    <a:pt x="291179" y="355470"/>
                  </a:lnTo>
                  <a:lnTo>
                    <a:pt x="287545" y="354595"/>
                  </a:lnTo>
                  <a:lnTo>
                    <a:pt x="281285" y="352644"/>
                  </a:lnTo>
                  <a:lnTo>
                    <a:pt x="280006" y="350256"/>
                  </a:lnTo>
                  <a:lnTo>
                    <a:pt x="280006" y="348069"/>
                  </a:lnTo>
                  <a:lnTo>
                    <a:pt x="283270" y="346993"/>
                  </a:lnTo>
                  <a:lnTo>
                    <a:pt x="286535" y="346555"/>
                  </a:lnTo>
                  <a:lnTo>
                    <a:pt x="289564" y="348069"/>
                  </a:lnTo>
                  <a:lnTo>
                    <a:pt x="291852" y="348507"/>
                  </a:lnTo>
                  <a:cubicBezTo>
                    <a:pt x="291852" y="348507"/>
                    <a:pt x="295386" y="350996"/>
                    <a:pt x="296261" y="350996"/>
                  </a:cubicBezTo>
                  <a:cubicBezTo>
                    <a:pt x="297136" y="350996"/>
                    <a:pt x="301545" y="352409"/>
                    <a:pt x="301545" y="352409"/>
                  </a:cubicBezTo>
                  <a:lnTo>
                    <a:pt x="305247" y="352409"/>
                  </a:lnTo>
                  <a:lnTo>
                    <a:pt x="306122" y="346757"/>
                  </a:lnTo>
                  <a:lnTo>
                    <a:pt x="306122" y="342855"/>
                  </a:lnTo>
                  <a:lnTo>
                    <a:pt x="306122" y="335892"/>
                  </a:lnTo>
                  <a:lnTo>
                    <a:pt x="308511" y="332427"/>
                  </a:lnTo>
                  <a:lnTo>
                    <a:pt x="310901" y="330274"/>
                  </a:lnTo>
                  <a:lnTo>
                    <a:pt x="313728" y="329399"/>
                  </a:lnTo>
                  <a:lnTo>
                    <a:pt x="316218" y="325934"/>
                  </a:lnTo>
                  <a:lnTo>
                    <a:pt x="318877" y="324622"/>
                  </a:lnTo>
                  <a:lnTo>
                    <a:pt x="320863" y="320922"/>
                  </a:lnTo>
                  <a:lnTo>
                    <a:pt x="317834" y="317895"/>
                  </a:lnTo>
                  <a:lnTo>
                    <a:pt x="312954" y="315506"/>
                  </a:lnTo>
                  <a:lnTo>
                    <a:pt x="309588" y="315069"/>
                  </a:lnTo>
                  <a:lnTo>
                    <a:pt x="309588" y="313319"/>
                  </a:lnTo>
                  <a:lnTo>
                    <a:pt x="311776" y="310494"/>
                  </a:lnTo>
                  <a:lnTo>
                    <a:pt x="314165" y="309619"/>
                  </a:lnTo>
                  <a:lnTo>
                    <a:pt x="318305" y="307432"/>
                  </a:lnTo>
                  <a:lnTo>
                    <a:pt x="320795" y="306625"/>
                  </a:lnTo>
                  <a:lnTo>
                    <a:pt x="323319" y="307702"/>
                  </a:lnTo>
                  <a:lnTo>
                    <a:pt x="324800" y="309720"/>
                  </a:lnTo>
                  <a:lnTo>
                    <a:pt x="325238" y="313353"/>
                  </a:lnTo>
                  <a:lnTo>
                    <a:pt x="325238" y="316683"/>
                  </a:lnTo>
                  <a:lnTo>
                    <a:pt x="325238" y="320216"/>
                  </a:lnTo>
                  <a:lnTo>
                    <a:pt x="325238" y="323680"/>
                  </a:lnTo>
                  <a:lnTo>
                    <a:pt x="323218" y="326506"/>
                  </a:lnTo>
                  <a:lnTo>
                    <a:pt x="321637" y="328693"/>
                  </a:lnTo>
                  <a:lnTo>
                    <a:pt x="320829" y="331956"/>
                  </a:lnTo>
                  <a:lnTo>
                    <a:pt x="319920" y="336026"/>
                  </a:lnTo>
                  <a:lnTo>
                    <a:pt x="321132" y="338785"/>
                  </a:lnTo>
                  <a:lnTo>
                    <a:pt x="322478" y="341678"/>
                  </a:lnTo>
                  <a:lnTo>
                    <a:pt x="324968" y="341913"/>
                  </a:lnTo>
                  <a:lnTo>
                    <a:pt x="327358" y="342048"/>
                  </a:lnTo>
                  <a:lnTo>
                    <a:pt x="329545" y="340366"/>
                  </a:lnTo>
                  <a:cubicBezTo>
                    <a:pt x="329545" y="340366"/>
                    <a:pt x="331127" y="338482"/>
                    <a:pt x="331363" y="338415"/>
                  </a:cubicBezTo>
                  <a:cubicBezTo>
                    <a:pt x="331565" y="338347"/>
                    <a:pt x="333113" y="336531"/>
                    <a:pt x="333618" y="336329"/>
                  </a:cubicBezTo>
                  <a:cubicBezTo>
                    <a:pt x="334122" y="336127"/>
                    <a:pt x="336882" y="334748"/>
                    <a:pt x="336882" y="334748"/>
                  </a:cubicBezTo>
                  <a:lnTo>
                    <a:pt x="340517" y="332629"/>
                  </a:lnTo>
                  <a:lnTo>
                    <a:pt x="344421" y="332124"/>
                  </a:lnTo>
                  <a:lnTo>
                    <a:pt x="349637" y="333436"/>
                  </a:lnTo>
                  <a:lnTo>
                    <a:pt x="353979" y="330846"/>
                  </a:lnTo>
                  <a:lnTo>
                    <a:pt x="353407" y="325766"/>
                  </a:lnTo>
                  <a:lnTo>
                    <a:pt x="350512" y="321124"/>
                  </a:lnTo>
                  <a:lnTo>
                    <a:pt x="346945" y="318803"/>
                  </a:lnTo>
                  <a:lnTo>
                    <a:pt x="344421" y="315472"/>
                  </a:lnTo>
                  <a:lnTo>
                    <a:pt x="344421" y="309821"/>
                  </a:lnTo>
                  <a:lnTo>
                    <a:pt x="346003" y="309821"/>
                  </a:lnTo>
                  <a:lnTo>
                    <a:pt x="350782" y="308946"/>
                  </a:lnTo>
                  <a:lnTo>
                    <a:pt x="353979" y="308946"/>
                  </a:lnTo>
                  <a:lnTo>
                    <a:pt x="359498" y="309384"/>
                  </a:lnTo>
                  <a:lnTo>
                    <a:pt x="362258" y="314295"/>
                  </a:lnTo>
                  <a:lnTo>
                    <a:pt x="363133" y="319745"/>
                  </a:lnTo>
                  <a:lnTo>
                    <a:pt x="364445" y="321225"/>
                  </a:lnTo>
                  <a:lnTo>
                    <a:pt x="365320" y="319106"/>
                  </a:lnTo>
                  <a:lnTo>
                    <a:pt x="365320" y="313319"/>
                  </a:lnTo>
                  <a:cubicBezTo>
                    <a:pt x="365320" y="313319"/>
                    <a:pt x="368450" y="309855"/>
                    <a:pt x="368585" y="309417"/>
                  </a:cubicBezTo>
                  <a:cubicBezTo>
                    <a:pt x="368719" y="308980"/>
                    <a:pt x="370537" y="305078"/>
                    <a:pt x="370537" y="305078"/>
                  </a:cubicBezTo>
                  <a:lnTo>
                    <a:pt x="370537" y="301176"/>
                  </a:lnTo>
                  <a:lnTo>
                    <a:pt x="365758" y="298417"/>
                  </a:lnTo>
                  <a:cubicBezTo>
                    <a:pt x="365758" y="298417"/>
                    <a:pt x="363301" y="294784"/>
                    <a:pt x="362864" y="294347"/>
                  </a:cubicBezTo>
                  <a:cubicBezTo>
                    <a:pt x="362426" y="293909"/>
                    <a:pt x="360171" y="289570"/>
                    <a:pt x="360171" y="289570"/>
                  </a:cubicBezTo>
                  <a:lnTo>
                    <a:pt x="356806" y="280891"/>
                  </a:lnTo>
                  <a:lnTo>
                    <a:pt x="353238" y="275811"/>
                  </a:lnTo>
                  <a:lnTo>
                    <a:pt x="348762" y="270294"/>
                  </a:lnTo>
                  <a:lnTo>
                    <a:pt x="348055" y="266830"/>
                  </a:lnTo>
                  <a:lnTo>
                    <a:pt x="349806" y="263062"/>
                  </a:lnTo>
                  <a:lnTo>
                    <a:pt x="353710" y="261178"/>
                  </a:lnTo>
                  <a:lnTo>
                    <a:pt x="357479" y="259597"/>
                  </a:lnTo>
                  <a:lnTo>
                    <a:pt x="361955" y="258722"/>
                  </a:lnTo>
                  <a:lnTo>
                    <a:pt x="363705" y="255829"/>
                  </a:lnTo>
                  <a:lnTo>
                    <a:pt x="365455" y="253508"/>
                  </a:lnTo>
                  <a:lnTo>
                    <a:pt x="366768" y="252062"/>
                  </a:lnTo>
                  <a:lnTo>
                    <a:pt x="368787" y="249169"/>
                  </a:lnTo>
                  <a:lnTo>
                    <a:pt x="368046" y="245704"/>
                  </a:lnTo>
                  <a:lnTo>
                    <a:pt x="365152" y="243517"/>
                  </a:lnTo>
                  <a:lnTo>
                    <a:pt x="359363" y="242374"/>
                  </a:lnTo>
                  <a:cubicBezTo>
                    <a:pt x="359363" y="242374"/>
                    <a:pt x="356469" y="241936"/>
                    <a:pt x="356032" y="241499"/>
                  </a:cubicBezTo>
                  <a:cubicBezTo>
                    <a:pt x="355594" y="241062"/>
                    <a:pt x="351959" y="238740"/>
                    <a:pt x="351959" y="238740"/>
                  </a:cubicBezTo>
                  <a:lnTo>
                    <a:pt x="353407" y="237866"/>
                  </a:lnTo>
                  <a:lnTo>
                    <a:pt x="354551" y="238236"/>
                  </a:lnTo>
                  <a:lnTo>
                    <a:pt x="359330" y="239481"/>
                  </a:lnTo>
                  <a:lnTo>
                    <a:pt x="364412" y="239481"/>
                  </a:lnTo>
                  <a:lnTo>
                    <a:pt x="369628" y="239481"/>
                  </a:lnTo>
                  <a:lnTo>
                    <a:pt x="371210" y="236453"/>
                  </a:lnTo>
                  <a:lnTo>
                    <a:pt x="371345" y="232248"/>
                  </a:lnTo>
                  <a:lnTo>
                    <a:pt x="368450" y="228850"/>
                  </a:lnTo>
                  <a:lnTo>
                    <a:pt x="368753" y="226899"/>
                  </a:lnTo>
                  <a:lnTo>
                    <a:pt x="368753" y="222997"/>
                  </a:lnTo>
                  <a:lnTo>
                    <a:pt x="370503" y="220407"/>
                  </a:lnTo>
                  <a:lnTo>
                    <a:pt x="367407" y="220407"/>
                  </a:lnTo>
                  <a:lnTo>
                    <a:pt x="365152" y="222156"/>
                  </a:lnTo>
                  <a:lnTo>
                    <a:pt x="362695" y="222156"/>
                  </a:lnTo>
                  <a:lnTo>
                    <a:pt x="359498" y="220340"/>
                  </a:lnTo>
                  <a:lnTo>
                    <a:pt x="356166" y="220407"/>
                  </a:lnTo>
                  <a:lnTo>
                    <a:pt x="352262" y="220407"/>
                  </a:lnTo>
                  <a:lnTo>
                    <a:pt x="348628" y="219835"/>
                  </a:lnTo>
                  <a:lnTo>
                    <a:pt x="343411" y="219700"/>
                  </a:lnTo>
                  <a:lnTo>
                    <a:pt x="340652" y="218187"/>
                  </a:lnTo>
                  <a:lnTo>
                    <a:pt x="339642" y="213443"/>
                  </a:lnTo>
                  <a:lnTo>
                    <a:pt x="342839" y="208768"/>
                  </a:lnTo>
                  <a:lnTo>
                    <a:pt x="345296" y="206715"/>
                  </a:lnTo>
                  <a:lnTo>
                    <a:pt x="348190" y="203217"/>
                  </a:lnTo>
                  <a:lnTo>
                    <a:pt x="348459" y="197700"/>
                  </a:lnTo>
                  <a:lnTo>
                    <a:pt x="348594" y="196085"/>
                  </a:lnTo>
                  <a:lnTo>
                    <a:pt x="350344" y="196085"/>
                  </a:lnTo>
                  <a:lnTo>
                    <a:pt x="352229" y="196085"/>
                  </a:lnTo>
                  <a:lnTo>
                    <a:pt x="354854" y="195076"/>
                  </a:lnTo>
                  <a:lnTo>
                    <a:pt x="354854" y="198844"/>
                  </a:lnTo>
                  <a:lnTo>
                    <a:pt x="354854" y="202174"/>
                  </a:lnTo>
                  <a:lnTo>
                    <a:pt x="354854" y="205639"/>
                  </a:lnTo>
                  <a:lnTo>
                    <a:pt x="356873" y="206076"/>
                  </a:lnTo>
                  <a:lnTo>
                    <a:pt x="359767" y="206379"/>
                  </a:lnTo>
                  <a:lnTo>
                    <a:pt x="362594" y="206682"/>
                  </a:lnTo>
                  <a:lnTo>
                    <a:pt x="364715" y="206379"/>
                  </a:lnTo>
                  <a:lnTo>
                    <a:pt x="367239" y="205504"/>
                  </a:lnTo>
                  <a:lnTo>
                    <a:pt x="368988" y="203755"/>
                  </a:lnTo>
                  <a:lnTo>
                    <a:pt x="369864" y="201165"/>
                  </a:lnTo>
                  <a:lnTo>
                    <a:pt x="369729" y="197835"/>
                  </a:lnTo>
                  <a:lnTo>
                    <a:pt x="368719" y="195514"/>
                  </a:lnTo>
                  <a:lnTo>
                    <a:pt x="368719" y="191746"/>
                  </a:lnTo>
                  <a:lnTo>
                    <a:pt x="370873" y="189997"/>
                  </a:lnTo>
                  <a:lnTo>
                    <a:pt x="370806" y="187675"/>
                  </a:lnTo>
                  <a:lnTo>
                    <a:pt x="372287" y="187238"/>
                  </a:lnTo>
                  <a:lnTo>
                    <a:pt x="373095" y="187373"/>
                  </a:lnTo>
                  <a:lnTo>
                    <a:pt x="374508" y="188819"/>
                  </a:lnTo>
                  <a:cubicBezTo>
                    <a:pt x="374508" y="188819"/>
                    <a:pt x="375652" y="189694"/>
                    <a:pt x="376090" y="189963"/>
                  </a:cubicBezTo>
                  <a:cubicBezTo>
                    <a:pt x="376527" y="190266"/>
                    <a:pt x="374912" y="196489"/>
                    <a:pt x="374912" y="196489"/>
                  </a:cubicBezTo>
                  <a:lnTo>
                    <a:pt x="373902" y="198810"/>
                  </a:lnTo>
                  <a:lnTo>
                    <a:pt x="373902" y="202140"/>
                  </a:lnTo>
                  <a:lnTo>
                    <a:pt x="376224" y="206480"/>
                  </a:lnTo>
                  <a:lnTo>
                    <a:pt x="378984" y="208229"/>
                  </a:lnTo>
                  <a:lnTo>
                    <a:pt x="381744" y="208229"/>
                  </a:lnTo>
                  <a:lnTo>
                    <a:pt x="383124" y="206480"/>
                  </a:lnTo>
                  <a:lnTo>
                    <a:pt x="384369" y="206480"/>
                  </a:lnTo>
                  <a:lnTo>
                    <a:pt x="384369" y="209104"/>
                  </a:lnTo>
                  <a:lnTo>
                    <a:pt x="386994" y="212434"/>
                  </a:lnTo>
                  <a:lnTo>
                    <a:pt x="388441" y="211291"/>
                  </a:lnTo>
                  <a:lnTo>
                    <a:pt x="390629" y="209541"/>
                  </a:lnTo>
                  <a:lnTo>
                    <a:pt x="391335" y="206480"/>
                  </a:lnTo>
                  <a:lnTo>
                    <a:pt x="391335" y="203890"/>
                  </a:lnTo>
                  <a:lnTo>
                    <a:pt x="391032" y="200559"/>
                  </a:lnTo>
                  <a:lnTo>
                    <a:pt x="391167" y="194605"/>
                  </a:lnTo>
                  <a:lnTo>
                    <a:pt x="391235" y="190838"/>
                  </a:lnTo>
                  <a:lnTo>
                    <a:pt x="389619" y="186363"/>
                  </a:lnTo>
                  <a:lnTo>
                    <a:pt x="389383" y="183740"/>
                  </a:lnTo>
                  <a:lnTo>
                    <a:pt x="386792" y="181284"/>
                  </a:lnTo>
                  <a:lnTo>
                    <a:pt x="385951" y="178256"/>
                  </a:lnTo>
                  <a:lnTo>
                    <a:pt x="387835" y="176507"/>
                  </a:lnTo>
                  <a:lnTo>
                    <a:pt x="388710" y="173480"/>
                  </a:lnTo>
                  <a:lnTo>
                    <a:pt x="388576" y="169846"/>
                  </a:lnTo>
                  <a:lnTo>
                    <a:pt x="386691" y="167088"/>
                  </a:lnTo>
                  <a:cubicBezTo>
                    <a:pt x="386691" y="167088"/>
                    <a:pt x="384369" y="165944"/>
                    <a:pt x="384369" y="165507"/>
                  </a:cubicBezTo>
                  <a:cubicBezTo>
                    <a:pt x="384369" y="165070"/>
                    <a:pt x="384369" y="163926"/>
                    <a:pt x="384369" y="163926"/>
                  </a:cubicBezTo>
                  <a:lnTo>
                    <a:pt x="387128" y="160898"/>
                  </a:lnTo>
                  <a:lnTo>
                    <a:pt x="387869" y="159317"/>
                  </a:lnTo>
                  <a:lnTo>
                    <a:pt x="387802" y="156424"/>
                  </a:lnTo>
                  <a:lnTo>
                    <a:pt x="387330" y="155247"/>
                  </a:lnTo>
                  <a:lnTo>
                    <a:pt x="384773" y="155112"/>
                  </a:lnTo>
                  <a:lnTo>
                    <a:pt x="381037" y="154978"/>
                  </a:lnTo>
                  <a:lnTo>
                    <a:pt x="374676" y="155718"/>
                  </a:lnTo>
                  <a:cubicBezTo>
                    <a:pt x="374676" y="155718"/>
                    <a:pt x="372220" y="157467"/>
                    <a:pt x="371782" y="158039"/>
                  </a:cubicBezTo>
                  <a:cubicBezTo>
                    <a:pt x="371345" y="158611"/>
                    <a:pt x="369460" y="162816"/>
                    <a:pt x="369460" y="162816"/>
                  </a:cubicBezTo>
                  <a:cubicBezTo>
                    <a:pt x="369460" y="162816"/>
                    <a:pt x="368753" y="165709"/>
                    <a:pt x="368585" y="166281"/>
                  </a:cubicBezTo>
                  <a:cubicBezTo>
                    <a:pt x="368450" y="166853"/>
                    <a:pt x="368147" y="169308"/>
                    <a:pt x="368147" y="169308"/>
                  </a:cubicBezTo>
                  <a:lnTo>
                    <a:pt x="364378" y="169611"/>
                  </a:lnTo>
                  <a:lnTo>
                    <a:pt x="359599" y="169745"/>
                  </a:lnTo>
                  <a:lnTo>
                    <a:pt x="355830" y="170048"/>
                  </a:lnTo>
                  <a:lnTo>
                    <a:pt x="352801" y="171057"/>
                  </a:lnTo>
                  <a:lnTo>
                    <a:pt x="348459" y="173379"/>
                  </a:lnTo>
                  <a:lnTo>
                    <a:pt x="346305" y="174522"/>
                  </a:lnTo>
                  <a:lnTo>
                    <a:pt x="342671" y="175834"/>
                  </a:lnTo>
                  <a:lnTo>
                    <a:pt x="340483" y="177853"/>
                  </a:lnTo>
                  <a:lnTo>
                    <a:pt x="337589" y="178425"/>
                  </a:lnTo>
                  <a:cubicBezTo>
                    <a:pt x="337589" y="178425"/>
                    <a:pt x="337151" y="177987"/>
                    <a:pt x="337151" y="177415"/>
                  </a:cubicBezTo>
                  <a:cubicBezTo>
                    <a:pt x="337151" y="176844"/>
                    <a:pt x="336714" y="175397"/>
                    <a:pt x="336849" y="174825"/>
                  </a:cubicBezTo>
                  <a:cubicBezTo>
                    <a:pt x="336983" y="174253"/>
                    <a:pt x="337724" y="172067"/>
                    <a:pt x="337724" y="172067"/>
                  </a:cubicBezTo>
                  <a:cubicBezTo>
                    <a:pt x="337724" y="172067"/>
                    <a:pt x="338026" y="171192"/>
                    <a:pt x="339036" y="170486"/>
                  </a:cubicBezTo>
                  <a:cubicBezTo>
                    <a:pt x="340046" y="169745"/>
                    <a:pt x="340786" y="169914"/>
                    <a:pt x="341190" y="169611"/>
                  </a:cubicBezTo>
                  <a:cubicBezTo>
                    <a:pt x="341628" y="169308"/>
                    <a:pt x="343075" y="168602"/>
                    <a:pt x="343815" y="168165"/>
                  </a:cubicBezTo>
                  <a:cubicBezTo>
                    <a:pt x="344522" y="167727"/>
                    <a:pt x="345835" y="166853"/>
                    <a:pt x="346406" y="166853"/>
                  </a:cubicBezTo>
                  <a:cubicBezTo>
                    <a:pt x="346979" y="166853"/>
                    <a:pt x="351488" y="165978"/>
                    <a:pt x="351488" y="165978"/>
                  </a:cubicBezTo>
                  <a:cubicBezTo>
                    <a:pt x="351488" y="165978"/>
                    <a:pt x="354820" y="166113"/>
                    <a:pt x="355392" y="165843"/>
                  </a:cubicBezTo>
                  <a:cubicBezTo>
                    <a:pt x="355964" y="165541"/>
                    <a:pt x="357849" y="162513"/>
                    <a:pt x="357849" y="162513"/>
                  </a:cubicBezTo>
                  <a:lnTo>
                    <a:pt x="359296" y="160192"/>
                  </a:lnTo>
                  <a:lnTo>
                    <a:pt x="364075" y="157299"/>
                  </a:lnTo>
                  <a:lnTo>
                    <a:pt x="365522" y="155718"/>
                  </a:lnTo>
                  <a:lnTo>
                    <a:pt x="367272" y="153094"/>
                  </a:lnTo>
                  <a:lnTo>
                    <a:pt x="369292" y="150066"/>
                  </a:lnTo>
                  <a:lnTo>
                    <a:pt x="371614" y="146871"/>
                  </a:lnTo>
                  <a:lnTo>
                    <a:pt x="373364" y="143103"/>
                  </a:lnTo>
                  <a:lnTo>
                    <a:pt x="376998" y="140075"/>
                  </a:lnTo>
                  <a:lnTo>
                    <a:pt x="379758" y="137182"/>
                  </a:lnTo>
                  <a:lnTo>
                    <a:pt x="382955" y="134727"/>
                  </a:lnTo>
                  <a:lnTo>
                    <a:pt x="387903" y="133583"/>
                  </a:lnTo>
                  <a:lnTo>
                    <a:pt x="393119" y="133280"/>
                  </a:lnTo>
                  <a:lnTo>
                    <a:pt x="398470" y="132977"/>
                  </a:lnTo>
                  <a:lnTo>
                    <a:pt x="400355" y="132675"/>
                  </a:lnTo>
                  <a:lnTo>
                    <a:pt x="401297" y="131363"/>
                  </a:lnTo>
                  <a:lnTo>
                    <a:pt x="401802" y="130051"/>
                  </a:lnTo>
                  <a:lnTo>
                    <a:pt x="401802" y="127460"/>
                  </a:lnTo>
                  <a:lnTo>
                    <a:pt x="401196" y="126317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</p:grpSp>
      <p:sp>
        <p:nvSpPr>
          <p:cNvPr id="730" name="椭圆 193">
            <a:extLst>
              <a:ext uri="{FF2B5EF4-FFF2-40B4-BE49-F238E27FC236}">
                <a16:creationId xmlns:a16="http://schemas.microsoft.com/office/drawing/2014/main" id="{C2950FE0-14E8-787A-9E80-8C36FC13031A}"/>
              </a:ext>
            </a:extLst>
          </p:cNvPr>
          <p:cNvSpPr/>
          <p:nvPr/>
        </p:nvSpPr>
        <p:spPr>
          <a:xfrm>
            <a:off x="8503436" y="3824600"/>
            <a:ext cx="151074" cy="151074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32" name="椭圆 232">
            <a:extLst>
              <a:ext uri="{FF2B5EF4-FFF2-40B4-BE49-F238E27FC236}">
                <a16:creationId xmlns:a16="http://schemas.microsoft.com/office/drawing/2014/main" id="{3EB6148B-7718-2482-256D-D6FAF39430B1}"/>
              </a:ext>
            </a:extLst>
          </p:cNvPr>
          <p:cNvSpPr/>
          <p:nvPr/>
        </p:nvSpPr>
        <p:spPr>
          <a:xfrm>
            <a:off x="8630156" y="2309146"/>
            <a:ext cx="190182" cy="19018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33" name="椭圆 244">
            <a:extLst>
              <a:ext uri="{FF2B5EF4-FFF2-40B4-BE49-F238E27FC236}">
                <a16:creationId xmlns:a16="http://schemas.microsoft.com/office/drawing/2014/main" id="{B84D0B5F-E711-CB47-560C-3ACC252AA54F}"/>
              </a:ext>
            </a:extLst>
          </p:cNvPr>
          <p:cNvSpPr/>
          <p:nvPr/>
        </p:nvSpPr>
        <p:spPr>
          <a:xfrm>
            <a:off x="8806625" y="3101233"/>
            <a:ext cx="190629" cy="190629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34" name="五角星 267">
            <a:extLst>
              <a:ext uri="{FF2B5EF4-FFF2-40B4-BE49-F238E27FC236}">
                <a16:creationId xmlns:a16="http://schemas.microsoft.com/office/drawing/2014/main" id="{3D891A2C-5EB6-7C32-5E83-435BA2BEF16B}"/>
              </a:ext>
            </a:extLst>
          </p:cNvPr>
          <p:cNvSpPr/>
          <p:nvPr/>
        </p:nvSpPr>
        <p:spPr>
          <a:xfrm>
            <a:off x="8834387" y="2931481"/>
            <a:ext cx="112226" cy="11222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35" name="五角星 277">
            <a:extLst>
              <a:ext uri="{FF2B5EF4-FFF2-40B4-BE49-F238E27FC236}">
                <a16:creationId xmlns:a16="http://schemas.microsoft.com/office/drawing/2014/main" id="{F07D4273-0AA0-D39E-1BB7-11746DB105ED}"/>
              </a:ext>
            </a:extLst>
          </p:cNvPr>
          <p:cNvSpPr/>
          <p:nvPr/>
        </p:nvSpPr>
        <p:spPr>
          <a:xfrm>
            <a:off x="8702164" y="3029226"/>
            <a:ext cx="112226" cy="11222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36" name="五角星 278">
            <a:extLst>
              <a:ext uri="{FF2B5EF4-FFF2-40B4-BE49-F238E27FC236}">
                <a16:creationId xmlns:a16="http://schemas.microsoft.com/office/drawing/2014/main" id="{90946E7E-ACBF-663B-226F-69DADFC3FE0F}"/>
              </a:ext>
            </a:extLst>
          </p:cNvPr>
          <p:cNvSpPr/>
          <p:nvPr/>
        </p:nvSpPr>
        <p:spPr>
          <a:xfrm>
            <a:off x="8630156" y="3173242"/>
            <a:ext cx="112226" cy="11222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37" name="五角星 279">
            <a:extLst>
              <a:ext uri="{FF2B5EF4-FFF2-40B4-BE49-F238E27FC236}">
                <a16:creationId xmlns:a16="http://schemas.microsoft.com/office/drawing/2014/main" id="{4DEE5F98-B1BC-3522-5BE6-28BF8933057A}"/>
              </a:ext>
            </a:extLst>
          </p:cNvPr>
          <p:cNvSpPr/>
          <p:nvPr/>
        </p:nvSpPr>
        <p:spPr>
          <a:xfrm>
            <a:off x="8918188" y="3317258"/>
            <a:ext cx="112226" cy="11222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38" name="五角星 280">
            <a:extLst>
              <a:ext uri="{FF2B5EF4-FFF2-40B4-BE49-F238E27FC236}">
                <a16:creationId xmlns:a16="http://schemas.microsoft.com/office/drawing/2014/main" id="{79EE57D9-7C46-398C-B1EB-035C05ADE802}"/>
              </a:ext>
            </a:extLst>
          </p:cNvPr>
          <p:cNvSpPr/>
          <p:nvPr/>
        </p:nvSpPr>
        <p:spPr>
          <a:xfrm>
            <a:off x="8126100" y="3317258"/>
            <a:ext cx="112226" cy="11222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40" name="五角星 282">
            <a:extLst>
              <a:ext uri="{FF2B5EF4-FFF2-40B4-BE49-F238E27FC236}">
                <a16:creationId xmlns:a16="http://schemas.microsoft.com/office/drawing/2014/main" id="{E1F2CC03-1F2E-333D-E223-0D34A755A8BE}"/>
              </a:ext>
            </a:extLst>
          </p:cNvPr>
          <p:cNvSpPr/>
          <p:nvPr/>
        </p:nvSpPr>
        <p:spPr>
          <a:xfrm>
            <a:off x="7982084" y="2957218"/>
            <a:ext cx="112226" cy="11222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41" name="五角星 283">
            <a:extLst>
              <a:ext uri="{FF2B5EF4-FFF2-40B4-BE49-F238E27FC236}">
                <a16:creationId xmlns:a16="http://schemas.microsoft.com/office/drawing/2014/main" id="{156CD711-BC4B-A648-20B6-A33FCD39EE34}"/>
              </a:ext>
            </a:extLst>
          </p:cNvPr>
          <p:cNvSpPr/>
          <p:nvPr/>
        </p:nvSpPr>
        <p:spPr>
          <a:xfrm>
            <a:off x="8486140" y="2237138"/>
            <a:ext cx="112226" cy="11222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42" name="五角星 284">
            <a:extLst>
              <a:ext uri="{FF2B5EF4-FFF2-40B4-BE49-F238E27FC236}">
                <a16:creationId xmlns:a16="http://schemas.microsoft.com/office/drawing/2014/main" id="{875733C7-96D1-47A2-AD28-77A9024E862D}"/>
              </a:ext>
            </a:extLst>
          </p:cNvPr>
          <p:cNvSpPr/>
          <p:nvPr/>
        </p:nvSpPr>
        <p:spPr>
          <a:xfrm>
            <a:off x="8486140" y="2453162"/>
            <a:ext cx="112226" cy="11222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44" name="椭圆 286">
            <a:extLst>
              <a:ext uri="{FF2B5EF4-FFF2-40B4-BE49-F238E27FC236}">
                <a16:creationId xmlns:a16="http://schemas.microsoft.com/office/drawing/2014/main" id="{F7819B87-B76A-4C69-1AB3-C215B6BE948A}"/>
              </a:ext>
            </a:extLst>
          </p:cNvPr>
          <p:cNvSpPr/>
          <p:nvPr/>
        </p:nvSpPr>
        <p:spPr>
          <a:xfrm>
            <a:off x="8126100" y="2165130"/>
            <a:ext cx="914400" cy="620223"/>
          </a:xfrm>
          <a:prstGeom prst="ellipse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45" name="椭圆 287">
            <a:extLst>
              <a:ext uri="{FF2B5EF4-FFF2-40B4-BE49-F238E27FC236}">
                <a16:creationId xmlns:a16="http://schemas.microsoft.com/office/drawing/2014/main" id="{A2CBF639-AF80-657E-8384-4C29F672A365}"/>
              </a:ext>
            </a:extLst>
          </p:cNvPr>
          <p:cNvSpPr/>
          <p:nvPr/>
        </p:nvSpPr>
        <p:spPr>
          <a:xfrm>
            <a:off x="8414132" y="2813202"/>
            <a:ext cx="769991" cy="772819"/>
          </a:xfrm>
          <a:prstGeom prst="ellipse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46" name="椭圆 288">
            <a:extLst>
              <a:ext uri="{FF2B5EF4-FFF2-40B4-BE49-F238E27FC236}">
                <a16:creationId xmlns:a16="http://schemas.microsoft.com/office/drawing/2014/main" id="{C0C85445-ED6C-0C4B-E8AF-49FA1AEBE478}"/>
              </a:ext>
            </a:extLst>
          </p:cNvPr>
          <p:cNvSpPr/>
          <p:nvPr/>
        </p:nvSpPr>
        <p:spPr>
          <a:xfrm>
            <a:off x="8078654" y="3431348"/>
            <a:ext cx="673421" cy="645994"/>
          </a:xfrm>
          <a:prstGeom prst="ellipse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47" name="椭圆 289">
            <a:extLst>
              <a:ext uri="{FF2B5EF4-FFF2-40B4-BE49-F238E27FC236}">
                <a16:creationId xmlns:a16="http://schemas.microsoft.com/office/drawing/2014/main" id="{0CF6C29A-2607-691D-3230-ED74A9CE29F2}"/>
              </a:ext>
            </a:extLst>
          </p:cNvPr>
          <p:cNvSpPr/>
          <p:nvPr/>
        </p:nvSpPr>
        <p:spPr>
          <a:xfrm>
            <a:off x="5401099" y="3558830"/>
            <a:ext cx="190629" cy="190629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48" name="椭圆 290">
            <a:extLst>
              <a:ext uri="{FF2B5EF4-FFF2-40B4-BE49-F238E27FC236}">
                <a16:creationId xmlns:a16="http://schemas.microsoft.com/office/drawing/2014/main" id="{363B0875-EADF-1F80-CFC2-A26E027314BB}"/>
              </a:ext>
            </a:extLst>
          </p:cNvPr>
          <p:cNvSpPr/>
          <p:nvPr/>
        </p:nvSpPr>
        <p:spPr>
          <a:xfrm>
            <a:off x="8009881" y="1573692"/>
            <a:ext cx="190629" cy="190629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750" name="直线连接符 297">
            <a:extLst>
              <a:ext uri="{FF2B5EF4-FFF2-40B4-BE49-F238E27FC236}">
                <a16:creationId xmlns:a16="http://schemas.microsoft.com/office/drawing/2014/main" id="{0FF5DD54-22F2-60BF-9E8F-F1ACD81A584C}"/>
              </a:ext>
            </a:extLst>
          </p:cNvPr>
          <p:cNvCxnSpPr>
            <a:cxnSpLocks/>
            <a:stCxn id="623" idx="387"/>
          </p:cNvCxnSpPr>
          <p:nvPr/>
        </p:nvCxnSpPr>
        <p:spPr>
          <a:xfrm flipH="1" flipV="1">
            <a:off x="5933628" y="3661025"/>
            <a:ext cx="2050707" cy="49198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2" name="直线连接符 302">
            <a:extLst>
              <a:ext uri="{FF2B5EF4-FFF2-40B4-BE49-F238E27FC236}">
                <a16:creationId xmlns:a16="http://schemas.microsoft.com/office/drawing/2014/main" id="{62FAFAAC-6989-FD5B-7977-482C18BC8B37}"/>
              </a:ext>
            </a:extLst>
          </p:cNvPr>
          <p:cNvCxnSpPr>
            <a:cxnSpLocks/>
            <a:stCxn id="626" idx="164"/>
          </p:cNvCxnSpPr>
          <p:nvPr/>
        </p:nvCxnSpPr>
        <p:spPr>
          <a:xfrm flipH="1" flipV="1">
            <a:off x="7522488" y="1872192"/>
            <a:ext cx="826261" cy="1194630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4" name="文本框 305">
            <a:extLst>
              <a:ext uri="{FF2B5EF4-FFF2-40B4-BE49-F238E27FC236}">
                <a16:creationId xmlns:a16="http://schemas.microsoft.com/office/drawing/2014/main" id="{990F3567-76FC-C8B2-22B3-110A4603FAF2}"/>
              </a:ext>
            </a:extLst>
          </p:cNvPr>
          <p:cNvSpPr txBox="1"/>
          <p:nvPr/>
        </p:nvSpPr>
        <p:spPr>
          <a:xfrm>
            <a:off x="4343168" y="1944918"/>
            <a:ext cx="176462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PRD Zone contains </a:t>
            </a:r>
            <a:r>
              <a:rPr kumimoji="1" lang="en" altLang="zh-CN" sz="1400" b="1" dirty="0">
                <a:solidFill>
                  <a:srgbClr val="C00000"/>
                </a:solidFill>
                <a:ea typeface="DengXian" panose="02010600030101010101" pitchFamily="2" charset="-122"/>
              </a:rPr>
              <a:t>49.7%</a:t>
            </a:r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 card only customer </a:t>
            </a:r>
          </a:p>
          <a:p>
            <a:pPr algn="l"/>
            <a:r>
              <a:rPr kumimoji="1" lang="en-US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b</a:t>
            </a:r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ut only 10.5% GPB </a:t>
            </a:r>
            <a:r>
              <a:rPr kumimoji="1" lang="en-US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dual customer</a:t>
            </a:r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 </a:t>
            </a:r>
            <a:endParaRPr kumimoji="1" lang="zh-CN" altLang="en-US" sz="1400" dirty="0">
              <a:solidFill>
                <a:schemeClr val="tx2"/>
              </a:solidFill>
              <a:ea typeface="DengXian" panose="02010600030101010101" pitchFamily="2" charset="-122"/>
            </a:endParaRPr>
          </a:p>
        </p:txBody>
      </p:sp>
      <p:sp>
        <p:nvSpPr>
          <p:cNvPr id="756" name="文本框 307">
            <a:extLst>
              <a:ext uri="{FF2B5EF4-FFF2-40B4-BE49-F238E27FC236}">
                <a16:creationId xmlns:a16="http://schemas.microsoft.com/office/drawing/2014/main" id="{DC8657AD-2F85-49FD-B52F-2D79DA097C27}"/>
              </a:ext>
            </a:extLst>
          </p:cNvPr>
          <p:cNvSpPr txBox="1"/>
          <p:nvPr/>
        </p:nvSpPr>
        <p:spPr>
          <a:xfrm>
            <a:off x="6161263" y="836448"/>
            <a:ext cx="199691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YRD Zone contains </a:t>
            </a:r>
          </a:p>
          <a:p>
            <a:pPr algn="l"/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23.6% card only customer</a:t>
            </a:r>
          </a:p>
          <a:p>
            <a:pPr algn="l"/>
            <a:r>
              <a:rPr kumimoji="1" lang="en-US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b</a:t>
            </a:r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ut </a:t>
            </a:r>
            <a:r>
              <a:rPr kumimoji="1" lang="en" altLang="zh-CN" sz="1400" b="1" dirty="0">
                <a:solidFill>
                  <a:srgbClr val="C00000"/>
                </a:solidFill>
                <a:ea typeface="DengXian" panose="02010600030101010101" pitchFamily="2" charset="-122"/>
              </a:rPr>
              <a:t>57.8% </a:t>
            </a:r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GPB dual customer</a:t>
            </a:r>
            <a:endParaRPr kumimoji="1" lang="zh-CN" altLang="en-US" sz="1400" dirty="0">
              <a:solidFill>
                <a:schemeClr val="tx2"/>
              </a:solidFill>
              <a:ea typeface="DengXian" panose="02010600030101010101" pitchFamily="2" charset="-122"/>
            </a:endParaRPr>
          </a:p>
        </p:txBody>
      </p:sp>
      <p:sp>
        <p:nvSpPr>
          <p:cNvPr id="759" name="文本框 310">
            <a:extLst>
              <a:ext uri="{FF2B5EF4-FFF2-40B4-BE49-F238E27FC236}">
                <a16:creationId xmlns:a16="http://schemas.microsoft.com/office/drawing/2014/main" id="{FE291362-478B-987E-C13A-477B26B4B39B}"/>
              </a:ext>
            </a:extLst>
          </p:cNvPr>
          <p:cNvSpPr txBox="1"/>
          <p:nvPr/>
        </p:nvSpPr>
        <p:spPr>
          <a:xfrm>
            <a:off x="6214423" y="1917678"/>
            <a:ext cx="12474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- Top: SH, HZ</a:t>
            </a:r>
            <a:endParaRPr kumimoji="1" lang="zh-CN" altLang="en-US" sz="1400" dirty="0">
              <a:solidFill>
                <a:schemeClr val="tx2"/>
              </a:solidFill>
              <a:ea typeface="DengXian" panose="02010600030101010101" pitchFamily="2" charset="-122"/>
            </a:endParaRPr>
          </a:p>
        </p:txBody>
      </p:sp>
      <p:sp>
        <p:nvSpPr>
          <p:cNvPr id="760" name="文本框 311">
            <a:extLst>
              <a:ext uri="{FF2B5EF4-FFF2-40B4-BE49-F238E27FC236}">
                <a16:creationId xmlns:a16="http://schemas.microsoft.com/office/drawing/2014/main" id="{3FEDD184-607A-B641-C1AE-23E40DAB3806}"/>
              </a:ext>
            </a:extLst>
          </p:cNvPr>
          <p:cNvSpPr txBox="1"/>
          <p:nvPr/>
        </p:nvSpPr>
        <p:spPr>
          <a:xfrm>
            <a:off x="4349628" y="2996915"/>
            <a:ext cx="11721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-Top: SZ, GZ</a:t>
            </a:r>
            <a:endParaRPr kumimoji="1" lang="zh-CN" altLang="en-US" sz="1400" dirty="0">
              <a:solidFill>
                <a:schemeClr val="tx2"/>
              </a:solidFill>
              <a:ea typeface="DengXian" panose="02010600030101010101" pitchFamily="2" charset="-122"/>
            </a:endParaRPr>
          </a:p>
        </p:txBody>
      </p:sp>
      <p:sp>
        <p:nvSpPr>
          <p:cNvPr id="787" name="椭圆 14">
            <a:extLst>
              <a:ext uri="{FF2B5EF4-FFF2-40B4-BE49-F238E27FC236}">
                <a16:creationId xmlns:a16="http://schemas.microsoft.com/office/drawing/2014/main" id="{DC456334-4BBA-521D-13FF-B54D3FC4BB77}"/>
              </a:ext>
            </a:extLst>
          </p:cNvPr>
          <p:cNvSpPr/>
          <p:nvPr/>
        </p:nvSpPr>
        <p:spPr>
          <a:xfrm>
            <a:off x="9751073" y="1639560"/>
            <a:ext cx="315686" cy="31568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3</a:t>
            </a:r>
            <a:endParaRPr kumimoji="1" lang="zh-CN" altLang="en-US" dirty="0"/>
          </a:p>
        </p:txBody>
      </p:sp>
      <p:cxnSp>
        <p:nvCxnSpPr>
          <p:cNvPr id="788" name="直线连接符 297">
            <a:extLst>
              <a:ext uri="{FF2B5EF4-FFF2-40B4-BE49-F238E27FC236}">
                <a16:creationId xmlns:a16="http://schemas.microsoft.com/office/drawing/2014/main" id="{F445D34A-5A37-7747-0A62-5208061DC5F7}"/>
              </a:ext>
            </a:extLst>
          </p:cNvPr>
          <p:cNvCxnSpPr>
            <a:cxnSpLocks/>
          </p:cNvCxnSpPr>
          <p:nvPr/>
        </p:nvCxnSpPr>
        <p:spPr>
          <a:xfrm>
            <a:off x="9061516" y="2605679"/>
            <a:ext cx="971170" cy="686183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1" name="文本框 307">
            <a:extLst>
              <a:ext uri="{FF2B5EF4-FFF2-40B4-BE49-F238E27FC236}">
                <a16:creationId xmlns:a16="http://schemas.microsoft.com/office/drawing/2014/main" id="{0DF2DE36-8873-8028-BFA0-205DDF2D633B}"/>
              </a:ext>
            </a:extLst>
          </p:cNvPr>
          <p:cNvSpPr txBox="1"/>
          <p:nvPr/>
        </p:nvSpPr>
        <p:spPr>
          <a:xfrm>
            <a:off x="10026388" y="1640679"/>
            <a:ext cx="199691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This Zone contains </a:t>
            </a:r>
          </a:p>
          <a:p>
            <a:pPr algn="l"/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12.7% card only customer</a:t>
            </a:r>
          </a:p>
          <a:p>
            <a:pPr algn="l"/>
            <a:r>
              <a:rPr kumimoji="1" lang="en-US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b</a:t>
            </a:r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ut </a:t>
            </a:r>
            <a:r>
              <a:rPr kumimoji="1" lang="en" altLang="zh-CN" sz="1400" b="1" dirty="0">
                <a:solidFill>
                  <a:srgbClr val="C00000"/>
                </a:solidFill>
                <a:ea typeface="DengXian" panose="02010600030101010101" pitchFamily="2" charset="-122"/>
              </a:rPr>
              <a:t>25.1% </a:t>
            </a:r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GPB dual customer</a:t>
            </a:r>
            <a:endParaRPr kumimoji="1" lang="zh-CN" altLang="en-US" sz="1400" dirty="0">
              <a:solidFill>
                <a:schemeClr val="tx2"/>
              </a:solidFill>
              <a:ea typeface="DengXian" panose="02010600030101010101" pitchFamily="2" charset="-122"/>
            </a:endParaRPr>
          </a:p>
        </p:txBody>
      </p:sp>
      <p:sp>
        <p:nvSpPr>
          <p:cNvPr id="792" name="文本框 310">
            <a:extLst>
              <a:ext uri="{FF2B5EF4-FFF2-40B4-BE49-F238E27FC236}">
                <a16:creationId xmlns:a16="http://schemas.microsoft.com/office/drawing/2014/main" id="{D053889A-8923-53EE-BE36-F8B52056DAA7}"/>
              </a:ext>
            </a:extLst>
          </p:cNvPr>
          <p:cNvSpPr txBox="1"/>
          <p:nvPr/>
        </p:nvSpPr>
        <p:spPr>
          <a:xfrm>
            <a:off x="10069732" y="2704381"/>
            <a:ext cx="11176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- Top: BJ, TJ</a:t>
            </a:r>
            <a:endParaRPr kumimoji="1" lang="zh-CN" altLang="en-US" sz="1400" dirty="0">
              <a:solidFill>
                <a:schemeClr val="tx2"/>
              </a:solidFill>
              <a:ea typeface="DengXian" panose="02010600030101010101" pitchFamily="2" charset="-122"/>
            </a:endParaRPr>
          </a:p>
        </p:txBody>
      </p:sp>
      <p:grpSp>
        <p:nvGrpSpPr>
          <p:cNvPr id="793" name="组合 152">
            <a:extLst>
              <a:ext uri="{FF2B5EF4-FFF2-40B4-BE49-F238E27FC236}">
                <a16:creationId xmlns:a16="http://schemas.microsoft.com/office/drawing/2014/main" id="{1ADDA879-C92B-C56D-6D4A-1823DBBC4AA7}"/>
              </a:ext>
            </a:extLst>
          </p:cNvPr>
          <p:cNvGrpSpPr/>
          <p:nvPr/>
        </p:nvGrpSpPr>
        <p:grpSpPr>
          <a:xfrm>
            <a:off x="9822150" y="3039532"/>
            <a:ext cx="1258574" cy="1051625"/>
            <a:chOff x="8161999" y="1554834"/>
            <a:chExt cx="1213283" cy="1013782"/>
          </a:xfrm>
          <a:solidFill>
            <a:schemeClr val="tx2"/>
          </a:solidFill>
        </p:grpSpPr>
        <p:sp>
          <p:nvSpPr>
            <p:cNvPr id="794" name="Freeform 933">
              <a:extLst>
                <a:ext uri="{FF2B5EF4-FFF2-40B4-BE49-F238E27FC236}">
                  <a16:creationId xmlns:a16="http://schemas.microsoft.com/office/drawing/2014/main" id="{B247FF08-DE2D-6FA3-D8AA-EFEB51837165}"/>
                </a:ext>
              </a:extLst>
            </p:cNvPr>
            <p:cNvSpPr/>
            <p:nvPr/>
          </p:nvSpPr>
          <p:spPr>
            <a:xfrm>
              <a:off x="8619224" y="2089590"/>
              <a:ext cx="756058" cy="472786"/>
            </a:xfrm>
            <a:custGeom>
              <a:avLst/>
              <a:gdLst>
                <a:gd name="connsiteX0" fmla="*/ 695977 w 697289"/>
                <a:gd name="connsiteY0" fmla="*/ 49820 h 436036"/>
                <a:gd name="connsiteX1" fmla="*/ 693688 w 697289"/>
                <a:gd name="connsiteY1" fmla="*/ 49618 h 436036"/>
                <a:gd name="connsiteX2" fmla="*/ 689347 w 697289"/>
                <a:gd name="connsiteY2" fmla="*/ 51368 h 436036"/>
                <a:gd name="connsiteX3" fmla="*/ 686318 w 697289"/>
                <a:gd name="connsiteY3" fmla="*/ 52007 h 436036"/>
                <a:gd name="connsiteX4" fmla="*/ 680025 w 697289"/>
                <a:gd name="connsiteY4" fmla="*/ 55270 h 436036"/>
                <a:gd name="connsiteX5" fmla="*/ 675448 w 697289"/>
                <a:gd name="connsiteY5" fmla="*/ 57221 h 436036"/>
                <a:gd name="connsiteX6" fmla="*/ 667404 w 697289"/>
                <a:gd name="connsiteY6" fmla="*/ 58096 h 436036"/>
                <a:gd name="connsiteX7" fmla="*/ 662625 w 697289"/>
                <a:gd name="connsiteY7" fmla="*/ 56582 h 436036"/>
                <a:gd name="connsiteX8" fmla="*/ 662625 w 697289"/>
                <a:gd name="connsiteY8" fmla="*/ 49618 h 436036"/>
                <a:gd name="connsiteX9" fmla="*/ 662625 w 697289"/>
                <a:gd name="connsiteY9" fmla="*/ 44169 h 436036"/>
                <a:gd name="connsiteX10" fmla="*/ 658721 w 697289"/>
                <a:gd name="connsiteY10" fmla="*/ 41141 h 436036"/>
                <a:gd name="connsiteX11" fmla="*/ 655894 w 697289"/>
                <a:gd name="connsiteY11" fmla="*/ 43765 h 436036"/>
                <a:gd name="connsiteX12" fmla="*/ 651317 w 697289"/>
                <a:gd name="connsiteY12" fmla="*/ 45279 h 436036"/>
                <a:gd name="connsiteX13" fmla="*/ 648928 w 697289"/>
                <a:gd name="connsiteY13" fmla="*/ 42251 h 436036"/>
                <a:gd name="connsiteX14" fmla="*/ 647178 w 697289"/>
                <a:gd name="connsiteY14" fmla="*/ 38988 h 436036"/>
                <a:gd name="connsiteX15" fmla="*/ 642029 w 697289"/>
                <a:gd name="connsiteY15" fmla="*/ 39056 h 436036"/>
                <a:gd name="connsiteX16" fmla="*/ 638057 w 697289"/>
                <a:gd name="connsiteY16" fmla="*/ 39863 h 436036"/>
                <a:gd name="connsiteX17" fmla="*/ 633480 w 697289"/>
                <a:gd name="connsiteY17" fmla="*/ 42251 h 436036"/>
                <a:gd name="connsiteX18" fmla="*/ 629778 w 697289"/>
                <a:gd name="connsiteY18" fmla="*/ 44135 h 436036"/>
                <a:gd name="connsiteX19" fmla="*/ 627086 w 697289"/>
                <a:gd name="connsiteY19" fmla="*/ 47533 h 436036"/>
                <a:gd name="connsiteX20" fmla="*/ 624562 w 697289"/>
                <a:gd name="connsiteY20" fmla="*/ 51738 h 436036"/>
                <a:gd name="connsiteX21" fmla="*/ 623485 w 697289"/>
                <a:gd name="connsiteY21" fmla="*/ 53992 h 436036"/>
                <a:gd name="connsiteX22" fmla="*/ 619345 w 697289"/>
                <a:gd name="connsiteY22" fmla="*/ 53992 h 436036"/>
                <a:gd name="connsiteX23" fmla="*/ 614331 w 697289"/>
                <a:gd name="connsiteY23" fmla="*/ 54631 h 436036"/>
                <a:gd name="connsiteX24" fmla="*/ 609350 w 697289"/>
                <a:gd name="connsiteY24" fmla="*/ 55505 h 436036"/>
                <a:gd name="connsiteX25" fmla="*/ 605446 w 697289"/>
                <a:gd name="connsiteY25" fmla="*/ 56380 h 436036"/>
                <a:gd name="connsiteX26" fmla="*/ 601307 w 697289"/>
                <a:gd name="connsiteY26" fmla="*/ 57457 h 436036"/>
                <a:gd name="connsiteX27" fmla="*/ 598042 w 697289"/>
                <a:gd name="connsiteY27" fmla="*/ 58970 h 436036"/>
                <a:gd name="connsiteX28" fmla="*/ 594138 w 697289"/>
                <a:gd name="connsiteY28" fmla="*/ 59172 h 436036"/>
                <a:gd name="connsiteX29" fmla="*/ 588686 w 697289"/>
                <a:gd name="connsiteY29" fmla="*/ 58533 h 436036"/>
                <a:gd name="connsiteX30" fmla="*/ 585657 w 697289"/>
                <a:gd name="connsiteY30" fmla="*/ 55909 h 436036"/>
                <a:gd name="connsiteX31" fmla="*/ 583469 w 697289"/>
                <a:gd name="connsiteY31" fmla="*/ 53756 h 436036"/>
                <a:gd name="connsiteX32" fmla="*/ 581518 w 697289"/>
                <a:gd name="connsiteY32" fmla="*/ 50930 h 436036"/>
                <a:gd name="connsiteX33" fmla="*/ 579128 w 697289"/>
                <a:gd name="connsiteY33" fmla="*/ 47903 h 436036"/>
                <a:gd name="connsiteX34" fmla="*/ 577378 w 697289"/>
                <a:gd name="connsiteY34" fmla="*/ 44438 h 436036"/>
                <a:gd name="connsiteX35" fmla="*/ 577378 w 697289"/>
                <a:gd name="connsiteY35" fmla="*/ 40973 h 436036"/>
                <a:gd name="connsiteX36" fmla="*/ 577378 w 697289"/>
                <a:gd name="connsiteY36" fmla="*/ 37710 h 436036"/>
                <a:gd name="connsiteX37" fmla="*/ 575662 w 697289"/>
                <a:gd name="connsiteY37" fmla="*/ 37508 h 436036"/>
                <a:gd name="connsiteX38" fmla="*/ 573912 w 697289"/>
                <a:gd name="connsiteY38" fmla="*/ 38147 h 436036"/>
                <a:gd name="connsiteX39" fmla="*/ 572162 w 697289"/>
                <a:gd name="connsiteY39" fmla="*/ 40973 h 436036"/>
                <a:gd name="connsiteX40" fmla="*/ 572162 w 697289"/>
                <a:gd name="connsiteY40" fmla="*/ 44001 h 436036"/>
                <a:gd name="connsiteX41" fmla="*/ 571287 w 697289"/>
                <a:gd name="connsiteY41" fmla="*/ 48777 h 436036"/>
                <a:gd name="connsiteX42" fmla="*/ 567147 w 697289"/>
                <a:gd name="connsiteY42" fmla="*/ 48777 h 436036"/>
                <a:gd name="connsiteX43" fmla="*/ 564959 w 697289"/>
                <a:gd name="connsiteY43" fmla="*/ 48004 h 436036"/>
                <a:gd name="connsiteX44" fmla="*/ 560618 w 697289"/>
                <a:gd name="connsiteY44" fmla="*/ 44842 h 436036"/>
                <a:gd name="connsiteX45" fmla="*/ 555839 w 697289"/>
                <a:gd name="connsiteY45" fmla="*/ 44203 h 436036"/>
                <a:gd name="connsiteX46" fmla="*/ 553652 w 697289"/>
                <a:gd name="connsiteY46" fmla="*/ 41579 h 436036"/>
                <a:gd name="connsiteX47" fmla="*/ 554729 w 697289"/>
                <a:gd name="connsiteY47" fmla="*/ 35725 h 436036"/>
                <a:gd name="connsiteX48" fmla="*/ 554729 w 697289"/>
                <a:gd name="connsiteY48" fmla="*/ 33976 h 436036"/>
                <a:gd name="connsiteX49" fmla="*/ 552878 w 697289"/>
                <a:gd name="connsiteY49" fmla="*/ 30074 h 436036"/>
                <a:gd name="connsiteX50" fmla="*/ 549950 w 697289"/>
                <a:gd name="connsiteY50" fmla="*/ 29637 h 436036"/>
                <a:gd name="connsiteX51" fmla="*/ 547123 w 697289"/>
                <a:gd name="connsiteY51" fmla="*/ 29199 h 436036"/>
                <a:gd name="connsiteX52" fmla="*/ 540829 w 697289"/>
                <a:gd name="connsiteY52" fmla="*/ 27685 h 436036"/>
                <a:gd name="connsiteX53" fmla="*/ 536488 w 697289"/>
                <a:gd name="connsiteY53" fmla="*/ 25095 h 436036"/>
                <a:gd name="connsiteX54" fmla="*/ 533425 w 697289"/>
                <a:gd name="connsiteY54" fmla="*/ 22471 h 436036"/>
                <a:gd name="connsiteX55" fmla="*/ 529084 w 697289"/>
                <a:gd name="connsiteY55" fmla="*/ 21832 h 436036"/>
                <a:gd name="connsiteX56" fmla="*/ 524305 w 697289"/>
                <a:gd name="connsiteY56" fmla="*/ 22068 h 436036"/>
                <a:gd name="connsiteX57" fmla="*/ 517136 w 697289"/>
                <a:gd name="connsiteY57" fmla="*/ 24658 h 436036"/>
                <a:gd name="connsiteX58" fmla="*/ 508218 w 697289"/>
                <a:gd name="connsiteY58" fmla="*/ 28796 h 436036"/>
                <a:gd name="connsiteX59" fmla="*/ 503641 w 697289"/>
                <a:gd name="connsiteY59" fmla="*/ 29435 h 436036"/>
                <a:gd name="connsiteX60" fmla="*/ 499939 w 697289"/>
                <a:gd name="connsiteY60" fmla="*/ 30949 h 436036"/>
                <a:gd name="connsiteX61" fmla="*/ 493208 w 697289"/>
                <a:gd name="connsiteY61" fmla="*/ 35086 h 436036"/>
                <a:gd name="connsiteX62" fmla="*/ 489304 w 697289"/>
                <a:gd name="connsiteY62" fmla="*/ 36600 h 436036"/>
                <a:gd name="connsiteX63" fmla="*/ 484525 w 697289"/>
                <a:gd name="connsiteY63" fmla="*/ 38349 h 436036"/>
                <a:gd name="connsiteX64" fmla="*/ 479948 w 697289"/>
                <a:gd name="connsiteY64" fmla="*/ 38114 h 436036"/>
                <a:gd name="connsiteX65" fmla="*/ 475169 w 697289"/>
                <a:gd name="connsiteY65" fmla="*/ 39190 h 436036"/>
                <a:gd name="connsiteX66" fmla="*/ 471904 w 697289"/>
                <a:gd name="connsiteY66" fmla="*/ 42218 h 436036"/>
                <a:gd name="connsiteX67" fmla="*/ 473857 w 697289"/>
                <a:gd name="connsiteY67" fmla="*/ 45918 h 436036"/>
                <a:gd name="connsiteX68" fmla="*/ 477121 w 697289"/>
                <a:gd name="connsiteY68" fmla="*/ 46793 h 436036"/>
                <a:gd name="connsiteX69" fmla="*/ 479948 w 697289"/>
                <a:gd name="connsiteY69" fmla="*/ 49618 h 436036"/>
                <a:gd name="connsiteX70" fmla="*/ 479948 w 697289"/>
                <a:gd name="connsiteY70" fmla="*/ 52007 h 436036"/>
                <a:gd name="connsiteX71" fmla="*/ 476347 w 697289"/>
                <a:gd name="connsiteY71" fmla="*/ 56784 h 436036"/>
                <a:gd name="connsiteX72" fmla="*/ 470356 w 697289"/>
                <a:gd name="connsiteY72" fmla="*/ 64184 h 436036"/>
                <a:gd name="connsiteX73" fmla="*/ 463390 w 697289"/>
                <a:gd name="connsiteY73" fmla="*/ 70912 h 436036"/>
                <a:gd name="connsiteX74" fmla="*/ 456861 w 697289"/>
                <a:gd name="connsiteY74" fmla="*/ 76564 h 436036"/>
                <a:gd name="connsiteX75" fmla="*/ 448616 w 697289"/>
                <a:gd name="connsiteY75" fmla="*/ 77640 h 436036"/>
                <a:gd name="connsiteX76" fmla="*/ 446664 w 697289"/>
                <a:gd name="connsiteY76" fmla="*/ 78515 h 436036"/>
                <a:gd name="connsiteX77" fmla="*/ 444510 w 697289"/>
                <a:gd name="connsiteY77" fmla="*/ 81980 h 436036"/>
                <a:gd name="connsiteX78" fmla="*/ 443837 w 697289"/>
                <a:gd name="connsiteY78" fmla="*/ 85680 h 436036"/>
                <a:gd name="connsiteX79" fmla="*/ 446024 w 697289"/>
                <a:gd name="connsiteY79" fmla="*/ 87429 h 436036"/>
                <a:gd name="connsiteX80" fmla="*/ 448649 w 697289"/>
                <a:gd name="connsiteY80" fmla="*/ 89616 h 436036"/>
                <a:gd name="connsiteX81" fmla="*/ 448649 w 697289"/>
                <a:gd name="connsiteY81" fmla="*/ 92206 h 436036"/>
                <a:gd name="connsiteX82" fmla="*/ 446798 w 697289"/>
                <a:gd name="connsiteY82" fmla="*/ 96983 h 436036"/>
                <a:gd name="connsiteX83" fmla="*/ 443433 w 697289"/>
                <a:gd name="connsiteY83" fmla="*/ 102197 h 436036"/>
                <a:gd name="connsiteX84" fmla="*/ 439731 w 697289"/>
                <a:gd name="connsiteY84" fmla="*/ 106974 h 436036"/>
                <a:gd name="connsiteX85" fmla="*/ 432764 w 697289"/>
                <a:gd name="connsiteY85" fmla="*/ 109362 h 436036"/>
                <a:gd name="connsiteX86" fmla="*/ 426908 w 697289"/>
                <a:gd name="connsiteY86" fmla="*/ 109564 h 436036"/>
                <a:gd name="connsiteX87" fmla="*/ 417351 w 697289"/>
                <a:gd name="connsiteY87" fmla="*/ 109564 h 436036"/>
                <a:gd name="connsiteX88" fmla="*/ 410182 w 697289"/>
                <a:gd name="connsiteY88" fmla="*/ 110102 h 436036"/>
                <a:gd name="connsiteX89" fmla="*/ 403889 w 697289"/>
                <a:gd name="connsiteY89" fmla="*/ 111953 h 436036"/>
                <a:gd name="connsiteX90" fmla="*/ 400187 w 697289"/>
                <a:gd name="connsiteY90" fmla="*/ 112592 h 436036"/>
                <a:gd name="connsiteX91" fmla="*/ 391066 w 697289"/>
                <a:gd name="connsiteY91" fmla="*/ 112794 h 436036"/>
                <a:gd name="connsiteX92" fmla="*/ 384336 w 697289"/>
                <a:gd name="connsiteY92" fmla="*/ 110843 h 436036"/>
                <a:gd name="connsiteX93" fmla="*/ 379119 w 697289"/>
                <a:gd name="connsiteY93" fmla="*/ 108454 h 436036"/>
                <a:gd name="connsiteX94" fmla="*/ 373902 w 697289"/>
                <a:gd name="connsiteY94" fmla="*/ 106940 h 436036"/>
                <a:gd name="connsiteX95" fmla="*/ 373902 w 697289"/>
                <a:gd name="connsiteY95" fmla="*/ 101087 h 436036"/>
                <a:gd name="connsiteX96" fmla="*/ 366835 w 697289"/>
                <a:gd name="connsiteY96" fmla="*/ 96748 h 436036"/>
                <a:gd name="connsiteX97" fmla="*/ 363234 w 697289"/>
                <a:gd name="connsiteY97" fmla="*/ 94359 h 436036"/>
                <a:gd name="connsiteX98" fmla="*/ 355191 w 697289"/>
                <a:gd name="connsiteY98" fmla="*/ 90894 h 436036"/>
                <a:gd name="connsiteX99" fmla="*/ 355830 w 697289"/>
                <a:gd name="connsiteY99" fmla="*/ 87833 h 436036"/>
                <a:gd name="connsiteX100" fmla="*/ 356469 w 697289"/>
                <a:gd name="connsiteY100" fmla="*/ 85007 h 436036"/>
                <a:gd name="connsiteX101" fmla="*/ 362931 w 697289"/>
                <a:gd name="connsiteY101" fmla="*/ 83191 h 436036"/>
                <a:gd name="connsiteX102" fmla="*/ 362123 w 697289"/>
                <a:gd name="connsiteY102" fmla="*/ 77035 h 436036"/>
                <a:gd name="connsiteX103" fmla="*/ 361686 w 697289"/>
                <a:gd name="connsiteY103" fmla="*/ 69230 h 436036"/>
                <a:gd name="connsiteX104" fmla="*/ 361619 w 697289"/>
                <a:gd name="connsiteY104" fmla="*/ 61998 h 436036"/>
                <a:gd name="connsiteX105" fmla="*/ 362864 w 697289"/>
                <a:gd name="connsiteY105" fmla="*/ 57423 h 436036"/>
                <a:gd name="connsiteX106" fmla="*/ 363941 w 697289"/>
                <a:gd name="connsiteY106" fmla="*/ 53352 h 436036"/>
                <a:gd name="connsiteX107" fmla="*/ 367272 w 697289"/>
                <a:gd name="connsiteY107" fmla="*/ 49955 h 436036"/>
                <a:gd name="connsiteX108" fmla="*/ 369931 w 697289"/>
                <a:gd name="connsiteY108" fmla="*/ 46389 h 436036"/>
                <a:gd name="connsiteX109" fmla="*/ 370470 w 697289"/>
                <a:gd name="connsiteY109" fmla="*/ 44034 h 436036"/>
                <a:gd name="connsiteX110" fmla="*/ 368080 w 697289"/>
                <a:gd name="connsiteY110" fmla="*/ 41410 h 436036"/>
                <a:gd name="connsiteX111" fmla="*/ 363840 w 697289"/>
                <a:gd name="connsiteY111" fmla="*/ 39998 h 436036"/>
                <a:gd name="connsiteX112" fmla="*/ 360138 w 697289"/>
                <a:gd name="connsiteY112" fmla="*/ 38786 h 436036"/>
                <a:gd name="connsiteX113" fmla="*/ 359263 w 697289"/>
                <a:gd name="connsiteY113" fmla="*/ 37575 h 436036"/>
                <a:gd name="connsiteX114" fmla="*/ 359902 w 697289"/>
                <a:gd name="connsiteY114" fmla="*/ 33875 h 436036"/>
                <a:gd name="connsiteX115" fmla="*/ 359902 w 697289"/>
                <a:gd name="connsiteY115" fmla="*/ 31386 h 436036"/>
                <a:gd name="connsiteX116" fmla="*/ 361652 w 697289"/>
                <a:gd name="connsiteY116" fmla="*/ 28661 h 436036"/>
                <a:gd name="connsiteX117" fmla="*/ 361652 w 697289"/>
                <a:gd name="connsiteY117" fmla="*/ 23447 h 436036"/>
                <a:gd name="connsiteX118" fmla="*/ 361652 w 697289"/>
                <a:gd name="connsiteY118" fmla="*/ 20857 h 436036"/>
                <a:gd name="connsiteX119" fmla="*/ 360306 w 697289"/>
                <a:gd name="connsiteY119" fmla="*/ 20083 h 436036"/>
                <a:gd name="connsiteX120" fmla="*/ 355897 w 697289"/>
                <a:gd name="connsiteY120" fmla="*/ 17795 h 436036"/>
                <a:gd name="connsiteX121" fmla="*/ 352431 w 697289"/>
                <a:gd name="connsiteY121" fmla="*/ 16921 h 436036"/>
                <a:gd name="connsiteX122" fmla="*/ 350041 w 697289"/>
                <a:gd name="connsiteY122" fmla="*/ 18132 h 436036"/>
                <a:gd name="connsiteX123" fmla="*/ 347551 w 697289"/>
                <a:gd name="connsiteY123" fmla="*/ 18334 h 436036"/>
                <a:gd name="connsiteX124" fmla="*/ 346037 w 697289"/>
                <a:gd name="connsiteY124" fmla="*/ 18535 h 436036"/>
                <a:gd name="connsiteX125" fmla="*/ 347349 w 697289"/>
                <a:gd name="connsiteY125" fmla="*/ 16046 h 436036"/>
                <a:gd name="connsiteX126" fmla="*/ 348325 w 697289"/>
                <a:gd name="connsiteY126" fmla="*/ 14196 h 436036"/>
                <a:gd name="connsiteX127" fmla="*/ 349301 w 697289"/>
                <a:gd name="connsiteY127" fmla="*/ 11908 h 436036"/>
                <a:gd name="connsiteX128" fmla="*/ 347887 w 697289"/>
                <a:gd name="connsiteY128" fmla="*/ 9285 h 436036"/>
                <a:gd name="connsiteX129" fmla="*/ 345936 w 697289"/>
                <a:gd name="connsiteY129" fmla="*/ 7098 h 436036"/>
                <a:gd name="connsiteX130" fmla="*/ 342570 w 697289"/>
                <a:gd name="connsiteY130" fmla="*/ 5483 h 436036"/>
                <a:gd name="connsiteX131" fmla="*/ 340719 w 697289"/>
                <a:gd name="connsiteY131" fmla="*/ 5248 h 436036"/>
                <a:gd name="connsiteX132" fmla="*/ 337017 w 697289"/>
                <a:gd name="connsiteY132" fmla="*/ 5685 h 436036"/>
                <a:gd name="connsiteX133" fmla="*/ 334964 w 697289"/>
                <a:gd name="connsiteY133" fmla="*/ 6896 h 436036"/>
                <a:gd name="connsiteX134" fmla="*/ 332911 w 697289"/>
                <a:gd name="connsiteY134" fmla="*/ 9621 h 436036"/>
                <a:gd name="connsiteX135" fmla="*/ 331700 w 697289"/>
                <a:gd name="connsiteY135" fmla="*/ 11673 h 436036"/>
                <a:gd name="connsiteX136" fmla="*/ 329411 w 697289"/>
                <a:gd name="connsiteY136" fmla="*/ 14061 h 436036"/>
                <a:gd name="connsiteX137" fmla="*/ 327796 w 697289"/>
                <a:gd name="connsiteY137" fmla="*/ 16113 h 436036"/>
                <a:gd name="connsiteX138" fmla="*/ 326281 w 697289"/>
                <a:gd name="connsiteY138" fmla="*/ 17863 h 436036"/>
                <a:gd name="connsiteX139" fmla="*/ 322041 w 697289"/>
                <a:gd name="connsiteY139" fmla="*/ 18199 h 436036"/>
                <a:gd name="connsiteX140" fmla="*/ 318574 w 697289"/>
                <a:gd name="connsiteY140" fmla="*/ 17560 h 436036"/>
                <a:gd name="connsiteX141" fmla="*/ 317397 w 697289"/>
                <a:gd name="connsiteY141" fmla="*/ 15070 h 436036"/>
                <a:gd name="connsiteX142" fmla="*/ 315882 w 697289"/>
                <a:gd name="connsiteY142" fmla="*/ 12581 h 436036"/>
                <a:gd name="connsiteX143" fmla="*/ 307132 w 697289"/>
                <a:gd name="connsiteY143" fmla="*/ 12649 h 436036"/>
                <a:gd name="connsiteX144" fmla="*/ 302218 w 697289"/>
                <a:gd name="connsiteY144" fmla="*/ 12985 h 436036"/>
                <a:gd name="connsiteX145" fmla="*/ 294646 w 697289"/>
                <a:gd name="connsiteY145" fmla="*/ 13792 h 436036"/>
                <a:gd name="connsiteX146" fmla="*/ 291112 w 697289"/>
                <a:gd name="connsiteY146" fmla="*/ 12043 h 436036"/>
                <a:gd name="connsiteX147" fmla="*/ 286939 w 697289"/>
                <a:gd name="connsiteY147" fmla="*/ 10731 h 436036"/>
                <a:gd name="connsiteX148" fmla="*/ 285055 w 697289"/>
                <a:gd name="connsiteY148" fmla="*/ 11774 h 436036"/>
                <a:gd name="connsiteX149" fmla="*/ 283472 w 697289"/>
                <a:gd name="connsiteY149" fmla="*/ 14229 h 436036"/>
                <a:gd name="connsiteX150" fmla="*/ 282766 w 697289"/>
                <a:gd name="connsiteY150" fmla="*/ 18804 h 436036"/>
                <a:gd name="connsiteX151" fmla="*/ 283472 w 697289"/>
                <a:gd name="connsiteY151" fmla="*/ 25802 h 436036"/>
                <a:gd name="connsiteX152" fmla="*/ 280881 w 697289"/>
                <a:gd name="connsiteY152" fmla="*/ 29535 h 436036"/>
                <a:gd name="connsiteX153" fmla="*/ 277684 w 697289"/>
                <a:gd name="connsiteY153" fmla="*/ 33169 h 436036"/>
                <a:gd name="connsiteX154" fmla="*/ 275732 w 697289"/>
                <a:gd name="connsiteY154" fmla="*/ 36364 h 436036"/>
                <a:gd name="connsiteX155" fmla="*/ 273410 w 697289"/>
                <a:gd name="connsiteY155" fmla="*/ 38820 h 436036"/>
                <a:gd name="connsiteX156" fmla="*/ 271559 w 697289"/>
                <a:gd name="connsiteY156" fmla="*/ 37912 h 436036"/>
                <a:gd name="connsiteX157" fmla="*/ 271794 w 697289"/>
                <a:gd name="connsiteY157" fmla="*/ 36499 h 436036"/>
                <a:gd name="connsiteX158" fmla="*/ 273141 w 697289"/>
                <a:gd name="connsiteY158" fmla="*/ 32429 h 436036"/>
                <a:gd name="connsiteX159" fmla="*/ 274386 w 697289"/>
                <a:gd name="connsiteY159" fmla="*/ 29435 h 436036"/>
                <a:gd name="connsiteX160" fmla="*/ 275362 w 697289"/>
                <a:gd name="connsiteY160" fmla="*/ 26441 h 436036"/>
                <a:gd name="connsiteX161" fmla="*/ 275025 w 697289"/>
                <a:gd name="connsiteY161" fmla="*/ 18031 h 436036"/>
                <a:gd name="connsiteX162" fmla="*/ 273073 w 697289"/>
                <a:gd name="connsiteY162" fmla="*/ 14768 h 436036"/>
                <a:gd name="connsiteX163" fmla="*/ 270011 w 697289"/>
                <a:gd name="connsiteY163" fmla="*/ 13019 h 436036"/>
                <a:gd name="connsiteX164" fmla="*/ 268261 w 697289"/>
                <a:gd name="connsiteY164" fmla="*/ 11942 h 436036"/>
                <a:gd name="connsiteX165" fmla="*/ 265669 w 697289"/>
                <a:gd name="connsiteY165" fmla="*/ 12379 h 436036"/>
                <a:gd name="connsiteX166" fmla="*/ 260251 w 697289"/>
                <a:gd name="connsiteY166" fmla="*/ 11303 h 436036"/>
                <a:gd name="connsiteX167" fmla="*/ 259140 w 697289"/>
                <a:gd name="connsiteY167" fmla="*/ 9554 h 436036"/>
                <a:gd name="connsiteX168" fmla="*/ 259140 w 697289"/>
                <a:gd name="connsiteY168" fmla="*/ 4339 h 436036"/>
                <a:gd name="connsiteX169" fmla="*/ 259140 w 697289"/>
                <a:gd name="connsiteY169" fmla="*/ 1749 h 436036"/>
                <a:gd name="connsiteX170" fmla="*/ 256549 w 697289"/>
                <a:gd name="connsiteY170" fmla="*/ 0 h 436036"/>
                <a:gd name="connsiteX171" fmla="*/ 253284 w 697289"/>
                <a:gd name="connsiteY171" fmla="*/ 0 h 436036"/>
                <a:gd name="connsiteX172" fmla="*/ 252208 w 697289"/>
                <a:gd name="connsiteY172" fmla="*/ 875 h 436036"/>
                <a:gd name="connsiteX173" fmla="*/ 252208 w 697289"/>
                <a:gd name="connsiteY173" fmla="*/ 3128 h 436036"/>
                <a:gd name="connsiteX174" fmla="*/ 250356 w 697289"/>
                <a:gd name="connsiteY174" fmla="*/ 7266 h 436036"/>
                <a:gd name="connsiteX175" fmla="*/ 248741 w 697289"/>
                <a:gd name="connsiteY175" fmla="*/ 9890 h 436036"/>
                <a:gd name="connsiteX176" fmla="*/ 246150 w 697289"/>
                <a:gd name="connsiteY176" fmla="*/ 12278 h 436036"/>
                <a:gd name="connsiteX177" fmla="*/ 242649 w 697289"/>
                <a:gd name="connsiteY177" fmla="*/ 12278 h 436036"/>
                <a:gd name="connsiteX178" fmla="*/ 236356 w 697289"/>
                <a:gd name="connsiteY178" fmla="*/ 13355 h 436036"/>
                <a:gd name="connsiteX179" fmla="*/ 231342 w 697289"/>
                <a:gd name="connsiteY179" fmla="*/ 14869 h 436036"/>
                <a:gd name="connsiteX180" fmla="*/ 231342 w 697289"/>
                <a:gd name="connsiteY180" fmla="*/ 23312 h 436036"/>
                <a:gd name="connsiteX181" fmla="*/ 229390 w 697289"/>
                <a:gd name="connsiteY181" fmla="*/ 26340 h 436036"/>
                <a:gd name="connsiteX182" fmla="*/ 227640 w 697289"/>
                <a:gd name="connsiteY182" fmla="*/ 31991 h 436036"/>
                <a:gd name="connsiteX183" fmla="*/ 226563 w 697289"/>
                <a:gd name="connsiteY183" fmla="*/ 36566 h 436036"/>
                <a:gd name="connsiteX184" fmla="*/ 220707 w 697289"/>
                <a:gd name="connsiteY184" fmla="*/ 40704 h 436036"/>
                <a:gd name="connsiteX185" fmla="*/ 213539 w 697289"/>
                <a:gd name="connsiteY185" fmla="*/ 43967 h 436036"/>
                <a:gd name="connsiteX186" fmla="*/ 206168 w 697289"/>
                <a:gd name="connsiteY186" fmla="*/ 45279 h 436036"/>
                <a:gd name="connsiteX187" fmla="*/ 201591 w 697289"/>
                <a:gd name="connsiteY187" fmla="*/ 45279 h 436036"/>
                <a:gd name="connsiteX188" fmla="*/ 191360 w 697289"/>
                <a:gd name="connsiteY188" fmla="*/ 48979 h 436036"/>
                <a:gd name="connsiteX189" fmla="*/ 185269 w 697289"/>
                <a:gd name="connsiteY189" fmla="*/ 48777 h 436036"/>
                <a:gd name="connsiteX190" fmla="*/ 178302 w 697289"/>
                <a:gd name="connsiteY190" fmla="*/ 48777 h 436036"/>
                <a:gd name="connsiteX191" fmla="*/ 170461 w 697289"/>
                <a:gd name="connsiteY191" fmla="*/ 48777 h 436036"/>
                <a:gd name="connsiteX192" fmla="*/ 165681 w 697289"/>
                <a:gd name="connsiteY192" fmla="*/ 51065 h 436036"/>
                <a:gd name="connsiteX193" fmla="*/ 160263 w 697289"/>
                <a:gd name="connsiteY193" fmla="*/ 57053 h 436036"/>
                <a:gd name="connsiteX194" fmla="*/ 156999 w 697289"/>
                <a:gd name="connsiteY194" fmla="*/ 63343 h 436036"/>
                <a:gd name="connsiteX195" fmla="*/ 152422 w 697289"/>
                <a:gd name="connsiteY195" fmla="*/ 70071 h 436036"/>
                <a:gd name="connsiteX196" fmla="*/ 146196 w 697289"/>
                <a:gd name="connsiteY196" fmla="*/ 77674 h 436036"/>
                <a:gd name="connsiteX197" fmla="*/ 137210 w 697289"/>
                <a:gd name="connsiteY197" fmla="*/ 76160 h 436036"/>
                <a:gd name="connsiteX198" fmla="*/ 132195 w 697289"/>
                <a:gd name="connsiteY198" fmla="*/ 74646 h 436036"/>
                <a:gd name="connsiteX199" fmla="*/ 126541 w 697289"/>
                <a:gd name="connsiteY199" fmla="*/ 75723 h 436036"/>
                <a:gd name="connsiteX200" fmla="*/ 116983 w 697289"/>
                <a:gd name="connsiteY200" fmla="*/ 87665 h 436036"/>
                <a:gd name="connsiteX201" fmla="*/ 114594 w 697289"/>
                <a:gd name="connsiteY201" fmla="*/ 91567 h 436036"/>
                <a:gd name="connsiteX202" fmla="*/ 109377 w 697289"/>
                <a:gd name="connsiteY202" fmla="*/ 100246 h 436036"/>
                <a:gd name="connsiteX203" fmla="*/ 105036 w 697289"/>
                <a:gd name="connsiteY203" fmla="*/ 101558 h 436036"/>
                <a:gd name="connsiteX204" fmla="*/ 100021 w 697289"/>
                <a:gd name="connsiteY204" fmla="*/ 103072 h 436036"/>
                <a:gd name="connsiteX205" fmla="*/ 94805 w 697289"/>
                <a:gd name="connsiteY205" fmla="*/ 108084 h 436036"/>
                <a:gd name="connsiteX206" fmla="*/ 92853 w 697289"/>
                <a:gd name="connsiteY206" fmla="*/ 113298 h 436036"/>
                <a:gd name="connsiteX207" fmla="*/ 92415 w 697289"/>
                <a:gd name="connsiteY207" fmla="*/ 118277 h 436036"/>
                <a:gd name="connsiteX208" fmla="*/ 92180 w 697289"/>
                <a:gd name="connsiteY208" fmla="*/ 128705 h 436036"/>
                <a:gd name="connsiteX209" fmla="*/ 89791 w 697289"/>
                <a:gd name="connsiteY209" fmla="*/ 136106 h 436036"/>
                <a:gd name="connsiteX210" fmla="*/ 86762 w 697289"/>
                <a:gd name="connsiteY210" fmla="*/ 141118 h 436036"/>
                <a:gd name="connsiteX211" fmla="*/ 80872 w 697289"/>
                <a:gd name="connsiteY211" fmla="*/ 147644 h 436036"/>
                <a:gd name="connsiteX212" fmla="*/ 75454 w 697289"/>
                <a:gd name="connsiteY212" fmla="*/ 154608 h 436036"/>
                <a:gd name="connsiteX213" fmla="*/ 74377 w 697289"/>
                <a:gd name="connsiteY213" fmla="*/ 162648 h 436036"/>
                <a:gd name="connsiteX214" fmla="*/ 66771 w 697289"/>
                <a:gd name="connsiteY214" fmla="*/ 173076 h 436036"/>
                <a:gd name="connsiteX215" fmla="*/ 63506 w 697289"/>
                <a:gd name="connsiteY215" fmla="*/ 176339 h 436036"/>
                <a:gd name="connsiteX216" fmla="*/ 61756 w 697289"/>
                <a:gd name="connsiteY216" fmla="*/ 177415 h 436036"/>
                <a:gd name="connsiteX217" fmla="*/ 56540 w 697289"/>
                <a:gd name="connsiteY217" fmla="*/ 177415 h 436036"/>
                <a:gd name="connsiteX218" fmla="*/ 50246 w 697289"/>
                <a:gd name="connsiteY218" fmla="*/ 179703 h 436036"/>
                <a:gd name="connsiteX219" fmla="*/ 48698 w 697289"/>
                <a:gd name="connsiteY219" fmla="*/ 181755 h 436036"/>
                <a:gd name="connsiteX220" fmla="*/ 48698 w 697289"/>
                <a:gd name="connsiteY220" fmla="*/ 188483 h 436036"/>
                <a:gd name="connsiteX221" fmla="*/ 47722 w 697289"/>
                <a:gd name="connsiteY221" fmla="*/ 191510 h 436036"/>
                <a:gd name="connsiteX222" fmla="*/ 43482 w 697289"/>
                <a:gd name="connsiteY222" fmla="*/ 194336 h 436036"/>
                <a:gd name="connsiteX223" fmla="*/ 37828 w 697289"/>
                <a:gd name="connsiteY223" fmla="*/ 201737 h 436036"/>
                <a:gd name="connsiteX224" fmla="*/ 37626 w 697289"/>
                <a:gd name="connsiteY224" fmla="*/ 214352 h 436036"/>
                <a:gd name="connsiteX225" fmla="*/ 39140 w 697289"/>
                <a:gd name="connsiteY225" fmla="*/ 222593 h 436036"/>
                <a:gd name="connsiteX226" fmla="*/ 43044 w 697289"/>
                <a:gd name="connsiteY226" fmla="*/ 226496 h 436036"/>
                <a:gd name="connsiteX227" fmla="*/ 49573 w 697289"/>
                <a:gd name="connsiteY227" fmla="*/ 232383 h 436036"/>
                <a:gd name="connsiteX228" fmla="*/ 53915 w 697289"/>
                <a:gd name="connsiteY228" fmla="*/ 239346 h 436036"/>
                <a:gd name="connsiteX229" fmla="*/ 56742 w 697289"/>
                <a:gd name="connsiteY229" fmla="*/ 245199 h 436036"/>
                <a:gd name="connsiteX230" fmla="*/ 56304 w 697289"/>
                <a:gd name="connsiteY230" fmla="*/ 251725 h 436036"/>
                <a:gd name="connsiteX231" fmla="*/ 54117 w 697289"/>
                <a:gd name="connsiteY231" fmla="*/ 258453 h 436036"/>
                <a:gd name="connsiteX232" fmla="*/ 51929 w 697289"/>
                <a:gd name="connsiteY232" fmla="*/ 262154 h 436036"/>
                <a:gd name="connsiteX233" fmla="*/ 48900 w 697289"/>
                <a:gd name="connsiteY233" fmla="*/ 265417 h 436036"/>
                <a:gd name="connsiteX234" fmla="*/ 46511 w 697289"/>
                <a:gd name="connsiteY234" fmla="*/ 271707 h 436036"/>
                <a:gd name="connsiteX235" fmla="*/ 45198 w 697289"/>
                <a:gd name="connsiteY235" fmla="*/ 279545 h 436036"/>
                <a:gd name="connsiteX236" fmla="*/ 46073 w 697289"/>
                <a:gd name="connsiteY236" fmla="*/ 284759 h 436036"/>
                <a:gd name="connsiteX237" fmla="*/ 50414 w 697289"/>
                <a:gd name="connsiteY237" fmla="*/ 287148 h 436036"/>
                <a:gd name="connsiteX238" fmla="*/ 54487 w 697289"/>
                <a:gd name="connsiteY238" fmla="*/ 285331 h 436036"/>
                <a:gd name="connsiteX239" fmla="*/ 55227 w 697289"/>
                <a:gd name="connsiteY239" fmla="*/ 283145 h 436036"/>
                <a:gd name="connsiteX240" fmla="*/ 56540 w 697289"/>
                <a:gd name="connsiteY240" fmla="*/ 282136 h 436036"/>
                <a:gd name="connsiteX241" fmla="*/ 58424 w 697289"/>
                <a:gd name="connsiteY241" fmla="*/ 279949 h 436036"/>
                <a:gd name="connsiteX242" fmla="*/ 59569 w 697289"/>
                <a:gd name="connsiteY242" fmla="*/ 277931 h 436036"/>
                <a:gd name="connsiteX243" fmla="*/ 61151 w 697289"/>
                <a:gd name="connsiteY243" fmla="*/ 277493 h 436036"/>
                <a:gd name="connsiteX244" fmla="*/ 63035 w 697289"/>
                <a:gd name="connsiteY244" fmla="*/ 279377 h 436036"/>
                <a:gd name="connsiteX245" fmla="*/ 67242 w 697289"/>
                <a:gd name="connsiteY245" fmla="*/ 280824 h 436036"/>
                <a:gd name="connsiteX246" fmla="*/ 68117 w 697289"/>
                <a:gd name="connsiteY246" fmla="*/ 279074 h 436036"/>
                <a:gd name="connsiteX247" fmla="*/ 69564 w 697289"/>
                <a:gd name="connsiteY247" fmla="*/ 274600 h 436036"/>
                <a:gd name="connsiteX248" fmla="*/ 70136 w 697289"/>
                <a:gd name="connsiteY248" fmla="*/ 271707 h 436036"/>
                <a:gd name="connsiteX249" fmla="*/ 71886 w 697289"/>
                <a:gd name="connsiteY249" fmla="*/ 269689 h 436036"/>
                <a:gd name="connsiteX250" fmla="*/ 75487 w 697289"/>
                <a:gd name="connsiteY250" fmla="*/ 268377 h 436036"/>
                <a:gd name="connsiteX251" fmla="*/ 79694 w 697289"/>
                <a:gd name="connsiteY251" fmla="*/ 267368 h 436036"/>
                <a:gd name="connsiteX252" fmla="*/ 88814 w 697289"/>
                <a:gd name="connsiteY252" fmla="*/ 265047 h 436036"/>
                <a:gd name="connsiteX253" fmla="*/ 91574 w 697289"/>
                <a:gd name="connsiteY253" fmla="*/ 262725 h 436036"/>
                <a:gd name="connsiteX254" fmla="*/ 95916 w 697289"/>
                <a:gd name="connsiteY254" fmla="*/ 258252 h 436036"/>
                <a:gd name="connsiteX255" fmla="*/ 98675 w 697289"/>
                <a:gd name="connsiteY255" fmla="*/ 257814 h 436036"/>
                <a:gd name="connsiteX256" fmla="*/ 100997 w 697289"/>
                <a:gd name="connsiteY256" fmla="*/ 255930 h 436036"/>
                <a:gd name="connsiteX257" fmla="*/ 103185 w 697289"/>
                <a:gd name="connsiteY257" fmla="*/ 252903 h 436036"/>
                <a:gd name="connsiteX258" fmla="*/ 103050 w 697289"/>
                <a:gd name="connsiteY258" fmla="*/ 249875 h 436036"/>
                <a:gd name="connsiteX259" fmla="*/ 102849 w 697289"/>
                <a:gd name="connsiteY259" fmla="*/ 247991 h 436036"/>
                <a:gd name="connsiteX260" fmla="*/ 106483 w 697289"/>
                <a:gd name="connsiteY260" fmla="*/ 244425 h 436036"/>
                <a:gd name="connsiteX261" fmla="*/ 108031 w 697289"/>
                <a:gd name="connsiteY261" fmla="*/ 245839 h 436036"/>
                <a:gd name="connsiteX262" fmla="*/ 113046 w 697289"/>
                <a:gd name="connsiteY262" fmla="*/ 248698 h 436036"/>
                <a:gd name="connsiteX263" fmla="*/ 113046 w 697289"/>
                <a:gd name="connsiteY263" fmla="*/ 253037 h 436036"/>
                <a:gd name="connsiteX264" fmla="*/ 110455 w 697289"/>
                <a:gd name="connsiteY264" fmla="*/ 259698 h 436036"/>
                <a:gd name="connsiteX265" fmla="*/ 109882 w 697289"/>
                <a:gd name="connsiteY265" fmla="*/ 262288 h 436036"/>
                <a:gd name="connsiteX266" fmla="*/ 108368 w 697289"/>
                <a:gd name="connsiteY266" fmla="*/ 266762 h 436036"/>
                <a:gd name="connsiteX267" fmla="*/ 103656 w 697289"/>
                <a:gd name="connsiteY267" fmla="*/ 269521 h 436036"/>
                <a:gd name="connsiteX268" fmla="*/ 93089 w 697289"/>
                <a:gd name="connsiteY268" fmla="*/ 269521 h 436036"/>
                <a:gd name="connsiteX269" fmla="*/ 90464 w 697289"/>
                <a:gd name="connsiteY269" fmla="*/ 275038 h 436036"/>
                <a:gd name="connsiteX270" fmla="*/ 90464 w 697289"/>
                <a:gd name="connsiteY270" fmla="*/ 283448 h 436036"/>
                <a:gd name="connsiteX271" fmla="*/ 86122 w 697289"/>
                <a:gd name="connsiteY271" fmla="*/ 283448 h 436036"/>
                <a:gd name="connsiteX272" fmla="*/ 81781 w 697289"/>
                <a:gd name="connsiteY272" fmla="*/ 287215 h 436036"/>
                <a:gd name="connsiteX273" fmla="*/ 80333 w 697289"/>
                <a:gd name="connsiteY273" fmla="*/ 290411 h 436036"/>
                <a:gd name="connsiteX274" fmla="*/ 78314 w 697289"/>
                <a:gd name="connsiteY274" fmla="*/ 291555 h 436036"/>
                <a:gd name="connsiteX275" fmla="*/ 75420 w 697289"/>
                <a:gd name="connsiteY275" fmla="*/ 295625 h 436036"/>
                <a:gd name="connsiteX276" fmla="*/ 73973 w 697289"/>
                <a:gd name="connsiteY276" fmla="*/ 295625 h 436036"/>
                <a:gd name="connsiteX277" fmla="*/ 68117 w 697289"/>
                <a:gd name="connsiteY277" fmla="*/ 297374 h 436036"/>
                <a:gd name="connsiteX278" fmla="*/ 63540 w 697289"/>
                <a:gd name="connsiteY278" fmla="*/ 297374 h 436036"/>
                <a:gd name="connsiteX279" fmla="*/ 62026 w 697289"/>
                <a:gd name="connsiteY279" fmla="*/ 299965 h 436036"/>
                <a:gd name="connsiteX280" fmla="*/ 58862 w 697289"/>
                <a:gd name="connsiteY280" fmla="*/ 302689 h 436036"/>
                <a:gd name="connsiteX281" fmla="*/ 56035 w 697289"/>
                <a:gd name="connsiteY281" fmla="*/ 304439 h 436036"/>
                <a:gd name="connsiteX282" fmla="*/ 54184 w 697289"/>
                <a:gd name="connsiteY282" fmla="*/ 306053 h 436036"/>
                <a:gd name="connsiteX283" fmla="*/ 50718 w 697289"/>
                <a:gd name="connsiteY283" fmla="*/ 310393 h 436036"/>
                <a:gd name="connsiteX284" fmla="*/ 46814 w 697289"/>
                <a:gd name="connsiteY284" fmla="*/ 312546 h 436036"/>
                <a:gd name="connsiteX285" fmla="*/ 43549 w 697289"/>
                <a:gd name="connsiteY285" fmla="*/ 313858 h 436036"/>
                <a:gd name="connsiteX286" fmla="*/ 43549 w 697289"/>
                <a:gd name="connsiteY286" fmla="*/ 319509 h 436036"/>
                <a:gd name="connsiteX287" fmla="*/ 45602 w 697289"/>
                <a:gd name="connsiteY287" fmla="*/ 323210 h 436036"/>
                <a:gd name="connsiteX288" fmla="*/ 45266 w 697289"/>
                <a:gd name="connsiteY288" fmla="*/ 325161 h 436036"/>
                <a:gd name="connsiteX289" fmla="*/ 42674 w 697289"/>
                <a:gd name="connsiteY289" fmla="*/ 329063 h 436036"/>
                <a:gd name="connsiteX290" fmla="*/ 37458 w 697289"/>
                <a:gd name="connsiteY290" fmla="*/ 332090 h 436036"/>
                <a:gd name="connsiteX291" fmla="*/ 32006 w 697289"/>
                <a:gd name="connsiteY291" fmla="*/ 332090 h 436036"/>
                <a:gd name="connsiteX292" fmla="*/ 26991 w 697289"/>
                <a:gd name="connsiteY292" fmla="*/ 333503 h 436036"/>
                <a:gd name="connsiteX293" fmla="*/ 23289 w 697289"/>
                <a:gd name="connsiteY293" fmla="*/ 335555 h 436036"/>
                <a:gd name="connsiteX294" fmla="*/ 20226 w 697289"/>
                <a:gd name="connsiteY294" fmla="*/ 338381 h 436036"/>
                <a:gd name="connsiteX295" fmla="*/ 17837 w 697289"/>
                <a:gd name="connsiteY295" fmla="*/ 340332 h 436036"/>
                <a:gd name="connsiteX296" fmla="*/ 15649 w 697289"/>
                <a:gd name="connsiteY296" fmla="*/ 345109 h 436036"/>
                <a:gd name="connsiteX297" fmla="*/ 15649 w 697289"/>
                <a:gd name="connsiteY297" fmla="*/ 349886 h 436036"/>
                <a:gd name="connsiteX298" fmla="*/ 14774 w 697289"/>
                <a:gd name="connsiteY298" fmla="*/ 354663 h 436036"/>
                <a:gd name="connsiteX299" fmla="*/ 11745 w 697289"/>
                <a:gd name="connsiteY299" fmla="*/ 354663 h 436036"/>
                <a:gd name="connsiteX300" fmla="*/ 7842 w 697289"/>
                <a:gd name="connsiteY300" fmla="*/ 359439 h 436036"/>
                <a:gd name="connsiteX301" fmla="*/ 4139 w 697289"/>
                <a:gd name="connsiteY301" fmla="*/ 362265 h 436036"/>
                <a:gd name="connsiteX302" fmla="*/ 1313 w 697289"/>
                <a:gd name="connsiteY302" fmla="*/ 365091 h 436036"/>
                <a:gd name="connsiteX303" fmla="*/ 0 w 697289"/>
                <a:gd name="connsiteY303" fmla="*/ 367681 h 436036"/>
                <a:gd name="connsiteX304" fmla="*/ 0 w 697289"/>
                <a:gd name="connsiteY304" fmla="*/ 371146 h 436036"/>
                <a:gd name="connsiteX305" fmla="*/ 0 w 697289"/>
                <a:gd name="connsiteY305" fmla="*/ 376596 h 436036"/>
                <a:gd name="connsiteX306" fmla="*/ 1515 w 697289"/>
                <a:gd name="connsiteY306" fmla="*/ 380498 h 436036"/>
                <a:gd name="connsiteX307" fmla="*/ 6092 w 697289"/>
                <a:gd name="connsiteY307" fmla="*/ 382449 h 436036"/>
                <a:gd name="connsiteX308" fmla="*/ 14774 w 697289"/>
                <a:gd name="connsiteY308" fmla="*/ 382449 h 436036"/>
                <a:gd name="connsiteX309" fmla="*/ 24130 w 697289"/>
                <a:gd name="connsiteY309" fmla="*/ 382449 h 436036"/>
                <a:gd name="connsiteX310" fmla="*/ 31299 w 697289"/>
                <a:gd name="connsiteY310" fmla="*/ 384635 h 436036"/>
                <a:gd name="connsiteX311" fmla="*/ 36751 w 697289"/>
                <a:gd name="connsiteY311" fmla="*/ 389614 h 436036"/>
                <a:gd name="connsiteX312" fmla="*/ 40890 w 697289"/>
                <a:gd name="connsiteY312" fmla="*/ 396342 h 436036"/>
                <a:gd name="connsiteX313" fmla="*/ 48294 w 697289"/>
                <a:gd name="connsiteY313" fmla="*/ 396342 h 436036"/>
                <a:gd name="connsiteX314" fmla="*/ 54823 w 697289"/>
                <a:gd name="connsiteY314" fmla="*/ 401321 h 436036"/>
                <a:gd name="connsiteX315" fmla="*/ 59165 w 697289"/>
                <a:gd name="connsiteY315" fmla="*/ 405896 h 436036"/>
                <a:gd name="connsiteX316" fmla="*/ 59165 w 697289"/>
                <a:gd name="connsiteY316" fmla="*/ 411749 h 436036"/>
                <a:gd name="connsiteX317" fmla="*/ 60477 w 697289"/>
                <a:gd name="connsiteY317" fmla="*/ 419991 h 436036"/>
                <a:gd name="connsiteX318" fmla="*/ 64381 w 697289"/>
                <a:gd name="connsiteY318" fmla="*/ 425642 h 436036"/>
                <a:gd name="connsiteX319" fmla="*/ 75689 w 697289"/>
                <a:gd name="connsiteY319" fmla="*/ 431058 h 436036"/>
                <a:gd name="connsiteX320" fmla="*/ 84810 w 697289"/>
                <a:gd name="connsiteY320" fmla="*/ 431058 h 436036"/>
                <a:gd name="connsiteX321" fmla="*/ 99820 w 697289"/>
                <a:gd name="connsiteY321" fmla="*/ 429645 h 436036"/>
                <a:gd name="connsiteX322" fmla="*/ 102646 w 697289"/>
                <a:gd name="connsiteY322" fmla="*/ 425642 h 436036"/>
                <a:gd name="connsiteX323" fmla="*/ 108738 w 697289"/>
                <a:gd name="connsiteY323" fmla="*/ 424129 h 436036"/>
                <a:gd name="connsiteX324" fmla="*/ 117421 w 697289"/>
                <a:gd name="connsiteY324" fmla="*/ 424129 h 436036"/>
                <a:gd name="connsiteX325" fmla="*/ 126541 w 697289"/>
                <a:gd name="connsiteY325" fmla="*/ 424129 h 436036"/>
                <a:gd name="connsiteX326" fmla="*/ 132195 w 697289"/>
                <a:gd name="connsiteY326" fmla="*/ 421942 h 436036"/>
                <a:gd name="connsiteX327" fmla="*/ 141114 w 697289"/>
                <a:gd name="connsiteY327" fmla="*/ 418645 h 436036"/>
                <a:gd name="connsiteX328" fmla="*/ 147272 w 697289"/>
                <a:gd name="connsiteY328" fmla="*/ 416761 h 436036"/>
                <a:gd name="connsiteX329" fmla="*/ 148787 w 697289"/>
                <a:gd name="connsiteY329" fmla="*/ 415786 h 436036"/>
                <a:gd name="connsiteX330" fmla="*/ 146397 w 697289"/>
                <a:gd name="connsiteY330" fmla="*/ 413398 h 436036"/>
                <a:gd name="connsiteX331" fmla="*/ 147845 w 697289"/>
                <a:gd name="connsiteY331" fmla="*/ 407611 h 436036"/>
                <a:gd name="connsiteX332" fmla="*/ 147845 w 697289"/>
                <a:gd name="connsiteY332" fmla="*/ 402397 h 436036"/>
                <a:gd name="connsiteX333" fmla="*/ 152927 w 697289"/>
                <a:gd name="connsiteY333" fmla="*/ 393416 h 436036"/>
                <a:gd name="connsiteX334" fmla="*/ 157705 w 697289"/>
                <a:gd name="connsiteY334" fmla="*/ 389951 h 436036"/>
                <a:gd name="connsiteX335" fmla="*/ 163494 w 697289"/>
                <a:gd name="connsiteY335" fmla="*/ 385308 h 436036"/>
                <a:gd name="connsiteX336" fmla="*/ 175946 w 697289"/>
                <a:gd name="connsiteY336" fmla="*/ 384165 h 436036"/>
                <a:gd name="connsiteX337" fmla="*/ 189273 w 697289"/>
                <a:gd name="connsiteY337" fmla="*/ 386183 h 436036"/>
                <a:gd name="connsiteX338" fmla="*/ 198832 w 697289"/>
                <a:gd name="connsiteY338" fmla="*/ 389076 h 436036"/>
                <a:gd name="connsiteX339" fmla="*/ 202601 w 697289"/>
                <a:gd name="connsiteY339" fmla="*/ 391969 h 436036"/>
                <a:gd name="connsiteX340" fmla="*/ 205798 w 697289"/>
                <a:gd name="connsiteY340" fmla="*/ 399201 h 436036"/>
                <a:gd name="connsiteX341" fmla="*/ 210442 w 697289"/>
                <a:gd name="connsiteY341" fmla="*/ 402397 h 436036"/>
                <a:gd name="connsiteX342" fmla="*/ 210442 w 697289"/>
                <a:gd name="connsiteY342" fmla="*/ 411076 h 436036"/>
                <a:gd name="connsiteX343" fmla="*/ 210442 w 697289"/>
                <a:gd name="connsiteY343" fmla="*/ 421202 h 436036"/>
                <a:gd name="connsiteX344" fmla="*/ 216971 w 697289"/>
                <a:gd name="connsiteY344" fmla="*/ 428434 h 436036"/>
                <a:gd name="connsiteX345" fmla="*/ 220303 w 697289"/>
                <a:gd name="connsiteY345" fmla="*/ 430453 h 436036"/>
                <a:gd name="connsiteX346" fmla="*/ 224644 w 697289"/>
                <a:gd name="connsiteY346" fmla="*/ 435364 h 436036"/>
                <a:gd name="connsiteX347" fmla="*/ 230736 w 697289"/>
                <a:gd name="connsiteY347" fmla="*/ 430453 h 436036"/>
                <a:gd name="connsiteX348" fmla="*/ 233058 w 697289"/>
                <a:gd name="connsiteY348" fmla="*/ 426685 h 436036"/>
                <a:gd name="connsiteX349" fmla="*/ 233058 w 697289"/>
                <a:gd name="connsiteY349" fmla="*/ 420596 h 436036"/>
                <a:gd name="connsiteX350" fmla="*/ 240025 w 697289"/>
                <a:gd name="connsiteY350" fmla="*/ 416896 h 436036"/>
                <a:gd name="connsiteX351" fmla="*/ 250996 w 697289"/>
                <a:gd name="connsiteY351" fmla="*/ 424599 h 436036"/>
                <a:gd name="connsiteX352" fmla="*/ 254159 w 697289"/>
                <a:gd name="connsiteY352" fmla="*/ 427963 h 436036"/>
                <a:gd name="connsiteX353" fmla="*/ 259713 w 697289"/>
                <a:gd name="connsiteY353" fmla="*/ 429040 h 436036"/>
                <a:gd name="connsiteX354" fmla="*/ 265804 w 697289"/>
                <a:gd name="connsiteY354" fmla="*/ 427627 h 436036"/>
                <a:gd name="connsiteX355" fmla="*/ 272232 w 697289"/>
                <a:gd name="connsiteY355" fmla="*/ 426551 h 436036"/>
                <a:gd name="connsiteX356" fmla="*/ 277348 w 697289"/>
                <a:gd name="connsiteY356" fmla="*/ 425676 h 436036"/>
                <a:gd name="connsiteX357" fmla="*/ 281252 w 697289"/>
                <a:gd name="connsiteY357" fmla="*/ 420361 h 436036"/>
                <a:gd name="connsiteX358" fmla="*/ 282766 w 697289"/>
                <a:gd name="connsiteY358" fmla="*/ 413398 h 436036"/>
                <a:gd name="connsiteX359" fmla="*/ 283304 w 697289"/>
                <a:gd name="connsiteY359" fmla="*/ 408722 h 436036"/>
                <a:gd name="connsiteX360" fmla="*/ 289833 w 697289"/>
                <a:gd name="connsiteY360" fmla="*/ 404247 h 436036"/>
                <a:gd name="connsiteX361" fmla="*/ 295050 w 697289"/>
                <a:gd name="connsiteY361" fmla="*/ 403373 h 436036"/>
                <a:gd name="connsiteX362" fmla="*/ 301781 w 697289"/>
                <a:gd name="connsiteY362" fmla="*/ 405862 h 436036"/>
                <a:gd name="connsiteX363" fmla="*/ 305584 w 697289"/>
                <a:gd name="connsiteY363" fmla="*/ 408352 h 436036"/>
                <a:gd name="connsiteX364" fmla="*/ 309387 w 697289"/>
                <a:gd name="connsiteY364" fmla="*/ 413768 h 436036"/>
                <a:gd name="connsiteX365" fmla="*/ 310026 w 697289"/>
                <a:gd name="connsiteY365" fmla="*/ 419419 h 436036"/>
                <a:gd name="connsiteX366" fmla="*/ 309387 w 697289"/>
                <a:gd name="connsiteY366" fmla="*/ 424835 h 436036"/>
                <a:gd name="connsiteX367" fmla="*/ 315814 w 697289"/>
                <a:gd name="connsiteY367" fmla="*/ 433850 h 436036"/>
                <a:gd name="connsiteX368" fmla="*/ 322007 w 697289"/>
                <a:gd name="connsiteY368" fmla="*/ 436037 h 436036"/>
                <a:gd name="connsiteX369" fmla="*/ 330825 w 697289"/>
                <a:gd name="connsiteY369" fmla="*/ 433110 h 436036"/>
                <a:gd name="connsiteX370" fmla="*/ 336378 w 697289"/>
                <a:gd name="connsiteY370" fmla="*/ 429645 h 436036"/>
                <a:gd name="connsiteX371" fmla="*/ 341055 w 697289"/>
                <a:gd name="connsiteY371" fmla="*/ 423220 h 436036"/>
                <a:gd name="connsiteX372" fmla="*/ 342671 w 697289"/>
                <a:gd name="connsiteY372" fmla="*/ 418006 h 436036"/>
                <a:gd name="connsiteX373" fmla="*/ 341055 w 697289"/>
                <a:gd name="connsiteY373" fmla="*/ 409092 h 436036"/>
                <a:gd name="connsiteX374" fmla="*/ 342469 w 697289"/>
                <a:gd name="connsiteY374" fmla="*/ 403776 h 436036"/>
                <a:gd name="connsiteX375" fmla="*/ 346070 w 697289"/>
                <a:gd name="connsiteY375" fmla="*/ 396611 h 436036"/>
                <a:gd name="connsiteX376" fmla="*/ 351623 w 697289"/>
                <a:gd name="connsiteY376" fmla="*/ 395299 h 436036"/>
                <a:gd name="connsiteX377" fmla="*/ 362393 w 697289"/>
                <a:gd name="connsiteY377" fmla="*/ 394660 h 436036"/>
                <a:gd name="connsiteX378" fmla="*/ 365859 w 697289"/>
                <a:gd name="connsiteY378" fmla="*/ 392373 h 436036"/>
                <a:gd name="connsiteX379" fmla="*/ 364008 w 697289"/>
                <a:gd name="connsiteY379" fmla="*/ 388773 h 436036"/>
                <a:gd name="connsiteX380" fmla="*/ 364984 w 697289"/>
                <a:gd name="connsiteY380" fmla="*/ 382785 h 436036"/>
                <a:gd name="connsiteX381" fmla="*/ 368585 w 697289"/>
                <a:gd name="connsiteY381" fmla="*/ 378210 h 436036"/>
                <a:gd name="connsiteX382" fmla="*/ 369898 w 697289"/>
                <a:gd name="connsiteY382" fmla="*/ 372996 h 436036"/>
                <a:gd name="connsiteX383" fmla="*/ 370537 w 697289"/>
                <a:gd name="connsiteY383" fmla="*/ 369195 h 436036"/>
                <a:gd name="connsiteX384" fmla="*/ 370537 w 697289"/>
                <a:gd name="connsiteY384" fmla="*/ 363207 h 436036"/>
                <a:gd name="connsiteX385" fmla="*/ 370907 w 697289"/>
                <a:gd name="connsiteY385" fmla="*/ 359507 h 436036"/>
                <a:gd name="connsiteX386" fmla="*/ 373229 w 697289"/>
                <a:gd name="connsiteY386" fmla="*/ 354057 h 436036"/>
                <a:gd name="connsiteX387" fmla="*/ 382148 w 697289"/>
                <a:gd name="connsiteY387" fmla="*/ 353284 h 436036"/>
                <a:gd name="connsiteX388" fmla="*/ 388239 w 697289"/>
                <a:gd name="connsiteY388" fmla="*/ 351871 h 436036"/>
                <a:gd name="connsiteX389" fmla="*/ 394230 w 697289"/>
                <a:gd name="connsiteY389" fmla="*/ 349045 h 436036"/>
                <a:gd name="connsiteX390" fmla="*/ 399009 w 697289"/>
                <a:gd name="connsiteY390" fmla="*/ 345344 h 436036"/>
                <a:gd name="connsiteX391" fmla="*/ 407927 w 697289"/>
                <a:gd name="connsiteY391" fmla="*/ 343932 h 436036"/>
                <a:gd name="connsiteX392" fmla="*/ 417822 w 697289"/>
                <a:gd name="connsiteY392" fmla="*/ 343932 h 436036"/>
                <a:gd name="connsiteX393" fmla="*/ 419774 w 697289"/>
                <a:gd name="connsiteY393" fmla="*/ 345546 h 436036"/>
                <a:gd name="connsiteX394" fmla="*/ 420312 w 697289"/>
                <a:gd name="connsiteY394" fmla="*/ 342182 h 436036"/>
                <a:gd name="connsiteX395" fmla="*/ 421288 w 697289"/>
                <a:gd name="connsiteY395" fmla="*/ 333941 h 436036"/>
                <a:gd name="connsiteX396" fmla="*/ 423240 w 697289"/>
                <a:gd name="connsiteY396" fmla="*/ 327650 h 436036"/>
                <a:gd name="connsiteX397" fmla="*/ 426504 w 697289"/>
                <a:gd name="connsiteY397" fmla="*/ 320821 h 436036"/>
                <a:gd name="connsiteX398" fmla="*/ 433034 w 697289"/>
                <a:gd name="connsiteY398" fmla="*/ 313757 h 436036"/>
                <a:gd name="connsiteX399" fmla="*/ 436601 w 697289"/>
                <a:gd name="connsiteY399" fmla="*/ 310494 h 436036"/>
                <a:gd name="connsiteX400" fmla="*/ 439091 w 697289"/>
                <a:gd name="connsiteY400" fmla="*/ 306692 h 436036"/>
                <a:gd name="connsiteX401" fmla="*/ 439866 w 697289"/>
                <a:gd name="connsiteY401" fmla="*/ 298316 h 436036"/>
                <a:gd name="connsiteX402" fmla="*/ 440640 w 697289"/>
                <a:gd name="connsiteY402" fmla="*/ 290276 h 436036"/>
                <a:gd name="connsiteX403" fmla="*/ 443130 w 697289"/>
                <a:gd name="connsiteY403" fmla="*/ 285836 h 436036"/>
                <a:gd name="connsiteX404" fmla="*/ 446394 w 697289"/>
                <a:gd name="connsiteY404" fmla="*/ 284759 h 436036"/>
                <a:gd name="connsiteX405" fmla="*/ 451712 w 697289"/>
                <a:gd name="connsiteY405" fmla="*/ 284759 h 436036"/>
                <a:gd name="connsiteX406" fmla="*/ 458342 w 697289"/>
                <a:gd name="connsiteY406" fmla="*/ 284860 h 436036"/>
                <a:gd name="connsiteX407" fmla="*/ 465611 w 697289"/>
                <a:gd name="connsiteY407" fmla="*/ 284860 h 436036"/>
                <a:gd name="connsiteX408" fmla="*/ 464635 w 697289"/>
                <a:gd name="connsiteY408" fmla="*/ 278132 h 436036"/>
                <a:gd name="connsiteX409" fmla="*/ 462683 w 697289"/>
                <a:gd name="connsiteY409" fmla="*/ 273120 h 436036"/>
                <a:gd name="connsiteX410" fmla="*/ 462784 w 697289"/>
                <a:gd name="connsiteY410" fmla="*/ 267368 h 436036"/>
                <a:gd name="connsiteX411" fmla="*/ 464837 w 697289"/>
                <a:gd name="connsiteY411" fmla="*/ 267166 h 436036"/>
                <a:gd name="connsiteX412" fmla="*/ 470155 w 697289"/>
                <a:gd name="connsiteY412" fmla="*/ 269554 h 436036"/>
                <a:gd name="connsiteX413" fmla="*/ 474395 w 697289"/>
                <a:gd name="connsiteY413" fmla="*/ 269453 h 436036"/>
                <a:gd name="connsiteX414" fmla="*/ 475910 w 697289"/>
                <a:gd name="connsiteY414" fmla="*/ 265013 h 436036"/>
                <a:gd name="connsiteX415" fmla="*/ 476011 w 697289"/>
                <a:gd name="connsiteY415" fmla="*/ 260337 h 436036"/>
                <a:gd name="connsiteX416" fmla="*/ 473958 w 697289"/>
                <a:gd name="connsiteY416" fmla="*/ 254686 h 436036"/>
                <a:gd name="connsiteX417" fmla="*/ 474832 w 697289"/>
                <a:gd name="connsiteY417" fmla="*/ 250447 h 436036"/>
                <a:gd name="connsiteX418" fmla="*/ 477861 w 697289"/>
                <a:gd name="connsiteY418" fmla="*/ 247823 h 436036"/>
                <a:gd name="connsiteX419" fmla="*/ 480352 w 697289"/>
                <a:gd name="connsiteY419" fmla="*/ 245233 h 436036"/>
                <a:gd name="connsiteX420" fmla="*/ 485131 w 697289"/>
                <a:gd name="connsiteY420" fmla="*/ 245771 h 436036"/>
                <a:gd name="connsiteX421" fmla="*/ 487958 w 697289"/>
                <a:gd name="connsiteY421" fmla="*/ 247958 h 436036"/>
                <a:gd name="connsiteX422" fmla="*/ 490684 w 697289"/>
                <a:gd name="connsiteY422" fmla="*/ 248294 h 436036"/>
                <a:gd name="connsiteX423" fmla="*/ 492198 w 697289"/>
                <a:gd name="connsiteY423" fmla="*/ 246545 h 436036"/>
                <a:gd name="connsiteX424" fmla="*/ 493275 w 697289"/>
                <a:gd name="connsiteY424" fmla="*/ 242104 h 436036"/>
                <a:gd name="connsiteX425" fmla="*/ 493814 w 697289"/>
                <a:gd name="connsiteY425" fmla="*/ 237563 h 436036"/>
                <a:gd name="connsiteX426" fmla="*/ 491323 w 697289"/>
                <a:gd name="connsiteY426" fmla="*/ 236049 h 436036"/>
                <a:gd name="connsiteX427" fmla="*/ 488294 w 697289"/>
                <a:gd name="connsiteY427" fmla="*/ 234838 h 436036"/>
                <a:gd name="connsiteX428" fmla="*/ 486982 w 697289"/>
                <a:gd name="connsiteY428" fmla="*/ 231474 h 436036"/>
                <a:gd name="connsiteX429" fmla="*/ 486746 w 697289"/>
                <a:gd name="connsiteY429" fmla="*/ 226698 h 436036"/>
                <a:gd name="connsiteX430" fmla="*/ 485871 w 697289"/>
                <a:gd name="connsiteY430" fmla="*/ 225924 h 436036"/>
                <a:gd name="connsiteX431" fmla="*/ 483145 w 697289"/>
                <a:gd name="connsiteY431" fmla="*/ 225722 h 436036"/>
                <a:gd name="connsiteX432" fmla="*/ 480116 w 697289"/>
                <a:gd name="connsiteY432" fmla="*/ 224545 h 436036"/>
                <a:gd name="connsiteX433" fmla="*/ 478366 w 697289"/>
                <a:gd name="connsiteY433" fmla="*/ 223031 h 436036"/>
                <a:gd name="connsiteX434" fmla="*/ 477356 w 697289"/>
                <a:gd name="connsiteY434" fmla="*/ 221517 h 436036"/>
                <a:gd name="connsiteX435" fmla="*/ 477020 w 697289"/>
                <a:gd name="connsiteY435" fmla="*/ 220440 h 436036"/>
                <a:gd name="connsiteX436" fmla="*/ 476381 w 697289"/>
                <a:gd name="connsiteY436" fmla="*/ 218489 h 436036"/>
                <a:gd name="connsiteX437" fmla="*/ 474967 w 697289"/>
                <a:gd name="connsiteY437" fmla="*/ 215462 h 436036"/>
                <a:gd name="connsiteX438" fmla="*/ 475506 w 697289"/>
                <a:gd name="connsiteY438" fmla="*/ 212199 h 436036"/>
                <a:gd name="connsiteX439" fmla="*/ 477121 w 697289"/>
                <a:gd name="connsiteY439" fmla="*/ 211324 h 436036"/>
                <a:gd name="connsiteX440" fmla="*/ 480150 w 697289"/>
                <a:gd name="connsiteY440" fmla="*/ 211526 h 436036"/>
                <a:gd name="connsiteX441" fmla="*/ 482539 w 697289"/>
                <a:gd name="connsiteY441" fmla="*/ 214251 h 436036"/>
                <a:gd name="connsiteX442" fmla="*/ 485131 w 697289"/>
                <a:gd name="connsiteY442" fmla="*/ 216303 h 436036"/>
                <a:gd name="connsiteX443" fmla="*/ 488160 w 697289"/>
                <a:gd name="connsiteY443" fmla="*/ 217177 h 436036"/>
                <a:gd name="connsiteX444" fmla="*/ 489775 w 697289"/>
                <a:gd name="connsiteY444" fmla="*/ 216841 h 436036"/>
                <a:gd name="connsiteX445" fmla="*/ 491424 w 697289"/>
                <a:gd name="connsiteY445" fmla="*/ 215428 h 436036"/>
                <a:gd name="connsiteX446" fmla="*/ 491963 w 697289"/>
                <a:gd name="connsiteY446" fmla="*/ 213578 h 436036"/>
                <a:gd name="connsiteX447" fmla="*/ 493477 w 697289"/>
                <a:gd name="connsiteY447" fmla="*/ 211291 h 436036"/>
                <a:gd name="connsiteX448" fmla="*/ 494352 w 697289"/>
                <a:gd name="connsiteY448" fmla="*/ 210517 h 436036"/>
                <a:gd name="connsiteX449" fmla="*/ 497078 w 697289"/>
                <a:gd name="connsiteY449" fmla="*/ 209440 h 436036"/>
                <a:gd name="connsiteX450" fmla="*/ 498054 w 697289"/>
                <a:gd name="connsiteY450" fmla="*/ 211930 h 436036"/>
                <a:gd name="connsiteX451" fmla="*/ 498155 w 697289"/>
                <a:gd name="connsiteY451" fmla="*/ 214116 h 436036"/>
                <a:gd name="connsiteX452" fmla="*/ 498054 w 697289"/>
                <a:gd name="connsiteY452" fmla="*/ 218456 h 436036"/>
                <a:gd name="connsiteX453" fmla="*/ 497516 w 697289"/>
                <a:gd name="connsiteY453" fmla="*/ 221281 h 436036"/>
                <a:gd name="connsiteX454" fmla="*/ 495766 w 697289"/>
                <a:gd name="connsiteY454" fmla="*/ 223771 h 436036"/>
                <a:gd name="connsiteX455" fmla="*/ 495530 w 697289"/>
                <a:gd name="connsiteY455" fmla="*/ 226698 h 436036"/>
                <a:gd name="connsiteX456" fmla="*/ 495530 w 697289"/>
                <a:gd name="connsiteY456" fmla="*/ 230600 h 436036"/>
                <a:gd name="connsiteX457" fmla="*/ 496506 w 697289"/>
                <a:gd name="connsiteY457" fmla="*/ 233964 h 436036"/>
                <a:gd name="connsiteX458" fmla="*/ 501083 w 697289"/>
                <a:gd name="connsiteY458" fmla="*/ 234838 h 436036"/>
                <a:gd name="connsiteX459" fmla="*/ 505122 w 697289"/>
                <a:gd name="connsiteY459" fmla="*/ 234300 h 436036"/>
                <a:gd name="connsiteX460" fmla="*/ 506199 w 697289"/>
                <a:gd name="connsiteY460" fmla="*/ 232248 h 436036"/>
                <a:gd name="connsiteX461" fmla="*/ 509800 w 697289"/>
                <a:gd name="connsiteY461" fmla="*/ 228548 h 436036"/>
                <a:gd name="connsiteX462" fmla="*/ 513064 w 697289"/>
                <a:gd name="connsiteY462" fmla="*/ 225957 h 436036"/>
                <a:gd name="connsiteX463" fmla="*/ 516228 w 697289"/>
                <a:gd name="connsiteY463" fmla="*/ 224107 h 436036"/>
                <a:gd name="connsiteX464" fmla="*/ 519391 w 697289"/>
                <a:gd name="connsiteY464" fmla="*/ 222694 h 436036"/>
                <a:gd name="connsiteX465" fmla="*/ 522858 w 697289"/>
                <a:gd name="connsiteY465" fmla="*/ 222156 h 436036"/>
                <a:gd name="connsiteX466" fmla="*/ 528074 w 697289"/>
                <a:gd name="connsiteY466" fmla="*/ 221954 h 436036"/>
                <a:gd name="connsiteX467" fmla="*/ 531002 w 697289"/>
                <a:gd name="connsiteY467" fmla="*/ 220205 h 436036"/>
                <a:gd name="connsiteX468" fmla="*/ 532079 w 697289"/>
                <a:gd name="connsiteY468" fmla="*/ 217817 h 436036"/>
                <a:gd name="connsiteX469" fmla="*/ 532516 w 697289"/>
                <a:gd name="connsiteY469" fmla="*/ 214015 h 436036"/>
                <a:gd name="connsiteX470" fmla="*/ 531742 w 697289"/>
                <a:gd name="connsiteY470" fmla="*/ 210315 h 436036"/>
                <a:gd name="connsiteX471" fmla="*/ 530093 w 697289"/>
                <a:gd name="connsiteY471" fmla="*/ 203251 h 436036"/>
                <a:gd name="connsiteX472" fmla="*/ 529017 w 697289"/>
                <a:gd name="connsiteY472" fmla="*/ 199113 h 436036"/>
                <a:gd name="connsiteX473" fmla="*/ 526829 w 697289"/>
                <a:gd name="connsiteY473" fmla="*/ 193663 h 436036"/>
                <a:gd name="connsiteX474" fmla="*/ 526829 w 697289"/>
                <a:gd name="connsiteY474" fmla="*/ 184110 h 436036"/>
                <a:gd name="connsiteX475" fmla="*/ 527704 w 697289"/>
                <a:gd name="connsiteY475" fmla="*/ 180645 h 436036"/>
                <a:gd name="connsiteX476" fmla="*/ 532920 w 697289"/>
                <a:gd name="connsiteY476" fmla="*/ 180645 h 436036"/>
                <a:gd name="connsiteX477" fmla="*/ 536185 w 697289"/>
                <a:gd name="connsiteY477" fmla="*/ 183908 h 436036"/>
                <a:gd name="connsiteX478" fmla="*/ 540089 w 697289"/>
                <a:gd name="connsiteY478" fmla="*/ 187608 h 436036"/>
                <a:gd name="connsiteX479" fmla="*/ 543118 w 697289"/>
                <a:gd name="connsiteY479" fmla="*/ 188920 h 436036"/>
                <a:gd name="connsiteX480" fmla="*/ 546382 w 697289"/>
                <a:gd name="connsiteY480" fmla="*/ 190434 h 436036"/>
                <a:gd name="connsiteX481" fmla="*/ 547257 w 697289"/>
                <a:gd name="connsiteY481" fmla="*/ 186296 h 436036"/>
                <a:gd name="connsiteX482" fmla="*/ 545305 w 697289"/>
                <a:gd name="connsiteY482" fmla="*/ 181721 h 436036"/>
                <a:gd name="connsiteX483" fmla="*/ 546180 w 697289"/>
                <a:gd name="connsiteY483" fmla="*/ 176709 h 436036"/>
                <a:gd name="connsiteX484" fmla="*/ 546618 w 697289"/>
                <a:gd name="connsiteY484" fmla="*/ 173681 h 436036"/>
                <a:gd name="connsiteX485" fmla="*/ 548132 w 697289"/>
                <a:gd name="connsiteY485" fmla="*/ 172168 h 436036"/>
                <a:gd name="connsiteX486" fmla="*/ 549647 w 697289"/>
                <a:gd name="connsiteY486" fmla="*/ 169981 h 436036"/>
                <a:gd name="connsiteX487" fmla="*/ 546820 w 697289"/>
                <a:gd name="connsiteY487" fmla="*/ 168467 h 436036"/>
                <a:gd name="connsiteX488" fmla="*/ 541166 w 697289"/>
                <a:gd name="connsiteY488" fmla="*/ 168467 h 436036"/>
                <a:gd name="connsiteX489" fmla="*/ 533122 w 697289"/>
                <a:gd name="connsiteY489" fmla="*/ 168366 h 436036"/>
                <a:gd name="connsiteX490" fmla="*/ 527704 w 697289"/>
                <a:gd name="connsiteY490" fmla="*/ 166314 h 436036"/>
                <a:gd name="connsiteX491" fmla="*/ 525954 w 697289"/>
                <a:gd name="connsiteY491" fmla="*/ 160461 h 436036"/>
                <a:gd name="connsiteX492" fmla="*/ 530531 w 697289"/>
                <a:gd name="connsiteY492" fmla="*/ 156559 h 436036"/>
                <a:gd name="connsiteX493" fmla="*/ 534670 w 697289"/>
                <a:gd name="connsiteY493" fmla="*/ 156323 h 436036"/>
                <a:gd name="connsiteX494" fmla="*/ 538137 w 697289"/>
                <a:gd name="connsiteY494" fmla="*/ 156323 h 436036"/>
                <a:gd name="connsiteX495" fmla="*/ 543791 w 697289"/>
                <a:gd name="connsiteY495" fmla="*/ 157736 h 436036"/>
                <a:gd name="connsiteX496" fmla="*/ 545541 w 697289"/>
                <a:gd name="connsiteY496" fmla="*/ 160226 h 436036"/>
                <a:gd name="connsiteX497" fmla="*/ 551430 w 697289"/>
                <a:gd name="connsiteY497" fmla="*/ 160427 h 436036"/>
                <a:gd name="connsiteX498" fmla="*/ 558161 w 697289"/>
                <a:gd name="connsiteY498" fmla="*/ 155651 h 436036"/>
                <a:gd name="connsiteX499" fmla="*/ 561628 w 697289"/>
                <a:gd name="connsiteY499" fmla="*/ 149360 h 436036"/>
                <a:gd name="connsiteX500" fmla="*/ 568359 w 697289"/>
                <a:gd name="connsiteY500" fmla="*/ 148485 h 436036"/>
                <a:gd name="connsiteX501" fmla="*/ 574652 w 697289"/>
                <a:gd name="connsiteY501" fmla="*/ 147409 h 436036"/>
                <a:gd name="connsiteX502" fmla="*/ 583571 w 697289"/>
                <a:gd name="connsiteY502" fmla="*/ 143708 h 436036"/>
                <a:gd name="connsiteX503" fmla="*/ 589426 w 697289"/>
                <a:gd name="connsiteY503" fmla="*/ 143271 h 436036"/>
                <a:gd name="connsiteX504" fmla="*/ 589426 w 697289"/>
                <a:gd name="connsiteY504" fmla="*/ 137182 h 436036"/>
                <a:gd name="connsiteX505" fmla="*/ 588013 w 697289"/>
                <a:gd name="connsiteY505" fmla="*/ 132406 h 436036"/>
                <a:gd name="connsiteX506" fmla="*/ 589225 w 697289"/>
                <a:gd name="connsiteY506" fmla="*/ 127191 h 436036"/>
                <a:gd name="connsiteX507" fmla="*/ 595316 w 697289"/>
                <a:gd name="connsiteY507" fmla="*/ 127831 h 436036"/>
                <a:gd name="connsiteX508" fmla="*/ 602047 w 697289"/>
                <a:gd name="connsiteY508" fmla="*/ 126956 h 436036"/>
                <a:gd name="connsiteX509" fmla="*/ 599658 w 697289"/>
                <a:gd name="connsiteY509" fmla="*/ 131733 h 436036"/>
                <a:gd name="connsiteX510" fmla="*/ 594643 w 697289"/>
                <a:gd name="connsiteY510" fmla="*/ 134121 h 436036"/>
                <a:gd name="connsiteX511" fmla="*/ 593330 w 697289"/>
                <a:gd name="connsiteY511" fmla="*/ 138696 h 436036"/>
                <a:gd name="connsiteX512" fmla="*/ 597907 w 697289"/>
                <a:gd name="connsiteY512" fmla="*/ 143473 h 436036"/>
                <a:gd name="connsiteX513" fmla="*/ 601609 w 697289"/>
                <a:gd name="connsiteY513" fmla="*/ 144112 h 436036"/>
                <a:gd name="connsiteX514" fmla="*/ 605513 w 697289"/>
                <a:gd name="connsiteY514" fmla="*/ 144549 h 436036"/>
                <a:gd name="connsiteX515" fmla="*/ 608105 w 697289"/>
                <a:gd name="connsiteY515" fmla="*/ 143675 h 436036"/>
                <a:gd name="connsiteX516" fmla="*/ 609215 w 697289"/>
                <a:gd name="connsiteY516" fmla="*/ 141085 h 436036"/>
                <a:gd name="connsiteX517" fmla="*/ 608340 w 697289"/>
                <a:gd name="connsiteY517" fmla="*/ 136745 h 436036"/>
                <a:gd name="connsiteX518" fmla="*/ 610292 w 697289"/>
                <a:gd name="connsiteY518" fmla="*/ 132607 h 436036"/>
                <a:gd name="connsiteX519" fmla="*/ 614432 w 697289"/>
                <a:gd name="connsiteY519" fmla="*/ 128268 h 436036"/>
                <a:gd name="connsiteX520" fmla="*/ 615946 w 697289"/>
                <a:gd name="connsiteY520" fmla="*/ 125442 h 436036"/>
                <a:gd name="connsiteX521" fmla="*/ 619446 w 697289"/>
                <a:gd name="connsiteY521" fmla="*/ 122415 h 436036"/>
                <a:gd name="connsiteX522" fmla="*/ 622913 w 697289"/>
                <a:gd name="connsiteY522" fmla="*/ 120901 h 436036"/>
                <a:gd name="connsiteX523" fmla="*/ 627490 w 697289"/>
                <a:gd name="connsiteY523" fmla="*/ 117873 h 436036"/>
                <a:gd name="connsiteX524" fmla="*/ 629442 w 697289"/>
                <a:gd name="connsiteY524" fmla="*/ 116124 h 436036"/>
                <a:gd name="connsiteX525" fmla="*/ 632033 w 697289"/>
                <a:gd name="connsiteY525" fmla="*/ 112659 h 436036"/>
                <a:gd name="connsiteX526" fmla="*/ 637485 w 697289"/>
                <a:gd name="connsiteY526" fmla="*/ 115922 h 436036"/>
                <a:gd name="connsiteX527" fmla="*/ 644014 w 697289"/>
                <a:gd name="connsiteY527" fmla="*/ 116999 h 436036"/>
                <a:gd name="connsiteX528" fmla="*/ 645764 w 697289"/>
                <a:gd name="connsiteY528" fmla="*/ 116763 h 436036"/>
                <a:gd name="connsiteX529" fmla="*/ 647952 w 697289"/>
                <a:gd name="connsiteY529" fmla="*/ 114375 h 436036"/>
                <a:gd name="connsiteX530" fmla="*/ 650543 w 697289"/>
                <a:gd name="connsiteY530" fmla="*/ 108723 h 436036"/>
                <a:gd name="connsiteX531" fmla="*/ 650981 w 697289"/>
                <a:gd name="connsiteY531" fmla="*/ 102870 h 436036"/>
                <a:gd name="connsiteX532" fmla="*/ 651418 w 697289"/>
                <a:gd name="connsiteY532" fmla="*/ 100482 h 436036"/>
                <a:gd name="connsiteX533" fmla="*/ 655558 w 697289"/>
                <a:gd name="connsiteY533" fmla="*/ 100280 h 436036"/>
                <a:gd name="connsiteX534" fmla="*/ 657072 w 697289"/>
                <a:gd name="connsiteY534" fmla="*/ 105494 h 436036"/>
                <a:gd name="connsiteX535" fmla="*/ 658149 w 697289"/>
                <a:gd name="connsiteY535" fmla="*/ 113298 h 436036"/>
                <a:gd name="connsiteX536" fmla="*/ 659226 w 697289"/>
                <a:gd name="connsiteY536" fmla="*/ 118075 h 436036"/>
                <a:gd name="connsiteX537" fmla="*/ 660976 w 697289"/>
                <a:gd name="connsiteY537" fmla="*/ 124803 h 436036"/>
                <a:gd name="connsiteX538" fmla="*/ 666832 w 697289"/>
                <a:gd name="connsiteY538" fmla="*/ 127393 h 436036"/>
                <a:gd name="connsiteX539" fmla="*/ 672688 w 697289"/>
                <a:gd name="connsiteY539" fmla="*/ 128268 h 436036"/>
                <a:gd name="connsiteX540" fmla="*/ 676827 w 697289"/>
                <a:gd name="connsiteY540" fmla="*/ 125240 h 436036"/>
                <a:gd name="connsiteX541" fmla="*/ 683356 w 697289"/>
                <a:gd name="connsiteY541" fmla="*/ 120026 h 436036"/>
                <a:gd name="connsiteX542" fmla="*/ 685982 w 697289"/>
                <a:gd name="connsiteY542" fmla="*/ 118277 h 436036"/>
                <a:gd name="connsiteX543" fmla="*/ 688808 w 697289"/>
                <a:gd name="connsiteY543" fmla="*/ 115687 h 436036"/>
                <a:gd name="connsiteX544" fmla="*/ 690323 w 697289"/>
                <a:gd name="connsiteY544" fmla="*/ 113736 h 436036"/>
                <a:gd name="connsiteX545" fmla="*/ 690323 w 697289"/>
                <a:gd name="connsiteY545" fmla="*/ 111112 h 436036"/>
                <a:gd name="connsiteX546" fmla="*/ 688270 w 697289"/>
                <a:gd name="connsiteY546" fmla="*/ 107647 h 436036"/>
                <a:gd name="connsiteX547" fmla="*/ 690323 w 697289"/>
                <a:gd name="connsiteY547" fmla="*/ 103072 h 436036"/>
                <a:gd name="connsiteX548" fmla="*/ 692510 w 697289"/>
                <a:gd name="connsiteY548" fmla="*/ 101760 h 436036"/>
                <a:gd name="connsiteX549" fmla="*/ 694261 w 697289"/>
                <a:gd name="connsiteY549" fmla="*/ 98059 h 436036"/>
                <a:gd name="connsiteX550" fmla="*/ 690559 w 697289"/>
                <a:gd name="connsiteY550" fmla="*/ 96108 h 436036"/>
                <a:gd name="connsiteX551" fmla="*/ 687731 w 697289"/>
                <a:gd name="connsiteY551" fmla="*/ 96748 h 436036"/>
                <a:gd name="connsiteX552" fmla="*/ 683828 w 697289"/>
                <a:gd name="connsiteY552" fmla="*/ 98261 h 436036"/>
                <a:gd name="connsiteX553" fmla="*/ 678813 w 697289"/>
                <a:gd name="connsiteY553" fmla="*/ 101087 h 436036"/>
                <a:gd name="connsiteX554" fmla="*/ 675347 w 697289"/>
                <a:gd name="connsiteY554" fmla="*/ 101087 h 436036"/>
                <a:gd name="connsiteX555" fmla="*/ 676659 w 697289"/>
                <a:gd name="connsiteY555" fmla="*/ 98261 h 436036"/>
                <a:gd name="connsiteX556" fmla="*/ 677097 w 697289"/>
                <a:gd name="connsiteY556" fmla="*/ 92845 h 436036"/>
                <a:gd name="connsiteX557" fmla="*/ 677298 w 697289"/>
                <a:gd name="connsiteY557" fmla="*/ 89145 h 436036"/>
                <a:gd name="connsiteX558" fmla="*/ 678611 w 697289"/>
                <a:gd name="connsiteY558" fmla="*/ 87833 h 436036"/>
                <a:gd name="connsiteX559" fmla="*/ 681000 w 697289"/>
                <a:gd name="connsiteY559" fmla="*/ 86319 h 436036"/>
                <a:gd name="connsiteX560" fmla="*/ 683828 w 697289"/>
                <a:gd name="connsiteY560" fmla="*/ 84806 h 436036"/>
                <a:gd name="connsiteX561" fmla="*/ 686856 w 697289"/>
                <a:gd name="connsiteY561" fmla="*/ 80668 h 436036"/>
                <a:gd name="connsiteX562" fmla="*/ 686856 w 697289"/>
                <a:gd name="connsiteY562" fmla="*/ 73704 h 436036"/>
                <a:gd name="connsiteX563" fmla="*/ 688270 w 697289"/>
                <a:gd name="connsiteY563" fmla="*/ 68053 h 436036"/>
                <a:gd name="connsiteX564" fmla="*/ 690356 w 697289"/>
                <a:gd name="connsiteY564" fmla="*/ 65025 h 436036"/>
                <a:gd name="connsiteX565" fmla="*/ 692948 w 697289"/>
                <a:gd name="connsiteY565" fmla="*/ 60248 h 436036"/>
                <a:gd name="connsiteX566" fmla="*/ 696212 w 697289"/>
                <a:gd name="connsiteY566" fmla="*/ 56346 h 436036"/>
                <a:gd name="connsiteX567" fmla="*/ 697290 w 697289"/>
                <a:gd name="connsiteY567" fmla="*/ 54597 h 436036"/>
                <a:gd name="connsiteX568" fmla="*/ 697290 w 697289"/>
                <a:gd name="connsiteY568" fmla="*/ 51771 h 436036"/>
                <a:gd name="connsiteX569" fmla="*/ 695977 w 697289"/>
                <a:gd name="connsiteY569" fmla="*/ 49820 h 436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</a:cxnLst>
              <a:rect l="l" t="t" r="r" b="b"/>
              <a:pathLst>
                <a:path w="697289" h="436036">
                  <a:moveTo>
                    <a:pt x="695977" y="49820"/>
                  </a:moveTo>
                  <a:lnTo>
                    <a:pt x="693688" y="49618"/>
                  </a:lnTo>
                  <a:lnTo>
                    <a:pt x="689347" y="51368"/>
                  </a:lnTo>
                  <a:cubicBezTo>
                    <a:pt x="689347" y="51368"/>
                    <a:pt x="686957" y="51805"/>
                    <a:pt x="686318" y="52007"/>
                  </a:cubicBezTo>
                  <a:cubicBezTo>
                    <a:pt x="685678" y="52209"/>
                    <a:pt x="680025" y="55270"/>
                    <a:pt x="680025" y="55270"/>
                  </a:cubicBezTo>
                  <a:cubicBezTo>
                    <a:pt x="680025" y="55270"/>
                    <a:pt x="676121" y="57221"/>
                    <a:pt x="675448" y="57221"/>
                  </a:cubicBezTo>
                  <a:cubicBezTo>
                    <a:pt x="674808" y="57221"/>
                    <a:pt x="668279" y="58096"/>
                    <a:pt x="667404" y="58096"/>
                  </a:cubicBezTo>
                  <a:cubicBezTo>
                    <a:pt x="666529" y="58096"/>
                    <a:pt x="662625" y="56582"/>
                    <a:pt x="662625" y="56582"/>
                  </a:cubicBezTo>
                  <a:lnTo>
                    <a:pt x="662625" y="49618"/>
                  </a:lnTo>
                  <a:lnTo>
                    <a:pt x="662625" y="44169"/>
                  </a:lnTo>
                  <a:lnTo>
                    <a:pt x="658721" y="41141"/>
                  </a:lnTo>
                  <a:lnTo>
                    <a:pt x="655894" y="43765"/>
                  </a:lnTo>
                  <a:lnTo>
                    <a:pt x="651317" y="45279"/>
                  </a:lnTo>
                  <a:lnTo>
                    <a:pt x="648928" y="42251"/>
                  </a:lnTo>
                  <a:lnTo>
                    <a:pt x="647178" y="38988"/>
                  </a:lnTo>
                  <a:lnTo>
                    <a:pt x="642029" y="39056"/>
                  </a:lnTo>
                  <a:lnTo>
                    <a:pt x="638057" y="39863"/>
                  </a:lnTo>
                  <a:cubicBezTo>
                    <a:pt x="638057" y="39863"/>
                    <a:pt x="633716" y="42184"/>
                    <a:pt x="633480" y="42251"/>
                  </a:cubicBezTo>
                  <a:cubicBezTo>
                    <a:pt x="633278" y="42319"/>
                    <a:pt x="630081" y="44068"/>
                    <a:pt x="629778" y="44135"/>
                  </a:cubicBezTo>
                  <a:cubicBezTo>
                    <a:pt x="629475" y="44203"/>
                    <a:pt x="627086" y="47533"/>
                    <a:pt x="627086" y="47533"/>
                  </a:cubicBezTo>
                  <a:lnTo>
                    <a:pt x="624562" y="51738"/>
                  </a:lnTo>
                  <a:lnTo>
                    <a:pt x="623485" y="53992"/>
                  </a:lnTo>
                  <a:lnTo>
                    <a:pt x="619345" y="53992"/>
                  </a:lnTo>
                  <a:lnTo>
                    <a:pt x="614331" y="54631"/>
                  </a:lnTo>
                  <a:lnTo>
                    <a:pt x="609350" y="55505"/>
                  </a:lnTo>
                  <a:lnTo>
                    <a:pt x="605446" y="56380"/>
                  </a:lnTo>
                  <a:lnTo>
                    <a:pt x="601307" y="57457"/>
                  </a:lnTo>
                  <a:lnTo>
                    <a:pt x="598042" y="58970"/>
                  </a:lnTo>
                  <a:lnTo>
                    <a:pt x="594138" y="59172"/>
                  </a:lnTo>
                  <a:lnTo>
                    <a:pt x="588686" y="58533"/>
                  </a:lnTo>
                  <a:lnTo>
                    <a:pt x="585657" y="55909"/>
                  </a:lnTo>
                  <a:lnTo>
                    <a:pt x="583469" y="53756"/>
                  </a:lnTo>
                  <a:lnTo>
                    <a:pt x="581518" y="50930"/>
                  </a:lnTo>
                  <a:lnTo>
                    <a:pt x="579128" y="47903"/>
                  </a:lnTo>
                  <a:lnTo>
                    <a:pt x="577378" y="44438"/>
                  </a:lnTo>
                  <a:lnTo>
                    <a:pt x="577378" y="40973"/>
                  </a:lnTo>
                  <a:lnTo>
                    <a:pt x="577378" y="37710"/>
                  </a:lnTo>
                  <a:lnTo>
                    <a:pt x="575662" y="37508"/>
                  </a:lnTo>
                  <a:lnTo>
                    <a:pt x="573912" y="38147"/>
                  </a:lnTo>
                  <a:lnTo>
                    <a:pt x="572162" y="40973"/>
                  </a:lnTo>
                  <a:lnTo>
                    <a:pt x="572162" y="44001"/>
                  </a:lnTo>
                  <a:lnTo>
                    <a:pt x="571287" y="48777"/>
                  </a:lnTo>
                  <a:lnTo>
                    <a:pt x="567147" y="48777"/>
                  </a:lnTo>
                  <a:lnTo>
                    <a:pt x="564959" y="48004"/>
                  </a:lnTo>
                  <a:lnTo>
                    <a:pt x="560618" y="44842"/>
                  </a:lnTo>
                  <a:lnTo>
                    <a:pt x="555839" y="44203"/>
                  </a:lnTo>
                  <a:lnTo>
                    <a:pt x="553652" y="41579"/>
                  </a:lnTo>
                  <a:lnTo>
                    <a:pt x="554729" y="35725"/>
                  </a:lnTo>
                  <a:lnTo>
                    <a:pt x="554729" y="33976"/>
                  </a:lnTo>
                  <a:lnTo>
                    <a:pt x="552878" y="30074"/>
                  </a:lnTo>
                  <a:lnTo>
                    <a:pt x="549950" y="29637"/>
                  </a:lnTo>
                  <a:lnTo>
                    <a:pt x="547123" y="29199"/>
                  </a:lnTo>
                  <a:lnTo>
                    <a:pt x="540829" y="27685"/>
                  </a:lnTo>
                  <a:lnTo>
                    <a:pt x="536488" y="25095"/>
                  </a:lnTo>
                  <a:lnTo>
                    <a:pt x="533425" y="22471"/>
                  </a:lnTo>
                  <a:lnTo>
                    <a:pt x="529084" y="21832"/>
                  </a:lnTo>
                  <a:lnTo>
                    <a:pt x="524305" y="22068"/>
                  </a:lnTo>
                  <a:lnTo>
                    <a:pt x="517136" y="24658"/>
                  </a:lnTo>
                  <a:lnTo>
                    <a:pt x="508218" y="28796"/>
                  </a:lnTo>
                  <a:lnTo>
                    <a:pt x="503641" y="29435"/>
                  </a:lnTo>
                  <a:lnTo>
                    <a:pt x="499939" y="30949"/>
                  </a:lnTo>
                  <a:lnTo>
                    <a:pt x="493208" y="35086"/>
                  </a:lnTo>
                  <a:lnTo>
                    <a:pt x="489304" y="36600"/>
                  </a:lnTo>
                  <a:lnTo>
                    <a:pt x="484525" y="38349"/>
                  </a:lnTo>
                  <a:lnTo>
                    <a:pt x="479948" y="38114"/>
                  </a:lnTo>
                  <a:lnTo>
                    <a:pt x="475169" y="39190"/>
                  </a:lnTo>
                  <a:lnTo>
                    <a:pt x="471904" y="42218"/>
                  </a:lnTo>
                  <a:lnTo>
                    <a:pt x="473857" y="45918"/>
                  </a:lnTo>
                  <a:lnTo>
                    <a:pt x="477121" y="46793"/>
                  </a:lnTo>
                  <a:lnTo>
                    <a:pt x="479948" y="49618"/>
                  </a:lnTo>
                  <a:lnTo>
                    <a:pt x="479948" y="52007"/>
                  </a:lnTo>
                  <a:lnTo>
                    <a:pt x="476347" y="56784"/>
                  </a:lnTo>
                  <a:lnTo>
                    <a:pt x="470356" y="64184"/>
                  </a:lnTo>
                  <a:lnTo>
                    <a:pt x="463390" y="70912"/>
                  </a:lnTo>
                  <a:lnTo>
                    <a:pt x="456861" y="76564"/>
                  </a:lnTo>
                  <a:lnTo>
                    <a:pt x="448616" y="77640"/>
                  </a:lnTo>
                  <a:lnTo>
                    <a:pt x="446664" y="78515"/>
                  </a:lnTo>
                  <a:lnTo>
                    <a:pt x="444510" y="81980"/>
                  </a:lnTo>
                  <a:lnTo>
                    <a:pt x="443837" y="85680"/>
                  </a:lnTo>
                  <a:lnTo>
                    <a:pt x="446024" y="87429"/>
                  </a:lnTo>
                  <a:lnTo>
                    <a:pt x="448649" y="89616"/>
                  </a:lnTo>
                  <a:lnTo>
                    <a:pt x="448649" y="92206"/>
                  </a:lnTo>
                  <a:lnTo>
                    <a:pt x="446798" y="96983"/>
                  </a:lnTo>
                  <a:cubicBezTo>
                    <a:pt x="446798" y="96983"/>
                    <a:pt x="443870" y="101558"/>
                    <a:pt x="443433" y="102197"/>
                  </a:cubicBezTo>
                  <a:cubicBezTo>
                    <a:pt x="442995" y="102836"/>
                    <a:pt x="439731" y="106974"/>
                    <a:pt x="439731" y="106974"/>
                  </a:cubicBezTo>
                  <a:cubicBezTo>
                    <a:pt x="439731" y="106974"/>
                    <a:pt x="433639" y="109362"/>
                    <a:pt x="432764" y="109362"/>
                  </a:cubicBezTo>
                  <a:cubicBezTo>
                    <a:pt x="431890" y="109362"/>
                    <a:pt x="426908" y="109564"/>
                    <a:pt x="426908" y="109564"/>
                  </a:cubicBezTo>
                  <a:lnTo>
                    <a:pt x="417351" y="109564"/>
                  </a:lnTo>
                  <a:lnTo>
                    <a:pt x="410182" y="110102"/>
                  </a:lnTo>
                  <a:lnTo>
                    <a:pt x="403889" y="111953"/>
                  </a:lnTo>
                  <a:lnTo>
                    <a:pt x="400187" y="112592"/>
                  </a:lnTo>
                  <a:cubicBezTo>
                    <a:pt x="400187" y="112592"/>
                    <a:pt x="391941" y="113029"/>
                    <a:pt x="391066" y="112794"/>
                  </a:cubicBezTo>
                  <a:cubicBezTo>
                    <a:pt x="390191" y="112592"/>
                    <a:pt x="384336" y="110843"/>
                    <a:pt x="384336" y="110843"/>
                  </a:cubicBezTo>
                  <a:lnTo>
                    <a:pt x="379119" y="108454"/>
                  </a:lnTo>
                  <a:lnTo>
                    <a:pt x="373902" y="106940"/>
                  </a:lnTo>
                  <a:lnTo>
                    <a:pt x="373902" y="101087"/>
                  </a:lnTo>
                  <a:cubicBezTo>
                    <a:pt x="373902" y="101087"/>
                    <a:pt x="367475" y="97185"/>
                    <a:pt x="366835" y="96748"/>
                  </a:cubicBezTo>
                  <a:cubicBezTo>
                    <a:pt x="366196" y="96310"/>
                    <a:pt x="363234" y="94359"/>
                    <a:pt x="363234" y="94359"/>
                  </a:cubicBezTo>
                  <a:cubicBezTo>
                    <a:pt x="363234" y="94359"/>
                    <a:pt x="356066" y="91331"/>
                    <a:pt x="355191" y="90894"/>
                  </a:cubicBezTo>
                  <a:cubicBezTo>
                    <a:pt x="354316" y="90457"/>
                    <a:pt x="355830" y="87833"/>
                    <a:pt x="355830" y="87833"/>
                  </a:cubicBezTo>
                  <a:lnTo>
                    <a:pt x="356469" y="85007"/>
                  </a:lnTo>
                  <a:lnTo>
                    <a:pt x="362931" y="83191"/>
                  </a:lnTo>
                  <a:lnTo>
                    <a:pt x="362123" y="77035"/>
                  </a:lnTo>
                  <a:lnTo>
                    <a:pt x="361686" y="69230"/>
                  </a:lnTo>
                  <a:lnTo>
                    <a:pt x="361619" y="61998"/>
                  </a:lnTo>
                  <a:lnTo>
                    <a:pt x="362864" y="57423"/>
                  </a:lnTo>
                  <a:lnTo>
                    <a:pt x="363941" y="53352"/>
                  </a:lnTo>
                  <a:lnTo>
                    <a:pt x="367272" y="49955"/>
                  </a:lnTo>
                  <a:lnTo>
                    <a:pt x="369931" y="46389"/>
                  </a:lnTo>
                  <a:lnTo>
                    <a:pt x="370470" y="44034"/>
                  </a:lnTo>
                  <a:cubicBezTo>
                    <a:pt x="370470" y="44034"/>
                    <a:pt x="368518" y="41646"/>
                    <a:pt x="368080" y="41410"/>
                  </a:cubicBezTo>
                  <a:cubicBezTo>
                    <a:pt x="367643" y="41209"/>
                    <a:pt x="364176" y="39998"/>
                    <a:pt x="363840" y="39998"/>
                  </a:cubicBezTo>
                  <a:cubicBezTo>
                    <a:pt x="363503" y="39998"/>
                    <a:pt x="360138" y="38786"/>
                    <a:pt x="360138" y="38786"/>
                  </a:cubicBezTo>
                  <a:lnTo>
                    <a:pt x="359263" y="37575"/>
                  </a:lnTo>
                  <a:lnTo>
                    <a:pt x="359902" y="33875"/>
                  </a:lnTo>
                  <a:lnTo>
                    <a:pt x="359902" y="31386"/>
                  </a:lnTo>
                  <a:lnTo>
                    <a:pt x="361652" y="28661"/>
                  </a:lnTo>
                  <a:lnTo>
                    <a:pt x="361652" y="23447"/>
                  </a:lnTo>
                  <a:lnTo>
                    <a:pt x="361652" y="20857"/>
                  </a:lnTo>
                  <a:lnTo>
                    <a:pt x="360306" y="20083"/>
                  </a:lnTo>
                  <a:lnTo>
                    <a:pt x="355897" y="17795"/>
                  </a:lnTo>
                  <a:lnTo>
                    <a:pt x="352431" y="16921"/>
                  </a:lnTo>
                  <a:lnTo>
                    <a:pt x="350041" y="18132"/>
                  </a:lnTo>
                  <a:lnTo>
                    <a:pt x="347551" y="18334"/>
                  </a:lnTo>
                  <a:lnTo>
                    <a:pt x="346037" y="18535"/>
                  </a:lnTo>
                  <a:cubicBezTo>
                    <a:pt x="346037" y="18535"/>
                    <a:pt x="347214" y="16483"/>
                    <a:pt x="347349" y="16046"/>
                  </a:cubicBezTo>
                  <a:cubicBezTo>
                    <a:pt x="347450" y="15609"/>
                    <a:pt x="348325" y="14196"/>
                    <a:pt x="348325" y="14196"/>
                  </a:cubicBezTo>
                  <a:lnTo>
                    <a:pt x="349301" y="11908"/>
                  </a:lnTo>
                  <a:lnTo>
                    <a:pt x="347887" y="9285"/>
                  </a:lnTo>
                  <a:cubicBezTo>
                    <a:pt x="347887" y="9285"/>
                    <a:pt x="346037" y="7434"/>
                    <a:pt x="345936" y="7098"/>
                  </a:cubicBezTo>
                  <a:cubicBezTo>
                    <a:pt x="345835" y="6762"/>
                    <a:pt x="342570" y="5483"/>
                    <a:pt x="342570" y="5483"/>
                  </a:cubicBezTo>
                  <a:lnTo>
                    <a:pt x="340719" y="5248"/>
                  </a:lnTo>
                  <a:lnTo>
                    <a:pt x="337017" y="5685"/>
                  </a:lnTo>
                  <a:cubicBezTo>
                    <a:pt x="337017" y="5685"/>
                    <a:pt x="335806" y="6459"/>
                    <a:pt x="334964" y="6896"/>
                  </a:cubicBezTo>
                  <a:cubicBezTo>
                    <a:pt x="334089" y="7333"/>
                    <a:pt x="332911" y="9621"/>
                    <a:pt x="332911" y="9621"/>
                  </a:cubicBezTo>
                  <a:lnTo>
                    <a:pt x="331700" y="11673"/>
                  </a:lnTo>
                  <a:lnTo>
                    <a:pt x="329411" y="14061"/>
                  </a:lnTo>
                  <a:cubicBezTo>
                    <a:pt x="329411" y="14061"/>
                    <a:pt x="327897" y="15811"/>
                    <a:pt x="327796" y="16113"/>
                  </a:cubicBezTo>
                  <a:cubicBezTo>
                    <a:pt x="327695" y="16450"/>
                    <a:pt x="326281" y="17863"/>
                    <a:pt x="326281" y="17863"/>
                  </a:cubicBezTo>
                  <a:lnTo>
                    <a:pt x="322041" y="18199"/>
                  </a:lnTo>
                  <a:lnTo>
                    <a:pt x="318574" y="17560"/>
                  </a:lnTo>
                  <a:lnTo>
                    <a:pt x="317397" y="15070"/>
                  </a:lnTo>
                  <a:lnTo>
                    <a:pt x="315882" y="12581"/>
                  </a:lnTo>
                  <a:lnTo>
                    <a:pt x="307132" y="12649"/>
                  </a:lnTo>
                  <a:cubicBezTo>
                    <a:pt x="307132" y="12649"/>
                    <a:pt x="302454" y="12850"/>
                    <a:pt x="302218" y="12985"/>
                  </a:cubicBezTo>
                  <a:cubicBezTo>
                    <a:pt x="302016" y="13086"/>
                    <a:pt x="294646" y="13792"/>
                    <a:pt x="294646" y="13792"/>
                  </a:cubicBezTo>
                  <a:cubicBezTo>
                    <a:pt x="294646" y="13792"/>
                    <a:pt x="291281" y="12178"/>
                    <a:pt x="291112" y="12043"/>
                  </a:cubicBezTo>
                  <a:cubicBezTo>
                    <a:pt x="290944" y="11942"/>
                    <a:pt x="286939" y="10731"/>
                    <a:pt x="286939" y="10731"/>
                  </a:cubicBezTo>
                  <a:cubicBezTo>
                    <a:pt x="286939" y="10731"/>
                    <a:pt x="285189" y="11707"/>
                    <a:pt x="285055" y="11774"/>
                  </a:cubicBezTo>
                  <a:cubicBezTo>
                    <a:pt x="284886" y="11841"/>
                    <a:pt x="283472" y="14229"/>
                    <a:pt x="283472" y="14229"/>
                  </a:cubicBezTo>
                  <a:lnTo>
                    <a:pt x="282766" y="18804"/>
                  </a:lnTo>
                  <a:cubicBezTo>
                    <a:pt x="282766" y="18804"/>
                    <a:pt x="283472" y="25600"/>
                    <a:pt x="283472" y="25802"/>
                  </a:cubicBezTo>
                  <a:cubicBezTo>
                    <a:pt x="283472" y="26037"/>
                    <a:pt x="281588" y="28964"/>
                    <a:pt x="280881" y="29535"/>
                  </a:cubicBezTo>
                  <a:cubicBezTo>
                    <a:pt x="280174" y="30141"/>
                    <a:pt x="278256" y="32529"/>
                    <a:pt x="277684" y="33169"/>
                  </a:cubicBezTo>
                  <a:cubicBezTo>
                    <a:pt x="277078" y="33808"/>
                    <a:pt x="275732" y="36364"/>
                    <a:pt x="275732" y="36364"/>
                  </a:cubicBezTo>
                  <a:lnTo>
                    <a:pt x="273410" y="38820"/>
                  </a:lnTo>
                  <a:lnTo>
                    <a:pt x="271559" y="37912"/>
                  </a:lnTo>
                  <a:lnTo>
                    <a:pt x="271794" y="36499"/>
                  </a:lnTo>
                  <a:lnTo>
                    <a:pt x="273141" y="32429"/>
                  </a:lnTo>
                  <a:lnTo>
                    <a:pt x="274386" y="29435"/>
                  </a:lnTo>
                  <a:lnTo>
                    <a:pt x="275362" y="26441"/>
                  </a:lnTo>
                  <a:lnTo>
                    <a:pt x="275025" y="18031"/>
                  </a:lnTo>
                  <a:lnTo>
                    <a:pt x="273073" y="14768"/>
                  </a:lnTo>
                  <a:lnTo>
                    <a:pt x="270011" y="13019"/>
                  </a:lnTo>
                  <a:lnTo>
                    <a:pt x="268261" y="11942"/>
                  </a:lnTo>
                  <a:lnTo>
                    <a:pt x="265669" y="12379"/>
                  </a:lnTo>
                  <a:lnTo>
                    <a:pt x="260251" y="11303"/>
                  </a:lnTo>
                  <a:lnTo>
                    <a:pt x="259140" y="9554"/>
                  </a:lnTo>
                  <a:lnTo>
                    <a:pt x="259140" y="4339"/>
                  </a:lnTo>
                  <a:lnTo>
                    <a:pt x="259140" y="1749"/>
                  </a:lnTo>
                  <a:lnTo>
                    <a:pt x="256549" y="0"/>
                  </a:lnTo>
                  <a:lnTo>
                    <a:pt x="253284" y="0"/>
                  </a:lnTo>
                  <a:lnTo>
                    <a:pt x="252208" y="875"/>
                  </a:lnTo>
                  <a:lnTo>
                    <a:pt x="252208" y="3128"/>
                  </a:lnTo>
                  <a:lnTo>
                    <a:pt x="250356" y="7266"/>
                  </a:lnTo>
                  <a:lnTo>
                    <a:pt x="248741" y="9890"/>
                  </a:lnTo>
                  <a:lnTo>
                    <a:pt x="246150" y="12278"/>
                  </a:lnTo>
                  <a:cubicBezTo>
                    <a:pt x="246150" y="12278"/>
                    <a:pt x="243525" y="12278"/>
                    <a:pt x="242649" y="12278"/>
                  </a:cubicBezTo>
                  <a:cubicBezTo>
                    <a:pt x="241774" y="12278"/>
                    <a:pt x="236356" y="13355"/>
                    <a:pt x="236356" y="13355"/>
                  </a:cubicBezTo>
                  <a:lnTo>
                    <a:pt x="231342" y="14869"/>
                  </a:lnTo>
                  <a:lnTo>
                    <a:pt x="231342" y="23312"/>
                  </a:lnTo>
                  <a:lnTo>
                    <a:pt x="229390" y="26340"/>
                  </a:lnTo>
                  <a:lnTo>
                    <a:pt x="227640" y="31991"/>
                  </a:lnTo>
                  <a:lnTo>
                    <a:pt x="226563" y="36566"/>
                  </a:lnTo>
                  <a:lnTo>
                    <a:pt x="220707" y="40704"/>
                  </a:lnTo>
                  <a:lnTo>
                    <a:pt x="213539" y="43967"/>
                  </a:lnTo>
                  <a:lnTo>
                    <a:pt x="206168" y="45279"/>
                  </a:lnTo>
                  <a:lnTo>
                    <a:pt x="201591" y="45279"/>
                  </a:lnTo>
                  <a:cubicBezTo>
                    <a:pt x="201591" y="45279"/>
                    <a:pt x="193985" y="48542"/>
                    <a:pt x="191360" y="48979"/>
                  </a:cubicBezTo>
                  <a:cubicBezTo>
                    <a:pt x="188735" y="49417"/>
                    <a:pt x="186144" y="48542"/>
                    <a:pt x="185269" y="48777"/>
                  </a:cubicBezTo>
                  <a:cubicBezTo>
                    <a:pt x="184394" y="48979"/>
                    <a:pt x="178302" y="48777"/>
                    <a:pt x="178302" y="48777"/>
                  </a:cubicBezTo>
                  <a:cubicBezTo>
                    <a:pt x="178302" y="48777"/>
                    <a:pt x="175038" y="48777"/>
                    <a:pt x="170461" y="48777"/>
                  </a:cubicBezTo>
                  <a:cubicBezTo>
                    <a:pt x="165884" y="48777"/>
                    <a:pt x="166119" y="50190"/>
                    <a:pt x="165681" y="51065"/>
                  </a:cubicBezTo>
                  <a:cubicBezTo>
                    <a:pt x="165244" y="51940"/>
                    <a:pt x="161778" y="55068"/>
                    <a:pt x="160263" y="57053"/>
                  </a:cubicBezTo>
                  <a:cubicBezTo>
                    <a:pt x="158749" y="59004"/>
                    <a:pt x="157638" y="62502"/>
                    <a:pt x="156999" y="63343"/>
                  </a:cubicBezTo>
                  <a:cubicBezTo>
                    <a:pt x="156359" y="64218"/>
                    <a:pt x="153095" y="69432"/>
                    <a:pt x="152422" y="70071"/>
                  </a:cubicBezTo>
                  <a:cubicBezTo>
                    <a:pt x="151782" y="70711"/>
                    <a:pt x="147407" y="77237"/>
                    <a:pt x="146196" y="77674"/>
                  </a:cubicBezTo>
                  <a:cubicBezTo>
                    <a:pt x="144984" y="78111"/>
                    <a:pt x="137210" y="76160"/>
                    <a:pt x="137210" y="76160"/>
                  </a:cubicBezTo>
                  <a:lnTo>
                    <a:pt x="132195" y="74646"/>
                  </a:lnTo>
                  <a:lnTo>
                    <a:pt x="126541" y="75723"/>
                  </a:lnTo>
                  <a:lnTo>
                    <a:pt x="116983" y="87665"/>
                  </a:lnTo>
                  <a:lnTo>
                    <a:pt x="114594" y="91567"/>
                  </a:lnTo>
                  <a:lnTo>
                    <a:pt x="109377" y="100246"/>
                  </a:lnTo>
                  <a:lnTo>
                    <a:pt x="105036" y="101558"/>
                  </a:lnTo>
                  <a:lnTo>
                    <a:pt x="100021" y="103072"/>
                  </a:lnTo>
                  <a:cubicBezTo>
                    <a:pt x="100021" y="103072"/>
                    <a:pt x="96555" y="106974"/>
                    <a:pt x="94805" y="108084"/>
                  </a:cubicBezTo>
                  <a:cubicBezTo>
                    <a:pt x="93055" y="109161"/>
                    <a:pt x="92853" y="113298"/>
                    <a:pt x="92853" y="113298"/>
                  </a:cubicBezTo>
                  <a:lnTo>
                    <a:pt x="92415" y="118277"/>
                  </a:lnTo>
                  <a:lnTo>
                    <a:pt x="92180" y="128705"/>
                  </a:lnTo>
                  <a:lnTo>
                    <a:pt x="89791" y="136106"/>
                  </a:lnTo>
                  <a:lnTo>
                    <a:pt x="86762" y="141118"/>
                  </a:lnTo>
                  <a:lnTo>
                    <a:pt x="80872" y="147644"/>
                  </a:lnTo>
                  <a:cubicBezTo>
                    <a:pt x="80872" y="147644"/>
                    <a:pt x="75858" y="153733"/>
                    <a:pt x="75454" y="154608"/>
                  </a:cubicBezTo>
                  <a:cubicBezTo>
                    <a:pt x="75016" y="155482"/>
                    <a:pt x="74377" y="162648"/>
                    <a:pt x="74377" y="162648"/>
                  </a:cubicBezTo>
                  <a:lnTo>
                    <a:pt x="66771" y="173076"/>
                  </a:lnTo>
                  <a:lnTo>
                    <a:pt x="63506" y="176339"/>
                  </a:lnTo>
                  <a:lnTo>
                    <a:pt x="61756" y="177415"/>
                  </a:lnTo>
                  <a:lnTo>
                    <a:pt x="56540" y="177415"/>
                  </a:lnTo>
                  <a:cubicBezTo>
                    <a:pt x="56540" y="177415"/>
                    <a:pt x="50886" y="179467"/>
                    <a:pt x="50246" y="179703"/>
                  </a:cubicBezTo>
                  <a:cubicBezTo>
                    <a:pt x="49607" y="179905"/>
                    <a:pt x="48698" y="181755"/>
                    <a:pt x="48698" y="181755"/>
                  </a:cubicBezTo>
                  <a:lnTo>
                    <a:pt x="48698" y="188483"/>
                  </a:lnTo>
                  <a:lnTo>
                    <a:pt x="47722" y="191510"/>
                  </a:lnTo>
                  <a:lnTo>
                    <a:pt x="43482" y="194336"/>
                  </a:lnTo>
                  <a:lnTo>
                    <a:pt x="37828" y="201737"/>
                  </a:lnTo>
                  <a:lnTo>
                    <a:pt x="37626" y="214352"/>
                  </a:lnTo>
                  <a:lnTo>
                    <a:pt x="39140" y="222593"/>
                  </a:lnTo>
                  <a:lnTo>
                    <a:pt x="43044" y="226496"/>
                  </a:lnTo>
                  <a:lnTo>
                    <a:pt x="49573" y="232383"/>
                  </a:lnTo>
                  <a:lnTo>
                    <a:pt x="53915" y="239346"/>
                  </a:lnTo>
                  <a:lnTo>
                    <a:pt x="56742" y="245199"/>
                  </a:lnTo>
                  <a:lnTo>
                    <a:pt x="56304" y="251725"/>
                  </a:lnTo>
                  <a:lnTo>
                    <a:pt x="54117" y="258453"/>
                  </a:lnTo>
                  <a:cubicBezTo>
                    <a:pt x="54117" y="258453"/>
                    <a:pt x="52165" y="261481"/>
                    <a:pt x="51929" y="262154"/>
                  </a:cubicBezTo>
                  <a:cubicBezTo>
                    <a:pt x="51727" y="262793"/>
                    <a:pt x="49539" y="265181"/>
                    <a:pt x="48900" y="265417"/>
                  </a:cubicBezTo>
                  <a:cubicBezTo>
                    <a:pt x="48261" y="265619"/>
                    <a:pt x="46948" y="270833"/>
                    <a:pt x="46511" y="271707"/>
                  </a:cubicBezTo>
                  <a:cubicBezTo>
                    <a:pt x="46073" y="272582"/>
                    <a:pt x="45198" y="278872"/>
                    <a:pt x="45198" y="279545"/>
                  </a:cubicBezTo>
                  <a:cubicBezTo>
                    <a:pt x="45198" y="280184"/>
                    <a:pt x="46073" y="284759"/>
                    <a:pt x="46073" y="284759"/>
                  </a:cubicBezTo>
                  <a:lnTo>
                    <a:pt x="50414" y="287148"/>
                  </a:lnTo>
                  <a:lnTo>
                    <a:pt x="54487" y="285331"/>
                  </a:lnTo>
                  <a:lnTo>
                    <a:pt x="55227" y="283145"/>
                  </a:lnTo>
                  <a:lnTo>
                    <a:pt x="56540" y="282136"/>
                  </a:lnTo>
                  <a:lnTo>
                    <a:pt x="58424" y="279949"/>
                  </a:lnTo>
                  <a:lnTo>
                    <a:pt x="59569" y="277931"/>
                  </a:lnTo>
                  <a:lnTo>
                    <a:pt x="61151" y="277493"/>
                  </a:lnTo>
                  <a:lnTo>
                    <a:pt x="63035" y="279377"/>
                  </a:lnTo>
                  <a:lnTo>
                    <a:pt x="67242" y="280824"/>
                  </a:lnTo>
                  <a:lnTo>
                    <a:pt x="68117" y="279074"/>
                  </a:lnTo>
                  <a:lnTo>
                    <a:pt x="69564" y="274600"/>
                  </a:lnTo>
                  <a:lnTo>
                    <a:pt x="70136" y="271707"/>
                  </a:lnTo>
                  <a:lnTo>
                    <a:pt x="71886" y="269689"/>
                  </a:lnTo>
                  <a:lnTo>
                    <a:pt x="75487" y="268377"/>
                  </a:lnTo>
                  <a:lnTo>
                    <a:pt x="79694" y="267368"/>
                  </a:lnTo>
                  <a:lnTo>
                    <a:pt x="88814" y="265047"/>
                  </a:lnTo>
                  <a:cubicBezTo>
                    <a:pt x="88814" y="265047"/>
                    <a:pt x="90968" y="263028"/>
                    <a:pt x="91574" y="262725"/>
                  </a:cubicBezTo>
                  <a:cubicBezTo>
                    <a:pt x="92146" y="262457"/>
                    <a:pt x="95916" y="258252"/>
                    <a:pt x="95916" y="258252"/>
                  </a:cubicBezTo>
                  <a:cubicBezTo>
                    <a:pt x="95916" y="258252"/>
                    <a:pt x="98238" y="258252"/>
                    <a:pt x="98675" y="257814"/>
                  </a:cubicBezTo>
                  <a:cubicBezTo>
                    <a:pt x="99113" y="257377"/>
                    <a:pt x="100425" y="256233"/>
                    <a:pt x="100997" y="255930"/>
                  </a:cubicBezTo>
                  <a:cubicBezTo>
                    <a:pt x="101570" y="255628"/>
                    <a:pt x="103185" y="252903"/>
                    <a:pt x="103185" y="252903"/>
                  </a:cubicBezTo>
                  <a:lnTo>
                    <a:pt x="103050" y="249875"/>
                  </a:lnTo>
                  <a:lnTo>
                    <a:pt x="102849" y="247991"/>
                  </a:lnTo>
                  <a:lnTo>
                    <a:pt x="106483" y="244425"/>
                  </a:lnTo>
                  <a:lnTo>
                    <a:pt x="108031" y="245839"/>
                  </a:lnTo>
                  <a:lnTo>
                    <a:pt x="113046" y="248698"/>
                  </a:lnTo>
                  <a:lnTo>
                    <a:pt x="113046" y="253037"/>
                  </a:lnTo>
                  <a:lnTo>
                    <a:pt x="110455" y="259698"/>
                  </a:lnTo>
                  <a:lnTo>
                    <a:pt x="109882" y="262288"/>
                  </a:lnTo>
                  <a:lnTo>
                    <a:pt x="108368" y="266762"/>
                  </a:lnTo>
                  <a:lnTo>
                    <a:pt x="103656" y="269521"/>
                  </a:lnTo>
                  <a:lnTo>
                    <a:pt x="93089" y="269521"/>
                  </a:lnTo>
                  <a:lnTo>
                    <a:pt x="90464" y="275038"/>
                  </a:lnTo>
                  <a:lnTo>
                    <a:pt x="90464" y="283448"/>
                  </a:lnTo>
                  <a:lnTo>
                    <a:pt x="86122" y="283448"/>
                  </a:lnTo>
                  <a:lnTo>
                    <a:pt x="81781" y="287215"/>
                  </a:lnTo>
                  <a:lnTo>
                    <a:pt x="80333" y="290411"/>
                  </a:lnTo>
                  <a:lnTo>
                    <a:pt x="78314" y="291555"/>
                  </a:lnTo>
                  <a:lnTo>
                    <a:pt x="75420" y="295625"/>
                  </a:lnTo>
                  <a:lnTo>
                    <a:pt x="73973" y="295625"/>
                  </a:lnTo>
                  <a:lnTo>
                    <a:pt x="68117" y="297374"/>
                  </a:lnTo>
                  <a:lnTo>
                    <a:pt x="63540" y="297374"/>
                  </a:lnTo>
                  <a:lnTo>
                    <a:pt x="62026" y="299965"/>
                  </a:lnTo>
                  <a:lnTo>
                    <a:pt x="58862" y="302689"/>
                  </a:lnTo>
                  <a:lnTo>
                    <a:pt x="56035" y="304439"/>
                  </a:lnTo>
                  <a:lnTo>
                    <a:pt x="54184" y="306053"/>
                  </a:lnTo>
                  <a:cubicBezTo>
                    <a:pt x="54184" y="306053"/>
                    <a:pt x="51559" y="310191"/>
                    <a:pt x="50718" y="310393"/>
                  </a:cubicBezTo>
                  <a:cubicBezTo>
                    <a:pt x="49843" y="310595"/>
                    <a:pt x="46814" y="312546"/>
                    <a:pt x="46814" y="312546"/>
                  </a:cubicBezTo>
                  <a:lnTo>
                    <a:pt x="43549" y="313858"/>
                  </a:lnTo>
                  <a:lnTo>
                    <a:pt x="43549" y="319509"/>
                  </a:lnTo>
                  <a:lnTo>
                    <a:pt x="45602" y="323210"/>
                  </a:lnTo>
                  <a:lnTo>
                    <a:pt x="45266" y="325161"/>
                  </a:lnTo>
                  <a:lnTo>
                    <a:pt x="42674" y="329063"/>
                  </a:lnTo>
                  <a:lnTo>
                    <a:pt x="37458" y="332090"/>
                  </a:lnTo>
                  <a:lnTo>
                    <a:pt x="32006" y="332090"/>
                  </a:lnTo>
                  <a:lnTo>
                    <a:pt x="26991" y="333503"/>
                  </a:lnTo>
                  <a:lnTo>
                    <a:pt x="23289" y="335555"/>
                  </a:lnTo>
                  <a:lnTo>
                    <a:pt x="20226" y="338381"/>
                  </a:lnTo>
                  <a:lnTo>
                    <a:pt x="17837" y="340332"/>
                  </a:lnTo>
                  <a:lnTo>
                    <a:pt x="15649" y="345109"/>
                  </a:lnTo>
                  <a:lnTo>
                    <a:pt x="15649" y="349886"/>
                  </a:lnTo>
                  <a:lnTo>
                    <a:pt x="14774" y="354663"/>
                  </a:lnTo>
                  <a:lnTo>
                    <a:pt x="11745" y="354663"/>
                  </a:lnTo>
                  <a:lnTo>
                    <a:pt x="7842" y="359439"/>
                  </a:lnTo>
                  <a:lnTo>
                    <a:pt x="4139" y="362265"/>
                  </a:lnTo>
                  <a:lnTo>
                    <a:pt x="1313" y="365091"/>
                  </a:lnTo>
                  <a:lnTo>
                    <a:pt x="0" y="367681"/>
                  </a:lnTo>
                  <a:lnTo>
                    <a:pt x="0" y="371146"/>
                  </a:lnTo>
                  <a:lnTo>
                    <a:pt x="0" y="376596"/>
                  </a:lnTo>
                  <a:lnTo>
                    <a:pt x="1515" y="380498"/>
                  </a:lnTo>
                  <a:lnTo>
                    <a:pt x="6092" y="382449"/>
                  </a:lnTo>
                  <a:lnTo>
                    <a:pt x="14774" y="382449"/>
                  </a:lnTo>
                  <a:lnTo>
                    <a:pt x="24130" y="382449"/>
                  </a:lnTo>
                  <a:lnTo>
                    <a:pt x="31299" y="384635"/>
                  </a:lnTo>
                  <a:lnTo>
                    <a:pt x="36751" y="389614"/>
                  </a:lnTo>
                  <a:lnTo>
                    <a:pt x="40890" y="396342"/>
                  </a:lnTo>
                  <a:lnTo>
                    <a:pt x="48294" y="396342"/>
                  </a:lnTo>
                  <a:lnTo>
                    <a:pt x="54823" y="401321"/>
                  </a:lnTo>
                  <a:lnTo>
                    <a:pt x="59165" y="405896"/>
                  </a:lnTo>
                  <a:cubicBezTo>
                    <a:pt x="59165" y="405896"/>
                    <a:pt x="59165" y="411110"/>
                    <a:pt x="59165" y="411749"/>
                  </a:cubicBezTo>
                  <a:cubicBezTo>
                    <a:pt x="59165" y="412388"/>
                    <a:pt x="60477" y="419150"/>
                    <a:pt x="60477" y="419991"/>
                  </a:cubicBezTo>
                  <a:cubicBezTo>
                    <a:pt x="60477" y="420865"/>
                    <a:pt x="64381" y="425642"/>
                    <a:pt x="64381" y="425642"/>
                  </a:cubicBezTo>
                  <a:lnTo>
                    <a:pt x="75689" y="431058"/>
                  </a:lnTo>
                  <a:lnTo>
                    <a:pt x="84810" y="431058"/>
                  </a:lnTo>
                  <a:cubicBezTo>
                    <a:pt x="84810" y="431058"/>
                    <a:pt x="96993" y="430722"/>
                    <a:pt x="99820" y="429645"/>
                  </a:cubicBezTo>
                  <a:cubicBezTo>
                    <a:pt x="102646" y="428569"/>
                    <a:pt x="102646" y="425642"/>
                    <a:pt x="102646" y="425642"/>
                  </a:cubicBezTo>
                  <a:lnTo>
                    <a:pt x="108738" y="424129"/>
                  </a:lnTo>
                  <a:lnTo>
                    <a:pt x="117421" y="424129"/>
                  </a:lnTo>
                  <a:lnTo>
                    <a:pt x="126541" y="424129"/>
                  </a:lnTo>
                  <a:lnTo>
                    <a:pt x="132195" y="421942"/>
                  </a:lnTo>
                  <a:lnTo>
                    <a:pt x="141114" y="418645"/>
                  </a:lnTo>
                  <a:lnTo>
                    <a:pt x="147272" y="416761"/>
                  </a:lnTo>
                  <a:lnTo>
                    <a:pt x="148787" y="415786"/>
                  </a:lnTo>
                  <a:lnTo>
                    <a:pt x="146397" y="413398"/>
                  </a:lnTo>
                  <a:lnTo>
                    <a:pt x="147845" y="407611"/>
                  </a:lnTo>
                  <a:lnTo>
                    <a:pt x="147845" y="402397"/>
                  </a:lnTo>
                  <a:lnTo>
                    <a:pt x="152927" y="393416"/>
                  </a:lnTo>
                  <a:lnTo>
                    <a:pt x="157705" y="389951"/>
                  </a:lnTo>
                  <a:lnTo>
                    <a:pt x="163494" y="385308"/>
                  </a:lnTo>
                  <a:lnTo>
                    <a:pt x="175946" y="384165"/>
                  </a:lnTo>
                  <a:lnTo>
                    <a:pt x="189273" y="386183"/>
                  </a:lnTo>
                  <a:cubicBezTo>
                    <a:pt x="189273" y="386183"/>
                    <a:pt x="197687" y="388504"/>
                    <a:pt x="198832" y="389076"/>
                  </a:cubicBezTo>
                  <a:cubicBezTo>
                    <a:pt x="199976" y="389648"/>
                    <a:pt x="202601" y="391969"/>
                    <a:pt x="202601" y="391969"/>
                  </a:cubicBezTo>
                  <a:lnTo>
                    <a:pt x="205798" y="399201"/>
                  </a:lnTo>
                  <a:lnTo>
                    <a:pt x="210442" y="402397"/>
                  </a:lnTo>
                  <a:lnTo>
                    <a:pt x="210442" y="411076"/>
                  </a:lnTo>
                  <a:lnTo>
                    <a:pt x="210442" y="421202"/>
                  </a:lnTo>
                  <a:lnTo>
                    <a:pt x="216971" y="428434"/>
                  </a:lnTo>
                  <a:lnTo>
                    <a:pt x="220303" y="430453"/>
                  </a:lnTo>
                  <a:lnTo>
                    <a:pt x="224644" y="435364"/>
                  </a:lnTo>
                  <a:lnTo>
                    <a:pt x="230736" y="430453"/>
                  </a:lnTo>
                  <a:lnTo>
                    <a:pt x="233058" y="426685"/>
                  </a:lnTo>
                  <a:lnTo>
                    <a:pt x="233058" y="420596"/>
                  </a:lnTo>
                  <a:lnTo>
                    <a:pt x="240025" y="416896"/>
                  </a:lnTo>
                  <a:lnTo>
                    <a:pt x="250996" y="424599"/>
                  </a:lnTo>
                  <a:cubicBezTo>
                    <a:pt x="250996" y="424599"/>
                    <a:pt x="253823" y="427863"/>
                    <a:pt x="254159" y="427963"/>
                  </a:cubicBezTo>
                  <a:cubicBezTo>
                    <a:pt x="254496" y="428064"/>
                    <a:pt x="259713" y="429040"/>
                    <a:pt x="259713" y="429040"/>
                  </a:cubicBezTo>
                  <a:cubicBezTo>
                    <a:pt x="259713" y="429040"/>
                    <a:pt x="265366" y="427963"/>
                    <a:pt x="265804" y="427627"/>
                  </a:cubicBezTo>
                  <a:cubicBezTo>
                    <a:pt x="266241" y="427291"/>
                    <a:pt x="271794" y="426551"/>
                    <a:pt x="272232" y="426551"/>
                  </a:cubicBezTo>
                  <a:cubicBezTo>
                    <a:pt x="272669" y="426551"/>
                    <a:pt x="277348" y="425676"/>
                    <a:pt x="277348" y="425676"/>
                  </a:cubicBezTo>
                  <a:lnTo>
                    <a:pt x="281252" y="420361"/>
                  </a:lnTo>
                  <a:lnTo>
                    <a:pt x="282766" y="413398"/>
                  </a:lnTo>
                  <a:lnTo>
                    <a:pt x="283304" y="408722"/>
                  </a:lnTo>
                  <a:lnTo>
                    <a:pt x="289833" y="404247"/>
                  </a:lnTo>
                  <a:lnTo>
                    <a:pt x="295050" y="403373"/>
                  </a:lnTo>
                  <a:cubicBezTo>
                    <a:pt x="295050" y="403373"/>
                    <a:pt x="301141" y="405559"/>
                    <a:pt x="301781" y="405862"/>
                  </a:cubicBezTo>
                  <a:cubicBezTo>
                    <a:pt x="302420" y="406199"/>
                    <a:pt x="305584" y="408352"/>
                    <a:pt x="305584" y="408352"/>
                  </a:cubicBezTo>
                  <a:cubicBezTo>
                    <a:pt x="305584" y="408352"/>
                    <a:pt x="309723" y="413229"/>
                    <a:pt x="309387" y="413768"/>
                  </a:cubicBezTo>
                  <a:cubicBezTo>
                    <a:pt x="309050" y="414306"/>
                    <a:pt x="310026" y="418982"/>
                    <a:pt x="310026" y="419419"/>
                  </a:cubicBezTo>
                  <a:cubicBezTo>
                    <a:pt x="310026" y="419856"/>
                    <a:pt x="309387" y="424835"/>
                    <a:pt x="309387" y="424835"/>
                  </a:cubicBezTo>
                  <a:lnTo>
                    <a:pt x="315814" y="433850"/>
                  </a:lnTo>
                  <a:lnTo>
                    <a:pt x="322007" y="436037"/>
                  </a:lnTo>
                  <a:cubicBezTo>
                    <a:pt x="322007" y="436037"/>
                    <a:pt x="330151" y="433312"/>
                    <a:pt x="330825" y="433110"/>
                  </a:cubicBezTo>
                  <a:cubicBezTo>
                    <a:pt x="331498" y="432908"/>
                    <a:pt x="336378" y="429645"/>
                    <a:pt x="336378" y="429645"/>
                  </a:cubicBezTo>
                  <a:cubicBezTo>
                    <a:pt x="336378" y="429645"/>
                    <a:pt x="340820" y="423557"/>
                    <a:pt x="341055" y="423220"/>
                  </a:cubicBezTo>
                  <a:cubicBezTo>
                    <a:pt x="341258" y="422884"/>
                    <a:pt x="342671" y="418006"/>
                    <a:pt x="342671" y="418006"/>
                  </a:cubicBezTo>
                  <a:lnTo>
                    <a:pt x="341055" y="409092"/>
                  </a:lnTo>
                  <a:lnTo>
                    <a:pt x="342469" y="403776"/>
                  </a:lnTo>
                  <a:lnTo>
                    <a:pt x="346070" y="396611"/>
                  </a:lnTo>
                  <a:cubicBezTo>
                    <a:pt x="346070" y="396611"/>
                    <a:pt x="350849" y="395535"/>
                    <a:pt x="351623" y="395299"/>
                  </a:cubicBezTo>
                  <a:cubicBezTo>
                    <a:pt x="352364" y="395064"/>
                    <a:pt x="362393" y="394660"/>
                    <a:pt x="362393" y="394660"/>
                  </a:cubicBezTo>
                  <a:lnTo>
                    <a:pt x="365859" y="392373"/>
                  </a:lnTo>
                  <a:lnTo>
                    <a:pt x="364008" y="388773"/>
                  </a:lnTo>
                  <a:lnTo>
                    <a:pt x="364984" y="382785"/>
                  </a:lnTo>
                  <a:lnTo>
                    <a:pt x="368585" y="378210"/>
                  </a:lnTo>
                  <a:lnTo>
                    <a:pt x="369898" y="372996"/>
                  </a:lnTo>
                  <a:lnTo>
                    <a:pt x="370537" y="369195"/>
                  </a:lnTo>
                  <a:cubicBezTo>
                    <a:pt x="370537" y="369195"/>
                    <a:pt x="370537" y="363644"/>
                    <a:pt x="370537" y="363207"/>
                  </a:cubicBezTo>
                  <a:cubicBezTo>
                    <a:pt x="370537" y="362770"/>
                    <a:pt x="370907" y="359507"/>
                    <a:pt x="370907" y="359507"/>
                  </a:cubicBezTo>
                  <a:lnTo>
                    <a:pt x="373229" y="354057"/>
                  </a:lnTo>
                  <a:cubicBezTo>
                    <a:pt x="373229" y="354057"/>
                    <a:pt x="381710" y="353519"/>
                    <a:pt x="382148" y="353284"/>
                  </a:cubicBezTo>
                  <a:cubicBezTo>
                    <a:pt x="382585" y="353048"/>
                    <a:pt x="388239" y="351871"/>
                    <a:pt x="388239" y="351871"/>
                  </a:cubicBezTo>
                  <a:lnTo>
                    <a:pt x="394230" y="349045"/>
                  </a:lnTo>
                  <a:lnTo>
                    <a:pt x="399009" y="345344"/>
                  </a:lnTo>
                  <a:lnTo>
                    <a:pt x="407927" y="343932"/>
                  </a:lnTo>
                  <a:lnTo>
                    <a:pt x="417822" y="343932"/>
                  </a:lnTo>
                  <a:lnTo>
                    <a:pt x="419774" y="345546"/>
                  </a:lnTo>
                  <a:lnTo>
                    <a:pt x="420312" y="342182"/>
                  </a:lnTo>
                  <a:lnTo>
                    <a:pt x="421288" y="333941"/>
                  </a:lnTo>
                  <a:cubicBezTo>
                    <a:pt x="421288" y="333941"/>
                    <a:pt x="423038" y="328087"/>
                    <a:pt x="423240" y="327650"/>
                  </a:cubicBezTo>
                  <a:cubicBezTo>
                    <a:pt x="423442" y="327213"/>
                    <a:pt x="426504" y="320821"/>
                    <a:pt x="426504" y="320821"/>
                  </a:cubicBezTo>
                  <a:lnTo>
                    <a:pt x="433034" y="313757"/>
                  </a:lnTo>
                  <a:lnTo>
                    <a:pt x="436601" y="310494"/>
                  </a:lnTo>
                  <a:lnTo>
                    <a:pt x="439091" y="306692"/>
                  </a:lnTo>
                  <a:cubicBezTo>
                    <a:pt x="439091" y="306692"/>
                    <a:pt x="439866" y="299628"/>
                    <a:pt x="439866" y="298316"/>
                  </a:cubicBezTo>
                  <a:cubicBezTo>
                    <a:pt x="439866" y="297004"/>
                    <a:pt x="440640" y="290276"/>
                    <a:pt x="440640" y="290276"/>
                  </a:cubicBezTo>
                  <a:cubicBezTo>
                    <a:pt x="440640" y="290276"/>
                    <a:pt x="442693" y="286374"/>
                    <a:pt x="443130" y="285836"/>
                  </a:cubicBezTo>
                  <a:cubicBezTo>
                    <a:pt x="443568" y="285298"/>
                    <a:pt x="445519" y="285298"/>
                    <a:pt x="446394" y="284759"/>
                  </a:cubicBezTo>
                  <a:cubicBezTo>
                    <a:pt x="447269" y="284221"/>
                    <a:pt x="451274" y="284759"/>
                    <a:pt x="451712" y="284759"/>
                  </a:cubicBezTo>
                  <a:cubicBezTo>
                    <a:pt x="452149" y="284759"/>
                    <a:pt x="458342" y="284860"/>
                    <a:pt x="458342" y="284860"/>
                  </a:cubicBezTo>
                  <a:lnTo>
                    <a:pt x="465611" y="284860"/>
                  </a:lnTo>
                  <a:lnTo>
                    <a:pt x="464635" y="278132"/>
                  </a:lnTo>
                  <a:lnTo>
                    <a:pt x="462683" y="273120"/>
                  </a:lnTo>
                  <a:lnTo>
                    <a:pt x="462784" y="267368"/>
                  </a:lnTo>
                  <a:lnTo>
                    <a:pt x="464837" y="267166"/>
                  </a:lnTo>
                  <a:lnTo>
                    <a:pt x="470155" y="269554"/>
                  </a:lnTo>
                  <a:lnTo>
                    <a:pt x="474395" y="269453"/>
                  </a:lnTo>
                  <a:lnTo>
                    <a:pt x="475910" y="265013"/>
                  </a:lnTo>
                  <a:lnTo>
                    <a:pt x="476011" y="260337"/>
                  </a:lnTo>
                  <a:lnTo>
                    <a:pt x="473958" y="254686"/>
                  </a:lnTo>
                  <a:lnTo>
                    <a:pt x="474832" y="250447"/>
                  </a:lnTo>
                  <a:lnTo>
                    <a:pt x="477861" y="247823"/>
                  </a:lnTo>
                  <a:lnTo>
                    <a:pt x="480352" y="245233"/>
                  </a:lnTo>
                  <a:lnTo>
                    <a:pt x="485131" y="245771"/>
                  </a:lnTo>
                  <a:lnTo>
                    <a:pt x="487958" y="247958"/>
                  </a:lnTo>
                  <a:lnTo>
                    <a:pt x="490684" y="248294"/>
                  </a:lnTo>
                  <a:lnTo>
                    <a:pt x="492198" y="246545"/>
                  </a:lnTo>
                  <a:lnTo>
                    <a:pt x="493275" y="242104"/>
                  </a:lnTo>
                  <a:lnTo>
                    <a:pt x="493814" y="237563"/>
                  </a:lnTo>
                  <a:lnTo>
                    <a:pt x="491323" y="236049"/>
                  </a:lnTo>
                  <a:lnTo>
                    <a:pt x="488294" y="234838"/>
                  </a:lnTo>
                  <a:lnTo>
                    <a:pt x="486982" y="231474"/>
                  </a:lnTo>
                  <a:lnTo>
                    <a:pt x="486746" y="226698"/>
                  </a:lnTo>
                  <a:lnTo>
                    <a:pt x="485871" y="225924"/>
                  </a:lnTo>
                  <a:lnTo>
                    <a:pt x="483145" y="225722"/>
                  </a:lnTo>
                  <a:lnTo>
                    <a:pt x="480116" y="224545"/>
                  </a:lnTo>
                  <a:lnTo>
                    <a:pt x="478366" y="223031"/>
                  </a:lnTo>
                  <a:lnTo>
                    <a:pt x="477356" y="221517"/>
                  </a:lnTo>
                  <a:lnTo>
                    <a:pt x="477020" y="220440"/>
                  </a:lnTo>
                  <a:lnTo>
                    <a:pt x="476381" y="218489"/>
                  </a:lnTo>
                  <a:lnTo>
                    <a:pt x="474967" y="215462"/>
                  </a:lnTo>
                  <a:lnTo>
                    <a:pt x="475506" y="212199"/>
                  </a:lnTo>
                  <a:lnTo>
                    <a:pt x="477121" y="211324"/>
                  </a:lnTo>
                  <a:lnTo>
                    <a:pt x="480150" y="211526"/>
                  </a:lnTo>
                  <a:lnTo>
                    <a:pt x="482539" y="214251"/>
                  </a:lnTo>
                  <a:lnTo>
                    <a:pt x="485131" y="216303"/>
                  </a:lnTo>
                  <a:lnTo>
                    <a:pt x="488160" y="217177"/>
                  </a:lnTo>
                  <a:lnTo>
                    <a:pt x="489775" y="216841"/>
                  </a:lnTo>
                  <a:lnTo>
                    <a:pt x="491424" y="215428"/>
                  </a:lnTo>
                  <a:lnTo>
                    <a:pt x="491963" y="213578"/>
                  </a:lnTo>
                  <a:lnTo>
                    <a:pt x="493477" y="211291"/>
                  </a:lnTo>
                  <a:lnTo>
                    <a:pt x="494352" y="210517"/>
                  </a:lnTo>
                  <a:lnTo>
                    <a:pt x="497078" y="209440"/>
                  </a:lnTo>
                  <a:cubicBezTo>
                    <a:pt x="497078" y="209440"/>
                    <a:pt x="497953" y="211492"/>
                    <a:pt x="498054" y="211930"/>
                  </a:cubicBezTo>
                  <a:cubicBezTo>
                    <a:pt x="498155" y="212367"/>
                    <a:pt x="498155" y="214116"/>
                    <a:pt x="498155" y="214116"/>
                  </a:cubicBezTo>
                  <a:cubicBezTo>
                    <a:pt x="498155" y="214116"/>
                    <a:pt x="498256" y="218153"/>
                    <a:pt x="498054" y="218456"/>
                  </a:cubicBezTo>
                  <a:cubicBezTo>
                    <a:pt x="497819" y="218792"/>
                    <a:pt x="497516" y="221281"/>
                    <a:pt x="497516" y="221281"/>
                  </a:cubicBezTo>
                  <a:lnTo>
                    <a:pt x="495766" y="223771"/>
                  </a:lnTo>
                  <a:lnTo>
                    <a:pt x="495530" y="226698"/>
                  </a:lnTo>
                  <a:lnTo>
                    <a:pt x="495530" y="230600"/>
                  </a:lnTo>
                  <a:lnTo>
                    <a:pt x="496506" y="233964"/>
                  </a:lnTo>
                  <a:lnTo>
                    <a:pt x="501083" y="234838"/>
                  </a:lnTo>
                  <a:lnTo>
                    <a:pt x="505122" y="234300"/>
                  </a:lnTo>
                  <a:lnTo>
                    <a:pt x="506199" y="232248"/>
                  </a:lnTo>
                  <a:cubicBezTo>
                    <a:pt x="506199" y="232248"/>
                    <a:pt x="509463" y="228783"/>
                    <a:pt x="509800" y="228548"/>
                  </a:cubicBezTo>
                  <a:cubicBezTo>
                    <a:pt x="510136" y="228312"/>
                    <a:pt x="512627" y="226597"/>
                    <a:pt x="513064" y="225957"/>
                  </a:cubicBezTo>
                  <a:cubicBezTo>
                    <a:pt x="513502" y="225318"/>
                    <a:pt x="516228" y="224107"/>
                    <a:pt x="516228" y="224107"/>
                  </a:cubicBezTo>
                  <a:lnTo>
                    <a:pt x="519391" y="222694"/>
                  </a:lnTo>
                  <a:lnTo>
                    <a:pt x="522858" y="222156"/>
                  </a:lnTo>
                  <a:lnTo>
                    <a:pt x="528074" y="221954"/>
                  </a:lnTo>
                  <a:lnTo>
                    <a:pt x="531002" y="220205"/>
                  </a:lnTo>
                  <a:lnTo>
                    <a:pt x="532079" y="217817"/>
                  </a:lnTo>
                  <a:lnTo>
                    <a:pt x="532516" y="214015"/>
                  </a:lnTo>
                  <a:lnTo>
                    <a:pt x="531742" y="210315"/>
                  </a:lnTo>
                  <a:lnTo>
                    <a:pt x="530093" y="203251"/>
                  </a:lnTo>
                  <a:lnTo>
                    <a:pt x="529017" y="199113"/>
                  </a:lnTo>
                  <a:lnTo>
                    <a:pt x="526829" y="193663"/>
                  </a:lnTo>
                  <a:lnTo>
                    <a:pt x="526829" y="184110"/>
                  </a:lnTo>
                  <a:lnTo>
                    <a:pt x="527704" y="180645"/>
                  </a:lnTo>
                  <a:lnTo>
                    <a:pt x="532920" y="180645"/>
                  </a:lnTo>
                  <a:lnTo>
                    <a:pt x="536185" y="183908"/>
                  </a:lnTo>
                  <a:lnTo>
                    <a:pt x="540089" y="187608"/>
                  </a:lnTo>
                  <a:lnTo>
                    <a:pt x="543118" y="188920"/>
                  </a:lnTo>
                  <a:lnTo>
                    <a:pt x="546382" y="190434"/>
                  </a:lnTo>
                  <a:lnTo>
                    <a:pt x="547257" y="186296"/>
                  </a:lnTo>
                  <a:lnTo>
                    <a:pt x="545305" y="181721"/>
                  </a:lnTo>
                  <a:lnTo>
                    <a:pt x="546180" y="176709"/>
                  </a:lnTo>
                  <a:lnTo>
                    <a:pt x="546618" y="173681"/>
                  </a:lnTo>
                  <a:lnTo>
                    <a:pt x="548132" y="172168"/>
                  </a:lnTo>
                  <a:lnTo>
                    <a:pt x="549647" y="169981"/>
                  </a:lnTo>
                  <a:lnTo>
                    <a:pt x="546820" y="168467"/>
                  </a:lnTo>
                  <a:lnTo>
                    <a:pt x="541166" y="168467"/>
                  </a:lnTo>
                  <a:lnTo>
                    <a:pt x="533122" y="168366"/>
                  </a:lnTo>
                  <a:lnTo>
                    <a:pt x="527704" y="166314"/>
                  </a:lnTo>
                  <a:lnTo>
                    <a:pt x="525954" y="160461"/>
                  </a:lnTo>
                  <a:lnTo>
                    <a:pt x="530531" y="156559"/>
                  </a:lnTo>
                  <a:lnTo>
                    <a:pt x="534670" y="156323"/>
                  </a:lnTo>
                  <a:lnTo>
                    <a:pt x="538137" y="156323"/>
                  </a:lnTo>
                  <a:lnTo>
                    <a:pt x="543791" y="157736"/>
                  </a:lnTo>
                  <a:lnTo>
                    <a:pt x="545541" y="160226"/>
                  </a:lnTo>
                  <a:lnTo>
                    <a:pt x="551430" y="160427"/>
                  </a:lnTo>
                  <a:lnTo>
                    <a:pt x="558161" y="155651"/>
                  </a:lnTo>
                  <a:lnTo>
                    <a:pt x="561628" y="149360"/>
                  </a:lnTo>
                  <a:lnTo>
                    <a:pt x="568359" y="148485"/>
                  </a:lnTo>
                  <a:lnTo>
                    <a:pt x="574652" y="147409"/>
                  </a:lnTo>
                  <a:lnTo>
                    <a:pt x="583571" y="143708"/>
                  </a:lnTo>
                  <a:lnTo>
                    <a:pt x="589426" y="143271"/>
                  </a:lnTo>
                  <a:lnTo>
                    <a:pt x="589426" y="137182"/>
                  </a:lnTo>
                  <a:lnTo>
                    <a:pt x="588013" y="132406"/>
                  </a:lnTo>
                  <a:lnTo>
                    <a:pt x="589225" y="127191"/>
                  </a:lnTo>
                  <a:lnTo>
                    <a:pt x="595316" y="127831"/>
                  </a:lnTo>
                  <a:lnTo>
                    <a:pt x="602047" y="126956"/>
                  </a:lnTo>
                  <a:lnTo>
                    <a:pt x="599658" y="131733"/>
                  </a:lnTo>
                  <a:cubicBezTo>
                    <a:pt x="599658" y="131733"/>
                    <a:pt x="595316" y="134121"/>
                    <a:pt x="594643" y="134121"/>
                  </a:cubicBezTo>
                  <a:cubicBezTo>
                    <a:pt x="594003" y="134121"/>
                    <a:pt x="593330" y="138696"/>
                    <a:pt x="593330" y="138696"/>
                  </a:cubicBezTo>
                  <a:lnTo>
                    <a:pt x="597907" y="143473"/>
                  </a:lnTo>
                  <a:lnTo>
                    <a:pt x="601609" y="144112"/>
                  </a:lnTo>
                  <a:lnTo>
                    <a:pt x="605513" y="144549"/>
                  </a:lnTo>
                  <a:lnTo>
                    <a:pt x="608105" y="143675"/>
                  </a:lnTo>
                  <a:lnTo>
                    <a:pt x="609215" y="141085"/>
                  </a:lnTo>
                  <a:lnTo>
                    <a:pt x="608340" y="136745"/>
                  </a:lnTo>
                  <a:lnTo>
                    <a:pt x="610292" y="132607"/>
                  </a:lnTo>
                  <a:lnTo>
                    <a:pt x="614432" y="128268"/>
                  </a:lnTo>
                  <a:lnTo>
                    <a:pt x="615946" y="125442"/>
                  </a:lnTo>
                  <a:lnTo>
                    <a:pt x="619446" y="122415"/>
                  </a:lnTo>
                  <a:lnTo>
                    <a:pt x="622913" y="120901"/>
                  </a:lnTo>
                  <a:lnTo>
                    <a:pt x="627490" y="117873"/>
                  </a:lnTo>
                  <a:lnTo>
                    <a:pt x="629442" y="116124"/>
                  </a:lnTo>
                  <a:lnTo>
                    <a:pt x="632033" y="112659"/>
                  </a:lnTo>
                  <a:lnTo>
                    <a:pt x="637485" y="115922"/>
                  </a:lnTo>
                  <a:lnTo>
                    <a:pt x="644014" y="116999"/>
                  </a:lnTo>
                  <a:lnTo>
                    <a:pt x="645764" y="116763"/>
                  </a:lnTo>
                  <a:lnTo>
                    <a:pt x="647952" y="114375"/>
                  </a:lnTo>
                  <a:lnTo>
                    <a:pt x="650543" y="108723"/>
                  </a:lnTo>
                  <a:lnTo>
                    <a:pt x="650981" y="102870"/>
                  </a:lnTo>
                  <a:lnTo>
                    <a:pt x="651418" y="100482"/>
                  </a:lnTo>
                  <a:lnTo>
                    <a:pt x="655558" y="100280"/>
                  </a:lnTo>
                  <a:lnTo>
                    <a:pt x="657072" y="105494"/>
                  </a:lnTo>
                  <a:lnTo>
                    <a:pt x="658149" y="113298"/>
                  </a:lnTo>
                  <a:lnTo>
                    <a:pt x="659226" y="118075"/>
                  </a:lnTo>
                  <a:lnTo>
                    <a:pt x="660976" y="124803"/>
                  </a:lnTo>
                  <a:lnTo>
                    <a:pt x="666832" y="127393"/>
                  </a:lnTo>
                  <a:lnTo>
                    <a:pt x="672688" y="128268"/>
                  </a:lnTo>
                  <a:lnTo>
                    <a:pt x="676827" y="125240"/>
                  </a:lnTo>
                  <a:lnTo>
                    <a:pt x="683356" y="120026"/>
                  </a:lnTo>
                  <a:lnTo>
                    <a:pt x="685982" y="118277"/>
                  </a:lnTo>
                  <a:lnTo>
                    <a:pt x="688808" y="115687"/>
                  </a:lnTo>
                  <a:lnTo>
                    <a:pt x="690323" y="113736"/>
                  </a:lnTo>
                  <a:lnTo>
                    <a:pt x="690323" y="111112"/>
                  </a:lnTo>
                  <a:cubicBezTo>
                    <a:pt x="690323" y="111112"/>
                    <a:pt x="688472" y="108286"/>
                    <a:pt x="688270" y="107647"/>
                  </a:cubicBezTo>
                  <a:cubicBezTo>
                    <a:pt x="688034" y="107008"/>
                    <a:pt x="690323" y="103072"/>
                    <a:pt x="690323" y="103072"/>
                  </a:cubicBezTo>
                  <a:lnTo>
                    <a:pt x="692510" y="101760"/>
                  </a:lnTo>
                  <a:lnTo>
                    <a:pt x="694261" y="98059"/>
                  </a:lnTo>
                  <a:lnTo>
                    <a:pt x="690559" y="96108"/>
                  </a:lnTo>
                  <a:lnTo>
                    <a:pt x="687731" y="96748"/>
                  </a:lnTo>
                  <a:lnTo>
                    <a:pt x="683828" y="98261"/>
                  </a:lnTo>
                  <a:cubicBezTo>
                    <a:pt x="683828" y="98261"/>
                    <a:pt x="679688" y="100852"/>
                    <a:pt x="678813" y="101087"/>
                  </a:cubicBezTo>
                  <a:cubicBezTo>
                    <a:pt x="677938" y="101289"/>
                    <a:pt x="675347" y="101087"/>
                    <a:pt x="675347" y="101087"/>
                  </a:cubicBezTo>
                  <a:lnTo>
                    <a:pt x="676659" y="98261"/>
                  </a:lnTo>
                  <a:lnTo>
                    <a:pt x="677097" y="92845"/>
                  </a:lnTo>
                  <a:lnTo>
                    <a:pt x="677298" y="89145"/>
                  </a:lnTo>
                  <a:lnTo>
                    <a:pt x="678611" y="87833"/>
                  </a:lnTo>
                  <a:lnTo>
                    <a:pt x="681000" y="86319"/>
                  </a:lnTo>
                  <a:lnTo>
                    <a:pt x="683828" y="84806"/>
                  </a:lnTo>
                  <a:lnTo>
                    <a:pt x="686856" y="80668"/>
                  </a:lnTo>
                  <a:lnTo>
                    <a:pt x="686856" y="73704"/>
                  </a:lnTo>
                  <a:lnTo>
                    <a:pt x="688270" y="68053"/>
                  </a:lnTo>
                  <a:lnTo>
                    <a:pt x="690356" y="65025"/>
                  </a:lnTo>
                  <a:lnTo>
                    <a:pt x="692948" y="60248"/>
                  </a:lnTo>
                  <a:lnTo>
                    <a:pt x="696212" y="56346"/>
                  </a:lnTo>
                  <a:lnTo>
                    <a:pt x="697290" y="54597"/>
                  </a:lnTo>
                  <a:lnTo>
                    <a:pt x="697290" y="51771"/>
                  </a:lnTo>
                  <a:lnTo>
                    <a:pt x="695977" y="498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795" name="Freeform 898">
              <a:extLst>
                <a:ext uri="{FF2B5EF4-FFF2-40B4-BE49-F238E27FC236}">
                  <a16:creationId xmlns:a16="http://schemas.microsoft.com/office/drawing/2014/main" id="{8F726126-C77E-EE01-5EED-69388B043AD5}"/>
                </a:ext>
              </a:extLst>
            </p:cNvPr>
            <p:cNvSpPr/>
            <p:nvPr/>
          </p:nvSpPr>
          <p:spPr>
            <a:xfrm>
              <a:off x="8651336" y="1745081"/>
              <a:ext cx="192125" cy="195437"/>
            </a:xfrm>
            <a:custGeom>
              <a:avLst/>
              <a:gdLst>
                <a:gd name="connsiteX0" fmla="*/ 13630 w 177191"/>
                <a:gd name="connsiteY0" fmla="*/ 153133 h 180246"/>
                <a:gd name="connsiteX1" fmla="*/ 14539 w 177191"/>
                <a:gd name="connsiteY1" fmla="*/ 151585 h 180246"/>
                <a:gd name="connsiteX2" fmla="*/ 14909 w 177191"/>
                <a:gd name="connsiteY2" fmla="*/ 149870 h 180246"/>
                <a:gd name="connsiteX3" fmla="*/ 13866 w 177191"/>
                <a:gd name="connsiteY3" fmla="*/ 148255 h 180246"/>
                <a:gd name="connsiteX4" fmla="*/ 10702 w 177191"/>
                <a:gd name="connsiteY4" fmla="*/ 145127 h 180246"/>
                <a:gd name="connsiteX5" fmla="*/ 9221 w 177191"/>
                <a:gd name="connsiteY5" fmla="*/ 142974 h 180246"/>
                <a:gd name="connsiteX6" fmla="*/ 6091 w 177191"/>
                <a:gd name="connsiteY6" fmla="*/ 139677 h 180246"/>
                <a:gd name="connsiteX7" fmla="*/ 3769 w 177191"/>
                <a:gd name="connsiteY7" fmla="*/ 137860 h 180246"/>
                <a:gd name="connsiteX8" fmla="*/ 1514 w 177191"/>
                <a:gd name="connsiteY8" fmla="*/ 135405 h 180246"/>
                <a:gd name="connsiteX9" fmla="*/ 505 w 177191"/>
                <a:gd name="connsiteY9" fmla="*/ 132444 h 180246"/>
                <a:gd name="connsiteX10" fmla="*/ 269 w 177191"/>
                <a:gd name="connsiteY10" fmla="*/ 129854 h 180246"/>
                <a:gd name="connsiteX11" fmla="*/ 0 w 177191"/>
                <a:gd name="connsiteY11" fmla="*/ 126019 h 180246"/>
                <a:gd name="connsiteX12" fmla="*/ 0 w 177191"/>
                <a:gd name="connsiteY12" fmla="*/ 124068 h 180246"/>
                <a:gd name="connsiteX13" fmla="*/ 3601 w 177191"/>
                <a:gd name="connsiteY13" fmla="*/ 123194 h 180246"/>
                <a:gd name="connsiteX14" fmla="*/ 4341 w 177191"/>
                <a:gd name="connsiteY14" fmla="*/ 123194 h 180246"/>
                <a:gd name="connsiteX15" fmla="*/ 6091 w 177191"/>
                <a:gd name="connsiteY15" fmla="*/ 123194 h 180246"/>
                <a:gd name="connsiteX16" fmla="*/ 7841 w 177191"/>
                <a:gd name="connsiteY16" fmla="*/ 123194 h 180246"/>
                <a:gd name="connsiteX17" fmla="*/ 9558 w 177191"/>
                <a:gd name="connsiteY17" fmla="*/ 123194 h 180246"/>
                <a:gd name="connsiteX18" fmla="*/ 10298 w 177191"/>
                <a:gd name="connsiteY18" fmla="*/ 122689 h 180246"/>
                <a:gd name="connsiteX19" fmla="*/ 12250 w 177191"/>
                <a:gd name="connsiteY19" fmla="*/ 121175 h 180246"/>
                <a:gd name="connsiteX20" fmla="*/ 13765 w 177191"/>
                <a:gd name="connsiteY20" fmla="*/ 117912 h 180246"/>
                <a:gd name="connsiteX21" fmla="*/ 16659 w 177191"/>
                <a:gd name="connsiteY21" fmla="*/ 115322 h 180246"/>
                <a:gd name="connsiteX22" fmla="*/ 18476 w 177191"/>
                <a:gd name="connsiteY22" fmla="*/ 114447 h 180246"/>
                <a:gd name="connsiteX23" fmla="*/ 21808 w 177191"/>
                <a:gd name="connsiteY23" fmla="*/ 111756 h 180246"/>
                <a:gd name="connsiteX24" fmla="*/ 23996 w 177191"/>
                <a:gd name="connsiteY24" fmla="*/ 111117 h 180246"/>
                <a:gd name="connsiteX25" fmla="*/ 26318 w 177191"/>
                <a:gd name="connsiteY25" fmla="*/ 111117 h 180246"/>
                <a:gd name="connsiteX26" fmla="*/ 29212 w 177191"/>
                <a:gd name="connsiteY26" fmla="*/ 111083 h 180246"/>
                <a:gd name="connsiteX27" fmla="*/ 31837 w 177191"/>
                <a:gd name="connsiteY27" fmla="*/ 110478 h 180246"/>
                <a:gd name="connsiteX28" fmla="*/ 33722 w 177191"/>
                <a:gd name="connsiteY28" fmla="*/ 109906 h 180246"/>
                <a:gd name="connsiteX29" fmla="*/ 36111 w 177191"/>
                <a:gd name="connsiteY29" fmla="*/ 107955 h 180246"/>
                <a:gd name="connsiteX30" fmla="*/ 36919 w 177191"/>
                <a:gd name="connsiteY30" fmla="*/ 107013 h 180246"/>
                <a:gd name="connsiteX31" fmla="*/ 38299 w 177191"/>
                <a:gd name="connsiteY31" fmla="*/ 105432 h 180246"/>
                <a:gd name="connsiteX32" fmla="*/ 39813 w 177191"/>
                <a:gd name="connsiteY32" fmla="*/ 104490 h 180246"/>
                <a:gd name="connsiteX33" fmla="*/ 42203 w 177191"/>
                <a:gd name="connsiteY33" fmla="*/ 102539 h 180246"/>
                <a:gd name="connsiteX34" fmla="*/ 43717 w 177191"/>
                <a:gd name="connsiteY34" fmla="*/ 101025 h 180246"/>
                <a:gd name="connsiteX35" fmla="*/ 45232 w 177191"/>
                <a:gd name="connsiteY35" fmla="*/ 98704 h 180246"/>
                <a:gd name="connsiteX36" fmla="*/ 45232 w 177191"/>
                <a:gd name="connsiteY36" fmla="*/ 94566 h 180246"/>
                <a:gd name="connsiteX37" fmla="*/ 41900 w 177191"/>
                <a:gd name="connsiteY37" fmla="*/ 91370 h 180246"/>
                <a:gd name="connsiteX38" fmla="*/ 41193 w 177191"/>
                <a:gd name="connsiteY38" fmla="*/ 88107 h 180246"/>
                <a:gd name="connsiteX39" fmla="*/ 37121 w 177191"/>
                <a:gd name="connsiteY39" fmla="*/ 84979 h 180246"/>
                <a:gd name="connsiteX40" fmla="*/ 35674 w 177191"/>
                <a:gd name="connsiteY40" fmla="*/ 84979 h 180246"/>
                <a:gd name="connsiteX41" fmla="*/ 33924 w 177191"/>
                <a:gd name="connsiteY41" fmla="*/ 84979 h 180246"/>
                <a:gd name="connsiteX42" fmla="*/ 31904 w 177191"/>
                <a:gd name="connsiteY42" fmla="*/ 83835 h 180246"/>
                <a:gd name="connsiteX43" fmla="*/ 31029 w 177191"/>
                <a:gd name="connsiteY43" fmla="*/ 82254 h 180246"/>
                <a:gd name="connsiteX44" fmla="*/ 31433 w 177191"/>
                <a:gd name="connsiteY44" fmla="*/ 81043 h 180246"/>
                <a:gd name="connsiteX45" fmla="*/ 30289 w 177191"/>
                <a:gd name="connsiteY45" fmla="*/ 79126 h 180246"/>
                <a:gd name="connsiteX46" fmla="*/ 29481 w 177191"/>
                <a:gd name="connsiteY46" fmla="*/ 77545 h 180246"/>
                <a:gd name="connsiteX47" fmla="*/ 28236 w 177191"/>
                <a:gd name="connsiteY47" fmla="*/ 76771 h 180246"/>
                <a:gd name="connsiteX48" fmla="*/ 25779 w 177191"/>
                <a:gd name="connsiteY48" fmla="*/ 74820 h 180246"/>
                <a:gd name="connsiteX49" fmla="*/ 24669 w 177191"/>
                <a:gd name="connsiteY49" fmla="*/ 72532 h 180246"/>
                <a:gd name="connsiteX50" fmla="*/ 24366 w 177191"/>
                <a:gd name="connsiteY50" fmla="*/ 70783 h 180246"/>
                <a:gd name="connsiteX51" fmla="*/ 24366 w 177191"/>
                <a:gd name="connsiteY51" fmla="*/ 70178 h 180246"/>
                <a:gd name="connsiteX52" fmla="*/ 23996 w 177191"/>
                <a:gd name="connsiteY52" fmla="*/ 68159 h 180246"/>
                <a:gd name="connsiteX53" fmla="*/ 24366 w 177191"/>
                <a:gd name="connsiteY53" fmla="*/ 66847 h 180246"/>
                <a:gd name="connsiteX54" fmla="*/ 25241 w 177191"/>
                <a:gd name="connsiteY54" fmla="*/ 65636 h 180246"/>
                <a:gd name="connsiteX55" fmla="*/ 26991 w 177191"/>
                <a:gd name="connsiteY55" fmla="*/ 64122 h 180246"/>
                <a:gd name="connsiteX56" fmla="*/ 28606 w 177191"/>
                <a:gd name="connsiteY56" fmla="*/ 63685 h 180246"/>
                <a:gd name="connsiteX57" fmla="*/ 29818 w 177191"/>
                <a:gd name="connsiteY57" fmla="*/ 63685 h 180246"/>
                <a:gd name="connsiteX58" fmla="*/ 32039 w 177191"/>
                <a:gd name="connsiteY58" fmla="*/ 62541 h 180246"/>
                <a:gd name="connsiteX59" fmla="*/ 34866 w 177191"/>
                <a:gd name="connsiteY59" fmla="*/ 60523 h 180246"/>
                <a:gd name="connsiteX60" fmla="*/ 35943 w 177191"/>
                <a:gd name="connsiteY60" fmla="*/ 59716 h 180246"/>
                <a:gd name="connsiteX61" fmla="*/ 37188 w 177191"/>
                <a:gd name="connsiteY61" fmla="*/ 59346 h 180246"/>
                <a:gd name="connsiteX62" fmla="*/ 39409 w 177191"/>
                <a:gd name="connsiteY62" fmla="*/ 59346 h 180246"/>
                <a:gd name="connsiteX63" fmla="*/ 41328 w 177191"/>
                <a:gd name="connsiteY63" fmla="*/ 59346 h 180246"/>
                <a:gd name="connsiteX64" fmla="*/ 43212 w 177191"/>
                <a:gd name="connsiteY64" fmla="*/ 59312 h 180246"/>
                <a:gd name="connsiteX65" fmla="*/ 46039 w 177191"/>
                <a:gd name="connsiteY65" fmla="*/ 59278 h 180246"/>
                <a:gd name="connsiteX66" fmla="*/ 47924 w 177191"/>
                <a:gd name="connsiteY66" fmla="*/ 59278 h 180246"/>
                <a:gd name="connsiteX67" fmla="*/ 50112 w 177191"/>
                <a:gd name="connsiteY67" fmla="*/ 59278 h 180246"/>
                <a:gd name="connsiteX68" fmla="*/ 53544 w 177191"/>
                <a:gd name="connsiteY68" fmla="*/ 58471 h 180246"/>
                <a:gd name="connsiteX69" fmla="*/ 54722 w 177191"/>
                <a:gd name="connsiteY69" fmla="*/ 55881 h 180246"/>
                <a:gd name="connsiteX70" fmla="*/ 57011 w 177191"/>
                <a:gd name="connsiteY70" fmla="*/ 52685 h 180246"/>
                <a:gd name="connsiteX71" fmla="*/ 57650 w 177191"/>
                <a:gd name="connsiteY71" fmla="*/ 49691 h 180246"/>
                <a:gd name="connsiteX72" fmla="*/ 58290 w 177191"/>
                <a:gd name="connsiteY72" fmla="*/ 47403 h 180246"/>
                <a:gd name="connsiteX73" fmla="*/ 59939 w 177191"/>
                <a:gd name="connsiteY73" fmla="*/ 45116 h 180246"/>
                <a:gd name="connsiteX74" fmla="*/ 60746 w 177191"/>
                <a:gd name="connsiteY74" fmla="*/ 44140 h 180246"/>
                <a:gd name="connsiteX75" fmla="*/ 62093 w 177191"/>
                <a:gd name="connsiteY75" fmla="*/ 42627 h 180246"/>
                <a:gd name="connsiteX76" fmla="*/ 64011 w 177191"/>
                <a:gd name="connsiteY76" fmla="*/ 40844 h 180246"/>
                <a:gd name="connsiteX77" fmla="*/ 66670 w 177191"/>
                <a:gd name="connsiteY77" fmla="*/ 39935 h 180246"/>
                <a:gd name="connsiteX78" fmla="*/ 68722 w 177191"/>
                <a:gd name="connsiteY78" fmla="*/ 39801 h 180246"/>
                <a:gd name="connsiteX79" fmla="*/ 70405 w 177191"/>
                <a:gd name="connsiteY79" fmla="*/ 39801 h 180246"/>
                <a:gd name="connsiteX80" fmla="*/ 72525 w 177191"/>
                <a:gd name="connsiteY80" fmla="*/ 39465 h 180246"/>
                <a:gd name="connsiteX81" fmla="*/ 74275 w 177191"/>
                <a:gd name="connsiteY81" fmla="*/ 38825 h 180246"/>
                <a:gd name="connsiteX82" fmla="*/ 75689 w 177191"/>
                <a:gd name="connsiteY82" fmla="*/ 37581 h 180246"/>
                <a:gd name="connsiteX83" fmla="*/ 76732 w 177191"/>
                <a:gd name="connsiteY83" fmla="*/ 36538 h 180246"/>
                <a:gd name="connsiteX84" fmla="*/ 78482 w 177191"/>
                <a:gd name="connsiteY84" fmla="*/ 36538 h 180246"/>
                <a:gd name="connsiteX85" fmla="*/ 79290 w 177191"/>
                <a:gd name="connsiteY85" fmla="*/ 37850 h 180246"/>
                <a:gd name="connsiteX86" fmla="*/ 79795 w 177191"/>
                <a:gd name="connsiteY86" fmla="*/ 39027 h 180246"/>
                <a:gd name="connsiteX87" fmla="*/ 82184 w 177191"/>
                <a:gd name="connsiteY87" fmla="*/ 39532 h 180246"/>
                <a:gd name="connsiteX88" fmla="*/ 83968 w 177191"/>
                <a:gd name="connsiteY88" fmla="*/ 39364 h 180246"/>
                <a:gd name="connsiteX89" fmla="*/ 84843 w 177191"/>
                <a:gd name="connsiteY89" fmla="*/ 37850 h 180246"/>
                <a:gd name="connsiteX90" fmla="*/ 83968 w 177191"/>
                <a:gd name="connsiteY90" fmla="*/ 35663 h 180246"/>
                <a:gd name="connsiteX91" fmla="*/ 82184 w 177191"/>
                <a:gd name="connsiteY91" fmla="*/ 34620 h 180246"/>
                <a:gd name="connsiteX92" fmla="*/ 79694 w 177191"/>
                <a:gd name="connsiteY92" fmla="*/ 33207 h 180246"/>
                <a:gd name="connsiteX93" fmla="*/ 76665 w 177191"/>
                <a:gd name="connsiteY93" fmla="*/ 30920 h 180246"/>
                <a:gd name="connsiteX94" fmla="*/ 75588 w 177191"/>
                <a:gd name="connsiteY94" fmla="*/ 28902 h 180246"/>
                <a:gd name="connsiteX95" fmla="*/ 74074 w 177191"/>
                <a:gd name="connsiteY95" fmla="*/ 26614 h 180246"/>
                <a:gd name="connsiteX96" fmla="*/ 72829 w 177191"/>
                <a:gd name="connsiteY96" fmla="*/ 24158 h 180246"/>
                <a:gd name="connsiteX97" fmla="*/ 72559 w 177191"/>
                <a:gd name="connsiteY97" fmla="*/ 22476 h 180246"/>
                <a:gd name="connsiteX98" fmla="*/ 73468 w 177191"/>
                <a:gd name="connsiteY98" fmla="*/ 21333 h 180246"/>
                <a:gd name="connsiteX99" fmla="*/ 75218 w 177191"/>
                <a:gd name="connsiteY99" fmla="*/ 20794 h 180246"/>
                <a:gd name="connsiteX100" fmla="*/ 77372 w 177191"/>
                <a:gd name="connsiteY100" fmla="*/ 21131 h 180246"/>
                <a:gd name="connsiteX101" fmla="*/ 79694 w 177191"/>
                <a:gd name="connsiteY101" fmla="*/ 22443 h 180246"/>
                <a:gd name="connsiteX102" fmla="*/ 80905 w 177191"/>
                <a:gd name="connsiteY102" fmla="*/ 23519 h 180246"/>
                <a:gd name="connsiteX103" fmla="*/ 84338 w 177191"/>
                <a:gd name="connsiteY103" fmla="*/ 24831 h 180246"/>
                <a:gd name="connsiteX104" fmla="*/ 85415 w 177191"/>
                <a:gd name="connsiteY104" fmla="*/ 23755 h 180246"/>
                <a:gd name="connsiteX105" fmla="*/ 84910 w 177191"/>
                <a:gd name="connsiteY105" fmla="*/ 22174 h 180246"/>
                <a:gd name="connsiteX106" fmla="*/ 84742 w 177191"/>
                <a:gd name="connsiteY106" fmla="*/ 20122 h 180246"/>
                <a:gd name="connsiteX107" fmla="*/ 83093 w 177191"/>
                <a:gd name="connsiteY107" fmla="*/ 18171 h 180246"/>
                <a:gd name="connsiteX108" fmla="*/ 81747 w 177191"/>
                <a:gd name="connsiteY108" fmla="*/ 17027 h 180246"/>
                <a:gd name="connsiteX109" fmla="*/ 80771 w 177191"/>
                <a:gd name="connsiteY109" fmla="*/ 15177 h 180246"/>
                <a:gd name="connsiteX110" fmla="*/ 80771 w 177191"/>
                <a:gd name="connsiteY110" fmla="*/ 13764 h 180246"/>
                <a:gd name="connsiteX111" fmla="*/ 82790 w 177191"/>
                <a:gd name="connsiteY111" fmla="*/ 13158 h 180246"/>
                <a:gd name="connsiteX112" fmla="*/ 85415 w 177191"/>
                <a:gd name="connsiteY112" fmla="*/ 12822 h 180246"/>
                <a:gd name="connsiteX113" fmla="*/ 89420 w 177191"/>
                <a:gd name="connsiteY113" fmla="*/ 14067 h 180246"/>
                <a:gd name="connsiteX114" fmla="*/ 92045 w 177191"/>
                <a:gd name="connsiteY114" fmla="*/ 12149 h 180246"/>
                <a:gd name="connsiteX115" fmla="*/ 94435 w 177191"/>
                <a:gd name="connsiteY115" fmla="*/ 10703 h 180246"/>
                <a:gd name="connsiteX116" fmla="*/ 94738 w 177191"/>
                <a:gd name="connsiteY116" fmla="*/ 7574 h 180246"/>
                <a:gd name="connsiteX117" fmla="*/ 94738 w 177191"/>
                <a:gd name="connsiteY117" fmla="*/ 5051 h 180246"/>
                <a:gd name="connsiteX118" fmla="*/ 95814 w 177191"/>
                <a:gd name="connsiteY118" fmla="*/ 3033 h 180246"/>
                <a:gd name="connsiteX119" fmla="*/ 96959 w 177191"/>
                <a:gd name="connsiteY119" fmla="*/ 1351 h 180246"/>
                <a:gd name="connsiteX120" fmla="*/ 99348 w 177191"/>
                <a:gd name="connsiteY120" fmla="*/ 39 h 180246"/>
                <a:gd name="connsiteX121" fmla="*/ 101536 w 177191"/>
                <a:gd name="connsiteY121" fmla="*/ 39 h 180246"/>
                <a:gd name="connsiteX122" fmla="*/ 102848 w 177191"/>
                <a:gd name="connsiteY122" fmla="*/ 543 h 180246"/>
                <a:gd name="connsiteX123" fmla="*/ 103723 w 177191"/>
                <a:gd name="connsiteY123" fmla="*/ 3066 h 180246"/>
                <a:gd name="connsiteX124" fmla="*/ 103723 w 177191"/>
                <a:gd name="connsiteY124" fmla="*/ 6027 h 180246"/>
                <a:gd name="connsiteX125" fmla="*/ 103757 w 177191"/>
                <a:gd name="connsiteY125" fmla="*/ 8482 h 180246"/>
                <a:gd name="connsiteX126" fmla="*/ 103757 w 177191"/>
                <a:gd name="connsiteY126" fmla="*/ 11611 h 180246"/>
                <a:gd name="connsiteX127" fmla="*/ 104161 w 177191"/>
                <a:gd name="connsiteY127" fmla="*/ 13932 h 180246"/>
                <a:gd name="connsiteX128" fmla="*/ 105978 w 177191"/>
                <a:gd name="connsiteY128" fmla="*/ 16825 h 180246"/>
                <a:gd name="connsiteX129" fmla="*/ 107291 w 177191"/>
                <a:gd name="connsiteY129" fmla="*/ 19785 h 180246"/>
                <a:gd name="connsiteX130" fmla="*/ 109680 w 177191"/>
                <a:gd name="connsiteY130" fmla="*/ 22409 h 180246"/>
                <a:gd name="connsiteX131" fmla="*/ 113214 w 177191"/>
                <a:gd name="connsiteY131" fmla="*/ 25100 h 180246"/>
                <a:gd name="connsiteX132" fmla="*/ 117354 w 177191"/>
                <a:gd name="connsiteY132" fmla="*/ 27691 h 180246"/>
                <a:gd name="connsiteX133" fmla="*/ 119507 w 177191"/>
                <a:gd name="connsiteY133" fmla="*/ 29070 h 180246"/>
                <a:gd name="connsiteX134" fmla="*/ 123983 w 177191"/>
                <a:gd name="connsiteY134" fmla="*/ 35091 h 180246"/>
                <a:gd name="connsiteX135" fmla="*/ 127315 w 177191"/>
                <a:gd name="connsiteY135" fmla="*/ 38624 h 180246"/>
                <a:gd name="connsiteX136" fmla="*/ 129839 w 177191"/>
                <a:gd name="connsiteY136" fmla="*/ 41012 h 180246"/>
                <a:gd name="connsiteX137" fmla="*/ 135931 w 177191"/>
                <a:gd name="connsiteY137" fmla="*/ 43535 h 180246"/>
                <a:gd name="connsiteX138" fmla="*/ 142022 w 177191"/>
                <a:gd name="connsiteY138" fmla="*/ 41954 h 180246"/>
                <a:gd name="connsiteX139" fmla="*/ 146667 w 177191"/>
                <a:gd name="connsiteY139" fmla="*/ 41079 h 180246"/>
                <a:gd name="connsiteX140" fmla="*/ 157840 w 177191"/>
                <a:gd name="connsiteY140" fmla="*/ 41449 h 180246"/>
                <a:gd name="connsiteX141" fmla="*/ 161172 w 177191"/>
                <a:gd name="connsiteY141" fmla="*/ 41449 h 180246"/>
                <a:gd name="connsiteX142" fmla="*/ 165379 w 177191"/>
                <a:gd name="connsiteY142" fmla="*/ 43198 h 180246"/>
                <a:gd name="connsiteX143" fmla="*/ 171302 w 177191"/>
                <a:gd name="connsiteY143" fmla="*/ 43198 h 180246"/>
                <a:gd name="connsiteX144" fmla="*/ 174499 w 177191"/>
                <a:gd name="connsiteY144" fmla="*/ 42761 h 180246"/>
                <a:gd name="connsiteX145" fmla="*/ 176383 w 177191"/>
                <a:gd name="connsiteY145" fmla="*/ 45452 h 180246"/>
                <a:gd name="connsiteX146" fmla="*/ 177191 w 177191"/>
                <a:gd name="connsiteY146" fmla="*/ 46966 h 180246"/>
                <a:gd name="connsiteX147" fmla="*/ 176249 w 177191"/>
                <a:gd name="connsiteY147" fmla="*/ 49220 h 180246"/>
                <a:gd name="connsiteX148" fmla="*/ 174667 w 177191"/>
                <a:gd name="connsiteY148" fmla="*/ 50599 h 180246"/>
                <a:gd name="connsiteX149" fmla="*/ 173220 w 177191"/>
                <a:gd name="connsiteY149" fmla="*/ 51037 h 180246"/>
                <a:gd name="connsiteX150" fmla="*/ 171571 w 177191"/>
                <a:gd name="connsiteY150" fmla="*/ 50734 h 180246"/>
                <a:gd name="connsiteX151" fmla="*/ 169855 w 177191"/>
                <a:gd name="connsiteY151" fmla="*/ 50498 h 180246"/>
                <a:gd name="connsiteX152" fmla="*/ 168710 w 177191"/>
                <a:gd name="connsiteY152" fmla="*/ 51373 h 180246"/>
                <a:gd name="connsiteX153" fmla="*/ 168710 w 177191"/>
                <a:gd name="connsiteY153" fmla="*/ 54501 h 180246"/>
                <a:gd name="connsiteX154" fmla="*/ 168912 w 177191"/>
                <a:gd name="connsiteY154" fmla="*/ 55511 h 180246"/>
                <a:gd name="connsiteX155" fmla="*/ 168138 w 177191"/>
                <a:gd name="connsiteY155" fmla="*/ 56957 h 180246"/>
                <a:gd name="connsiteX156" fmla="*/ 165749 w 177191"/>
                <a:gd name="connsiteY156" fmla="*/ 57462 h 180246"/>
                <a:gd name="connsiteX157" fmla="*/ 164066 w 177191"/>
                <a:gd name="connsiteY157" fmla="*/ 56890 h 180246"/>
                <a:gd name="connsiteX158" fmla="*/ 161037 w 177191"/>
                <a:gd name="connsiteY158" fmla="*/ 56587 h 180246"/>
                <a:gd name="connsiteX159" fmla="*/ 158648 w 177191"/>
                <a:gd name="connsiteY159" fmla="*/ 54905 h 180246"/>
                <a:gd name="connsiteX160" fmla="*/ 155181 w 177191"/>
                <a:gd name="connsiteY160" fmla="*/ 55645 h 180246"/>
                <a:gd name="connsiteX161" fmla="*/ 153229 w 177191"/>
                <a:gd name="connsiteY161" fmla="*/ 58538 h 180246"/>
                <a:gd name="connsiteX162" fmla="*/ 150907 w 177191"/>
                <a:gd name="connsiteY162" fmla="*/ 62945 h 180246"/>
                <a:gd name="connsiteX163" fmla="*/ 152287 w 177191"/>
                <a:gd name="connsiteY163" fmla="*/ 65468 h 180246"/>
                <a:gd name="connsiteX164" fmla="*/ 155922 w 177191"/>
                <a:gd name="connsiteY164" fmla="*/ 67924 h 180246"/>
                <a:gd name="connsiteX165" fmla="*/ 155989 w 177191"/>
                <a:gd name="connsiteY165" fmla="*/ 69168 h 180246"/>
                <a:gd name="connsiteX166" fmla="*/ 152926 w 177191"/>
                <a:gd name="connsiteY166" fmla="*/ 71422 h 180246"/>
                <a:gd name="connsiteX167" fmla="*/ 152051 w 177191"/>
                <a:gd name="connsiteY167" fmla="*/ 73811 h 180246"/>
                <a:gd name="connsiteX168" fmla="*/ 152926 w 177191"/>
                <a:gd name="connsiteY168" fmla="*/ 76502 h 180246"/>
                <a:gd name="connsiteX169" fmla="*/ 154945 w 177191"/>
                <a:gd name="connsiteY169" fmla="*/ 78016 h 180246"/>
                <a:gd name="connsiteX170" fmla="*/ 156628 w 177191"/>
                <a:gd name="connsiteY170" fmla="*/ 79597 h 180246"/>
                <a:gd name="connsiteX171" fmla="*/ 156662 w 177191"/>
                <a:gd name="connsiteY171" fmla="*/ 80538 h 180246"/>
                <a:gd name="connsiteX172" fmla="*/ 156561 w 177191"/>
                <a:gd name="connsiteY172" fmla="*/ 81615 h 180246"/>
                <a:gd name="connsiteX173" fmla="*/ 156561 w 177191"/>
                <a:gd name="connsiteY173" fmla="*/ 84003 h 180246"/>
                <a:gd name="connsiteX174" fmla="*/ 157705 w 177191"/>
                <a:gd name="connsiteY174" fmla="*/ 84811 h 180246"/>
                <a:gd name="connsiteX175" fmla="*/ 159388 w 177191"/>
                <a:gd name="connsiteY175" fmla="*/ 86829 h 180246"/>
                <a:gd name="connsiteX176" fmla="*/ 161138 w 177191"/>
                <a:gd name="connsiteY176" fmla="*/ 88276 h 180246"/>
                <a:gd name="connsiteX177" fmla="*/ 162652 w 177191"/>
                <a:gd name="connsiteY177" fmla="*/ 89857 h 180246"/>
                <a:gd name="connsiteX178" fmla="*/ 163696 w 177191"/>
                <a:gd name="connsiteY178" fmla="*/ 92312 h 180246"/>
                <a:gd name="connsiteX179" fmla="*/ 164301 w 177191"/>
                <a:gd name="connsiteY179" fmla="*/ 93927 h 180246"/>
                <a:gd name="connsiteX180" fmla="*/ 164369 w 177191"/>
                <a:gd name="connsiteY180" fmla="*/ 96114 h 180246"/>
                <a:gd name="connsiteX181" fmla="*/ 164436 w 177191"/>
                <a:gd name="connsiteY181" fmla="*/ 98401 h 180246"/>
                <a:gd name="connsiteX182" fmla="*/ 162855 w 177191"/>
                <a:gd name="connsiteY182" fmla="*/ 100689 h 180246"/>
                <a:gd name="connsiteX183" fmla="*/ 160802 w 177191"/>
                <a:gd name="connsiteY183" fmla="*/ 102976 h 180246"/>
                <a:gd name="connsiteX184" fmla="*/ 159152 w 177191"/>
                <a:gd name="connsiteY184" fmla="*/ 104221 h 180246"/>
                <a:gd name="connsiteX185" fmla="*/ 156090 w 177191"/>
                <a:gd name="connsiteY185" fmla="*/ 105835 h 180246"/>
                <a:gd name="connsiteX186" fmla="*/ 154239 w 177191"/>
                <a:gd name="connsiteY186" fmla="*/ 106979 h 180246"/>
                <a:gd name="connsiteX187" fmla="*/ 152825 w 177191"/>
                <a:gd name="connsiteY187" fmla="*/ 107484 h 180246"/>
                <a:gd name="connsiteX188" fmla="*/ 150470 w 177191"/>
                <a:gd name="connsiteY188" fmla="*/ 107484 h 180246"/>
                <a:gd name="connsiteX189" fmla="*/ 148148 w 177191"/>
                <a:gd name="connsiteY189" fmla="*/ 107820 h 180246"/>
                <a:gd name="connsiteX190" fmla="*/ 145253 w 177191"/>
                <a:gd name="connsiteY190" fmla="*/ 107787 h 180246"/>
                <a:gd name="connsiteX191" fmla="*/ 141787 w 177191"/>
                <a:gd name="connsiteY191" fmla="*/ 107080 h 180246"/>
                <a:gd name="connsiteX192" fmla="*/ 137883 w 177191"/>
                <a:gd name="connsiteY192" fmla="*/ 108493 h 180246"/>
                <a:gd name="connsiteX193" fmla="*/ 134282 w 177191"/>
                <a:gd name="connsiteY193" fmla="*/ 109368 h 180246"/>
                <a:gd name="connsiteX194" fmla="*/ 131892 w 177191"/>
                <a:gd name="connsiteY194" fmla="*/ 110141 h 180246"/>
                <a:gd name="connsiteX195" fmla="*/ 128729 w 177191"/>
                <a:gd name="connsiteY195" fmla="*/ 109368 h 180246"/>
                <a:gd name="connsiteX196" fmla="*/ 125901 w 177191"/>
                <a:gd name="connsiteY196" fmla="*/ 107517 h 180246"/>
                <a:gd name="connsiteX197" fmla="*/ 122334 w 177191"/>
                <a:gd name="connsiteY197" fmla="*/ 106643 h 180246"/>
                <a:gd name="connsiteX198" fmla="*/ 117320 w 177191"/>
                <a:gd name="connsiteY198" fmla="*/ 107080 h 180246"/>
                <a:gd name="connsiteX199" fmla="*/ 114493 w 177191"/>
                <a:gd name="connsiteY199" fmla="*/ 111218 h 180246"/>
                <a:gd name="connsiteX200" fmla="*/ 113079 w 177191"/>
                <a:gd name="connsiteY200" fmla="*/ 116096 h 180246"/>
                <a:gd name="connsiteX201" fmla="*/ 113079 w 177191"/>
                <a:gd name="connsiteY201" fmla="*/ 120536 h 180246"/>
                <a:gd name="connsiteX202" fmla="*/ 112305 w 177191"/>
                <a:gd name="connsiteY202" fmla="*/ 126288 h 180246"/>
                <a:gd name="connsiteX203" fmla="*/ 112844 w 177191"/>
                <a:gd name="connsiteY203" fmla="*/ 129652 h 180246"/>
                <a:gd name="connsiteX204" fmla="*/ 116646 w 177191"/>
                <a:gd name="connsiteY204" fmla="*/ 135203 h 180246"/>
                <a:gd name="connsiteX205" fmla="*/ 118262 w 177191"/>
                <a:gd name="connsiteY205" fmla="*/ 138668 h 180246"/>
                <a:gd name="connsiteX206" fmla="*/ 121190 w 177191"/>
                <a:gd name="connsiteY206" fmla="*/ 139038 h 180246"/>
                <a:gd name="connsiteX207" fmla="*/ 124118 w 177191"/>
                <a:gd name="connsiteY207" fmla="*/ 137019 h 180246"/>
                <a:gd name="connsiteX208" fmla="*/ 124320 w 177191"/>
                <a:gd name="connsiteY208" fmla="*/ 137019 h 180246"/>
                <a:gd name="connsiteX209" fmla="*/ 126810 w 177191"/>
                <a:gd name="connsiteY209" fmla="*/ 138971 h 180246"/>
                <a:gd name="connsiteX210" fmla="*/ 129099 w 177191"/>
                <a:gd name="connsiteY210" fmla="*/ 142570 h 180246"/>
                <a:gd name="connsiteX211" fmla="*/ 129638 w 177191"/>
                <a:gd name="connsiteY211" fmla="*/ 144757 h 180246"/>
                <a:gd name="connsiteX212" fmla="*/ 127786 w 177191"/>
                <a:gd name="connsiteY212" fmla="*/ 148760 h 180246"/>
                <a:gd name="connsiteX213" fmla="*/ 127988 w 177191"/>
                <a:gd name="connsiteY213" fmla="*/ 152426 h 180246"/>
                <a:gd name="connsiteX214" fmla="*/ 129402 w 177191"/>
                <a:gd name="connsiteY214" fmla="*/ 153772 h 180246"/>
                <a:gd name="connsiteX215" fmla="*/ 129402 w 177191"/>
                <a:gd name="connsiteY215" fmla="*/ 154647 h 180246"/>
                <a:gd name="connsiteX216" fmla="*/ 126575 w 177191"/>
                <a:gd name="connsiteY216" fmla="*/ 157035 h 180246"/>
                <a:gd name="connsiteX217" fmla="*/ 125161 w 177191"/>
                <a:gd name="connsiteY217" fmla="*/ 158347 h 180246"/>
                <a:gd name="connsiteX218" fmla="*/ 120921 w 177191"/>
                <a:gd name="connsiteY218" fmla="*/ 160735 h 180246"/>
                <a:gd name="connsiteX219" fmla="*/ 118733 w 177191"/>
                <a:gd name="connsiteY219" fmla="*/ 164873 h 180246"/>
                <a:gd name="connsiteX220" fmla="*/ 115570 w 177191"/>
                <a:gd name="connsiteY220" fmla="*/ 164873 h 180246"/>
                <a:gd name="connsiteX221" fmla="*/ 112406 w 177191"/>
                <a:gd name="connsiteY221" fmla="*/ 164873 h 180246"/>
                <a:gd name="connsiteX222" fmla="*/ 108603 w 177191"/>
                <a:gd name="connsiteY222" fmla="*/ 164873 h 180246"/>
                <a:gd name="connsiteX223" fmla="*/ 104363 w 177191"/>
                <a:gd name="connsiteY223" fmla="*/ 160870 h 180246"/>
                <a:gd name="connsiteX224" fmla="*/ 99584 w 177191"/>
                <a:gd name="connsiteY224" fmla="*/ 160197 h 180246"/>
                <a:gd name="connsiteX225" fmla="*/ 98170 w 177191"/>
                <a:gd name="connsiteY225" fmla="*/ 161408 h 180246"/>
                <a:gd name="connsiteX226" fmla="*/ 97497 w 177191"/>
                <a:gd name="connsiteY226" fmla="*/ 162384 h 180246"/>
                <a:gd name="connsiteX227" fmla="*/ 96959 w 177191"/>
                <a:gd name="connsiteY227" fmla="*/ 164234 h 180246"/>
                <a:gd name="connsiteX228" fmla="*/ 96420 w 177191"/>
                <a:gd name="connsiteY228" fmla="*/ 166185 h 180246"/>
                <a:gd name="connsiteX229" fmla="*/ 96521 w 177191"/>
                <a:gd name="connsiteY229" fmla="*/ 168573 h 180246"/>
                <a:gd name="connsiteX230" fmla="*/ 96185 w 177191"/>
                <a:gd name="connsiteY230" fmla="*/ 170424 h 180246"/>
                <a:gd name="connsiteX231" fmla="*/ 95512 w 177191"/>
                <a:gd name="connsiteY231" fmla="*/ 171736 h 180246"/>
                <a:gd name="connsiteX232" fmla="*/ 93997 w 177191"/>
                <a:gd name="connsiteY232" fmla="*/ 173485 h 180246"/>
                <a:gd name="connsiteX233" fmla="*/ 90396 w 177191"/>
                <a:gd name="connsiteY233" fmla="*/ 175133 h 180246"/>
                <a:gd name="connsiteX234" fmla="*/ 87771 w 177191"/>
                <a:gd name="connsiteY234" fmla="*/ 175772 h 180246"/>
                <a:gd name="connsiteX235" fmla="*/ 85382 w 177191"/>
                <a:gd name="connsiteY235" fmla="*/ 176546 h 180246"/>
                <a:gd name="connsiteX236" fmla="*/ 83733 w 177191"/>
                <a:gd name="connsiteY236" fmla="*/ 176546 h 180246"/>
                <a:gd name="connsiteX237" fmla="*/ 81680 w 177191"/>
                <a:gd name="connsiteY237" fmla="*/ 176580 h 180246"/>
                <a:gd name="connsiteX238" fmla="*/ 77439 w 177191"/>
                <a:gd name="connsiteY238" fmla="*/ 173518 h 180246"/>
                <a:gd name="connsiteX239" fmla="*/ 74949 w 177191"/>
                <a:gd name="connsiteY239" fmla="*/ 170491 h 180246"/>
                <a:gd name="connsiteX240" fmla="*/ 72660 w 177191"/>
                <a:gd name="connsiteY240" fmla="*/ 168203 h 180246"/>
                <a:gd name="connsiteX241" fmla="*/ 70271 w 177191"/>
                <a:gd name="connsiteY241" fmla="*/ 168102 h 180246"/>
                <a:gd name="connsiteX242" fmla="*/ 66367 w 177191"/>
                <a:gd name="connsiteY242" fmla="*/ 168203 h 180246"/>
                <a:gd name="connsiteX243" fmla="*/ 63102 w 177191"/>
                <a:gd name="connsiteY243" fmla="*/ 169717 h 180246"/>
                <a:gd name="connsiteX244" fmla="*/ 61251 w 177191"/>
                <a:gd name="connsiteY244" fmla="*/ 171231 h 180246"/>
                <a:gd name="connsiteX245" fmla="*/ 56573 w 177191"/>
                <a:gd name="connsiteY245" fmla="*/ 173619 h 180246"/>
                <a:gd name="connsiteX246" fmla="*/ 52097 w 177191"/>
                <a:gd name="connsiteY246" fmla="*/ 174931 h 180246"/>
                <a:gd name="connsiteX247" fmla="*/ 48294 w 177191"/>
                <a:gd name="connsiteY247" fmla="*/ 175032 h 180246"/>
                <a:gd name="connsiteX248" fmla="*/ 42876 w 177191"/>
                <a:gd name="connsiteY248" fmla="*/ 173619 h 180246"/>
                <a:gd name="connsiteX249" fmla="*/ 40385 w 177191"/>
                <a:gd name="connsiteY249" fmla="*/ 173619 h 180246"/>
                <a:gd name="connsiteX250" fmla="*/ 38097 w 177191"/>
                <a:gd name="connsiteY250" fmla="*/ 175470 h 180246"/>
                <a:gd name="connsiteX251" fmla="*/ 37121 w 177191"/>
                <a:gd name="connsiteY251" fmla="*/ 179607 h 180246"/>
                <a:gd name="connsiteX252" fmla="*/ 35606 w 177191"/>
                <a:gd name="connsiteY252" fmla="*/ 180246 h 180246"/>
                <a:gd name="connsiteX253" fmla="*/ 30827 w 177191"/>
                <a:gd name="connsiteY253" fmla="*/ 179607 h 180246"/>
                <a:gd name="connsiteX254" fmla="*/ 28539 w 177191"/>
                <a:gd name="connsiteY254" fmla="*/ 178194 h 180246"/>
                <a:gd name="connsiteX255" fmla="*/ 25813 w 177191"/>
                <a:gd name="connsiteY255" fmla="*/ 173518 h 180246"/>
                <a:gd name="connsiteX256" fmla="*/ 24938 w 177191"/>
                <a:gd name="connsiteY256" fmla="*/ 170491 h 180246"/>
                <a:gd name="connsiteX257" fmla="*/ 22212 w 177191"/>
                <a:gd name="connsiteY257" fmla="*/ 168540 h 180246"/>
                <a:gd name="connsiteX258" fmla="*/ 18409 w 177191"/>
                <a:gd name="connsiteY258" fmla="*/ 168102 h 180246"/>
                <a:gd name="connsiteX259" fmla="*/ 15481 w 177191"/>
                <a:gd name="connsiteY259" fmla="*/ 167901 h 180246"/>
                <a:gd name="connsiteX260" fmla="*/ 11779 w 177191"/>
                <a:gd name="connsiteY260" fmla="*/ 166589 h 180246"/>
                <a:gd name="connsiteX261" fmla="*/ 11106 w 177191"/>
                <a:gd name="connsiteY261" fmla="*/ 162249 h 180246"/>
                <a:gd name="connsiteX262" fmla="*/ 8515 w 177191"/>
                <a:gd name="connsiteY262" fmla="*/ 161375 h 180246"/>
                <a:gd name="connsiteX263" fmla="*/ 3837 w 177191"/>
                <a:gd name="connsiteY263" fmla="*/ 160500 h 180246"/>
                <a:gd name="connsiteX264" fmla="*/ 3365 w 177191"/>
                <a:gd name="connsiteY264" fmla="*/ 158986 h 180246"/>
                <a:gd name="connsiteX265" fmla="*/ 1548 w 177191"/>
                <a:gd name="connsiteY265" fmla="*/ 155959 h 180246"/>
                <a:gd name="connsiteX266" fmla="*/ 1548 w 177191"/>
                <a:gd name="connsiteY266" fmla="*/ 153671 h 180246"/>
                <a:gd name="connsiteX267" fmla="*/ 2861 w 177191"/>
                <a:gd name="connsiteY267" fmla="*/ 152494 h 180246"/>
                <a:gd name="connsiteX268" fmla="*/ 5788 w 177191"/>
                <a:gd name="connsiteY268" fmla="*/ 152595 h 180246"/>
                <a:gd name="connsiteX269" fmla="*/ 8077 w 177191"/>
                <a:gd name="connsiteY269" fmla="*/ 153469 h 180246"/>
                <a:gd name="connsiteX270" fmla="*/ 9591 w 177191"/>
                <a:gd name="connsiteY270" fmla="*/ 153907 h 180246"/>
                <a:gd name="connsiteX271" fmla="*/ 11981 w 177191"/>
                <a:gd name="connsiteY271" fmla="*/ 154344 h 180246"/>
                <a:gd name="connsiteX272" fmla="*/ 13630 w 177191"/>
                <a:gd name="connsiteY272" fmla="*/ 153133 h 180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</a:cxnLst>
              <a:rect l="l" t="t" r="r" b="b"/>
              <a:pathLst>
                <a:path w="177191" h="180246">
                  <a:moveTo>
                    <a:pt x="13630" y="153133"/>
                  </a:moveTo>
                  <a:lnTo>
                    <a:pt x="14539" y="151585"/>
                  </a:lnTo>
                  <a:lnTo>
                    <a:pt x="14909" y="149870"/>
                  </a:lnTo>
                  <a:lnTo>
                    <a:pt x="13866" y="148255"/>
                  </a:lnTo>
                  <a:lnTo>
                    <a:pt x="10702" y="145127"/>
                  </a:lnTo>
                  <a:lnTo>
                    <a:pt x="9221" y="142974"/>
                  </a:lnTo>
                  <a:lnTo>
                    <a:pt x="6091" y="139677"/>
                  </a:lnTo>
                  <a:lnTo>
                    <a:pt x="3769" y="137860"/>
                  </a:lnTo>
                  <a:cubicBezTo>
                    <a:pt x="3769" y="137860"/>
                    <a:pt x="1582" y="135607"/>
                    <a:pt x="1514" y="135405"/>
                  </a:cubicBezTo>
                  <a:cubicBezTo>
                    <a:pt x="1447" y="135203"/>
                    <a:pt x="572" y="132646"/>
                    <a:pt x="505" y="132444"/>
                  </a:cubicBezTo>
                  <a:cubicBezTo>
                    <a:pt x="438" y="132243"/>
                    <a:pt x="269" y="129854"/>
                    <a:pt x="269" y="129854"/>
                  </a:cubicBezTo>
                  <a:lnTo>
                    <a:pt x="0" y="126019"/>
                  </a:lnTo>
                  <a:lnTo>
                    <a:pt x="0" y="124068"/>
                  </a:lnTo>
                  <a:lnTo>
                    <a:pt x="3601" y="123194"/>
                  </a:lnTo>
                  <a:lnTo>
                    <a:pt x="4341" y="123194"/>
                  </a:lnTo>
                  <a:lnTo>
                    <a:pt x="6091" y="123194"/>
                  </a:lnTo>
                  <a:lnTo>
                    <a:pt x="7841" y="123194"/>
                  </a:lnTo>
                  <a:lnTo>
                    <a:pt x="9558" y="123194"/>
                  </a:lnTo>
                  <a:cubicBezTo>
                    <a:pt x="9558" y="123194"/>
                    <a:pt x="9558" y="123261"/>
                    <a:pt x="10298" y="122689"/>
                  </a:cubicBezTo>
                  <a:cubicBezTo>
                    <a:pt x="11039" y="122117"/>
                    <a:pt x="12250" y="121175"/>
                    <a:pt x="12250" y="121175"/>
                  </a:cubicBezTo>
                  <a:lnTo>
                    <a:pt x="13765" y="117912"/>
                  </a:lnTo>
                  <a:lnTo>
                    <a:pt x="16659" y="115322"/>
                  </a:lnTo>
                  <a:cubicBezTo>
                    <a:pt x="16659" y="115322"/>
                    <a:pt x="18039" y="114885"/>
                    <a:pt x="18476" y="114447"/>
                  </a:cubicBezTo>
                  <a:cubicBezTo>
                    <a:pt x="18914" y="114010"/>
                    <a:pt x="21808" y="111756"/>
                    <a:pt x="21808" y="111756"/>
                  </a:cubicBezTo>
                  <a:cubicBezTo>
                    <a:pt x="21808" y="111756"/>
                    <a:pt x="23693" y="111117"/>
                    <a:pt x="23996" y="111117"/>
                  </a:cubicBezTo>
                  <a:cubicBezTo>
                    <a:pt x="24299" y="111117"/>
                    <a:pt x="25510" y="111050"/>
                    <a:pt x="26318" y="111117"/>
                  </a:cubicBezTo>
                  <a:cubicBezTo>
                    <a:pt x="27125" y="111184"/>
                    <a:pt x="28337" y="110982"/>
                    <a:pt x="29212" y="111083"/>
                  </a:cubicBezTo>
                  <a:cubicBezTo>
                    <a:pt x="30087" y="111184"/>
                    <a:pt x="31534" y="110478"/>
                    <a:pt x="31837" y="110478"/>
                  </a:cubicBezTo>
                  <a:cubicBezTo>
                    <a:pt x="32106" y="110478"/>
                    <a:pt x="32981" y="110040"/>
                    <a:pt x="33722" y="109906"/>
                  </a:cubicBezTo>
                  <a:cubicBezTo>
                    <a:pt x="34429" y="109771"/>
                    <a:pt x="36111" y="107955"/>
                    <a:pt x="36111" y="107955"/>
                  </a:cubicBezTo>
                  <a:cubicBezTo>
                    <a:pt x="36111" y="107955"/>
                    <a:pt x="36751" y="107316"/>
                    <a:pt x="36919" y="107013"/>
                  </a:cubicBezTo>
                  <a:cubicBezTo>
                    <a:pt x="37054" y="106744"/>
                    <a:pt x="38063" y="105499"/>
                    <a:pt x="38299" y="105432"/>
                  </a:cubicBezTo>
                  <a:cubicBezTo>
                    <a:pt x="38501" y="105365"/>
                    <a:pt x="39544" y="104490"/>
                    <a:pt x="39813" y="104490"/>
                  </a:cubicBezTo>
                  <a:cubicBezTo>
                    <a:pt x="40082" y="104490"/>
                    <a:pt x="41967" y="102606"/>
                    <a:pt x="42203" y="102539"/>
                  </a:cubicBezTo>
                  <a:cubicBezTo>
                    <a:pt x="42405" y="102471"/>
                    <a:pt x="43448" y="101227"/>
                    <a:pt x="43717" y="101025"/>
                  </a:cubicBezTo>
                  <a:cubicBezTo>
                    <a:pt x="44020" y="100823"/>
                    <a:pt x="45232" y="99007"/>
                    <a:pt x="45232" y="98704"/>
                  </a:cubicBezTo>
                  <a:cubicBezTo>
                    <a:pt x="45232" y="98401"/>
                    <a:pt x="45232" y="94566"/>
                    <a:pt x="45232" y="94566"/>
                  </a:cubicBezTo>
                  <a:lnTo>
                    <a:pt x="41900" y="91370"/>
                  </a:lnTo>
                  <a:lnTo>
                    <a:pt x="41193" y="88107"/>
                  </a:lnTo>
                  <a:lnTo>
                    <a:pt x="37121" y="84979"/>
                  </a:lnTo>
                  <a:lnTo>
                    <a:pt x="35674" y="84979"/>
                  </a:lnTo>
                  <a:lnTo>
                    <a:pt x="33924" y="84979"/>
                  </a:lnTo>
                  <a:lnTo>
                    <a:pt x="31904" y="83835"/>
                  </a:lnTo>
                  <a:lnTo>
                    <a:pt x="31029" y="82254"/>
                  </a:lnTo>
                  <a:lnTo>
                    <a:pt x="31433" y="81043"/>
                  </a:lnTo>
                  <a:lnTo>
                    <a:pt x="30289" y="79126"/>
                  </a:lnTo>
                  <a:lnTo>
                    <a:pt x="29481" y="77545"/>
                  </a:lnTo>
                  <a:lnTo>
                    <a:pt x="28236" y="76771"/>
                  </a:lnTo>
                  <a:cubicBezTo>
                    <a:pt x="28236" y="76771"/>
                    <a:pt x="25914" y="75022"/>
                    <a:pt x="25779" y="74820"/>
                  </a:cubicBezTo>
                  <a:cubicBezTo>
                    <a:pt x="25678" y="74618"/>
                    <a:pt x="24669" y="72532"/>
                    <a:pt x="24669" y="72532"/>
                  </a:cubicBezTo>
                  <a:lnTo>
                    <a:pt x="24366" y="70783"/>
                  </a:lnTo>
                  <a:lnTo>
                    <a:pt x="24366" y="70178"/>
                  </a:lnTo>
                  <a:cubicBezTo>
                    <a:pt x="24366" y="70178"/>
                    <a:pt x="23827" y="68226"/>
                    <a:pt x="23996" y="68159"/>
                  </a:cubicBezTo>
                  <a:cubicBezTo>
                    <a:pt x="24164" y="68092"/>
                    <a:pt x="24366" y="66847"/>
                    <a:pt x="24366" y="66847"/>
                  </a:cubicBezTo>
                  <a:cubicBezTo>
                    <a:pt x="24635" y="66612"/>
                    <a:pt x="25241" y="65636"/>
                    <a:pt x="25241" y="65636"/>
                  </a:cubicBezTo>
                  <a:cubicBezTo>
                    <a:pt x="25241" y="65636"/>
                    <a:pt x="26823" y="64122"/>
                    <a:pt x="26991" y="64122"/>
                  </a:cubicBezTo>
                  <a:cubicBezTo>
                    <a:pt x="27159" y="64122"/>
                    <a:pt x="28404" y="63685"/>
                    <a:pt x="28606" y="63685"/>
                  </a:cubicBezTo>
                  <a:cubicBezTo>
                    <a:pt x="28842" y="63685"/>
                    <a:pt x="29481" y="63786"/>
                    <a:pt x="29818" y="63685"/>
                  </a:cubicBezTo>
                  <a:cubicBezTo>
                    <a:pt x="30154" y="63584"/>
                    <a:pt x="32039" y="62541"/>
                    <a:pt x="32039" y="62541"/>
                  </a:cubicBezTo>
                  <a:lnTo>
                    <a:pt x="34866" y="60523"/>
                  </a:lnTo>
                  <a:lnTo>
                    <a:pt x="35943" y="59716"/>
                  </a:lnTo>
                  <a:cubicBezTo>
                    <a:pt x="35943" y="59716"/>
                    <a:pt x="36986" y="59379"/>
                    <a:pt x="37188" y="59346"/>
                  </a:cubicBezTo>
                  <a:cubicBezTo>
                    <a:pt x="37390" y="59278"/>
                    <a:pt x="39208" y="59514"/>
                    <a:pt x="39409" y="59346"/>
                  </a:cubicBezTo>
                  <a:cubicBezTo>
                    <a:pt x="39612" y="59177"/>
                    <a:pt x="40924" y="59480"/>
                    <a:pt x="41328" y="59346"/>
                  </a:cubicBezTo>
                  <a:cubicBezTo>
                    <a:pt x="41698" y="59177"/>
                    <a:pt x="42674" y="59312"/>
                    <a:pt x="43212" y="59312"/>
                  </a:cubicBezTo>
                  <a:cubicBezTo>
                    <a:pt x="43751" y="59312"/>
                    <a:pt x="45804" y="59245"/>
                    <a:pt x="46039" y="59278"/>
                  </a:cubicBezTo>
                  <a:cubicBezTo>
                    <a:pt x="46241" y="59312"/>
                    <a:pt x="47184" y="59211"/>
                    <a:pt x="47924" y="59278"/>
                  </a:cubicBezTo>
                  <a:cubicBezTo>
                    <a:pt x="48698" y="59312"/>
                    <a:pt x="49573" y="59413"/>
                    <a:pt x="50112" y="59278"/>
                  </a:cubicBezTo>
                  <a:cubicBezTo>
                    <a:pt x="50650" y="59110"/>
                    <a:pt x="53544" y="58471"/>
                    <a:pt x="53544" y="58471"/>
                  </a:cubicBezTo>
                  <a:cubicBezTo>
                    <a:pt x="53544" y="58471"/>
                    <a:pt x="54419" y="55914"/>
                    <a:pt x="54722" y="55881"/>
                  </a:cubicBezTo>
                  <a:cubicBezTo>
                    <a:pt x="55059" y="55813"/>
                    <a:pt x="57011" y="52685"/>
                    <a:pt x="57011" y="52685"/>
                  </a:cubicBezTo>
                  <a:cubicBezTo>
                    <a:pt x="57011" y="52685"/>
                    <a:pt x="57650" y="49859"/>
                    <a:pt x="57650" y="49691"/>
                  </a:cubicBezTo>
                  <a:cubicBezTo>
                    <a:pt x="57650" y="49523"/>
                    <a:pt x="58290" y="47403"/>
                    <a:pt x="58290" y="47403"/>
                  </a:cubicBezTo>
                  <a:lnTo>
                    <a:pt x="59939" y="45116"/>
                  </a:lnTo>
                  <a:lnTo>
                    <a:pt x="60746" y="44140"/>
                  </a:lnTo>
                  <a:lnTo>
                    <a:pt x="62093" y="42627"/>
                  </a:lnTo>
                  <a:cubicBezTo>
                    <a:pt x="62093" y="42627"/>
                    <a:pt x="63775" y="40945"/>
                    <a:pt x="64011" y="40844"/>
                  </a:cubicBezTo>
                  <a:cubicBezTo>
                    <a:pt x="64213" y="40743"/>
                    <a:pt x="66670" y="39935"/>
                    <a:pt x="66670" y="39935"/>
                  </a:cubicBezTo>
                  <a:cubicBezTo>
                    <a:pt x="66670" y="39935"/>
                    <a:pt x="68420" y="39801"/>
                    <a:pt x="68722" y="39801"/>
                  </a:cubicBezTo>
                  <a:cubicBezTo>
                    <a:pt x="69026" y="39801"/>
                    <a:pt x="70405" y="39801"/>
                    <a:pt x="70405" y="39801"/>
                  </a:cubicBezTo>
                  <a:lnTo>
                    <a:pt x="72525" y="39465"/>
                  </a:lnTo>
                  <a:lnTo>
                    <a:pt x="74275" y="38825"/>
                  </a:lnTo>
                  <a:cubicBezTo>
                    <a:pt x="74275" y="38825"/>
                    <a:pt x="75487" y="37581"/>
                    <a:pt x="75689" y="37581"/>
                  </a:cubicBezTo>
                  <a:cubicBezTo>
                    <a:pt x="75891" y="37581"/>
                    <a:pt x="76732" y="36538"/>
                    <a:pt x="76732" y="36538"/>
                  </a:cubicBezTo>
                  <a:cubicBezTo>
                    <a:pt x="76732" y="36538"/>
                    <a:pt x="78247" y="36605"/>
                    <a:pt x="78482" y="36538"/>
                  </a:cubicBezTo>
                  <a:cubicBezTo>
                    <a:pt x="78684" y="36471"/>
                    <a:pt x="79290" y="37850"/>
                    <a:pt x="79290" y="37850"/>
                  </a:cubicBezTo>
                  <a:lnTo>
                    <a:pt x="79795" y="39027"/>
                  </a:lnTo>
                  <a:cubicBezTo>
                    <a:pt x="79795" y="39027"/>
                    <a:pt x="81814" y="39532"/>
                    <a:pt x="82184" y="39532"/>
                  </a:cubicBezTo>
                  <a:cubicBezTo>
                    <a:pt x="82555" y="39532"/>
                    <a:pt x="83968" y="39364"/>
                    <a:pt x="83968" y="39364"/>
                  </a:cubicBezTo>
                  <a:cubicBezTo>
                    <a:pt x="83968" y="39364"/>
                    <a:pt x="84843" y="38018"/>
                    <a:pt x="84843" y="37850"/>
                  </a:cubicBezTo>
                  <a:cubicBezTo>
                    <a:pt x="84843" y="37682"/>
                    <a:pt x="84136" y="35798"/>
                    <a:pt x="83968" y="35663"/>
                  </a:cubicBezTo>
                  <a:cubicBezTo>
                    <a:pt x="83800" y="35562"/>
                    <a:pt x="82353" y="34755"/>
                    <a:pt x="82184" y="34620"/>
                  </a:cubicBezTo>
                  <a:cubicBezTo>
                    <a:pt x="82016" y="34519"/>
                    <a:pt x="79694" y="33207"/>
                    <a:pt x="79694" y="33207"/>
                  </a:cubicBezTo>
                  <a:lnTo>
                    <a:pt x="76665" y="30920"/>
                  </a:lnTo>
                  <a:cubicBezTo>
                    <a:pt x="76665" y="30920"/>
                    <a:pt x="75756" y="29003"/>
                    <a:pt x="75588" y="28902"/>
                  </a:cubicBezTo>
                  <a:cubicBezTo>
                    <a:pt x="75420" y="28801"/>
                    <a:pt x="74174" y="26782"/>
                    <a:pt x="74074" y="26614"/>
                  </a:cubicBezTo>
                  <a:cubicBezTo>
                    <a:pt x="73973" y="26446"/>
                    <a:pt x="72829" y="24394"/>
                    <a:pt x="72829" y="24158"/>
                  </a:cubicBezTo>
                  <a:cubicBezTo>
                    <a:pt x="72829" y="23957"/>
                    <a:pt x="72559" y="22476"/>
                    <a:pt x="72559" y="22476"/>
                  </a:cubicBezTo>
                  <a:cubicBezTo>
                    <a:pt x="72559" y="22476"/>
                    <a:pt x="73333" y="21333"/>
                    <a:pt x="73468" y="21333"/>
                  </a:cubicBezTo>
                  <a:cubicBezTo>
                    <a:pt x="73603" y="21333"/>
                    <a:pt x="75218" y="20794"/>
                    <a:pt x="75218" y="20794"/>
                  </a:cubicBezTo>
                  <a:lnTo>
                    <a:pt x="77372" y="21131"/>
                  </a:lnTo>
                  <a:lnTo>
                    <a:pt x="79694" y="22443"/>
                  </a:lnTo>
                  <a:lnTo>
                    <a:pt x="80905" y="23519"/>
                  </a:lnTo>
                  <a:cubicBezTo>
                    <a:pt x="80905" y="23519"/>
                    <a:pt x="84103" y="24831"/>
                    <a:pt x="84338" y="24831"/>
                  </a:cubicBezTo>
                  <a:cubicBezTo>
                    <a:pt x="84574" y="24831"/>
                    <a:pt x="85550" y="24394"/>
                    <a:pt x="85415" y="23755"/>
                  </a:cubicBezTo>
                  <a:cubicBezTo>
                    <a:pt x="85314" y="23116"/>
                    <a:pt x="84978" y="22342"/>
                    <a:pt x="84910" y="22174"/>
                  </a:cubicBezTo>
                  <a:cubicBezTo>
                    <a:pt x="84843" y="22006"/>
                    <a:pt x="84843" y="20290"/>
                    <a:pt x="84742" y="20122"/>
                  </a:cubicBezTo>
                  <a:cubicBezTo>
                    <a:pt x="84641" y="19953"/>
                    <a:pt x="83093" y="18171"/>
                    <a:pt x="83093" y="18171"/>
                  </a:cubicBezTo>
                  <a:lnTo>
                    <a:pt x="81747" y="17027"/>
                  </a:lnTo>
                  <a:cubicBezTo>
                    <a:pt x="81747" y="17027"/>
                    <a:pt x="80771" y="15715"/>
                    <a:pt x="80771" y="15177"/>
                  </a:cubicBezTo>
                  <a:cubicBezTo>
                    <a:pt x="80771" y="14638"/>
                    <a:pt x="80401" y="13831"/>
                    <a:pt x="80771" y="13764"/>
                  </a:cubicBezTo>
                  <a:cubicBezTo>
                    <a:pt x="81141" y="13697"/>
                    <a:pt x="82117" y="13326"/>
                    <a:pt x="82790" y="13158"/>
                  </a:cubicBezTo>
                  <a:cubicBezTo>
                    <a:pt x="83463" y="12990"/>
                    <a:pt x="84978" y="12822"/>
                    <a:pt x="85415" y="12822"/>
                  </a:cubicBezTo>
                  <a:cubicBezTo>
                    <a:pt x="85853" y="12822"/>
                    <a:pt x="89420" y="14067"/>
                    <a:pt x="89420" y="14067"/>
                  </a:cubicBezTo>
                  <a:cubicBezTo>
                    <a:pt x="89420" y="14067"/>
                    <a:pt x="91843" y="12082"/>
                    <a:pt x="92045" y="12149"/>
                  </a:cubicBezTo>
                  <a:cubicBezTo>
                    <a:pt x="92247" y="12216"/>
                    <a:pt x="94064" y="11140"/>
                    <a:pt x="94435" y="10703"/>
                  </a:cubicBezTo>
                  <a:cubicBezTo>
                    <a:pt x="94805" y="10265"/>
                    <a:pt x="94637" y="8516"/>
                    <a:pt x="94738" y="7574"/>
                  </a:cubicBezTo>
                  <a:cubicBezTo>
                    <a:pt x="94805" y="6632"/>
                    <a:pt x="94603" y="5690"/>
                    <a:pt x="94738" y="5051"/>
                  </a:cubicBezTo>
                  <a:cubicBezTo>
                    <a:pt x="94872" y="4412"/>
                    <a:pt x="95444" y="3470"/>
                    <a:pt x="95814" y="3033"/>
                  </a:cubicBezTo>
                  <a:cubicBezTo>
                    <a:pt x="96185" y="2595"/>
                    <a:pt x="96690" y="1586"/>
                    <a:pt x="96959" y="1351"/>
                  </a:cubicBezTo>
                  <a:cubicBezTo>
                    <a:pt x="97262" y="1115"/>
                    <a:pt x="99079" y="207"/>
                    <a:pt x="99348" y="39"/>
                  </a:cubicBezTo>
                  <a:cubicBezTo>
                    <a:pt x="99651" y="-96"/>
                    <a:pt x="100930" y="173"/>
                    <a:pt x="101536" y="39"/>
                  </a:cubicBezTo>
                  <a:cubicBezTo>
                    <a:pt x="102108" y="-96"/>
                    <a:pt x="102545" y="342"/>
                    <a:pt x="102848" y="543"/>
                  </a:cubicBezTo>
                  <a:cubicBezTo>
                    <a:pt x="103118" y="745"/>
                    <a:pt x="103589" y="1990"/>
                    <a:pt x="103723" y="3066"/>
                  </a:cubicBezTo>
                  <a:cubicBezTo>
                    <a:pt x="103858" y="4143"/>
                    <a:pt x="103589" y="4950"/>
                    <a:pt x="103723" y="6027"/>
                  </a:cubicBezTo>
                  <a:cubicBezTo>
                    <a:pt x="103858" y="7103"/>
                    <a:pt x="103589" y="8045"/>
                    <a:pt x="103757" y="8482"/>
                  </a:cubicBezTo>
                  <a:cubicBezTo>
                    <a:pt x="103925" y="8920"/>
                    <a:pt x="103757" y="11611"/>
                    <a:pt x="103757" y="11611"/>
                  </a:cubicBezTo>
                  <a:cubicBezTo>
                    <a:pt x="103757" y="11611"/>
                    <a:pt x="103286" y="13057"/>
                    <a:pt x="104161" y="13932"/>
                  </a:cubicBezTo>
                  <a:cubicBezTo>
                    <a:pt x="105036" y="14807"/>
                    <a:pt x="105675" y="16388"/>
                    <a:pt x="105978" y="16825"/>
                  </a:cubicBezTo>
                  <a:cubicBezTo>
                    <a:pt x="106281" y="17262"/>
                    <a:pt x="107055" y="19718"/>
                    <a:pt x="107291" y="19785"/>
                  </a:cubicBezTo>
                  <a:cubicBezTo>
                    <a:pt x="107526" y="19853"/>
                    <a:pt x="108738" y="22039"/>
                    <a:pt x="109680" y="22409"/>
                  </a:cubicBezTo>
                  <a:cubicBezTo>
                    <a:pt x="110623" y="22779"/>
                    <a:pt x="111565" y="24226"/>
                    <a:pt x="113214" y="25100"/>
                  </a:cubicBezTo>
                  <a:cubicBezTo>
                    <a:pt x="114863" y="25975"/>
                    <a:pt x="117354" y="27691"/>
                    <a:pt x="117354" y="27691"/>
                  </a:cubicBezTo>
                  <a:lnTo>
                    <a:pt x="119507" y="29070"/>
                  </a:lnTo>
                  <a:lnTo>
                    <a:pt x="123983" y="35091"/>
                  </a:lnTo>
                  <a:lnTo>
                    <a:pt x="127315" y="38624"/>
                  </a:lnTo>
                  <a:lnTo>
                    <a:pt x="129839" y="41012"/>
                  </a:lnTo>
                  <a:lnTo>
                    <a:pt x="135931" y="43535"/>
                  </a:lnTo>
                  <a:cubicBezTo>
                    <a:pt x="135931" y="43535"/>
                    <a:pt x="141585" y="42088"/>
                    <a:pt x="142022" y="41954"/>
                  </a:cubicBezTo>
                  <a:cubicBezTo>
                    <a:pt x="142460" y="41819"/>
                    <a:pt x="146667" y="41079"/>
                    <a:pt x="146667" y="41079"/>
                  </a:cubicBezTo>
                  <a:lnTo>
                    <a:pt x="157840" y="41449"/>
                  </a:lnTo>
                  <a:lnTo>
                    <a:pt x="161172" y="41449"/>
                  </a:lnTo>
                  <a:lnTo>
                    <a:pt x="165379" y="43198"/>
                  </a:lnTo>
                  <a:lnTo>
                    <a:pt x="171302" y="43198"/>
                  </a:lnTo>
                  <a:cubicBezTo>
                    <a:pt x="171302" y="43198"/>
                    <a:pt x="173893" y="42627"/>
                    <a:pt x="174499" y="42761"/>
                  </a:cubicBezTo>
                  <a:cubicBezTo>
                    <a:pt x="175071" y="42896"/>
                    <a:pt x="176383" y="45452"/>
                    <a:pt x="176383" y="45452"/>
                  </a:cubicBezTo>
                  <a:lnTo>
                    <a:pt x="177191" y="46966"/>
                  </a:lnTo>
                  <a:lnTo>
                    <a:pt x="176249" y="49220"/>
                  </a:lnTo>
                  <a:lnTo>
                    <a:pt x="174667" y="50599"/>
                  </a:lnTo>
                  <a:lnTo>
                    <a:pt x="173220" y="51037"/>
                  </a:lnTo>
                  <a:lnTo>
                    <a:pt x="171571" y="50734"/>
                  </a:lnTo>
                  <a:lnTo>
                    <a:pt x="169855" y="50498"/>
                  </a:lnTo>
                  <a:lnTo>
                    <a:pt x="168710" y="51373"/>
                  </a:lnTo>
                  <a:lnTo>
                    <a:pt x="168710" y="54501"/>
                  </a:lnTo>
                  <a:lnTo>
                    <a:pt x="168912" y="55511"/>
                  </a:lnTo>
                  <a:lnTo>
                    <a:pt x="168138" y="56957"/>
                  </a:lnTo>
                  <a:lnTo>
                    <a:pt x="165749" y="57462"/>
                  </a:lnTo>
                  <a:cubicBezTo>
                    <a:pt x="165749" y="57462"/>
                    <a:pt x="164739" y="56890"/>
                    <a:pt x="164066" y="56890"/>
                  </a:cubicBezTo>
                  <a:cubicBezTo>
                    <a:pt x="163393" y="56890"/>
                    <a:pt x="161306" y="56587"/>
                    <a:pt x="161037" y="56587"/>
                  </a:cubicBezTo>
                  <a:cubicBezTo>
                    <a:pt x="160734" y="56587"/>
                    <a:pt x="158917" y="55006"/>
                    <a:pt x="158648" y="54905"/>
                  </a:cubicBezTo>
                  <a:cubicBezTo>
                    <a:pt x="158378" y="54838"/>
                    <a:pt x="155181" y="55645"/>
                    <a:pt x="155181" y="55645"/>
                  </a:cubicBezTo>
                  <a:cubicBezTo>
                    <a:pt x="155181" y="55645"/>
                    <a:pt x="153431" y="58034"/>
                    <a:pt x="153229" y="58538"/>
                  </a:cubicBezTo>
                  <a:cubicBezTo>
                    <a:pt x="153027" y="59043"/>
                    <a:pt x="150907" y="62945"/>
                    <a:pt x="150907" y="62945"/>
                  </a:cubicBezTo>
                  <a:lnTo>
                    <a:pt x="152287" y="65468"/>
                  </a:lnTo>
                  <a:lnTo>
                    <a:pt x="155922" y="67924"/>
                  </a:lnTo>
                  <a:lnTo>
                    <a:pt x="155989" y="69168"/>
                  </a:lnTo>
                  <a:lnTo>
                    <a:pt x="152926" y="71422"/>
                  </a:lnTo>
                  <a:lnTo>
                    <a:pt x="152051" y="73811"/>
                  </a:lnTo>
                  <a:cubicBezTo>
                    <a:pt x="152051" y="73811"/>
                    <a:pt x="152421" y="76064"/>
                    <a:pt x="152926" y="76502"/>
                  </a:cubicBezTo>
                  <a:cubicBezTo>
                    <a:pt x="153431" y="76939"/>
                    <a:pt x="154441" y="77578"/>
                    <a:pt x="154945" y="78016"/>
                  </a:cubicBezTo>
                  <a:cubicBezTo>
                    <a:pt x="155450" y="78453"/>
                    <a:pt x="156393" y="79529"/>
                    <a:pt x="156628" y="79597"/>
                  </a:cubicBezTo>
                  <a:cubicBezTo>
                    <a:pt x="156864" y="79664"/>
                    <a:pt x="156662" y="80538"/>
                    <a:pt x="156662" y="80538"/>
                  </a:cubicBezTo>
                  <a:cubicBezTo>
                    <a:pt x="156662" y="80538"/>
                    <a:pt x="156561" y="81346"/>
                    <a:pt x="156561" y="81615"/>
                  </a:cubicBezTo>
                  <a:cubicBezTo>
                    <a:pt x="156561" y="81918"/>
                    <a:pt x="156561" y="84003"/>
                    <a:pt x="156561" y="84003"/>
                  </a:cubicBezTo>
                  <a:lnTo>
                    <a:pt x="157705" y="84811"/>
                  </a:lnTo>
                  <a:cubicBezTo>
                    <a:pt x="157705" y="84811"/>
                    <a:pt x="159152" y="86560"/>
                    <a:pt x="159388" y="86829"/>
                  </a:cubicBezTo>
                  <a:cubicBezTo>
                    <a:pt x="159590" y="87132"/>
                    <a:pt x="160633" y="87771"/>
                    <a:pt x="161138" y="88276"/>
                  </a:cubicBezTo>
                  <a:cubicBezTo>
                    <a:pt x="161643" y="88780"/>
                    <a:pt x="161777" y="89150"/>
                    <a:pt x="162652" y="89857"/>
                  </a:cubicBezTo>
                  <a:cubicBezTo>
                    <a:pt x="163528" y="90597"/>
                    <a:pt x="163696" y="92312"/>
                    <a:pt x="163696" y="92312"/>
                  </a:cubicBezTo>
                  <a:lnTo>
                    <a:pt x="164301" y="93927"/>
                  </a:lnTo>
                  <a:lnTo>
                    <a:pt x="164369" y="96114"/>
                  </a:lnTo>
                  <a:lnTo>
                    <a:pt x="164436" y="98401"/>
                  </a:lnTo>
                  <a:cubicBezTo>
                    <a:pt x="164436" y="98401"/>
                    <a:pt x="163023" y="100621"/>
                    <a:pt x="162855" y="100689"/>
                  </a:cubicBezTo>
                  <a:cubicBezTo>
                    <a:pt x="162686" y="100756"/>
                    <a:pt x="160802" y="102976"/>
                    <a:pt x="160802" y="102976"/>
                  </a:cubicBezTo>
                  <a:cubicBezTo>
                    <a:pt x="160802" y="102976"/>
                    <a:pt x="159321" y="104120"/>
                    <a:pt x="159152" y="104221"/>
                  </a:cubicBezTo>
                  <a:cubicBezTo>
                    <a:pt x="158984" y="104322"/>
                    <a:pt x="156426" y="105701"/>
                    <a:pt x="156090" y="105835"/>
                  </a:cubicBezTo>
                  <a:cubicBezTo>
                    <a:pt x="155787" y="106004"/>
                    <a:pt x="154475" y="106912"/>
                    <a:pt x="154239" y="106979"/>
                  </a:cubicBezTo>
                  <a:cubicBezTo>
                    <a:pt x="154037" y="107047"/>
                    <a:pt x="153027" y="107484"/>
                    <a:pt x="152825" y="107484"/>
                  </a:cubicBezTo>
                  <a:cubicBezTo>
                    <a:pt x="152623" y="107484"/>
                    <a:pt x="150470" y="107484"/>
                    <a:pt x="150470" y="107484"/>
                  </a:cubicBezTo>
                  <a:cubicBezTo>
                    <a:pt x="150470" y="107484"/>
                    <a:pt x="148955" y="107820"/>
                    <a:pt x="148148" y="107820"/>
                  </a:cubicBezTo>
                  <a:cubicBezTo>
                    <a:pt x="147340" y="107820"/>
                    <a:pt x="145489" y="107787"/>
                    <a:pt x="145253" y="107787"/>
                  </a:cubicBezTo>
                  <a:cubicBezTo>
                    <a:pt x="145051" y="107787"/>
                    <a:pt x="141787" y="107080"/>
                    <a:pt x="141787" y="107080"/>
                  </a:cubicBezTo>
                  <a:lnTo>
                    <a:pt x="137883" y="108493"/>
                  </a:lnTo>
                  <a:lnTo>
                    <a:pt x="134282" y="109368"/>
                  </a:lnTo>
                  <a:lnTo>
                    <a:pt x="131892" y="110141"/>
                  </a:lnTo>
                  <a:lnTo>
                    <a:pt x="128729" y="109368"/>
                  </a:lnTo>
                  <a:lnTo>
                    <a:pt x="125901" y="107517"/>
                  </a:lnTo>
                  <a:lnTo>
                    <a:pt x="122334" y="106643"/>
                  </a:lnTo>
                  <a:lnTo>
                    <a:pt x="117320" y="107080"/>
                  </a:lnTo>
                  <a:lnTo>
                    <a:pt x="114493" y="111218"/>
                  </a:lnTo>
                  <a:lnTo>
                    <a:pt x="113079" y="116096"/>
                  </a:lnTo>
                  <a:lnTo>
                    <a:pt x="113079" y="120536"/>
                  </a:lnTo>
                  <a:lnTo>
                    <a:pt x="112305" y="126288"/>
                  </a:lnTo>
                  <a:lnTo>
                    <a:pt x="112844" y="129652"/>
                  </a:lnTo>
                  <a:lnTo>
                    <a:pt x="116646" y="135203"/>
                  </a:lnTo>
                  <a:lnTo>
                    <a:pt x="118262" y="138668"/>
                  </a:lnTo>
                  <a:lnTo>
                    <a:pt x="121190" y="139038"/>
                  </a:lnTo>
                  <a:lnTo>
                    <a:pt x="124118" y="137019"/>
                  </a:lnTo>
                  <a:lnTo>
                    <a:pt x="124320" y="137019"/>
                  </a:lnTo>
                  <a:lnTo>
                    <a:pt x="126810" y="138971"/>
                  </a:lnTo>
                  <a:lnTo>
                    <a:pt x="129099" y="142570"/>
                  </a:lnTo>
                  <a:lnTo>
                    <a:pt x="129638" y="144757"/>
                  </a:lnTo>
                  <a:lnTo>
                    <a:pt x="127786" y="148760"/>
                  </a:lnTo>
                  <a:lnTo>
                    <a:pt x="127988" y="152426"/>
                  </a:lnTo>
                  <a:lnTo>
                    <a:pt x="129402" y="153772"/>
                  </a:lnTo>
                  <a:cubicBezTo>
                    <a:pt x="129402" y="153772"/>
                    <a:pt x="129503" y="154310"/>
                    <a:pt x="129402" y="154647"/>
                  </a:cubicBezTo>
                  <a:cubicBezTo>
                    <a:pt x="129301" y="154983"/>
                    <a:pt x="126575" y="157035"/>
                    <a:pt x="126575" y="157035"/>
                  </a:cubicBezTo>
                  <a:cubicBezTo>
                    <a:pt x="126575" y="157035"/>
                    <a:pt x="125599" y="158347"/>
                    <a:pt x="125161" y="158347"/>
                  </a:cubicBezTo>
                  <a:cubicBezTo>
                    <a:pt x="124724" y="158347"/>
                    <a:pt x="120921" y="160735"/>
                    <a:pt x="120921" y="160735"/>
                  </a:cubicBezTo>
                  <a:lnTo>
                    <a:pt x="118733" y="164873"/>
                  </a:lnTo>
                  <a:lnTo>
                    <a:pt x="115570" y="164873"/>
                  </a:lnTo>
                  <a:lnTo>
                    <a:pt x="112406" y="164873"/>
                  </a:lnTo>
                  <a:lnTo>
                    <a:pt x="108603" y="164873"/>
                  </a:lnTo>
                  <a:lnTo>
                    <a:pt x="104363" y="160870"/>
                  </a:lnTo>
                  <a:lnTo>
                    <a:pt x="99584" y="160197"/>
                  </a:lnTo>
                  <a:lnTo>
                    <a:pt x="98170" y="161408"/>
                  </a:lnTo>
                  <a:lnTo>
                    <a:pt x="97497" y="162384"/>
                  </a:lnTo>
                  <a:cubicBezTo>
                    <a:pt x="97497" y="162384"/>
                    <a:pt x="96959" y="163797"/>
                    <a:pt x="96959" y="164234"/>
                  </a:cubicBezTo>
                  <a:cubicBezTo>
                    <a:pt x="96959" y="164671"/>
                    <a:pt x="96420" y="166185"/>
                    <a:pt x="96420" y="166185"/>
                  </a:cubicBezTo>
                  <a:lnTo>
                    <a:pt x="96521" y="168573"/>
                  </a:lnTo>
                  <a:lnTo>
                    <a:pt x="96185" y="170424"/>
                  </a:lnTo>
                  <a:cubicBezTo>
                    <a:pt x="96185" y="170424"/>
                    <a:pt x="95747" y="171399"/>
                    <a:pt x="95512" y="171736"/>
                  </a:cubicBezTo>
                  <a:cubicBezTo>
                    <a:pt x="95276" y="172072"/>
                    <a:pt x="94334" y="173148"/>
                    <a:pt x="93997" y="173485"/>
                  </a:cubicBezTo>
                  <a:cubicBezTo>
                    <a:pt x="93661" y="173821"/>
                    <a:pt x="90396" y="175133"/>
                    <a:pt x="90396" y="175133"/>
                  </a:cubicBezTo>
                  <a:lnTo>
                    <a:pt x="87771" y="175772"/>
                  </a:lnTo>
                  <a:cubicBezTo>
                    <a:pt x="87771" y="175772"/>
                    <a:pt x="86021" y="176411"/>
                    <a:pt x="85382" y="176546"/>
                  </a:cubicBezTo>
                  <a:cubicBezTo>
                    <a:pt x="84742" y="176647"/>
                    <a:pt x="84170" y="176445"/>
                    <a:pt x="83733" y="176546"/>
                  </a:cubicBezTo>
                  <a:cubicBezTo>
                    <a:pt x="83295" y="176647"/>
                    <a:pt x="82555" y="176714"/>
                    <a:pt x="81680" y="176580"/>
                  </a:cubicBezTo>
                  <a:cubicBezTo>
                    <a:pt x="80805" y="176445"/>
                    <a:pt x="78651" y="174595"/>
                    <a:pt x="77439" y="173518"/>
                  </a:cubicBezTo>
                  <a:cubicBezTo>
                    <a:pt x="76228" y="172442"/>
                    <a:pt x="75824" y="171029"/>
                    <a:pt x="74949" y="170491"/>
                  </a:cubicBezTo>
                  <a:cubicBezTo>
                    <a:pt x="74074" y="169953"/>
                    <a:pt x="72660" y="168203"/>
                    <a:pt x="72660" y="168203"/>
                  </a:cubicBezTo>
                  <a:cubicBezTo>
                    <a:pt x="72660" y="168203"/>
                    <a:pt x="70708" y="168102"/>
                    <a:pt x="70271" y="168102"/>
                  </a:cubicBezTo>
                  <a:cubicBezTo>
                    <a:pt x="69833" y="168102"/>
                    <a:pt x="66670" y="168203"/>
                    <a:pt x="66367" y="168203"/>
                  </a:cubicBezTo>
                  <a:cubicBezTo>
                    <a:pt x="66030" y="168203"/>
                    <a:pt x="63102" y="169717"/>
                    <a:pt x="63102" y="169717"/>
                  </a:cubicBezTo>
                  <a:lnTo>
                    <a:pt x="61251" y="171231"/>
                  </a:lnTo>
                  <a:lnTo>
                    <a:pt x="56573" y="173619"/>
                  </a:lnTo>
                  <a:lnTo>
                    <a:pt x="52097" y="174931"/>
                  </a:lnTo>
                  <a:cubicBezTo>
                    <a:pt x="52097" y="174931"/>
                    <a:pt x="48732" y="175032"/>
                    <a:pt x="48294" y="175032"/>
                  </a:cubicBezTo>
                  <a:cubicBezTo>
                    <a:pt x="47857" y="175032"/>
                    <a:pt x="43953" y="173619"/>
                    <a:pt x="42876" y="173619"/>
                  </a:cubicBezTo>
                  <a:cubicBezTo>
                    <a:pt x="41765" y="173619"/>
                    <a:pt x="40688" y="173081"/>
                    <a:pt x="40385" y="173619"/>
                  </a:cubicBezTo>
                  <a:cubicBezTo>
                    <a:pt x="40049" y="174158"/>
                    <a:pt x="38770" y="175032"/>
                    <a:pt x="38097" y="175470"/>
                  </a:cubicBezTo>
                  <a:cubicBezTo>
                    <a:pt x="37458" y="175907"/>
                    <a:pt x="37121" y="179607"/>
                    <a:pt x="37121" y="179607"/>
                  </a:cubicBezTo>
                  <a:lnTo>
                    <a:pt x="35606" y="180246"/>
                  </a:lnTo>
                  <a:lnTo>
                    <a:pt x="30827" y="179607"/>
                  </a:lnTo>
                  <a:cubicBezTo>
                    <a:pt x="30827" y="179607"/>
                    <a:pt x="29515" y="179069"/>
                    <a:pt x="28539" y="178194"/>
                  </a:cubicBezTo>
                  <a:cubicBezTo>
                    <a:pt x="27563" y="177320"/>
                    <a:pt x="26150" y="173619"/>
                    <a:pt x="25813" y="173518"/>
                  </a:cubicBezTo>
                  <a:cubicBezTo>
                    <a:pt x="25476" y="173418"/>
                    <a:pt x="25275" y="170794"/>
                    <a:pt x="24938" y="170491"/>
                  </a:cubicBezTo>
                  <a:cubicBezTo>
                    <a:pt x="24601" y="170155"/>
                    <a:pt x="22212" y="168540"/>
                    <a:pt x="22212" y="168540"/>
                  </a:cubicBezTo>
                  <a:cubicBezTo>
                    <a:pt x="22212" y="168540"/>
                    <a:pt x="19385" y="167766"/>
                    <a:pt x="18409" y="168102"/>
                  </a:cubicBezTo>
                  <a:cubicBezTo>
                    <a:pt x="17433" y="168439"/>
                    <a:pt x="16794" y="168102"/>
                    <a:pt x="15481" y="167901"/>
                  </a:cubicBezTo>
                  <a:cubicBezTo>
                    <a:pt x="14168" y="167699"/>
                    <a:pt x="11880" y="166925"/>
                    <a:pt x="11779" y="166589"/>
                  </a:cubicBezTo>
                  <a:cubicBezTo>
                    <a:pt x="11678" y="166252"/>
                    <a:pt x="11106" y="162249"/>
                    <a:pt x="11106" y="162249"/>
                  </a:cubicBezTo>
                  <a:lnTo>
                    <a:pt x="8515" y="161375"/>
                  </a:lnTo>
                  <a:lnTo>
                    <a:pt x="3837" y="160500"/>
                  </a:lnTo>
                  <a:cubicBezTo>
                    <a:pt x="3837" y="160500"/>
                    <a:pt x="3365" y="159423"/>
                    <a:pt x="3365" y="158986"/>
                  </a:cubicBezTo>
                  <a:cubicBezTo>
                    <a:pt x="3365" y="158549"/>
                    <a:pt x="1548" y="156396"/>
                    <a:pt x="1548" y="155959"/>
                  </a:cubicBezTo>
                  <a:cubicBezTo>
                    <a:pt x="1548" y="155521"/>
                    <a:pt x="1548" y="153671"/>
                    <a:pt x="1548" y="153671"/>
                  </a:cubicBezTo>
                  <a:lnTo>
                    <a:pt x="2861" y="152494"/>
                  </a:lnTo>
                  <a:lnTo>
                    <a:pt x="5788" y="152595"/>
                  </a:lnTo>
                  <a:lnTo>
                    <a:pt x="8077" y="153469"/>
                  </a:lnTo>
                  <a:lnTo>
                    <a:pt x="9591" y="153907"/>
                  </a:lnTo>
                  <a:lnTo>
                    <a:pt x="11981" y="154344"/>
                  </a:lnTo>
                  <a:lnTo>
                    <a:pt x="13630" y="153133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796" name="Freeform 899">
              <a:extLst>
                <a:ext uri="{FF2B5EF4-FFF2-40B4-BE49-F238E27FC236}">
                  <a16:creationId xmlns:a16="http://schemas.microsoft.com/office/drawing/2014/main" id="{6AAC6641-747E-A684-E6EB-E418761C5887}"/>
                </a:ext>
              </a:extLst>
            </p:cNvPr>
            <p:cNvSpPr/>
            <p:nvPr/>
          </p:nvSpPr>
          <p:spPr>
            <a:xfrm>
              <a:off x="8777631" y="1841162"/>
              <a:ext cx="130240" cy="210142"/>
            </a:xfrm>
            <a:custGeom>
              <a:avLst/>
              <a:gdLst>
                <a:gd name="connsiteX0" fmla="*/ 118565 w 120116"/>
                <a:gd name="connsiteY0" fmla="*/ 112087 h 193807"/>
                <a:gd name="connsiteX1" fmla="*/ 120012 w 120116"/>
                <a:gd name="connsiteY1" fmla="*/ 108656 h 193807"/>
                <a:gd name="connsiteX2" fmla="*/ 120012 w 120116"/>
                <a:gd name="connsiteY2" fmla="*/ 104888 h 193807"/>
                <a:gd name="connsiteX3" fmla="*/ 120012 w 120116"/>
                <a:gd name="connsiteY3" fmla="*/ 102399 h 193807"/>
                <a:gd name="connsiteX4" fmla="*/ 118161 w 120116"/>
                <a:gd name="connsiteY4" fmla="*/ 100112 h 193807"/>
                <a:gd name="connsiteX5" fmla="*/ 116209 w 120116"/>
                <a:gd name="connsiteY5" fmla="*/ 98800 h 193807"/>
                <a:gd name="connsiteX6" fmla="*/ 113921 w 120116"/>
                <a:gd name="connsiteY6" fmla="*/ 98800 h 193807"/>
                <a:gd name="connsiteX7" fmla="*/ 113921 w 120116"/>
                <a:gd name="connsiteY7" fmla="*/ 97151 h 193807"/>
                <a:gd name="connsiteX8" fmla="*/ 113921 w 120116"/>
                <a:gd name="connsiteY8" fmla="*/ 95301 h 193807"/>
                <a:gd name="connsiteX9" fmla="*/ 110656 w 120116"/>
                <a:gd name="connsiteY9" fmla="*/ 94527 h 193807"/>
                <a:gd name="connsiteX10" fmla="*/ 108502 w 120116"/>
                <a:gd name="connsiteY10" fmla="*/ 95738 h 193807"/>
                <a:gd name="connsiteX11" fmla="*/ 105675 w 120116"/>
                <a:gd name="connsiteY11" fmla="*/ 96277 h 193807"/>
                <a:gd name="connsiteX12" fmla="*/ 102646 w 120116"/>
                <a:gd name="connsiteY12" fmla="*/ 95301 h 193807"/>
                <a:gd name="connsiteX13" fmla="*/ 102646 w 120116"/>
                <a:gd name="connsiteY13" fmla="*/ 90962 h 193807"/>
                <a:gd name="connsiteX14" fmla="*/ 104598 w 120116"/>
                <a:gd name="connsiteY14" fmla="*/ 89448 h 193807"/>
                <a:gd name="connsiteX15" fmla="*/ 105137 w 120116"/>
                <a:gd name="connsiteY15" fmla="*/ 87396 h 193807"/>
                <a:gd name="connsiteX16" fmla="*/ 106012 w 120116"/>
                <a:gd name="connsiteY16" fmla="*/ 85445 h 193807"/>
                <a:gd name="connsiteX17" fmla="*/ 105103 w 120116"/>
                <a:gd name="connsiteY17" fmla="*/ 83292 h 193807"/>
                <a:gd name="connsiteX18" fmla="*/ 105978 w 120116"/>
                <a:gd name="connsiteY18" fmla="*/ 80971 h 193807"/>
                <a:gd name="connsiteX19" fmla="*/ 106281 w 120116"/>
                <a:gd name="connsiteY19" fmla="*/ 76497 h 193807"/>
                <a:gd name="connsiteX20" fmla="*/ 104093 w 120116"/>
                <a:gd name="connsiteY20" fmla="*/ 73604 h 193807"/>
                <a:gd name="connsiteX21" fmla="*/ 102646 w 120116"/>
                <a:gd name="connsiteY21" fmla="*/ 71417 h 193807"/>
                <a:gd name="connsiteX22" fmla="*/ 95848 w 120116"/>
                <a:gd name="connsiteY22" fmla="*/ 69971 h 193807"/>
                <a:gd name="connsiteX23" fmla="*/ 91776 w 120116"/>
                <a:gd name="connsiteY23" fmla="*/ 70711 h 193807"/>
                <a:gd name="connsiteX24" fmla="*/ 88141 w 120116"/>
                <a:gd name="connsiteY24" fmla="*/ 74478 h 193807"/>
                <a:gd name="connsiteX25" fmla="*/ 85247 w 120116"/>
                <a:gd name="connsiteY25" fmla="*/ 76799 h 193807"/>
                <a:gd name="connsiteX26" fmla="*/ 85247 w 120116"/>
                <a:gd name="connsiteY26" fmla="*/ 78818 h 193807"/>
                <a:gd name="connsiteX27" fmla="*/ 83497 w 120116"/>
                <a:gd name="connsiteY27" fmla="*/ 79120 h 193807"/>
                <a:gd name="connsiteX28" fmla="*/ 81377 w 120116"/>
                <a:gd name="connsiteY28" fmla="*/ 77977 h 193807"/>
                <a:gd name="connsiteX29" fmla="*/ 79997 w 120116"/>
                <a:gd name="connsiteY29" fmla="*/ 75521 h 193807"/>
                <a:gd name="connsiteX30" fmla="*/ 79997 w 120116"/>
                <a:gd name="connsiteY30" fmla="*/ 70172 h 193807"/>
                <a:gd name="connsiteX31" fmla="*/ 80704 w 120116"/>
                <a:gd name="connsiteY31" fmla="*/ 70038 h 193807"/>
                <a:gd name="connsiteX32" fmla="*/ 81276 w 120116"/>
                <a:gd name="connsiteY32" fmla="*/ 66573 h 193807"/>
                <a:gd name="connsiteX33" fmla="*/ 80704 w 120116"/>
                <a:gd name="connsiteY33" fmla="*/ 63814 h 193807"/>
                <a:gd name="connsiteX34" fmla="*/ 75858 w 120116"/>
                <a:gd name="connsiteY34" fmla="*/ 63814 h 193807"/>
                <a:gd name="connsiteX35" fmla="*/ 74780 w 120116"/>
                <a:gd name="connsiteY35" fmla="*/ 60181 h 193807"/>
                <a:gd name="connsiteX36" fmla="*/ 74780 w 120116"/>
                <a:gd name="connsiteY36" fmla="*/ 56279 h 193807"/>
                <a:gd name="connsiteX37" fmla="*/ 71314 w 120116"/>
                <a:gd name="connsiteY37" fmla="*/ 52579 h 193807"/>
                <a:gd name="connsiteX38" fmla="*/ 71314 w 120116"/>
                <a:gd name="connsiteY38" fmla="*/ 51065 h 193807"/>
                <a:gd name="connsiteX39" fmla="*/ 71314 w 120116"/>
                <a:gd name="connsiteY39" fmla="*/ 45851 h 193807"/>
                <a:gd name="connsiteX40" fmla="*/ 69127 w 120116"/>
                <a:gd name="connsiteY40" fmla="*/ 44102 h 193807"/>
                <a:gd name="connsiteX41" fmla="*/ 67174 w 120116"/>
                <a:gd name="connsiteY41" fmla="*/ 41713 h 193807"/>
                <a:gd name="connsiteX42" fmla="*/ 67174 w 120116"/>
                <a:gd name="connsiteY42" fmla="*/ 39964 h 193807"/>
                <a:gd name="connsiteX43" fmla="*/ 67545 w 120116"/>
                <a:gd name="connsiteY43" fmla="*/ 36701 h 193807"/>
                <a:gd name="connsiteX44" fmla="*/ 67814 w 120116"/>
                <a:gd name="connsiteY44" fmla="*/ 35019 h 193807"/>
                <a:gd name="connsiteX45" fmla="*/ 67814 w 120116"/>
                <a:gd name="connsiteY45" fmla="*/ 33640 h 193807"/>
                <a:gd name="connsiteX46" fmla="*/ 67747 w 120116"/>
                <a:gd name="connsiteY46" fmla="*/ 32496 h 193807"/>
                <a:gd name="connsiteX47" fmla="*/ 68689 w 120116"/>
                <a:gd name="connsiteY47" fmla="*/ 31722 h 193807"/>
                <a:gd name="connsiteX48" fmla="*/ 69934 w 120116"/>
                <a:gd name="connsiteY48" fmla="*/ 31016 h 193807"/>
                <a:gd name="connsiteX49" fmla="*/ 70439 w 120116"/>
                <a:gd name="connsiteY49" fmla="*/ 31016 h 193807"/>
                <a:gd name="connsiteX50" fmla="*/ 71751 w 120116"/>
                <a:gd name="connsiteY50" fmla="*/ 31756 h 193807"/>
                <a:gd name="connsiteX51" fmla="*/ 73569 w 120116"/>
                <a:gd name="connsiteY51" fmla="*/ 33068 h 193807"/>
                <a:gd name="connsiteX52" fmla="*/ 74444 w 120116"/>
                <a:gd name="connsiteY52" fmla="*/ 33707 h 193807"/>
                <a:gd name="connsiteX53" fmla="*/ 76194 w 120116"/>
                <a:gd name="connsiteY53" fmla="*/ 34212 h 193807"/>
                <a:gd name="connsiteX54" fmla="*/ 78078 w 120116"/>
                <a:gd name="connsiteY54" fmla="*/ 34952 h 193807"/>
                <a:gd name="connsiteX55" fmla="*/ 80771 w 120116"/>
                <a:gd name="connsiteY55" fmla="*/ 34817 h 193807"/>
                <a:gd name="connsiteX56" fmla="*/ 81848 w 120116"/>
                <a:gd name="connsiteY56" fmla="*/ 33808 h 193807"/>
                <a:gd name="connsiteX57" fmla="*/ 82420 w 120116"/>
                <a:gd name="connsiteY57" fmla="*/ 32664 h 193807"/>
                <a:gd name="connsiteX58" fmla="*/ 84304 w 120116"/>
                <a:gd name="connsiteY58" fmla="*/ 32799 h 193807"/>
                <a:gd name="connsiteX59" fmla="*/ 86122 w 120116"/>
                <a:gd name="connsiteY59" fmla="*/ 32799 h 193807"/>
                <a:gd name="connsiteX60" fmla="*/ 87502 w 120116"/>
                <a:gd name="connsiteY60" fmla="*/ 33371 h 193807"/>
                <a:gd name="connsiteX61" fmla="*/ 87872 w 120116"/>
                <a:gd name="connsiteY61" fmla="*/ 34750 h 193807"/>
                <a:gd name="connsiteX62" fmla="*/ 90060 w 120116"/>
                <a:gd name="connsiteY62" fmla="*/ 34952 h 193807"/>
                <a:gd name="connsiteX63" fmla="*/ 91136 w 120116"/>
                <a:gd name="connsiteY63" fmla="*/ 34245 h 193807"/>
                <a:gd name="connsiteX64" fmla="*/ 91810 w 120116"/>
                <a:gd name="connsiteY64" fmla="*/ 33539 h 193807"/>
                <a:gd name="connsiteX65" fmla="*/ 92584 w 120116"/>
                <a:gd name="connsiteY65" fmla="*/ 31890 h 193807"/>
                <a:gd name="connsiteX66" fmla="*/ 91944 w 120116"/>
                <a:gd name="connsiteY66" fmla="*/ 29670 h 193807"/>
                <a:gd name="connsiteX67" fmla="*/ 90194 w 120116"/>
                <a:gd name="connsiteY67" fmla="*/ 28594 h 193807"/>
                <a:gd name="connsiteX68" fmla="*/ 88612 w 120116"/>
                <a:gd name="connsiteY68" fmla="*/ 27719 h 193807"/>
                <a:gd name="connsiteX69" fmla="*/ 87906 w 120116"/>
                <a:gd name="connsiteY69" fmla="*/ 26407 h 193807"/>
                <a:gd name="connsiteX70" fmla="*/ 88545 w 120116"/>
                <a:gd name="connsiteY70" fmla="*/ 25062 h 193807"/>
                <a:gd name="connsiteX71" fmla="*/ 89622 w 120116"/>
                <a:gd name="connsiteY71" fmla="*/ 23884 h 193807"/>
                <a:gd name="connsiteX72" fmla="*/ 88848 w 120116"/>
                <a:gd name="connsiteY72" fmla="*/ 22808 h 193807"/>
                <a:gd name="connsiteX73" fmla="*/ 85684 w 120116"/>
                <a:gd name="connsiteY73" fmla="*/ 22370 h 193807"/>
                <a:gd name="connsiteX74" fmla="*/ 84372 w 120116"/>
                <a:gd name="connsiteY74" fmla="*/ 22370 h 193807"/>
                <a:gd name="connsiteX75" fmla="*/ 81511 w 120116"/>
                <a:gd name="connsiteY75" fmla="*/ 20688 h 193807"/>
                <a:gd name="connsiteX76" fmla="*/ 82218 w 120116"/>
                <a:gd name="connsiteY76" fmla="*/ 19040 h 193807"/>
                <a:gd name="connsiteX77" fmla="*/ 84843 w 120116"/>
                <a:gd name="connsiteY77" fmla="*/ 17257 h 193807"/>
                <a:gd name="connsiteX78" fmla="*/ 87939 w 120116"/>
                <a:gd name="connsiteY78" fmla="*/ 16887 h 193807"/>
                <a:gd name="connsiteX79" fmla="*/ 88478 w 120116"/>
                <a:gd name="connsiteY79" fmla="*/ 11942 h 193807"/>
                <a:gd name="connsiteX80" fmla="*/ 87872 w 120116"/>
                <a:gd name="connsiteY80" fmla="*/ 9890 h 193807"/>
                <a:gd name="connsiteX81" fmla="*/ 85920 w 120116"/>
                <a:gd name="connsiteY81" fmla="*/ 8208 h 193807"/>
                <a:gd name="connsiteX82" fmla="*/ 81242 w 120116"/>
                <a:gd name="connsiteY82" fmla="*/ 8208 h 193807"/>
                <a:gd name="connsiteX83" fmla="*/ 78348 w 120116"/>
                <a:gd name="connsiteY83" fmla="*/ 11471 h 193807"/>
                <a:gd name="connsiteX84" fmla="*/ 76598 w 120116"/>
                <a:gd name="connsiteY84" fmla="*/ 12009 h 193807"/>
                <a:gd name="connsiteX85" fmla="*/ 73535 w 120116"/>
                <a:gd name="connsiteY85" fmla="*/ 9688 h 193807"/>
                <a:gd name="connsiteX86" fmla="*/ 71785 w 120116"/>
                <a:gd name="connsiteY86" fmla="*/ 5281 h 193807"/>
                <a:gd name="connsiteX87" fmla="*/ 69227 w 120116"/>
                <a:gd name="connsiteY87" fmla="*/ 3936 h 193807"/>
                <a:gd name="connsiteX88" fmla="*/ 67814 w 120116"/>
                <a:gd name="connsiteY88" fmla="*/ 2624 h 193807"/>
                <a:gd name="connsiteX89" fmla="*/ 60646 w 120116"/>
                <a:gd name="connsiteY89" fmla="*/ 0 h 193807"/>
                <a:gd name="connsiteX90" fmla="*/ 56742 w 120116"/>
                <a:gd name="connsiteY90" fmla="*/ 3162 h 193807"/>
                <a:gd name="connsiteX91" fmla="*/ 52165 w 120116"/>
                <a:gd name="connsiteY91" fmla="*/ 5450 h 193807"/>
                <a:gd name="connsiteX92" fmla="*/ 52165 w 120116"/>
                <a:gd name="connsiteY92" fmla="*/ 9486 h 193807"/>
                <a:gd name="connsiteX93" fmla="*/ 49539 w 120116"/>
                <a:gd name="connsiteY93" fmla="*/ 13086 h 193807"/>
                <a:gd name="connsiteX94" fmla="*/ 46948 w 120116"/>
                <a:gd name="connsiteY94" fmla="*/ 15811 h 193807"/>
                <a:gd name="connsiteX95" fmla="*/ 45299 w 120116"/>
                <a:gd name="connsiteY95" fmla="*/ 17997 h 193807"/>
                <a:gd name="connsiteX96" fmla="*/ 42910 w 120116"/>
                <a:gd name="connsiteY96" fmla="*/ 18973 h 193807"/>
                <a:gd name="connsiteX97" fmla="*/ 42203 w 120116"/>
                <a:gd name="connsiteY97" fmla="*/ 20049 h 193807"/>
                <a:gd name="connsiteX98" fmla="*/ 41698 w 120116"/>
                <a:gd name="connsiteY98" fmla="*/ 22101 h 193807"/>
                <a:gd name="connsiteX99" fmla="*/ 41698 w 120116"/>
                <a:gd name="connsiteY99" fmla="*/ 23279 h 193807"/>
                <a:gd name="connsiteX100" fmla="*/ 40621 w 120116"/>
                <a:gd name="connsiteY100" fmla="*/ 26542 h 193807"/>
                <a:gd name="connsiteX101" fmla="*/ 39107 w 120116"/>
                <a:gd name="connsiteY101" fmla="*/ 27181 h 193807"/>
                <a:gd name="connsiteX102" fmla="*/ 35068 w 120116"/>
                <a:gd name="connsiteY102" fmla="*/ 27282 h 193807"/>
                <a:gd name="connsiteX103" fmla="*/ 33655 w 120116"/>
                <a:gd name="connsiteY103" fmla="*/ 29132 h 193807"/>
                <a:gd name="connsiteX104" fmla="*/ 32780 w 120116"/>
                <a:gd name="connsiteY104" fmla="*/ 33808 h 193807"/>
                <a:gd name="connsiteX105" fmla="*/ 32140 w 120116"/>
                <a:gd name="connsiteY105" fmla="*/ 37710 h 193807"/>
                <a:gd name="connsiteX106" fmla="*/ 33991 w 120116"/>
                <a:gd name="connsiteY106" fmla="*/ 43799 h 193807"/>
                <a:gd name="connsiteX107" fmla="*/ 34967 w 120116"/>
                <a:gd name="connsiteY107" fmla="*/ 47062 h 193807"/>
                <a:gd name="connsiteX108" fmla="*/ 38770 w 120116"/>
                <a:gd name="connsiteY108" fmla="*/ 47936 h 193807"/>
                <a:gd name="connsiteX109" fmla="*/ 40722 w 120116"/>
                <a:gd name="connsiteY109" fmla="*/ 48710 h 193807"/>
                <a:gd name="connsiteX110" fmla="*/ 42573 w 120116"/>
                <a:gd name="connsiteY110" fmla="*/ 51334 h 193807"/>
                <a:gd name="connsiteX111" fmla="*/ 42674 w 120116"/>
                <a:gd name="connsiteY111" fmla="*/ 53487 h 193807"/>
                <a:gd name="connsiteX112" fmla="*/ 40722 w 120116"/>
                <a:gd name="connsiteY112" fmla="*/ 54900 h 193807"/>
                <a:gd name="connsiteX113" fmla="*/ 37659 w 120116"/>
                <a:gd name="connsiteY113" fmla="*/ 55236 h 193807"/>
                <a:gd name="connsiteX114" fmla="*/ 35606 w 120116"/>
                <a:gd name="connsiteY114" fmla="*/ 56178 h 193807"/>
                <a:gd name="connsiteX115" fmla="*/ 33318 w 120116"/>
                <a:gd name="connsiteY115" fmla="*/ 59038 h 193807"/>
                <a:gd name="connsiteX116" fmla="*/ 31265 w 120116"/>
                <a:gd name="connsiteY116" fmla="*/ 61863 h 193807"/>
                <a:gd name="connsiteX117" fmla="*/ 34731 w 120116"/>
                <a:gd name="connsiteY117" fmla="*/ 63613 h 193807"/>
                <a:gd name="connsiteX118" fmla="*/ 37996 w 120116"/>
                <a:gd name="connsiteY118" fmla="*/ 64050 h 193807"/>
                <a:gd name="connsiteX119" fmla="*/ 39409 w 120116"/>
                <a:gd name="connsiteY119" fmla="*/ 65463 h 193807"/>
                <a:gd name="connsiteX120" fmla="*/ 40284 w 120116"/>
                <a:gd name="connsiteY120" fmla="*/ 69163 h 193807"/>
                <a:gd name="connsiteX121" fmla="*/ 39308 w 120116"/>
                <a:gd name="connsiteY121" fmla="*/ 73402 h 193807"/>
                <a:gd name="connsiteX122" fmla="*/ 38434 w 120116"/>
                <a:gd name="connsiteY122" fmla="*/ 76328 h 193807"/>
                <a:gd name="connsiteX123" fmla="*/ 35505 w 120116"/>
                <a:gd name="connsiteY123" fmla="*/ 77539 h 193807"/>
                <a:gd name="connsiteX124" fmla="*/ 32477 w 120116"/>
                <a:gd name="connsiteY124" fmla="*/ 76127 h 193807"/>
                <a:gd name="connsiteX125" fmla="*/ 29111 w 120116"/>
                <a:gd name="connsiteY125" fmla="*/ 73536 h 193807"/>
                <a:gd name="connsiteX126" fmla="*/ 25510 w 120116"/>
                <a:gd name="connsiteY126" fmla="*/ 73738 h 193807"/>
                <a:gd name="connsiteX127" fmla="*/ 21371 w 120116"/>
                <a:gd name="connsiteY127" fmla="*/ 72325 h 193807"/>
                <a:gd name="connsiteX128" fmla="*/ 20294 w 120116"/>
                <a:gd name="connsiteY128" fmla="*/ 70912 h 193807"/>
                <a:gd name="connsiteX129" fmla="*/ 20832 w 120116"/>
                <a:gd name="connsiteY129" fmla="*/ 68860 h 193807"/>
                <a:gd name="connsiteX130" fmla="*/ 22010 w 120116"/>
                <a:gd name="connsiteY130" fmla="*/ 67111 h 193807"/>
                <a:gd name="connsiteX131" fmla="*/ 22683 w 120116"/>
                <a:gd name="connsiteY131" fmla="*/ 64487 h 193807"/>
                <a:gd name="connsiteX132" fmla="*/ 22952 w 120116"/>
                <a:gd name="connsiteY132" fmla="*/ 62301 h 193807"/>
                <a:gd name="connsiteX133" fmla="*/ 22649 w 120116"/>
                <a:gd name="connsiteY133" fmla="*/ 60921 h 193807"/>
                <a:gd name="connsiteX134" fmla="*/ 21169 w 120116"/>
                <a:gd name="connsiteY134" fmla="*/ 59879 h 193807"/>
                <a:gd name="connsiteX135" fmla="*/ 19890 w 120116"/>
                <a:gd name="connsiteY135" fmla="*/ 58937 h 193807"/>
                <a:gd name="connsiteX136" fmla="*/ 18241 w 120116"/>
                <a:gd name="connsiteY136" fmla="*/ 58937 h 193807"/>
                <a:gd name="connsiteX137" fmla="*/ 16760 w 120116"/>
                <a:gd name="connsiteY137" fmla="*/ 59374 h 193807"/>
                <a:gd name="connsiteX138" fmla="*/ 15851 w 120116"/>
                <a:gd name="connsiteY138" fmla="*/ 59879 h 193807"/>
                <a:gd name="connsiteX139" fmla="*/ 15851 w 120116"/>
                <a:gd name="connsiteY139" fmla="*/ 61157 h 193807"/>
                <a:gd name="connsiteX140" fmla="*/ 16020 w 120116"/>
                <a:gd name="connsiteY140" fmla="*/ 62435 h 193807"/>
                <a:gd name="connsiteX141" fmla="*/ 15986 w 120116"/>
                <a:gd name="connsiteY141" fmla="*/ 63545 h 193807"/>
                <a:gd name="connsiteX142" fmla="*/ 15817 w 120116"/>
                <a:gd name="connsiteY142" fmla="*/ 65160 h 193807"/>
                <a:gd name="connsiteX143" fmla="*/ 15817 w 120116"/>
                <a:gd name="connsiteY143" fmla="*/ 66943 h 193807"/>
                <a:gd name="connsiteX144" fmla="*/ 15111 w 120116"/>
                <a:gd name="connsiteY144" fmla="*/ 69130 h 193807"/>
                <a:gd name="connsiteX145" fmla="*/ 14067 w 120116"/>
                <a:gd name="connsiteY145" fmla="*/ 70744 h 193807"/>
                <a:gd name="connsiteX146" fmla="*/ 12486 w 120116"/>
                <a:gd name="connsiteY146" fmla="*/ 73099 h 193807"/>
                <a:gd name="connsiteX147" fmla="*/ 10534 w 120116"/>
                <a:gd name="connsiteY147" fmla="*/ 74344 h 193807"/>
                <a:gd name="connsiteX148" fmla="*/ 8649 w 120116"/>
                <a:gd name="connsiteY148" fmla="*/ 77539 h 193807"/>
                <a:gd name="connsiteX149" fmla="*/ 7438 w 120116"/>
                <a:gd name="connsiteY149" fmla="*/ 79726 h 193807"/>
                <a:gd name="connsiteX150" fmla="*/ 6933 w 120116"/>
                <a:gd name="connsiteY150" fmla="*/ 83191 h 193807"/>
                <a:gd name="connsiteX151" fmla="*/ 6933 w 120116"/>
                <a:gd name="connsiteY151" fmla="*/ 85848 h 193807"/>
                <a:gd name="connsiteX152" fmla="*/ 6933 w 120116"/>
                <a:gd name="connsiteY152" fmla="*/ 88136 h 193807"/>
                <a:gd name="connsiteX153" fmla="*/ 8077 w 120116"/>
                <a:gd name="connsiteY153" fmla="*/ 90322 h 193807"/>
                <a:gd name="connsiteX154" fmla="*/ 10096 w 120116"/>
                <a:gd name="connsiteY154" fmla="*/ 93249 h 193807"/>
                <a:gd name="connsiteX155" fmla="*/ 10635 w 120116"/>
                <a:gd name="connsiteY155" fmla="*/ 97925 h 193807"/>
                <a:gd name="connsiteX156" fmla="*/ 6798 w 120116"/>
                <a:gd name="connsiteY156" fmla="*/ 101524 h 193807"/>
                <a:gd name="connsiteX157" fmla="*/ 4543 w 120116"/>
                <a:gd name="connsiteY157" fmla="*/ 103913 h 193807"/>
                <a:gd name="connsiteX158" fmla="*/ 4543 w 120116"/>
                <a:gd name="connsiteY158" fmla="*/ 107378 h 193807"/>
                <a:gd name="connsiteX159" fmla="*/ 10197 w 120116"/>
                <a:gd name="connsiteY159" fmla="*/ 111078 h 193807"/>
                <a:gd name="connsiteX160" fmla="*/ 12385 w 120116"/>
                <a:gd name="connsiteY160" fmla="*/ 114240 h 193807"/>
                <a:gd name="connsiteX161" fmla="*/ 11207 w 120116"/>
                <a:gd name="connsiteY161" fmla="*/ 117705 h 193807"/>
                <a:gd name="connsiteX162" fmla="*/ 9457 w 120116"/>
                <a:gd name="connsiteY162" fmla="*/ 120766 h 193807"/>
                <a:gd name="connsiteX163" fmla="*/ 9894 w 120116"/>
                <a:gd name="connsiteY163" fmla="*/ 124769 h 193807"/>
                <a:gd name="connsiteX164" fmla="*/ 13697 w 120116"/>
                <a:gd name="connsiteY164" fmla="*/ 128470 h 193807"/>
                <a:gd name="connsiteX165" fmla="*/ 19789 w 120116"/>
                <a:gd name="connsiteY165" fmla="*/ 131497 h 193807"/>
                <a:gd name="connsiteX166" fmla="*/ 22717 w 120116"/>
                <a:gd name="connsiteY166" fmla="*/ 132675 h 193807"/>
                <a:gd name="connsiteX167" fmla="*/ 23491 w 120116"/>
                <a:gd name="connsiteY167" fmla="*/ 134962 h 193807"/>
                <a:gd name="connsiteX168" fmla="*/ 20866 w 120116"/>
                <a:gd name="connsiteY168" fmla="*/ 137687 h 193807"/>
                <a:gd name="connsiteX169" fmla="*/ 17938 w 120116"/>
                <a:gd name="connsiteY169" fmla="*/ 139874 h 193807"/>
                <a:gd name="connsiteX170" fmla="*/ 14337 w 120116"/>
                <a:gd name="connsiteY170" fmla="*/ 142060 h 193807"/>
                <a:gd name="connsiteX171" fmla="*/ 11207 w 120116"/>
                <a:gd name="connsiteY171" fmla="*/ 144348 h 193807"/>
                <a:gd name="connsiteX172" fmla="*/ 6630 w 120116"/>
                <a:gd name="connsiteY172" fmla="*/ 145760 h 193807"/>
                <a:gd name="connsiteX173" fmla="*/ 1582 w 120116"/>
                <a:gd name="connsiteY173" fmla="*/ 149360 h 193807"/>
                <a:gd name="connsiteX174" fmla="*/ 0 w 120116"/>
                <a:gd name="connsiteY174" fmla="*/ 151311 h 193807"/>
                <a:gd name="connsiteX175" fmla="*/ 0 w 120116"/>
                <a:gd name="connsiteY175" fmla="*/ 157164 h 193807"/>
                <a:gd name="connsiteX176" fmla="*/ 774 w 120116"/>
                <a:gd name="connsiteY176" fmla="*/ 161168 h 193807"/>
                <a:gd name="connsiteX177" fmla="*/ 1414 w 120116"/>
                <a:gd name="connsiteY177" fmla="*/ 166920 h 193807"/>
                <a:gd name="connsiteX178" fmla="*/ 3500 w 120116"/>
                <a:gd name="connsiteY178" fmla="*/ 170721 h 193807"/>
                <a:gd name="connsiteX179" fmla="*/ 6966 w 120116"/>
                <a:gd name="connsiteY179" fmla="*/ 173984 h 193807"/>
                <a:gd name="connsiteX180" fmla="*/ 9693 w 120116"/>
                <a:gd name="connsiteY180" fmla="*/ 175935 h 193807"/>
                <a:gd name="connsiteX181" fmla="*/ 15683 w 120116"/>
                <a:gd name="connsiteY181" fmla="*/ 180813 h 193807"/>
                <a:gd name="connsiteX182" fmla="*/ 18510 w 120116"/>
                <a:gd name="connsiteY182" fmla="*/ 182327 h 193807"/>
                <a:gd name="connsiteX183" fmla="*/ 21774 w 120116"/>
                <a:gd name="connsiteY183" fmla="*/ 182327 h 193807"/>
                <a:gd name="connsiteX184" fmla="*/ 26991 w 120116"/>
                <a:gd name="connsiteY184" fmla="*/ 182327 h 193807"/>
                <a:gd name="connsiteX185" fmla="*/ 30121 w 120116"/>
                <a:gd name="connsiteY185" fmla="*/ 181553 h 193807"/>
                <a:gd name="connsiteX186" fmla="*/ 31837 w 120116"/>
                <a:gd name="connsiteY186" fmla="*/ 180578 h 193807"/>
                <a:gd name="connsiteX187" fmla="*/ 33150 w 120116"/>
                <a:gd name="connsiteY187" fmla="*/ 179938 h 193807"/>
                <a:gd name="connsiteX188" fmla="*/ 33890 w 120116"/>
                <a:gd name="connsiteY188" fmla="*/ 179837 h 193807"/>
                <a:gd name="connsiteX189" fmla="*/ 36179 w 120116"/>
                <a:gd name="connsiteY189" fmla="*/ 181721 h 193807"/>
                <a:gd name="connsiteX190" fmla="*/ 36616 w 120116"/>
                <a:gd name="connsiteY190" fmla="*/ 183134 h 193807"/>
                <a:gd name="connsiteX191" fmla="*/ 36616 w 120116"/>
                <a:gd name="connsiteY191" fmla="*/ 184951 h 193807"/>
                <a:gd name="connsiteX192" fmla="*/ 36616 w 120116"/>
                <a:gd name="connsiteY192" fmla="*/ 186633 h 193807"/>
                <a:gd name="connsiteX193" fmla="*/ 36616 w 120116"/>
                <a:gd name="connsiteY193" fmla="*/ 186700 h 193807"/>
                <a:gd name="connsiteX194" fmla="*/ 35910 w 120116"/>
                <a:gd name="connsiteY194" fmla="*/ 188584 h 193807"/>
                <a:gd name="connsiteX195" fmla="*/ 36751 w 120116"/>
                <a:gd name="connsiteY195" fmla="*/ 189593 h 193807"/>
                <a:gd name="connsiteX196" fmla="*/ 37861 w 120116"/>
                <a:gd name="connsiteY196" fmla="*/ 190098 h 193807"/>
                <a:gd name="connsiteX197" fmla="*/ 41025 w 120116"/>
                <a:gd name="connsiteY197" fmla="*/ 191443 h 193807"/>
                <a:gd name="connsiteX198" fmla="*/ 42506 w 120116"/>
                <a:gd name="connsiteY198" fmla="*/ 190501 h 193807"/>
                <a:gd name="connsiteX199" fmla="*/ 46746 w 120116"/>
                <a:gd name="connsiteY199" fmla="*/ 189189 h 193807"/>
                <a:gd name="connsiteX200" fmla="*/ 47386 w 120116"/>
                <a:gd name="connsiteY200" fmla="*/ 188113 h 193807"/>
                <a:gd name="connsiteX201" fmla="*/ 48597 w 120116"/>
                <a:gd name="connsiteY201" fmla="*/ 186364 h 193807"/>
                <a:gd name="connsiteX202" fmla="*/ 50886 w 120116"/>
                <a:gd name="connsiteY202" fmla="*/ 186162 h 193807"/>
                <a:gd name="connsiteX203" fmla="*/ 52939 w 120116"/>
                <a:gd name="connsiteY203" fmla="*/ 187676 h 193807"/>
                <a:gd name="connsiteX204" fmla="*/ 53275 w 120116"/>
                <a:gd name="connsiteY204" fmla="*/ 189728 h 193807"/>
                <a:gd name="connsiteX205" fmla="*/ 51424 w 120116"/>
                <a:gd name="connsiteY205" fmla="*/ 191443 h 193807"/>
                <a:gd name="connsiteX206" fmla="*/ 49708 w 120116"/>
                <a:gd name="connsiteY206" fmla="*/ 192352 h 193807"/>
                <a:gd name="connsiteX207" fmla="*/ 49809 w 120116"/>
                <a:gd name="connsiteY207" fmla="*/ 193125 h 193807"/>
                <a:gd name="connsiteX208" fmla="*/ 51896 w 120116"/>
                <a:gd name="connsiteY208" fmla="*/ 193764 h 193807"/>
                <a:gd name="connsiteX209" fmla="*/ 55496 w 120116"/>
                <a:gd name="connsiteY209" fmla="*/ 193764 h 193807"/>
                <a:gd name="connsiteX210" fmla="*/ 57886 w 120116"/>
                <a:gd name="connsiteY210" fmla="*/ 193798 h 193807"/>
                <a:gd name="connsiteX211" fmla="*/ 60208 w 120116"/>
                <a:gd name="connsiteY211" fmla="*/ 192991 h 193807"/>
                <a:gd name="connsiteX212" fmla="*/ 61790 w 120116"/>
                <a:gd name="connsiteY212" fmla="*/ 190905 h 193807"/>
                <a:gd name="connsiteX213" fmla="*/ 63001 w 120116"/>
                <a:gd name="connsiteY213" fmla="*/ 190367 h 193807"/>
                <a:gd name="connsiteX214" fmla="*/ 67040 w 120116"/>
                <a:gd name="connsiteY214" fmla="*/ 192318 h 193807"/>
                <a:gd name="connsiteX215" fmla="*/ 68655 w 120116"/>
                <a:gd name="connsiteY215" fmla="*/ 191679 h 193807"/>
                <a:gd name="connsiteX216" fmla="*/ 71819 w 120116"/>
                <a:gd name="connsiteY216" fmla="*/ 189929 h 193807"/>
                <a:gd name="connsiteX217" fmla="*/ 75958 w 120116"/>
                <a:gd name="connsiteY217" fmla="*/ 188315 h 193807"/>
                <a:gd name="connsiteX218" fmla="*/ 77708 w 120116"/>
                <a:gd name="connsiteY218" fmla="*/ 187978 h 193807"/>
                <a:gd name="connsiteX219" fmla="*/ 80872 w 120116"/>
                <a:gd name="connsiteY219" fmla="*/ 185590 h 193807"/>
                <a:gd name="connsiteX220" fmla="*/ 82117 w 120116"/>
                <a:gd name="connsiteY220" fmla="*/ 182562 h 193807"/>
                <a:gd name="connsiteX221" fmla="*/ 81949 w 120116"/>
                <a:gd name="connsiteY221" fmla="*/ 179400 h 193807"/>
                <a:gd name="connsiteX222" fmla="*/ 81949 w 120116"/>
                <a:gd name="connsiteY222" fmla="*/ 177987 h 193807"/>
                <a:gd name="connsiteX223" fmla="*/ 82723 w 120116"/>
                <a:gd name="connsiteY223" fmla="*/ 175162 h 193807"/>
                <a:gd name="connsiteX224" fmla="*/ 83699 w 120116"/>
                <a:gd name="connsiteY224" fmla="*/ 173412 h 193807"/>
                <a:gd name="connsiteX225" fmla="*/ 83699 w 120116"/>
                <a:gd name="connsiteY225" fmla="*/ 171024 h 193807"/>
                <a:gd name="connsiteX226" fmla="*/ 83261 w 120116"/>
                <a:gd name="connsiteY226" fmla="*/ 168736 h 193807"/>
                <a:gd name="connsiteX227" fmla="*/ 83059 w 120116"/>
                <a:gd name="connsiteY227" fmla="*/ 165372 h 193807"/>
                <a:gd name="connsiteX228" fmla="*/ 82824 w 120116"/>
                <a:gd name="connsiteY228" fmla="*/ 163085 h 193807"/>
                <a:gd name="connsiteX229" fmla="*/ 82824 w 120116"/>
                <a:gd name="connsiteY229" fmla="*/ 161571 h 193807"/>
                <a:gd name="connsiteX230" fmla="*/ 83261 w 120116"/>
                <a:gd name="connsiteY230" fmla="*/ 160360 h 193807"/>
                <a:gd name="connsiteX231" fmla="*/ 84136 w 120116"/>
                <a:gd name="connsiteY231" fmla="*/ 158611 h 193807"/>
                <a:gd name="connsiteX232" fmla="*/ 84776 w 120116"/>
                <a:gd name="connsiteY232" fmla="*/ 156761 h 193807"/>
                <a:gd name="connsiteX233" fmla="*/ 84877 w 120116"/>
                <a:gd name="connsiteY233" fmla="*/ 155247 h 193807"/>
                <a:gd name="connsiteX234" fmla="*/ 85651 w 120116"/>
                <a:gd name="connsiteY234" fmla="*/ 154372 h 193807"/>
                <a:gd name="connsiteX235" fmla="*/ 86526 w 120116"/>
                <a:gd name="connsiteY235" fmla="*/ 153733 h 193807"/>
                <a:gd name="connsiteX236" fmla="*/ 87838 w 120116"/>
                <a:gd name="connsiteY236" fmla="*/ 152859 h 193807"/>
                <a:gd name="connsiteX237" fmla="*/ 88916 w 120116"/>
                <a:gd name="connsiteY237" fmla="*/ 151984 h 193807"/>
                <a:gd name="connsiteX238" fmla="*/ 89891 w 120116"/>
                <a:gd name="connsiteY238" fmla="*/ 150672 h 193807"/>
                <a:gd name="connsiteX239" fmla="*/ 90665 w 120116"/>
                <a:gd name="connsiteY239" fmla="*/ 150033 h 193807"/>
                <a:gd name="connsiteX240" fmla="*/ 91877 w 120116"/>
                <a:gd name="connsiteY240" fmla="*/ 148620 h 193807"/>
                <a:gd name="connsiteX241" fmla="*/ 93627 w 120116"/>
                <a:gd name="connsiteY241" fmla="*/ 147207 h 193807"/>
                <a:gd name="connsiteX242" fmla="*/ 94165 w 120116"/>
                <a:gd name="connsiteY242" fmla="*/ 146770 h 193807"/>
                <a:gd name="connsiteX243" fmla="*/ 94939 w 120116"/>
                <a:gd name="connsiteY243" fmla="*/ 145996 h 193807"/>
                <a:gd name="connsiteX244" fmla="*/ 95713 w 120116"/>
                <a:gd name="connsiteY244" fmla="*/ 145660 h 193807"/>
                <a:gd name="connsiteX245" fmla="*/ 96151 w 120116"/>
                <a:gd name="connsiteY245" fmla="*/ 143877 h 193807"/>
                <a:gd name="connsiteX246" fmla="*/ 95916 w 120116"/>
                <a:gd name="connsiteY246" fmla="*/ 142363 h 193807"/>
                <a:gd name="connsiteX247" fmla="*/ 95916 w 120116"/>
                <a:gd name="connsiteY247" fmla="*/ 139705 h 193807"/>
                <a:gd name="connsiteX248" fmla="*/ 96420 w 120116"/>
                <a:gd name="connsiteY248" fmla="*/ 138259 h 193807"/>
                <a:gd name="connsiteX249" fmla="*/ 95512 w 120116"/>
                <a:gd name="connsiteY249" fmla="*/ 136577 h 193807"/>
                <a:gd name="connsiteX250" fmla="*/ 94165 w 120116"/>
                <a:gd name="connsiteY250" fmla="*/ 135568 h 193807"/>
                <a:gd name="connsiteX251" fmla="*/ 94165 w 120116"/>
                <a:gd name="connsiteY251" fmla="*/ 134491 h 193807"/>
                <a:gd name="connsiteX252" fmla="*/ 94165 w 120116"/>
                <a:gd name="connsiteY252" fmla="*/ 131531 h 193807"/>
                <a:gd name="connsiteX253" fmla="*/ 94165 w 120116"/>
                <a:gd name="connsiteY253" fmla="*/ 129277 h 193807"/>
                <a:gd name="connsiteX254" fmla="*/ 94165 w 120116"/>
                <a:gd name="connsiteY254" fmla="*/ 125812 h 193807"/>
                <a:gd name="connsiteX255" fmla="*/ 94939 w 120116"/>
                <a:gd name="connsiteY255" fmla="*/ 124938 h 193807"/>
                <a:gd name="connsiteX256" fmla="*/ 95882 w 120116"/>
                <a:gd name="connsiteY256" fmla="*/ 124366 h 193807"/>
                <a:gd name="connsiteX257" fmla="*/ 99079 w 120116"/>
                <a:gd name="connsiteY257" fmla="*/ 122919 h 193807"/>
                <a:gd name="connsiteX258" fmla="*/ 100223 w 120116"/>
                <a:gd name="connsiteY258" fmla="*/ 122112 h 193807"/>
                <a:gd name="connsiteX259" fmla="*/ 103353 w 120116"/>
                <a:gd name="connsiteY259" fmla="*/ 121372 h 193807"/>
                <a:gd name="connsiteX260" fmla="*/ 106382 w 120116"/>
                <a:gd name="connsiteY260" fmla="*/ 119623 h 193807"/>
                <a:gd name="connsiteX261" fmla="*/ 107964 w 120116"/>
                <a:gd name="connsiteY261" fmla="*/ 120194 h 193807"/>
                <a:gd name="connsiteX262" fmla="*/ 110151 w 120116"/>
                <a:gd name="connsiteY262" fmla="*/ 117066 h 193807"/>
                <a:gd name="connsiteX263" fmla="*/ 111599 w 120116"/>
                <a:gd name="connsiteY263" fmla="*/ 114879 h 193807"/>
                <a:gd name="connsiteX264" fmla="*/ 116007 w 120116"/>
                <a:gd name="connsiteY264" fmla="*/ 114308 h 193807"/>
                <a:gd name="connsiteX265" fmla="*/ 118026 w 120116"/>
                <a:gd name="connsiteY265" fmla="*/ 113063 h 193807"/>
                <a:gd name="connsiteX266" fmla="*/ 118565 w 120116"/>
                <a:gd name="connsiteY266" fmla="*/ 112087 h 193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</a:cxnLst>
              <a:rect l="l" t="t" r="r" b="b"/>
              <a:pathLst>
                <a:path w="120116" h="193807">
                  <a:moveTo>
                    <a:pt x="118565" y="112087"/>
                  </a:moveTo>
                  <a:lnTo>
                    <a:pt x="120012" y="108656"/>
                  </a:lnTo>
                  <a:lnTo>
                    <a:pt x="120012" y="104888"/>
                  </a:lnTo>
                  <a:cubicBezTo>
                    <a:pt x="120012" y="104888"/>
                    <a:pt x="120248" y="102702"/>
                    <a:pt x="120012" y="102399"/>
                  </a:cubicBezTo>
                  <a:cubicBezTo>
                    <a:pt x="119810" y="102063"/>
                    <a:pt x="118161" y="100112"/>
                    <a:pt x="118161" y="100112"/>
                  </a:cubicBezTo>
                  <a:lnTo>
                    <a:pt x="116209" y="98800"/>
                  </a:lnTo>
                  <a:lnTo>
                    <a:pt x="113921" y="98800"/>
                  </a:lnTo>
                  <a:cubicBezTo>
                    <a:pt x="113921" y="98800"/>
                    <a:pt x="114358" y="98161"/>
                    <a:pt x="113921" y="97151"/>
                  </a:cubicBezTo>
                  <a:cubicBezTo>
                    <a:pt x="113483" y="96176"/>
                    <a:pt x="114695" y="95738"/>
                    <a:pt x="113921" y="95301"/>
                  </a:cubicBezTo>
                  <a:cubicBezTo>
                    <a:pt x="113147" y="94864"/>
                    <a:pt x="110892" y="94225"/>
                    <a:pt x="110656" y="94527"/>
                  </a:cubicBezTo>
                  <a:cubicBezTo>
                    <a:pt x="110454" y="94864"/>
                    <a:pt x="109243" y="95402"/>
                    <a:pt x="108502" y="95738"/>
                  </a:cubicBezTo>
                  <a:cubicBezTo>
                    <a:pt x="107728" y="96075"/>
                    <a:pt x="106113" y="95940"/>
                    <a:pt x="105675" y="96277"/>
                  </a:cubicBezTo>
                  <a:cubicBezTo>
                    <a:pt x="105238" y="96613"/>
                    <a:pt x="102646" y="96176"/>
                    <a:pt x="102646" y="95301"/>
                  </a:cubicBezTo>
                  <a:cubicBezTo>
                    <a:pt x="102646" y="94426"/>
                    <a:pt x="102646" y="90962"/>
                    <a:pt x="102646" y="90962"/>
                  </a:cubicBezTo>
                  <a:lnTo>
                    <a:pt x="104598" y="89448"/>
                  </a:lnTo>
                  <a:cubicBezTo>
                    <a:pt x="104598" y="89448"/>
                    <a:pt x="105036" y="87699"/>
                    <a:pt x="105137" y="87396"/>
                  </a:cubicBezTo>
                  <a:cubicBezTo>
                    <a:pt x="105238" y="87059"/>
                    <a:pt x="106012" y="85445"/>
                    <a:pt x="106012" y="85445"/>
                  </a:cubicBezTo>
                  <a:lnTo>
                    <a:pt x="105103" y="83292"/>
                  </a:lnTo>
                  <a:lnTo>
                    <a:pt x="105978" y="80971"/>
                  </a:lnTo>
                  <a:lnTo>
                    <a:pt x="106281" y="76497"/>
                  </a:lnTo>
                  <a:lnTo>
                    <a:pt x="104093" y="73604"/>
                  </a:lnTo>
                  <a:lnTo>
                    <a:pt x="102646" y="71417"/>
                  </a:lnTo>
                  <a:lnTo>
                    <a:pt x="95848" y="69971"/>
                  </a:lnTo>
                  <a:lnTo>
                    <a:pt x="91776" y="70711"/>
                  </a:lnTo>
                  <a:cubicBezTo>
                    <a:pt x="91776" y="70711"/>
                    <a:pt x="88579" y="74344"/>
                    <a:pt x="88141" y="74478"/>
                  </a:cubicBezTo>
                  <a:cubicBezTo>
                    <a:pt x="87704" y="74613"/>
                    <a:pt x="85247" y="76799"/>
                    <a:pt x="85247" y="76799"/>
                  </a:cubicBezTo>
                  <a:lnTo>
                    <a:pt x="85247" y="78818"/>
                  </a:lnTo>
                  <a:cubicBezTo>
                    <a:pt x="85247" y="78818"/>
                    <a:pt x="84238" y="79827"/>
                    <a:pt x="83497" y="79120"/>
                  </a:cubicBezTo>
                  <a:cubicBezTo>
                    <a:pt x="82757" y="78414"/>
                    <a:pt x="81814" y="78414"/>
                    <a:pt x="81377" y="77977"/>
                  </a:cubicBezTo>
                  <a:cubicBezTo>
                    <a:pt x="80939" y="77539"/>
                    <a:pt x="79997" y="77237"/>
                    <a:pt x="79997" y="75521"/>
                  </a:cubicBezTo>
                  <a:cubicBezTo>
                    <a:pt x="79997" y="73772"/>
                    <a:pt x="79997" y="70172"/>
                    <a:pt x="79997" y="70172"/>
                  </a:cubicBezTo>
                  <a:lnTo>
                    <a:pt x="80704" y="70038"/>
                  </a:lnTo>
                  <a:cubicBezTo>
                    <a:pt x="80704" y="70038"/>
                    <a:pt x="81276" y="67010"/>
                    <a:pt x="81276" y="66573"/>
                  </a:cubicBezTo>
                  <a:cubicBezTo>
                    <a:pt x="81276" y="66136"/>
                    <a:pt x="81713" y="63983"/>
                    <a:pt x="80704" y="63814"/>
                  </a:cubicBezTo>
                  <a:cubicBezTo>
                    <a:pt x="79694" y="63680"/>
                    <a:pt x="75858" y="63814"/>
                    <a:pt x="75858" y="63814"/>
                  </a:cubicBezTo>
                  <a:lnTo>
                    <a:pt x="74780" y="60181"/>
                  </a:lnTo>
                  <a:lnTo>
                    <a:pt x="74780" y="56279"/>
                  </a:lnTo>
                  <a:lnTo>
                    <a:pt x="71314" y="52579"/>
                  </a:lnTo>
                  <a:lnTo>
                    <a:pt x="71314" y="51065"/>
                  </a:lnTo>
                  <a:lnTo>
                    <a:pt x="71314" y="45851"/>
                  </a:lnTo>
                  <a:lnTo>
                    <a:pt x="69127" y="44102"/>
                  </a:lnTo>
                  <a:lnTo>
                    <a:pt x="67174" y="41713"/>
                  </a:lnTo>
                  <a:cubicBezTo>
                    <a:pt x="67174" y="41713"/>
                    <a:pt x="67377" y="40839"/>
                    <a:pt x="67174" y="39964"/>
                  </a:cubicBezTo>
                  <a:cubicBezTo>
                    <a:pt x="66939" y="39089"/>
                    <a:pt x="67545" y="36701"/>
                    <a:pt x="67545" y="36701"/>
                  </a:cubicBezTo>
                  <a:lnTo>
                    <a:pt x="67814" y="35019"/>
                  </a:lnTo>
                  <a:lnTo>
                    <a:pt x="67814" y="33640"/>
                  </a:lnTo>
                  <a:lnTo>
                    <a:pt x="67747" y="32496"/>
                  </a:lnTo>
                  <a:lnTo>
                    <a:pt x="68689" y="31722"/>
                  </a:lnTo>
                  <a:lnTo>
                    <a:pt x="69934" y="31016"/>
                  </a:lnTo>
                  <a:lnTo>
                    <a:pt x="70439" y="31016"/>
                  </a:lnTo>
                  <a:lnTo>
                    <a:pt x="71751" y="31756"/>
                  </a:lnTo>
                  <a:cubicBezTo>
                    <a:pt x="71751" y="31756"/>
                    <a:pt x="73367" y="33000"/>
                    <a:pt x="73569" y="33068"/>
                  </a:cubicBezTo>
                  <a:cubicBezTo>
                    <a:pt x="73804" y="33135"/>
                    <a:pt x="74444" y="33707"/>
                    <a:pt x="74444" y="33707"/>
                  </a:cubicBezTo>
                  <a:lnTo>
                    <a:pt x="76194" y="34212"/>
                  </a:lnTo>
                  <a:lnTo>
                    <a:pt x="78078" y="34952"/>
                  </a:lnTo>
                  <a:cubicBezTo>
                    <a:pt x="78078" y="34952"/>
                    <a:pt x="80333" y="35086"/>
                    <a:pt x="80771" y="34817"/>
                  </a:cubicBezTo>
                  <a:cubicBezTo>
                    <a:pt x="81209" y="34514"/>
                    <a:pt x="81579" y="33875"/>
                    <a:pt x="81848" y="33808"/>
                  </a:cubicBezTo>
                  <a:cubicBezTo>
                    <a:pt x="82151" y="33741"/>
                    <a:pt x="82218" y="32664"/>
                    <a:pt x="82420" y="32664"/>
                  </a:cubicBezTo>
                  <a:cubicBezTo>
                    <a:pt x="82655" y="32664"/>
                    <a:pt x="84304" y="32799"/>
                    <a:pt x="84304" y="32799"/>
                  </a:cubicBezTo>
                  <a:lnTo>
                    <a:pt x="86122" y="32799"/>
                  </a:lnTo>
                  <a:lnTo>
                    <a:pt x="87502" y="33371"/>
                  </a:lnTo>
                  <a:lnTo>
                    <a:pt x="87872" y="34750"/>
                  </a:lnTo>
                  <a:lnTo>
                    <a:pt x="90060" y="34952"/>
                  </a:lnTo>
                  <a:lnTo>
                    <a:pt x="91136" y="34245"/>
                  </a:lnTo>
                  <a:cubicBezTo>
                    <a:pt x="91136" y="34245"/>
                    <a:pt x="91742" y="33707"/>
                    <a:pt x="91810" y="33539"/>
                  </a:cubicBezTo>
                  <a:cubicBezTo>
                    <a:pt x="91877" y="33371"/>
                    <a:pt x="92584" y="32328"/>
                    <a:pt x="92584" y="31890"/>
                  </a:cubicBezTo>
                  <a:cubicBezTo>
                    <a:pt x="92584" y="31453"/>
                    <a:pt x="91944" y="29670"/>
                    <a:pt x="91944" y="29670"/>
                  </a:cubicBezTo>
                  <a:lnTo>
                    <a:pt x="90194" y="28594"/>
                  </a:lnTo>
                  <a:cubicBezTo>
                    <a:pt x="90194" y="28594"/>
                    <a:pt x="88612" y="27887"/>
                    <a:pt x="88612" y="27719"/>
                  </a:cubicBezTo>
                  <a:cubicBezTo>
                    <a:pt x="88612" y="27551"/>
                    <a:pt x="87973" y="26643"/>
                    <a:pt x="87906" y="26407"/>
                  </a:cubicBezTo>
                  <a:cubicBezTo>
                    <a:pt x="87838" y="26205"/>
                    <a:pt x="88377" y="25263"/>
                    <a:pt x="88545" y="25062"/>
                  </a:cubicBezTo>
                  <a:cubicBezTo>
                    <a:pt x="88713" y="24860"/>
                    <a:pt x="89622" y="23884"/>
                    <a:pt x="89622" y="23884"/>
                  </a:cubicBezTo>
                  <a:lnTo>
                    <a:pt x="88848" y="22808"/>
                  </a:lnTo>
                  <a:lnTo>
                    <a:pt x="85684" y="22370"/>
                  </a:lnTo>
                  <a:lnTo>
                    <a:pt x="84372" y="22370"/>
                  </a:lnTo>
                  <a:lnTo>
                    <a:pt x="81511" y="20688"/>
                  </a:lnTo>
                  <a:cubicBezTo>
                    <a:pt x="81511" y="20688"/>
                    <a:pt x="81949" y="19343"/>
                    <a:pt x="82218" y="19040"/>
                  </a:cubicBezTo>
                  <a:cubicBezTo>
                    <a:pt x="82487" y="18771"/>
                    <a:pt x="84574" y="17358"/>
                    <a:pt x="84843" y="17257"/>
                  </a:cubicBezTo>
                  <a:cubicBezTo>
                    <a:pt x="85113" y="17156"/>
                    <a:pt x="87939" y="16887"/>
                    <a:pt x="87939" y="16887"/>
                  </a:cubicBezTo>
                  <a:lnTo>
                    <a:pt x="88478" y="11942"/>
                  </a:lnTo>
                  <a:lnTo>
                    <a:pt x="87872" y="9890"/>
                  </a:lnTo>
                  <a:lnTo>
                    <a:pt x="85920" y="8208"/>
                  </a:lnTo>
                  <a:cubicBezTo>
                    <a:pt x="85920" y="8208"/>
                    <a:pt x="81612" y="8006"/>
                    <a:pt x="81242" y="8208"/>
                  </a:cubicBezTo>
                  <a:cubicBezTo>
                    <a:pt x="80872" y="8410"/>
                    <a:pt x="78785" y="11135"/>
                    <a:pt x="78348" y="11471"/>
                  </a:cubicBezTo>
                  <a:cubicBezTo>
                    <a:pt x="77910" y="11808"/>
                    <a:pt x="77910" y="12447"/>
                    <a:pt x="76598" y="12009"/>
                  </a:cubicBezTo>
                  <a:cubicBezTo>
                    <a:pt x="75285" y="11572"/>
                    <a:pt x="73973" y="10697"/>
                    <a:pt x="73535" y="9688"/>
                  </a:cubicBezTo>
                  <a:cubicBezTo>
                    <a:pt x="73098" y="8645"/>
                    <a:pt x="72021" y="5719"/>
                    <a:pt x="71785" y="5281"/>
                  </a:cubicBezTo>
                  <a:cubicBezTo>
                    <a:pt x="71550" y="4844"/>
                    <a:pt x="69227" y="3936"/>
                    <a:pt x="69227" y="3936"/>
                  </a:cubicBezTo>
                  <a:cubicBezTo>
                    <a:pt x="69227" y="3936"/>
                    <a:pt x="68252" y="2725"/>
                    <a:pt x="67814" y="2624"/>
                  </a:cubicBezTo>
                  <a:cubicBezTo>
                    <a:pt x="67377" y="2523"/>
                    <a:pt x="60646" y="0"/>
                    <a:pt x="60646" y="0"/>
                  </a:cubicBezTo>
                  <a:cubicBezTo>
                    <a:pt x="60646" y="0"/>
                    <a:pt x="58054" y="3028"/>
                    <a:pt x="56742" y="3162"/>
                  </a:cubicBezTo>
                  <a:cubicBezTo>
                    <a:pt x="55429" y="3263"/>
                    <a:pt x="52400" y="5012"/>
                    <a:pt x="52165" y="5450"/>
                  </a:cubicBezTo>
                  <a:cubicBezTo>
                    <a:pt x="51962" y="5887"/>
                    <a:pt x="52165" y="9486"/>
                    <a:pt x="52165" y="9486"/>
                  </a:cubicBezTo>
                  <a:lnTo>
                    <a:pt x="49539" y="13086"/>
                  </a:lnTo>
                  <a:lnTo>
                    <a:pt x="46948" y="15811"/>
                  </a:lnTo>
                  <a:lnTo>
                    <a:pt x="45299" y="17997"/>
                  </a:lnTo>
                  <a:lnTo>
                    <a:pt x="42910" y="18973"/>
                  </a:lnTo>
                  <a:lnTo>
                    <a:pt x="42203" y="20049"/>
                  </a:lnTo>
                  <a:lnTo>
                    <a:pt x="41698" y="22101"/>
                  </a:lnTo>
                  <a:lnTo>
                    <a:pt x="41698" y="23279"/>
                  </a:lnTo>
                  <a:lnTo>
                    <a:pt x="40621" y="26542"/>
                  </a:lnTo>
                  <a:cubicBezTo>
                    <a:pt x="40621" y="26542"/>
                    <a:pt x="40083" y="27080"/>
                    <a:pt x="39107" y="27181"/>
                  </a:cubicBezTo>
                  <a:cubicBezTo>
                    <a:pt x="38130" y="27282"/>
                    <a:pt x="35405" y="27181"/>
                    <a:pt x="35068" y="27282"/>
                  </a:cubicBezTo>
                  <a:cubicBezTo>
                    <a:pt x="34731" y="27383"/>
                    <a:pt x="33655" y="29132"/>
                    <a:pt x="33655" y="29132"/>
                  </a:cubicBezTo>
                  <a:lnTo>
                    <a:pt x="32780" y="33808"/>
                  </a:lnTo>
                  <a:lnTo>
                    <a:pt x="32140" y="37710"/>
                  </a:lnTo>
                  <a:lnTo>
                    <a:pt x="33991" y="43799"/>
                  </a:lnTo>
                  <a:lnTo>
                    <a:pt x="34967" y="47062"/>
                  </a:lnTo>
                  <a:lnTo>
                    <a:pt x="38770" y="47936"/>
                  </a:lnTo>
                  <a:cubicBezTo>
                    <a:pt x="38770" y="47936"/>
                    <a:pt x="40284" y="48475"/>
                    <a:pt x="40722" y="48710"/>
                  </a:cubicBezTo>
                  <a:cubicBezTo>
                    <a:pt x="41159" y="48912"/>
                    <a:pt x="42573" y="51334"/>
                    <a:pt x="42573" y="51334"/>
                  </a:cubicBezTo>
                  <a:lnTo>
                    <a:pt x="42674" y="53487"/>
                  </a:lnTo>
                  <a:lnTo>
                    <a:pt x="40722" y="54900"/>
                  </a:lnTo>
                  <a:cubicBezTo>
                    <a:pt x="40722" y="54900"/>
                    <a:pt x="37996" y="54900"/>
                    <a:pt x="37659" y="55236"/>
                  </a:cubicBezTo>
                  <a:cubicBezTo>
                    <a:pt x="37323" y="55573"/>
                    <a:pt x="35606" y="56178"/>
                    <a:pt x="35606" y="56178"/>
                  </a:cubicBezTo>
                  <a:lnTo>
                    <a:pt x="33318" y="59038"/>
                  </a:lnTo>
                  <a:lnTo>
                    <a:pt x="31265" y="61863"/>
                  </a:lnTo>
                  <a:lnTo>
                    <a:pt x="34731" y="63613"/>
                  </a:lnTo>
                  <a:lnTo>
                    <a:pt x="37996" y="64050"/>
                  </a:lnTo>
                  <a:cubicBezTo>
                    <a:pt x="37996" y="64050"/>
                    <a:pt x="39073" y="65227"/>
                    <a:pt x="39409" y="65463"/>
                  </a:cubicBezTo>
                  <a:cubicBezTo>
                    <a:pt x="39746" y="65665"/>
                    <a:pt x="40284" y="69163"/>
                    <a:pt x="40284" y="69163"/>
                  </a:cubicBezTo>
                  <a:lnTo>
                    <a:pt x="39308" y="73402"/>
                  </a:lnTo>
                  <a:lnTo>
                    <a:pt x="38434" y="76328"/>
                  </a:lnTo>
                  <a:cubicBezTo>
                    <a:pt x="38434" y="76328"/>
                    <a:pt x="35943" y="77539"/>
                    <a:pt x="35505" y="77539"/>
                  </a:cubicBezTo>
                  <a:cubicBezTo>
                    <a:pt x="35068" y="77539"/>
                    <a:pt x="32914" y="76227"/>
                    <a:pt x="32477" y="76127"/>
                  </a:cubicBezTo>
                  <a:cubicBezTo>
                    <a:pt x="32039" y="76026"/>
                    <a:pt x="29111" y="73536"/>
                    <a:pt x="29111" y="73536"/>
                  </a:cubicBezTo>
                  <a:lnTo>
                    <a:pt x="25510" y="73738"/>
                  </a:lnTo>
                  <a:lnTo>
                    <a:pt x="21371" y="72325"/>
                  </a:lnTo>
                  <a:cubicBezTo>
                    <a:pt x="21371" y="72325"/>
                    <a:pt x="20394" y="71350"/>
                    <a:pt x="20294" y="70912"/>
                  </a:cubicBezTo>
                  <a:cubicBezTo>
                    <a:pt x="20193" y="70475"/>
                    <a:pt x="20394" y="69163"/>
                    <a:pt x="20832" y="68860"/>
                  </a:cubicBezTo>
                  <a:cubicBezTo>
                    <a:pt x="21270" y="68524"/>
                    <a:pt x="21707" y="68322"/>
                    <a:pt x="22010" y="67111"/>
                  </a:cubicBezTo>
                  <a:cubicBezTo>
                    <a:pt x="22347" y="65900"/>
                    <a:pt x="22683" y="64925"/>
                    <a:pt x="22683" y="64487"/>
                  </a:cubicBezTo>
                  <a:cubicBezTo>
                    <a:pt x="22683" y="64050"/>
                    <a:pt x="22952" y="62301"/>
                    <a:pt x="22952" y="62301"/>
                  </a:cubicBezTo>
                  <a:cubicBezTo>
                    <a:pt x="22952" y="62301"/>
                    <a:pt x="22683" y="60989"/>
                    <a:pt x="22649" y="60921"/>
                  </a:cubicBezTo>
                  <a:cubicBezTo>
                    <a:pt x="22616" y="60854"/>
                    <a:pt x="21270" y="59912"/>
                    <a:pt x="21169" y="59879"/>
                  </a:cubicBezTo>
                  <a:cubicBezTo>
                    <a:pt x="21068" y="59845"/>
                    <a:pt x="19957" y="58937"/>
                    <a:pt x="19890" y="58937"/>
                  </a:cubicBezTo>
                  <a:cubicBezTo>
                    <a:pt x="19823" y="58937"/>
                    <a:pt x="18241" y="58937"/>
                    <a:pt x="18241" y="58937"/>
                  </a:cubicBezTo>
                  <a:cubicBezTo>
                    <a:pt x="18241" y="58937"/>
                    <a:pt x="16861" y="59374"/>
                    <a:pt x="16760" y="59374"/>
                  </a:cubicBezTo>
                  <a:cubicBezTo>
                    <a:pt x="16659" y="59374"/>
                    <a:pt x="15851" y="59879"/>
                    <a:pt x="15851" y="59879"/>
                  </a:cubicBezTo>
                  <a:cubicBezTo>
                    <a:pt x="15851" y="59879"/>
                    <a:pt x="15817" y="61056"/>
                    <a:pt x="15851" y="61157"/>
                  </a:cubicBezTo>
                  <a:cubicBezTo>
                    <a:pt x="15919" y="61258"/>
                    <a:pt x="16020" y="62435"/>
                    <a:pt x="16020" y="62435"/>
                  </a:cubicBezTo>
                  <a:cubicBezTo>
                    <a:pt x="16020" y="62435"/>
                    <a:pt x="15986" y="63343"/>
                    <a:pt x="15986" y="63545"/>
                  </a:cubicBezTo>
                  <a:cubicBezTo>
                    <a:pt x="15986" y="63781"/>
                    <a:pt x="15817" y="65160"/>
                    <a:pt x="15817" y="65160"/>
                  </a:cubicBezTo>
                  <a:cubicBezTo>
                    <a:pt x="15817" y="65160"/>
                    <a:pt x="15817" y="66741"/>
                    <a:pt x="15817" y="66943"/>
                  </a:cubicBezTo>
                  <a:cubicBezTo>
                    <a:pt x="15817" y="67145"/>
                    <a:pt x="15145" y="68995"/>
                    <a:pt x="15111" y="69130"/>
                  </a:cubicBezTo>
                  <a:cubicBezTo>
                    <a:pt x="15077" y="69230"/>
                    <a:pt x="14067" y="70744"/>
                    <a:pt x="14067" y="70744"/>
                  </a:cubicBezTo>
                  <a:lnTo>
                    <a:pt x="12486" y="73099"/>
                  </a:lnTo>
                  <a:lnTo>
                    <a:pt x="10534" y="74344"/>
                  </a:lnTo>
                  <a:lnTo>
                    <a:pt x="8649" y="77539"/>
                  </a:lnTo>
                  <a:cubicBezTo>
                    <a:pt x="8649" y="77539"/>
                    <a:pt x="7572" y="79322"/>
                    <a:pt x="7438" y="79726"/>
                  </a:cubicBezTo>
                  <a:cubicBezTo>
                    <a:pt x="7270" y="80096"/>
                    <a:pt x="6933" y="83191"/>
                    <a:pt x="6933" y="83191"/>
                  </a:cubicBezTo>
                  <a:lnTo>
                    <a:pt x="6933" y="85848"/>
                  </a:lnTo>
                  <a:cubicBezTo>
                    <a:pt x="6933" y="85848"/>
                    <a:pt x="6596" y="87799"/>
                    <a:pt x="6933" y="88136"/>
                  </a:cubicBezTo>
                  <a:cubicBezTo>
                    <a:pt x="7270" y="88472"/>
                    <a:pt x="8077" y="90322"/>
                    <a:pt x="8077" y="90322"/>
                  </a:cubicBezTo>
                  <a:lnTo>
                    <a:pt x="10096" y="93249"/>
                  </a:lnTo>
                  <a:cubicBezTo>
                    <a:pt x="10096" y="93249"/>
                    <a:pt x="10635" y="97488"/>
                    <a:pt x="10635" y="97925"/>
                  </a:cubicBezTo>
                  <a:cubicBezTo>
                    <a:pt x="10635" y="98362"/>
                    <a:pt x="7101" y="101289"/>
                    <a:pt x="6798" y="101524"/>
                  </a:cubicBezTo>
                  <a:cubicBezTo>
                    <a:pt x="6495" y="101726"/>
                    <a:pt x="4779" y="103375"/>
                    <a:pt x="4543" y="103913"/>
                  </a:cubicBezTo>
                  <a:cubicBezTo>
                    <a:pt x="4342" y="104451"/>
                    <a:pt x="3029" y="106739"/>
                    <a:pt x="4543" y="107378"/>
                  </a:cubicBezTo>
                  <a:cubicBezTo>
                    <a:pt x="6058" y="108017"/>
                    <a:pt x="9760" y="111078"/>
                    <a:pt x="10197" y="111078"/>
                  </a:cubicBezTo>
                  <a:cubicBezTo>
                    <a:pt x="10635" y="111078"/>
                    <a:pt x="12385" y="114240"/>
                    <a:pt x="12385" y="114240"/>
                  </a:cubicBezTo>
                  <a:cubicBezTo>
                    <a:pt x="12385" y="114240"/>
                    <a:pt x="11745" y="117268"/>
                    <a:pt x="11207" y="117705"/>
                  </a:cubicBezTo>
                  <a:cubicBezTo>
                    <a:pt x="10669" y="118142"/>
                    <a:pt x="9894" y="120093"/>
                    <a:pt x="9457" y="120766"/>
                  </a:cubicBezTo>
                  <a:cubicBezTo>
                    <a:pt x="9019" y="121405"/>
                    <a:pt x="9255" y="124130"/>
                    <a:pt x="9894" y="124769"/>
                  </a:cubicBezTo>
                  <a:cubicBezTo>
                    <a:pt x="10534" y="125409"/>
                    <a:pt x="13361" y="128133"/>
                    <a:pt x="13697" y="128470"/>
                  </a:cubicBezTo>
                  <a:cubicBezTo>
                    <a:pt x="14034" y="128806"/>
                    <a:pt x="19116" y="131397"/>
                    <a:pt x="19789" y="131497"/>
                  </a:cubicBezTo>
                  <a:cubicBezTo>
                    <a:pt x="20428" y="131598"/>
                    <a:pt x="22717" y="132675"/>
                    <a:pt x="22717" y="132675"/>
                  </a:cubicBezTo>
                  <a:lnTo>
                    <a:pt x="23491" y="134962"/>
                  </a:lnTo>
                  <a:cubicBezTo>
                    <a:pt x="23491" y="134962"/>
                    <a:pt x="21202" y="137351"/>
                    <a:pt x="20866" y="137687"/>
                  </a:cubicBezTo>
                  <a:cubicBezTo>
                    <a:pt x="20529" y="138023"/>
                    <a:pt x="18274" y="139537"/>
                    <a:pt x="17938" y="139874"/>
                  </a:cubicBezTo>
                  <a:cubicBezTo>
                    <a:pt x="17601" y="140210"/>
                    <a:pt x="15010" y="141287"/>
                    <a:pt x="14337" y="142060"/>
                  </a:cubicBezTo>
                  <a:cubicBezTo>
                    <a:pt x="13697" y="142834"/>
                    <a:pt x="12385" y="143810"/>
                    <a:pt x="11207" y="144348"/>
                  </a:cubicBezTo>
                  <a:cubicBezTo>
                    <a:pt x="9995" y="144886"/>
                    <a:pt x="6630" y="145760"/>
                    <a:pt x="6630" y="145760"/>
                  </a:cubicBezTo>
                  <a:lnTo>
                    <a:pt x="1582" y="149360"/>
                  </a:lnTo>
                  <a:lnTo>
                    <a:pt x="0" y="151311"/>
                  </a:lnTo>
                  <a:lnTo>
                    <a:pt x="0" y="157164"/>
                  </a:lnTo>
                  <a:cubicBezTo>
                    <a:pt x="0" y="157164"/>
                    <a:pt x="774" y="160764"/>
                    <a:pt x="774" y="161168"/>
                  </a:cubicBezTo>
                  <a:cubicBezTo>
                    <a:pt x="774" y="161605"/>
                    <a:pt x="1414" y="166382"/>
                    <a:pt x="1414" y="166920"/>
                  </a:cubicBezTo>
                  <a:cubicBezTo>
                    <a:pt x="1414" y="167458"/>
                    <a:pt x="3500" y="170721"/>
                    <a:pt x="3500" y="170721"/>
                  </a:cubicBezTo>
                  <a:cubicBezTo>
                    <a:pt x="3500" y="170721"/>
                    <a:pt x="6529" y="173648"/>
                    <a:pt x="6966" y="173984"/>
                  </a:cubicBezTo>
                  <a:cubicBezTo>
                    <a:pt x="7404" y="174321"/>
                    <a:pt x="8716" y="175397"/>
                    <a:pt x="9693" y="175935"/>
                  </a:cubicBezTo>
                  <a:cubicBezTo>
                    <a:pt x="10669" y="176473"/>
                    <a:pt x="15346" y="180510"/>
                    <a:pt x="15683" y="180813"/>
                  </a:cubicBezTo>
                  <a:cubicBezTo>
                    <a:pt x="16020" y="181149"/>
                    <a:pt x="17433" y="182327"/>
                    <a:pt x="18510" y="182327"/>
                  </a:cubicBezTo>
                  <a:cubicBezTo>
                    <a:pt x="19587" y="182327"/>
                    <a:pt x="21774" y="182327"/>
                    <a:pt x="21774" y="182327"/>
                  </a:cubicBezTo>
                  <a:cubicBezTo>
                    <a:pt x="21774" y="182327"/>
                    <a:pt x="25039" y="182428"/>
                    <a:pt x="26991" y="182327"/>
                  </a:cubicBezTo>
                  <a:cubicBezTo>
                    <a:pt x="28943" y="182226"/>
                    <a:pt x="30121" y="181553"/>
                    <a:pt x="30121" y="181553"/>
                  </a:cubicBezTo>
                  <a:lnTo>
                    <a:pt x="31837" y="180578"/>
                  </a:lnTo>
                  <a:cubicBezTo>
                    <a:pt x="31837" y="180578"/>
                    <a:pt x="32914" y="180006"/>
                    <a:pt x="33150" y="179938"/>
                  </a:cubicBezTo>
                  <a:cubicBezTo>
                    <a:pt x="33385" y="179871"/>
                    <a:pt x="33587" y="179770"/>
                    <a:pt x="33890" y="179837"/>
                  </a:cubicBezTo>
                  <a:cubicBezTo>
                    <a:pt x="34159" y="179905"/>
                    <a:pt x="36179" y="181721"/>
                    <a:pt x="36179" y="181721"/>
                  </a:cubicBezTo>
                  <a:lnTo>
                    <a:pt x="36616" y="183134"/>
                  </a:lnTo>
                  <a:lnTo>
                    <a:pt x="36616" y="184951"/>
                  </a:lnTo>
                  <a:lnTo>
                    <a:pt x="36616" y="186633"/>
                  </a:lnTo>
                  <a:lnTo>
                    <a:pt x="36616" y="186700"/>
                  </a:lnTo>
                  <a:cubicBezTo>
                    <a:pt x="36616" y="186700"/>
                    <a:pt x="35910" y="188449"/>
                    <a:pt x="35910" y="188584"/>
                  </a:cubicBezTo>
                  <a:cubicBezTo>
                    <a:pt x="35910" y="188718"/>
                    <a:pt x="36111" y="189391"/>
                    <a:pt x="36751" y="189593"/>
                  </a:cubicBezTo>
                  <a:cubicBezTo>
                    <a:pt x="37357" y="189795"/>
                    <a:pt x="35842" y="189290"/>
                    <a:pt x="37861" y="190098"/>
                  </a:cubicBezTo>
                  <a:cubicBezTo>
                    <a:pt x="39881" y="190905"/>
                    <a:pt x="41025" y="191443"/>
                    <a:pt x="41025" y="191443"/>
                  </a:cubicBezTo>
                  <a:lnTo>
                    <a:pt x="42506" y="190501"/>
                  </a:lnTo>
                  <a:lnTo>
                    <a:pt x="46746" y="189189"/>
                  </a:lnTo>
                  <a:lnTo>
                    <a:pt x="47386" y="188113"/>
                  </a:lnTo>
                  <a:cubicBezTo>
                    <a:pt x="47386" y="188113"/>
                    <a:pt x="48126" y="186364"/>
                    <a:pt x="48597" y="186364"/>
                  </a:cubicBezTo>
                  <a:cubicBezTo>
                    <a:pt x="49035" y="186364"/>
                    <a:pt x="50886" y="186162"/>
                    <a:pt x="50886" y="186162"/>
                  </a:cubicBezTo>
                  <a:lnTo>
                    <a:pt x="52939" y="187676"/>
                  </a:lnTo>
                  <a:cubicBezTo>
                    <a:pt x="52939" y="187676"/>
                    <a:pt x="53477" y="189425"/>
                    <a:pt x="53275" y="189728"/>
                  </a:cubicBezTo>
                  <a:cubicBezTo>
                    <a:pt x="53040" y="190064"/>
                    <a:pt x="51862" y="191611"/>
                    <a:pt x="51424" y="191443"/>
                  </a:cubicBezTo>
                  <a:cubicBezTo>
                    <a:pt x="50987" y="191275"/>
                    <a:pt x="49708" y="192352"/>
                    <a:pt x="49708" y="192352"/>
                  </a:cubicBezTo>
                  <a:cubicBezTo>
                    <a:pt x="49708" y="192352"/>
                    <a:pt x="49472" y="193125"/>
                    <a:pt x="49809" y="193125"/>
                  </a:cubicBezTo>
                  <a:cubicBezTo>
                    <a:pt x="50145" y="193125"/>
                    <a:pt x="50482" y="193899"/>
                    <a:pt x="51896" y="193764"/>
                  </a:cubicBezTo>
                  <a:cubicBezTo>
                    <a:pt x="53309" y="193664"/>
                    <a:pt x="55025" y="193899"/>
                    <a:pt x="55496" y="193764"/>
                  </a:cubicBezTo>
                  <a:cubicBezTo>
                    <a:pt x="55934" y="193630"/>
                    <a:pt x="57886" y="193798"/>
                    <a:pt x="57886" y="193798"/>
                  </a:cubicBezTo>
                  <a:lnTo>
                    <a:pt x="60208" y="192991"/>
                  </a:lnTo>
                  <a:cubicBezTo>
                    <a:pt x="60208" y="192991"/>
                    <a:pt x="61487" y="191241"/>
                    <a:pt x="61790" y="190905"/>
                  </a:cubicBezTo>
                  <a:cubicBezTo>
                    <a:pt x="62126" y="190569"/>
                    <a:pt x="62665" y="190468"/>
                    <a:pt x="63001" y="190367"/>
                  </a:cubicBezTo>
                  <a:cubicBezTo>
                    <a:pt x="63338" y="190266"/>
                    <a:pt x="67040" y="192318"/>
                    <a:pt x="67040" y="192318"/>
                  </a:cubicBezTo>
                  <a:cubicBezTo>
                    <a:pt x="67040" y="192318"/>
                    <a:pt x="68016" y="191881"/>
                    <a:pt x="68655" y="191679"/>
                  </a:cubicBezTo>
                  <a:cubicBezTo>
                    <a:pt x="69295" y="191477"/>
                    <a:pt x="71381" y="190030"/>
                    <a:pt x="71819" y="189929"/>
                  </a:cubicBezTo>
                  <a:cubicBezTo>
                    <a:pt x="72256" y="189829"/>
                    <a:pt x="75521" y="188315"/>
                    <a:pt x="75958" y="188315"/>
                  </a:cubicBezTo>
                  <a:cubicBezTo>
                    <a:pt x="76396" y="188315"/>
                    <a:pt x="77708" y="187978"/>
                    <a:pt x="77708" y="187978"/>
                  </a:cubicBezTo>
                  <a:lnTo>
                    <a:pt x="80872" y="185590"/>
                  </a:lnTo>
                  <a:lnTo>
                    <a:pt x="82117" y="182562"/>
                  </a:lnTo>
                  <a:lnTo>
                    <a:pt x="81949" y="179400"/>
                  </a:lnTo>
                  <a:lnTo>
                    <a:pt x="81949" y="177987"/>
                  </a:lnTo>
                  <a:cubicBezTo>
                    <a:pt x="81949" y="177987"/>
                    <a:pt x="82285" y="175397"/>
                    <a:pt x="82723" y="175162"/>
                  </a:cubicBezTo>
                  <a:cubicBezTo>
                    <a:pt x="83160" y="174960"/>
                    <a:pt x="83699" y="173412"/>
                    <a:pt x="83699" y="173412"/>
                  </a:cubicBezTo>
                  <a:lnTo>
                    <a:pt x="83699" y="171024"/>
                  </a:lnTo>
                  <a:lnTo>
                    <a:pt x="83261" y="168736"/>
                  </a:lnTo>
                  <a:lnTo>
                    <a:pt x="83059" y="165372"/>
                  </a:lnTo>
                  <a:lnTo>
                    <a:pt x="82824" y="163085"/>
                  </a:lnTo>
                  <a:cubicBezTo>
                    <a:pt x="82824" y="163085"/>
                    <a:pt x="82723" y="161908"/>
                    <a:pt x="82824" y="161571"/>
                  </a:cubicBezTo>
                  <a:cubicBezTo>
                    <a:pt x="82925" y="161235"/>
                    <a:pt x="82925" y="160932"/>
                    <a:pt x="83261" y="160360"/>
                  </a:cubicBezTo>
                  <a:cubicBezTo>
                    <a:pt x="83598" y="159822"/>
                    <a:pt x="84136" y="158611"/>
                    <a:pt x="84136" y="158611"/>
                  </a:cubicBezTo>
                  <a:lnTo>
                    <a:pt x="84776" y="156761"/>
                  </a:lnTo>
                  <a:lnTo>
                    <a:pt x="84877" y="155247"/>
                  </a:lnTo>
                  <a:lnTo>
                    <a:pt x="85651" y="154372"/>
                  </a:lnTo>
                  <a:lnTo>
                    <a:pt x="86526" y="153733"/>
                  </a:lnTo>
                  <a:lnTo>
                    <a:pt x="87838" y="152859"/>
                  </a:lnTo>
                  <a:lnTo>
                    <a:pt x="88916" y="151984"/>
                  </a:lnTo>
                  <a:lnTo>
                    <a:pt x="89891" y="150672"/>
                  </a:lnTo>
                  <a:lnTo>
                    <a:pt x="90665" y="150033"/>
                  </a:lnTo>
                  <a:cubicBezTo>
                    <a:pt x="90665" y="150033"/>
                    <a:pt x="91540" y="148721"/>
                    <a:pt x="91877" y="148620"/>
                  </a:cubicBezTo>
                  <a:cubicBezTo>
                    <a:pt x="92214" y="148519"/>
                    <a:pt x="93627" y="147207"/>
                    <a:pt x="93627" y="147207"/>
                  </a:cubicBezTo>
                  <a:lnTo>
                    <a:pt x="94165" y="146770"/>
                  </a:lnTo>
                  <a:lnTo>
                    <a:pt x="94939" y="145996"/>
                  </a:lnTo>
                  <a:lnTo>
                    <a:pt x="95713" y="145660"/>
                  </a:lnTo>
                  <a:lnTo>
                    <a:pt x="96151" y="143877"/>
                  </a:lnTo>
                  <a:lnTo>
                    <a:pt x="95916" y="142363"/>
                  </a:lnTo>
                  <a:lnTo>
                    <a:pt x="95916" y="139705"/>
                  </a:lnTo>
                  <a:lnTo>
                    <a:pt x="96420" y="138259"/>
                  </a:lnTo>
                  <a:lnTo>
                    <a:pt x="95512" y="136577"/>
                  </a:lnTo>
                  <a:lnTo>
                    <a:pt x="94165" y="135568"/>
                  </a:lnTo>
                  <a:lnTo>
                    <a:pt x="94165" y="134491"/>
                  </a:lnTo>
                  <a:lnTo>
                    <a:pt x="94165" y="131531"/>
                  </a:lnTo>
                  <a:lnTo>
                    <a:pt x="94165" y="129277"/>
                  </a:lnTo>
                  <a:lnTo>
                    <a:pt x="94165" y="125812"/>
                  </a:lnTo>
                  <a:lnTo>
                    <a:pt x="94939" y="124938"/>
                  </a:lnTo>
                  <a:lnTo>
                    <a:pt x="95882" y="124366"/>
                  </a:lnTo>
                  <a:lnTo>
                    <a:pt x="99079" y="122919"/>
                  </a:lnTo>
                  <a:cubicBezTo>
                    <a:pt x="99079" y="122919"/>
                    <a:pt x="99954" y="122213"/>
                    <a:pt x="100223" y="122112"/>
                  </a:cubicBezTo>
                  <a:cubicBezTo>
                    <a:pt x="100526" y="122045"/>
                    <a:pt x="103353" y="121372"/>
                    <a:pt x="103353" y="121372"/>
                  </a:cubicBezTo>
                  <a:lnTo>
                    <a:pt x="106382" y="119623"/>
                  </a:lnTo>
                  <a:lnTo>
                    <a:pt x="107964" y="120194"/>
                  </a:lnTo>
                  <a:lnTo>
                    <a:pt x="110151" y="117066"/>
                  </a:lnTo>
                  <a:lnTo>
                    <a:pt x="111599" y="114879"/>
                  </a:lnTo>
                  <a:lnTo>
                    <a:pt x="116007" y="114308"/>
                  </a:lnTo>
                  <a:lnTo>
                    <a:pt x="118026" y="113063"/>
                  </a:lnTo>
                  <a:lnTo>
                    <a:pt x="118565" y="112087"/>
                  </a:ln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797" name="Freeform 900">
              <a:extLst>
                <a:ext uri="{FF2B5EF4-FFF2-40B4-BE49-F238E27FC236}">
                  <a16:creationId xmlns:a16="http://schemas.microsoft.com/office/drawing/2014/main" id="{3432E4DD-62E9-86D7-B5C3-53511E98F832}"/>
                </a:ext>
              </a:extLst>
            </p:cNvPr>
            <p:cNvSpPr/>
            <p:nvPr/>
          </p:nvSpPr>
          <p:spPr>
            <a:xfrm>
              <a:off x="8473423" y="1554834"/>
              <a:ext cx="596283" cy="823674"/>
            </a:xfrm>
            <a:custGeom>
              <a:avLst/>
              <a:gdLst>
                <a:gd name="connsiteX0" fmla="*/ 547410 w 549933"/>
                <a:gd name="connsiteY0" fmla="*/ 270059 h 759650"/>
                <a:gd name="connsiteX1" fmla="*/ 544078 w 549933"/>
                <a:gd name="connsiteY1" fmla="*/ 266729 h 759650"/>
                <a:gd name="connsiteX2" fmla="*/ 542328 w 549933"/>
                <a:gd name="connsiteY2" fmla="*/ 262591 h 759650"/>
                <a:gd name="connsiteX3" fmla="*/ 542462 w 549933"/>
                <a:gd name="connsiteY3" fmla="*/ 256872 h 759650"/>
                <a:gd name="connsiteX4" fmla="*/ 542328 w 549933"/>
                <a:gd name="connsiteY4" fmla="*/ 256872 h 759650"/>
                <a:gd name="connsiteX5" fmla="*/ 535361 w 549933"/>
                <a:gd name="connsiteY5" fmla="*/ 254282 h 759650"/>
                <a:gd name="connsiteX6" fmla="*/ 530717 w 549933"/>
                <a:gd name="connsiteY6" fmla="*/ 250952 h 759650"/>
                <a:gd name="connsiteX7" fmla="*/ 523885 w 549933"/>
                <a:gd name="connsiteY7" fmla="*/ 247184 h 759650"/>
                <a:gd name="connsiteX8" fmla="*/ 522505 w 549933"/>
                <a:gd name="connsiteY8" fmla="*/ 243282 h 759650"/>
                <a:gd name="connsiteX9" fmla="*/ 522303 w 549933"/>
                <a:gd name="connsiteY9" fmla="*/ 239380 h 759650"/>
                <a:gd name="connsiteX10" fmla="*/ 522303 w 549933"/>
                <a:gd name="connsiteY10" fmla="*/ 233425 h 759650"/>
                <a:gd name="connsiteX11" fmla="*/ 522000 w 549933"/>
                <a:gd name="connsiteY11" fmla="*/ 229221 h 759650"/>
                <a:gd name="connsiteX12" fmla="*/ 519241 w 549933"/>
                <a:gd name="connsiteY12" fmla="*/ 225016 h 759650"/>
                <a:gd name="connsiteX13" fmla="*/ 514462 w 549933"/>
                <a:gd name="connsiteY13" fmla="*/ 220541 h 759650"/>
                <a:gd name="connsiteX14" fmla="*/ 510390 w 549933"/>
                <a:gd name="connsiteY14" fmla="*/ 218220 h 759650"/>
                <a:gd name="connsiteX15" fmla="*/ 505913 w 549933"/>
                <a:gd name="connsiteY15" fmla="*/ 218220 h 759650"/>
                <a:gd name="connsiteX16" fmla="*/ 501404 w 549933"/>
                <a:gd name="connsiteY16" fmla="*/ 219600 h 759650"/>
                <a:gd name="connsiteX17" fmla="*/ 500091 w 549933"/>
                <a:gd name="connsiteY17" fmla="*/ 220407 h 759650"/>
                <a:gd name="connsiteX18" fmla="*/ 497029 w 549933"/>
                <a:gd name="connsiteY18" fmla="*/ 220407 h 759650"/>
                <a:gd name="connsiteX19" fmla="*/ 490803 w 549933"/>
                <a:gd name="connsiteY19" fmla="*/ 219700 h 759650"/>
                <a:gd name="connsiteX20" fmla="*/ 488177 w 549933"/>
                <a:gd name="connsiteY20" fmla="*/ 219129 h 759650"/>
                <a:gd name="connsiteX21" fmla="*/ 486293 w 549933"/>
                <a:gd name="connsiteY21" fmla="*/ 214655 h 759650"/>
                <a:gd name="connsiteX22" fmla="*/ 482961 w 549933"/>
                <a:gd name="connsiteY22" fmla="*/ 209642 h 759650"/>
                <a:gd name="connsiteX23" fmla="*/ 482524 w 549933"/>
                <a:gd name="connsiteY23" fmla="*/ 204798 h 759650"/>
                <a:gd name="connsiteX24" fmla="*/ 477879 w 549933"/>
                <a:gd name="connsiteY24" fmla="*/ 204798 h 759650"/>
                <a:gd name="connsiteX25" fmla="*/ 473403 w 549933"/>
                <a:gd name="connsiteY25" fmla="*/ 205538 h 759650"/>
                <a:gd name="connsiteX26" fmla="*/ 469937 w 549933"/>
                <a:gd name="connsiteY26" fmla="*/ 204092 h 759650"/>
                <a:gd name="connsiteX27" fmla="*/ 465461 w 549933"/>
                <a:gd name="connsiteY27" fmla="*/ 200459 h 759650"/>
                <a:gd name="connsiteX28" fmla="*/ 458663 w 549933"/>
                <a:gd name="connsiteY28" fmla="*/ 196422 h 759650"/>
                <a:gd name="connsiteX29" fmla="*/ 453715 w 549933"/>
                <a:gd name="connsiteY29" fmla="*/ 191645 h 759650"/>
                <a:gd name="connsiteX30" fmla="*/ 450383 w 549933"/>
                <a:gd name="connsiteY30" fmla="*/ 188012 h 759650"/>
                <a:gd name="connsiteX31" fmla="*/ 451696 w 549933"/>
                <a:gd name="connsiteY31" fmla="*/ 182798 h 759650"/>
                <a:gd name="connsiteX32" fmla="*/ 458932 w 549933"/>
                <a:gd name="connsiteY32" fmla="*/ 175431 h 759650"/>
                <a:gd name="connsiteX33" fmla="*/ 461119 w 549933"/>
                <a:gd name="connsiteY33" fmla="*/ 173412 h 759650"/>
                <a:gd name="connsiteX34" fmla="*/ 462870 w 549933"/>
                <a:gd name="connsiteY34" fmla="*/ 170957 h 759650"/>
                <a:gd name="connsiteX35" fmla="*/ 463576 w 549933"/>
                <a:gd name="connsiteY35" fmla="*/ 168636 h 759650"/>
                <a:gd name="connsiteX36" fmla="*/ 459537 w 549933"/>
                <a:gd name="connsiteY36" fmla="*/ 166617 h 759650"/>
                <a:gd name="connsiteX37" fmla="*/ 457788 w 549933"/>
                <a:gd name="connsiteY37" fmla="*/ 165171 h 759650"/>
                <a:gd name="connsiteX38" fmla="*/ 459235 w 549933"/>
                <a:gd name="connsiteY38" fmla="*/ 161975 h 759650"/>
                <a:gd name="connsiteX39" fmla="*/ 463307 w 549933"/>
                <a:gd name="connsiteY39" fmla="*/ 159654 h 759650"/>
                <a:gd name="connsiteX40" fmla="*/ 466201 w 549933"/>
                <a:gd name="connsiteY40" fmla="*/ 157770 h 759650"/>
                <a:gd name="connsiteX41" fmla="*/ 471990 w 549933"/>
                <a:gd name="connsiteY41" fmla="*/ 155583 h 759650"/>
                <a:gd name="connsiteX42" fmla="*/ 476634 w 549933"/>
                <a:gd name="connsiteY42" fmla="*/ 150941 h 759650"/>
                <a:gd name="connsiteX43" fmla="*/ 478822 w 549933"/>
                <a:gd name="connsiteY43" fmla="*/ 146871 h 759650"/>
                <a:gd name="connsiteX44" fmla="*/ 478822 w 549933"/>
                <a:gd name="connsiteY44" fmla="*/ 143103 h 759650"/>
                <a:gd name="connsiteX45" fmla="*/ 479394 w 549933"/>
                <a:gd name="connsiteY45" fmla="*/ 139033 h 759650"/>
                <a:gd name="connsiteX46" fmla="*/ 482288 w 549933"/>
                <a:gd name="connsiteY46" fmla="*/ 136846 h 759650"/>
                <a:gd name="connsiteX47" fmla="*/ 485048 w 549933"/>
                <a:gd name="connsiteY47" fmla="*/ 136274 h 759650"/>
                <a:gd name="connsiteX48" fmla="*/ 488380 w 549933"/>
                <a:gd name="connsiteY48" fmla="*/ 134256 h 759650"/>
                <a:gd name="connsiteX49" fmla="*/ 488514 w 549933"/>
                <a:gd name="connsiteY49" fmla="*/ 131060 h 759650"/>
                <a:gd name="connsiteX50" fmla="*/ 481985 w 549933"/>
                <a:gd name="connsiteY50" fmla="*/ 131060 h 759650"/>
                <a:gd name="connsiteX51" fmla="*/ 478351 w 549933"/>
                <a:gd name="connsiteY51" fmla="*/ 131026 h 759650"/>
                <a:gd name="connsiteX52" fmla="*/ 475456 w 549933"/>
                <a:gd name="connsiteY52" fmla="*/ 132641 h 759650"/>
                <a:gd name="connsiteX53" fmla="*/ 470812 w 549933"/>
                <a:gd name="connsiteY53" fmla="*/ 134828 h 759650"/>
                <a:gd name="connsiteX54" fmla="*/ 465595 w 549933"/>
                <a:gd name="connsiteY54" fmla="*/ 135568 h 759650"/>
                <a:gd name="connsiteX55" fmla="*/ 463273 w 549933"/>
                <a:gd name="connsiteY55" fmla="*/ 134828 h 759650"/>
                <a:gd name="connsiteX56" fmla="*/ 461086 w 549933"/>
                <a:gd name="connsiteY56" fmla="*/ 132809 h 759650"/>
                <a:gd name="connsiteX57" fmla="*/ 458191 w 549933"/>
                <a:gd name="connsiteY57" fmla="*/ 133381 h 759650"/>
                <a:gd name="connsiteX58" fmla="*/ 456172 w 549933"/>
                <a:gd name="connsiteY58" fmla="*/ 135971 h 759650"/>
                <a:gd name="connsiteX59" fmla="*/ 454153 w 549933"/>
                <a:gd name="connsiteY59" fmla="*/ 137418 h 759650"/>
                <a:gd name="connsiteX60" fmla="*/ 449812 w 549933"/>
                <a:gd name="connsiteY60" fmla="*/ 134390 h 759650"/>
                <a:gd name="connsiteX61" fmla="*/ 447186 w 549933"/>
                <a:gd name="connsiteY61" fmla="*/ 132372 h 759650"/>
                <a:gd name="connsiteX62" fmla="*/ 444426 w 549933"/>
                <a:gd name="connsiteY62" fmla="*/ 130926 h 759650"/>
                <a:gd name="connsiteX63" fmla="*/ 439648 w 549933"/>
                <a:gd name="connsiteY63" fmla="*/ 133247 h 759650"/>
                <a:gd name="connsiteX64" fmla="*/ 434296 w 549933"/>
                <a:gd name="connsiteY64" fmla="*/ 134121 h 759650"/>
                <a:gd name="connsiteX65" fmla="*/ 431268 w 549933"/>
                <a:gd name="connsiteY65" fmla="*/ 134861 h 759650"/>
                <a:gd name="connsiteX66" fmla="*/ 429686 w 549933"/>
                <a:gd name="connsiteY66" fmla="*/ 132103 h 759650"/>
                <a:gd name="connsiteX67" fmla="*/ 427499 w 549933"/>
                <a:gd name="connsiteY67" fmla="*/ 132237 h 759650"/>
                <a:gd name="connsiteX68" fmla="*/ 423594 w 549933"/>
                <a:gd name="connsiteY68" fmla="*/ 129479 h 759650"/>
                <a:gd name="connsiteX69" fmla="*/ 421575 w 549933"/>
                <a:gd name="connsiteY69" fmla="*/ 131935 h 759650"/>
                <a:gd name="connsiteX70" fmla="*/ 419825 w 549933"/>
                <a:gd name="connsiteY70" fmla="*/ 135130 h 759650"/>
                <a:gd name="connsiteX71" fmla="*/ 417065 w 549933"/>
                <a:gd name="connsiteY71" fmla="*/ 136712 h 759650"/>
                <a:gd name="connsiteX72" fmla="*/ 414037 w 549933"/>
                <a:gd name="connsiteY72" fmla="*/ 137452 h 759650"/>
                <a:gd name="connsiteX73" fmla="*/ 411714 w 549933"/>
                <a:gd name="connsiteY73" fmla="*/ 138595 h 759650"/>
                <a:gd name="connsiteX74" fmla="*/ 406195 w 549933"/>
                <a:gd name="connsiteY74" fmla="*/ 135265 h 759650"/>
                <a:gd name="connsiteX75" fmla="*/ 404445 w 549933"/>
                <a:gd name="connsiteY75" fmla="*/ 134559 h 759650"/>
                <a:gd name="connsiteX76" fmla="*/ 403873 w 549933"/>
                <a:gd name="connsiteY76" fmla="*/ 130926 h 759650"/>
                <a:gd name="connsiteX77" fmla="*/ 402291 w 549933"/>
                <a:gd name="connsiteY77" fmla="*/ 126855 h 759650"/>
                <a:gd name="connsiteX78" fmla="*/ 401147 w 549933"/>
                <a:gd name="connsiteY78" fmla="*/ 124534 h 759650"/>
                <a:gd name="connsiteX79" fmla="*/ 400272 w 549933"/>
                <a:gd name="connsiteY79" fmla="*/ 122516 h 759650"/>
                <a:gd name="connsiteX80" fmla="*/ 400709 w 549933"/>
                <a:gd name="connsiteY80" fmla="*/ 120766 h 759650"/>
                <a:gd name="connsiteX81" fmla="*/ 402291 w 549933"/>
                <a:gd name="connsiteY81" fmla="*/ 118748 h 759650"/>
                <a:gd name="connsiteX82" fmla="*/ 402291 w 549933"/>
                <a:gd name="connsiteY82" fmla="*/ 113534 h 759650"/>
                <a:gd name="connsiteX83" fmla="*/ 401416 w 549933"/>
                <a:gd name="connsiteY83" fmla="*/ 112659 h 759650"/>
                <a:gd name="connsiteX84" fmla="*/ 394315 w 549933"/>
                <a:gd name="connsiteY84" fmla="*/ 111650 h 759650"/>
                <a:gd name="connsiteX85" fmla="*/ 393137 w 549933"/>
                <a:gd name="connsiteY85" fmla="*/ 108622 h 759650"/>
                <a:gd name="connsiteX86" fmla="*/ 396772 w 549933"/>
                <a:gd name="connsiteY86" fmla="*/ 106604 h 759650"/>
                <a:gd name="connsiteX87" fmla="*/ 393878 w 549933"/>
                <a:gd name="connsiteY87" fmla="*/ 103139 h 759650"/>
                <a:gd name="connsiteX88" fmla="*/ 390545 w 549933"/>
                <a:gd name="connsiteY88" fmla="*/ 102264 h 759650"/>
                <a:gd name="connsiteX89" fmla="*/ 389401 w 549933"/>
                <a:gd name="connsiteY89" fmla="*/ 100515 h 759650"/>
                <a:gd name="connsiteX90" fmla="*/ 386945 w 549933"/>
                <a:gd name="connsiteY90" fmla="*/ 96748 h 759650"/>
                <a:gd name="connsiteX91" fmla="*/ 385800 w 549933"/>
                <a:gd name="connsiteY91" fmla="*/ 93855 h 759650"/>
                <a:gd name="connsiteX92" fmla="*/ 385800 w 549933"/>
                <a:gd name="connsiteY92" fmla="*/ 91668 h 759650"/>
                <a:gd name="connsiteX93" fmla="*/ 387820 w 549933"/>
                <a:gd name="connsiteY93" fmla="*/ 87699 h 759650"/>
                <a:gd name="connsiteX94" fmla="*/ 388695 w 549933"/>
                <a:gd name="connsiteY94" fmla="*/ 86622 h 759650"/>
                <a:gd name="connsiteX95" fmla="*/ 389267 w 549933"/>
                <a:gd name="connsiteY95" fmla="*/ 86622 h 759650"/>
                <a:gd name="connsiteX96" fmla="*/ 390849 w 549933"/>
                <a:gd name="connsiteY96" fmla="*/ 86622 h 759650"/>
                <a:gd name="connsiteX97" fmla="*/ 394046 w 549933"/>
                <a:gd name="connsiteY97" fmla="*/ 87497 h 759650"/>
                <a:gd name="connsiteX98" fmla="*/ 397243 w 549933"/>
                <a:gd name="connsiteY98" fmla="*/ 89818 h 759650"/>
                <a:gd name="connsiteX99" fmla="*/ 400440 w 549933"/>
                <a:gd name="connsiteY99" fmla="*/ 91130 h 759650"/>
                <a:gd name="connsiteX100" fmla="*/ 403637 w 549933"/>
                <a:gd name="connsiteY100" fmla="*/ 87497 h 759650"/>
                <a:gd name="connsiteX101" fmla="*/ 402931 w 549933"/>
                <a:gd name="connsiteY101" fmla="*/ 81845 h 759650"/>
                <a:gd name="connsiteX102" fmla="*/ 400474 w 549933"/>
                <a:gd name="connsiteY102" fmla="*/ 78212 h 759650"/>
                <a:gd name="connsiteX103" fmla="*/ 399599 w 549933"/>
                <a:gd name="connsiteY103" fmla="*/ 74747 h 759650"/>
                <a:gd name="connsiteX104" fmla="*/ 396267 w 549933"/>
                <a:gd name="connsiteY104" fmla="*/ 71417 h 759650"/>
                <a:gd name="connsiteX105" fmla="*/ 396839 w 549933"/>
                <a:gd name="connsiteY105" fmla="*/ 69533 h 759650"/>
                <a:gd name="connsiteX106" fmla="*/ 400305 w 549933"/>
                <a:gd name="connsiteY106" fmla="*/ 66640 h 759650"/>
                <a:gd name="connsiteX107" fmla="*/ 400878 w 549933"/>
                <a:gd name="connsiteY107" fmla="*/ 64050 h 759650"/>
                <a:gd name="connsiteX108" fmla="*/ 396536 w 549933"/>
                <a:gd name="connsiteY108" fmla="*/ 63310 h 759650"/>
                <a:gd name="connsiteX109" fmla="*/ 394079 w 549933"/>
                <a:gd name="connsiteY109" fmla="*/ 61729 h 759650"/>
                <a:gd name="connsiteX110" fmla="*/ 395661 w 549933"/>
                <a:gd name="connsiteY110" fmla="*/ 59408 h 759650"/>
                <a:gd name="connsiteX111" fmla="*/ 396233 w 549933"/>
                <a:gd name="connsiteY111" fmla="*/ 57658 h 759650"/>
                <a:gd name="connsiteX112" fmla="*/ 395527 w 549933"/>
                <a:gd name="connsiteY112" fmla="*/ 55337 h 759650"/>
                <a:gd name="connsiteX113" fmla="*/ 394517 w 549933"/>
                <a:gd name="connsiteY113" fmla="*/ 55337 h 759650"/>
                <a:gd name="connsiteX114" fmla="*/ 391757 w 549933"/>
                <a:gd name="connsiteY114" fmla="*/ 53588 h 759650"/>
                <a:gd name="connsiteX115" fmla="*/ 389570 w 549933"/>
                <a:gd name="connsiteY115" fmla="*/ 54328 h 759650"/>
                <a:gd name="connsiteX116" fmla="*/ 388392 w 549933"/>
                <a:gd name="connsiteY116" fmla="*/ 56212 h 759650"/>
                <a:gd name="connsiteX117" fmla="*/ 387247 w 549933"/>
                <a:gd name="connsiteY117" fmla="*/ 58096 h 759650"/>
                <a:gd name="connsiteX118" fmla="*/ 385598 w 549933"/>
                <a:gd name="connsiteY118" fmla="*/ 59542 h 759650"/>
                <a:gd name="connsiteX119" fmla="*/ 383781 w 549933"/>
                <a:gd name="connsiteY119" fmla="*/ 59408 h 759650"/>
                <a:gd name="connsiteX120" fmla="*/ 382569 w 549933"/>
                <a:gd name="connsiteY120" fmla="*/ 57961 h 759650"/>
                <a:gd name="connsiteX121" fmla="*/ 381459 w 549933"/>
                <a:gd name="connsiteY121" fmla="*/ 56515 h 759650"/>
                <a:gd name="connsiteX122" fmla="*/ 381459 w 549933"/>
                <a:gd name="connsiteY122" fmla="*/ 54496 h 759650"/>
                <a:gd name="connsiteX123" fmla="*/ 384252 w 549933"/>
                <a:gd name="connsiteY123" fmla="*/ 53285 h 759650"/>
                <a:gd name="connsiteX124" fmla="*/ 383579 w 549933"/>
                <a:gd name="connsiteY124" fmla="*/ 51603 h 759650"/>
                <a:gd name="connsiteX125" fmla="*/ 382873 w 549933"/>
                <a:gd name="connsiteY125" fmla="*/ 50426 h 759650"/>
                <a:gd name="connsiteX126" fmla="*/ 380012 w 549933"/>
                <a:gd name="connsiteY126" fmla="*/ 48307 h 759650"/>
                <a:gd name="connsiteX127" fmla="*/ 377892 w 549933"/>
                <a:gd name="connsiteY127" fmla="*/ 49719 h 759650"/>
                <a:gd name="connsiteX128" fmla="*/ 377252 w 549933"/>
                <a:gd name="connsiteY128" fmla="*/ 49349 h 759650"/>
                <a:gd name="connsiteX129" fmla="*/ 377252 w 549933"/>
                <a:gd name="connsiteY129" fmla="*/ 46692 h 759650"/>
                <a:gd name="connsiteX130" fmla="*/ 377858 w 549933"/>
                <a:gd name="connsiteY130" fmla="*/ 44842 h 759650"/>
                <a:gd name="connsiteX131" fmla="*/ 377185 w 549933"/>
                <a:gd name="connsiteY131" fmla="*/ 43698 h 759650"/>
                <a:gd name="connsiteX132" fmla="*/ 372844 w 549933"/>
                <a:gd name="connsiteY132" fmla="*/ 40939 h 759650"/>
                <a:gd name="connsiteX133" fmla="*/ 371430 w 549933"/>
                <a:gd name="connsiteY133" fmla="*/ 37845 h 759650"/>
                <a:gd name="connsiteX134" fmla="*/ 370622 w 549933"/>
                <a:gd name="connsiteY134" fmla="*/ 35086 h 759650"/>
                <a:gd name="connsiteX135" fmla="*/ 372877 w 549933"/>
                <a:gd name="connsiteY135" fmla="*/ 32563 h 759650"/>
                <a:gd name="connsiteX136" fmla="*/ 373146 w 549933"/>
                <a:gd name="connsiteY136" fmla="*/ 32193 h 759650"/>
                <a:gd name="connsiteX137" fmla="*/ 374593 w 549933"/>
                <a:gd name="connsiteY137" fmla="*/ 30040 h 759650"/>
                <a:gd name="connsiteX138" fmla="*/ 374089 w 549933"/>
                <a:gd name="connsiteY138" fmla="*/ 27652 h 759650"/>
                <a:gd name="connsiteX139" fmla="*/ 372844 w 549933"/>
                <a:gd name="connsiteY139" fmla="*/ 26071 h 759650"/>
                <a:gd name="connsiteX140" fmla="*/ 371598 w 549933"/>
                <a:gd name="connsiteY140" fmla="*/ 24389 h 759650"/>
                <a:gd name="connsiteX141" fmla="*/ 370589 w 549933"/>
                <a:gd name="connsiteY141" fmla="*/ 22068 h 759650"/>
                <a:gd name="connsiteX142" fmla="*/ 369915 w 549933"/>
                <a:gd name="connsiteY142" fmla="*/ 20184 h 759650"/>
                <a:gd name="connsiteX143" fmla="*/ 367458 w 549933"/>
                <a:gd name="connsiteY143" fmla="*/ 18300 h 759650"/>
                <a:gd name="connsiteX144" fmla="*/ 362949 w 549933"/>
                <a:gd name="connsiteY144" fmla="*/ 13893 h 759650"/>
                <a:gd name="connsiteX145" fmla="*/ 357093 w 549933"/>
                <a:gd name="connsiteY145" fmla="*/ 10630 h 759650"/>
                <a:gd name="connsiteX146" fmla="*/ 355780 w 549933"/>
                <a:gd name="connsiteY146" fmla="*/ 7165 h 759650"/>
                <a:gd name="connsiteX147" fmla="*/ 355780 w 549933"/>
                <a:gd name="connsiteY147" fmla="*/ 5214 h 759650"/>
                <a:gd name="connsiteX148" fmla="*/ 352516 w 549933"/>
                <a:gd name="connsiteY148" fmla="*/ 1749 h 759650"/>
                <a:gd name="connsiteX149" fmla="*/ 347098 w 549933"/>
                <a:gd name="connsiteY149" fmla="*/ 0 h 759650"/>
                <a:gd name="connsiteX150" fmla="*/ 343900 w 549933"/>
                <a:gd name="connsiteY150" fmla="*/ 639 h 759650"/>
                <a:gd name="connsiteX151" fmla="*/ 340266 w 549933"/>
                <a:gd name="connsiteY151" fmla="*/ 1379 h 759650"/>
                <a:gd name="connsiteX152" fmla="*/ 337506 w 549933"/>
                <a:gd name="connsiteY152" fmla="*/ 2388 h 759650"/>
                <a:gd name="connsiteX153" fmla="*/ 335487 w 549933"/>
                <a:gd name="connsiteY153" fmla="*/ 5147 h 759650"/>
                <a:gd name="connsiteX154" fmla="*/ 333333 w 549933"/>
                <a:gd name="connsiteY154" fmla="*/ 6896 h 759650"/>
                <a:gd name="connsiteX155" fmla="*/ 329833 w 549933"/>
                <a:gd name="connsiteY155" fmla="*/ 5887 h 759650"/>
                <a:gd name="connsiteX156" fmla="*/ 327814 w 549933"/>
                <a:gd name="connsiteY156" fmla="*/ 4440 h 759650"/>
                <a:gd name="connsiteX157" fmla="*/ 326939 w 549933"/>
                <a:gd name="connsiteY157" fmla="*/ 3869 h 759650"/>
                <a:gd name="connsiteX158" fmla="*/ 323910 w 549933"/>
                <a:gd name="connsiteY158" fmla="*/ 4306 h 759650"/>
                <a:gd name="connsiteX159" fmla="*/ 322462 w 549933"/>
                <a:gd name="connsiteY159" fmla="*/ 6627 h 759650"/>
                <a:gd name="connsiteX160" fmla="*/ 321587 w 549933"/>
                <a:gd name="connsiteY160" fmla="*/ 8343 h 759650"/>
                <a:gd name="connsiteX161" fmla="*/ 320578 w 549933"/>
                <a:gd name="connsiteY161" fmla="*/ 10664 h 759650"/>
                <a:gd name="connsiteX162" fmla="*/ 320578 w 549933"/>
                <a:gd name="connsiteY162" fmla="*/ 12850 h 759650"/>
                <a:gd name="connsiteX163" fmla="*/ 317684 w 549933"/>
                <a:gd name="connsiteY163" fmla="*/ 16046 h 759650"/>
                <a:gd name="connsiteX164" fmla="*/ 316943 w 549933"/>
                <a:gd name="connsiteY164" fmla="*/ 16551 h 759650"/>
                <a:gd name="connsiteX165" fmla="*/ 314318 w 549933"/>
                <a:gd name="connsiteY165" fmla="*/ 17190 h 759650"/>
                <a:gd name="connsiteX166" fmla="*/ 310986 w 549933"/>
                <a:gd name="connsiteY166" fmla="*/ 17190 h 759650"/>
                <a:gd name="connsiteX167" fmla="*/ 309236 w 549933"/>
                <a:gd name="connsiteY167" fmla="*/ 16315 h 759650"/>
                <a:gd name="connsiteX168" fmla="*/ 305601 w 549933"/>
                <a:gd name="connsiteY168" fmla="*/ 14297 h 759650"/>
                <a:gd name="connsiteX169" fmla="*/ 304020 w 549933"/>
                <a:gd name="connsiteY169" fmla="*/ 13288 h 759650"/>
                <a:gd name="connsiteX170" fmla="*/ 300688 w 549933"/>
                <a:gd name="connsiteY170" fmla="*/ 15172 h 759650"/>
                <a:gd name="connsiteX171" fmla="*/ 299375 w 549933"/>
                <a:gd name="connsiteY171" fmla="*/ 17358 h 759650"/>
                <a:gd name="connsiteX172" fmla="*/ 295741 w 549933"/>
                <a:gd name="connsiteY172" fmla="*/ 17661 h 759650"/>
                <a:gd name="connsiteX173" fmla="*/ 290390 w 549933"/>
                <a:gd name="connsiteY173" fmla="*/ 17358 h 759650"/>
                <a:gd name="connsiteX174" fmla="*/ 287495 w 549933"/>
                <a:gd name="connsiteY174" fmla="*/ 17493 h 759650"/>
                <a:gd name="connsiteX175" fmla="*/ 283861 w 549933"/>
                <a:gd name="connsiteY175" fmla="*/ 18636 h 759650"/>
                <a:gd name="connsiteX176" fmla="*/ 280966 w 549933"/>
                <a:gd name="connsiteY176" fmla="*/ 19343 h 759650"/>
                <a:gd name="connsiteX177" fmla="*/ 278510 w 549933"/>
                <a:gd name="connsiteY177" fmla="*/ 20083 h 759650"/>
                <a:gd name="connsiteX178" fmla="*/ 278577 w 549933"/>
                <a:gd name="connsiteY178" fmla="*/ 24422 h 759650"/>
                <a:gd name="connsiteX179" fmla="*/ 271846 w 549933"/>
                <a:gd name="connsiteY179" fmla="*/ 25566 h 759650"/>
                <a:gd name="connsiteX180" fmla="*/ 271846 w 549933"/>
                <a:gd name="connsiteY180" fmla="*/ 28459 h 759650"/>
                <a:gd name="connsiteX181" fmla="*/ 272855 w 549933"/>
                <a:gd name="connsiteY181" fmla="*/ 29468 h 759650"/>
                <a:gd name="connsiteX182" fmla="*/ 273731 w 549933"/>
                <a:gd name="connsiteY182" fmla="*/ 31218 h 759650"/>
                <a:gd name="connsiteX183" fmla="*/ 274168 w 549933"/>
                <a:gd name="connsiteY183" fmla="*/ 32967 h 759650"/>
                <a:gd name="connsiteX184" fmla="*/ 274875 w 549933"/>
                <a:gd name="connsiteY184" fmla="*/ 34716 h 759650"/>
                <a:gd name="connsiteX185" fmla="*/ 275178 w 549933"/>
                <a:gd name="connsiteY185" fmla="*/ 37912 h 759650"/>
                <a:gd name="connsiteX186" fmla="*/ 275312 w 549933"/>
                <a:gd name="connsiteY186" fmla="*/ 39796 h 759650"/>
                <a:gd name="connsiteX187" fmla="*/ 277332 w 549933"/>
                <a:gd name="connsiteY187" fmla="*/ 44001 h 759650"/>
                <a:gd name="connsiteX188" fmla="*/ 276187 w 549933"/>
                <a:gd name="connsiteY188" fmla="*/ 47768 h 759650"/>
                <a:gd name="connsiteX189" fmla="*/ 273293 w 549933"/>
                <a:gd name="connsiteY189" fmla="*/ 48475 h 759650"/>
                <a:gd name="connsiteX190" fmla="*/ 267067 w 549933"/>
                <a:gd name="connsiteY190" fmla="*/ 50224 h 759650"/>
                <a:gd name="connsiteX191" fmla="*/ 270096 w 549933"/>
                <a:gd name="connsiteY191" fmla="*/ 55304 h 759650"/>
                <a:gd name="connsiteX192" fmla="*/ 274000 w 549933"/>
                <a:gd name="connsiteY192" fmla="*/ 57187 h 759650"/>
                <a:gd name="connsiteX193" fmla="*/ 276154 w 549933"/>
                <a:gd name="connsiteY193" fmla="*/ 58499 h 759650"/>
                <a:gd name="connsiteX194" fmla="*/ 277163 w 549933"/>
                <a:gd name="connsiteY194" fmla="*/ 60383 h 759650"/>
                <a:gd name="connsiteX195" fmla="*/ 276591 w 549933"/>
                <a:gd name="connsiteY195" fmla="*/ 62704 h 759650"/>
                <a:gd name="connsiteX196" fmla="*/ 275716 w 549933"/>
                <a:gd name="connsiteY196" fmla="*/ 66775 h 759650"/>
                <a:gd name="connsiteX197" fmla="*/ 275009 w 549933"/>
                <a:gd name="connsiteY197" fmla="*/ 70845 h 759650"/>
                <a:gd name="connsiteX198" fmla="*/ 274000 w 549933"/>
                <a:gd name="connsiteY198" fmla="*/ 72662 h 759650"/>
                <a:gd name="connsiteX199" fmla="*/ 271980 w 549933"/>
                <a:gd name="connsiteY199" fmla="*/ 72863 h 759650"/>
                <a:gd name="connsiteX200" fmla="*/ 269221 w 549933"/>
                <a:gd name="connsiteY200" fmla="*/ 72863 h 759650"/>
                <a:gd name="connsiteX201" fmla="*/ 266327 w 549933"/>
                <a:gd name="connsiteY201" fmla="*/ 73166 h 759650"/>
                <a:gd name="connsiteX202" fmla="*/ 264745 w 549933"/>
                <a:gd name="connsiteY202" fmla="*/ 74747 h 759650"/>
                <a:gd name="connsiteX203" fmla="*/ 263735 w 549933"/>
                <a:gd name="connsiteY203" fmla="*/ 79255 h 759650"/>
                <a:gd name="connsiteX204" fmla="*/ 262591 w 549933"/>
                <a:gd name="connsiteY204" fmla="*/ 80399 h 759650"/>
                <a:gd name="connsiteX205" fmla="*/ 256802 w 549933"/>
                <a:gd name="connsiteY205" fmla="*/ 80836 h 759650"/>
                <a:gd name="connsiteX206" fmla="*/ 251014 w 549933"/>
                <a:gd name="connsiteY206" fmla="*/ 81139 h 759650"/>
                <a:gd name="connsiteX207" fmla="*/ 247513 w 549933"/>
                <a:gd name="connsiteY207" fmla="*/ 79827 h 759650"/>
                <a:gd name="connsiteX208" fmla="*/ 244451 w 549933"/>
                <a:gd name="connsiteY208" fmla="*/ 76564 h 759650"/>
                <a:gd name="connsiteX209" fmla="*/ 242869 w 549933"/>
                <a:gd name="connsiteY209" fmla="*/ 74613 h 759650"/>
                <a:gd name="connsiteX210" fmla="*/ 239672 w 549933"/>
                <a:gd name="connsiteY210" fmla="*/ 74613 h 759650"/>
                <a:gd name="connsiteX211" fmla="*/ 238225 w 549933"/>
                <a:gd name="connsiteY211" fmla="*/ 77808 h 759650"/>
                <a:gd name="connsiteX212" fmla="*/ 235465 w 549933"/>
                <a:gd name="connsiteY212" fmla="*/ 78549 h 759650"/>
                <a:gd name="connsiteX213" fmla="*/ 235768 w 549933"/>
                <a:gd name="connsiteY213" fmla="*/ 76227 h 759650"/>
                <a:gd name="connsiteX214" fmla="*/ 237081 w 549933"/>
                <a:gd name="connsiteY214" fmla="*/ 74646 h 759650"/>
                <a:gd name="connsiteX215" fmla="*/ 237081 w 549933"/>
                <a:gd name="connsiteY215" fmla="*/ 72056 h 759650"/>
                <a:gd name="connsiteX216" fmla="*/ 233884 w 549933"/>
                <a:gd name="connsiteY216" fmla="*/ 71047 h 759650"/>
                <a:gd name="connsiteX217" fmla="*/ 230855 w 549933"/>
                <a:gd name="connsiteY217" fmla="*/ 72191 h 759650"/>
                <a:gd name="connsiteX218" fmla="*/ 228835 w 549933"/>
                <a:gd name="connsiteY218" fmla="*/ 74075 h 759650"/>
                <a:gd name="connsiteX219" fmla="*/ 226648 w 549933"/>
                <a:gd name="connsiteY219" fmla="*/ 77270 h 759650"/>
                <a:gd name="connsiteX220" fmla="*/ 226648 w 549933"/>
                <a:gd name="connsiteY220" fmla="*/ 79020 h 759650"/>
                <a:gd name="connsiteX221" fmla="*/ 224898 w 549933"/>
                <a:gd name="connsiteY221" fmla="*/ 81038 h 759650"/>
                <a:gd name="connsiteX222" fmla="*/ 224898 w 549933"/>
                <a:gd name="connsiteY222" fmla="*/ 82484 h 759650"/>
                <a:gd name="connsiteX223" fmla="*/ 221970 w 549933"/>
                <a:gd name="connsiteY223" fmla="*/ 85411 h 759650"/>
                <a:gd name="connsiteX224" fmla="*/ 220220 w 549933"/>
                <a:gd name="connsiteY224" fmla="*/ 87362 h 759650"/>
                <a:gd name="connsiteX225" fmla="*/ 217830 w 549933"/>
                <a:gd name="connsiteY225" fmla="*/ 89011 h 759650"/>
                <a:gd name="connsiteX226" fmla="*/ 216080 w 549933"/>
                <a:gd name="connsiteY226" fmla="*/ 89784 h 759650"/>
                <a:gd name="connsiteX227" fmla="*/ 213792 w 549933"/>
                <a:gd name="connsiteY227" fmla="*/ 90659 h 759650"/>
                <a:gd name="connsiteX228" fmla="*/ 212277 w 549933"/>
                <a:gd name="connsiteY228" fmla="*/ 91197 h 759650"/>
                <a:gd name="connsiteX229" fmla="*/ 210662 w 549933"/>
                <a:gd name="connsiteY229" fmla="*/ 92711 h 759650"/>
                <a:gd name="connsiteX230" fmla="*/ 209248 w 549933"/>
                <a:gd name="connsiteY230" fmla="*/ 95436 h 759650"/>
                <a:gd name="connsiteX231" fmla="*/ 209248 w 549933"/>
                <a:gd name="connsiteY231" fmla="*/ 98161 h 759650"/>
                <a:gd name="connsiteX232" fmla="*/ 209248 w 549933"/>
                <a:gd name="connsiteY232" fmla="*/ 101625 h 759650"/>
                <a:gd name="connsiteX233" fmla="*/ 205345 w 549933"/>
                <a:gd name="connsiteY233" fmla="*/ 99674 h 759650"/>
                <a:gd name="connsiteX234" fmla="*/ 203830 w 549933"/>
                <a:gd name="connsiteY234" fmla="*/ 97387 h 759650"/>
                <a:gd name="connsiteX235" fmla="*/ 202753 w 549933"/>
                <a:gd name="connsiteY235" fmla="*/ 90659 h 759650"/>
                <a:gd name="connsiteX236" fmla="*/ 201542 w 549933"/>
                <a:gd name="connsiteY236" fmla="*/ 88472 h 759650"/>
                <a:gd name="connsiteX237" fmla="*/ 198916 w 549933"/>
                <a:gd name="connsiteY237" fmla="*/ 86858 h 759650"/>
                <a:gd name="connsiteX238" fmla="*/ 196527 w 549933"/>
                <a:gd name="connsiteY238" fmla="*/ 84267 h 759650"/>
                <a:gd name="connsiteX239" fmla="*/ 193902 w 549933"/>
                <a:gd name="connsiteY239" fmla="*/ 82215 h 759650"/>
                <a:gd name="connsiteX240" fmla="*/ 189661 w 549933"/>
                <a:gd name="connsiteY240" fmla="*/ 83090 h 759650"/>
                <a:gd name="connsiteX241" fmla="*/ 188248 w 549933"/>
                <a:gd name="connsiteY241" fmla="*/ 83628 h 759650"/>
                <a:gd name="connsiteX242" fmla="*/ 185219 w 549933"/>
                <a:gd name="connsiteY242" fmla="*/ 85680 h 759650"/>
                <a:gd name="connsiteX243" fmla="*/ 181517 w 549933"/>
                <a:gd name="connsiteY243" fmla="*/ 88741 h 759650"/>
                <a:gd name="connsiteX244" fmla="*/ 173036 w 549933"/>
                <a:gd name="connsiteY244" fmla="*/ 95570 h 759650"/>
                <a:gd name="connsiteX245" fmla="*/ 169771 w 549933"/>
                <a:gd name="connsiteY245" fmla="*/ 98295 h 759650"/>
                <a:gd name="connsiteX246" fmla="*/ 161627 w 549933"/>
                <a:gd name="connsiteY246" fmla="*/ 103610 h 759650"/>
                <a:gd name="connsiteX247" fmla="*/ 158800 w 549933"/>
                <a:gd name="connsiteY247" fmla="*/ 105561 h 759650"/>
                <a:gd name="connsiteX248" fmla="*/ 157387 w 549933"/>
                <a:gd name="connsiteY248" fmla="*/ 108286 h 759650"/>
                <a:gd name="connsiteX249" fmla="*/ 155637 w 549933"/>
                <a:gd name="connsiteY249" fmla="*/ 110473 h 759650"/>
                <a:gd name="connsiteX250" fmla="*/ 148805 w 549933"/>
                <a:gd name="connsiteY250" fmla="*/ 106469 h 759650"/>
                <a:gd name="connsiteX251" fmla="*/ 146853 w 549933"/>
                <a:gd name="connsiteY251" fmla="*/ 106469 h 759650"/>
                <a:gd name="connsiteX252" fmla="*/ 144026 w 549933"/>
                <a:gd name="connsiteY252" fmla="*/ 109194 h 759650"/>
                <a:gd name="connsiteX253" fmla="*/ 143252 w 549933"/>
                <a:gd name="connsiteY253" fmla="*/ 112255 h 759650"/>
                <a:gd name="connsiteX254" fmla="*/ 146954 w 549933"/>
                <a:gd name="connsiteY254" fmla="*/ 116696 h 759650"/>
                <a:gd name="connsiteX255" fmla="*/ 149882 w 549933"/>
                <a:gd name="connsiteY255" fmla="*/ 118748 h 759650"/>
                <a:gd name="connsiteX256" fmla="*/ 151733 w 549933"/>
                <a:gd name="connsiteY256" fmla="*/ 120497 h 759650"/>
                <a:gd name="connsiteX257" fmla="*/ 151632 w 549933"/>
                <a:gd name="connsiteY257" fmla="*/ 122011 h 759650"/>
                <a:gd name="connsiteX258" fmla="*/ 150016 w 549933"/>
                <a:gd name="connsiteY258" fmla="*/ 123760 h 759650"/>
                <a:gd name="connsiteX259" fmla="*/ 145002 w 549933"/>
                <a:gd name="connsiteY259" fmla="*/ 123962 h 759650"/>
                <a:gd name="connsiteX260" fmla="*/ 142713 w 549933"/>
                <a:gd name="connsiteY260" fmla="*/ 124063 h 759650"/>
                <a:gd name="connsiteX261" fmla="*/ 137800 w 549933"/>
                <a:gd name="connsiteY261" fmla="*/ 123827 h 759650"/>
                <a:gd name="connsiteX262" fmla="*/ 133761 w 549933"/>
                <a:gd name="connsiteY262" fmla="*/ 123727 h 759650"/>
                <a:gd name="connsiteX263" fmla="*/ 130295 w 549933"/>
                <a:gd name="connsiteY263" fmla="*/ 120901 h 759650"/>
                <a:gd name="connsiteX264" fmla="*/ 126155 w 549933"/>
                <a:gd name="connsiteY264" fmla="*/ 121675 h 759650"/>
                <a:gd name="connsiteX265" fmla="*/ 123867 w 549933"/>
                <a:gd name="connsiteY265" fmla="*/ 124399 h 759650"/>
                <a:gd name="connsiteX266" fmla="*/ 120939 w 549933"/>
                <a:gd name="connsiteY266" fmla="*/ 125375 h 759650"/>
                <a:gd name="connsiteX267" fmla="*/ 117674 w 549933"/>
                <a:gd name="connsiteY267" fmla="*/ 124837 h 759650"/>
                <a:gd name="connsiteX268" fmla="*/ 115285 w 549933"/>
                <a:gd name="connsiteY268" fmla="*/ 124063 h 759650"/>
                <a:gd name="connsiteX269" fmla="*/ 112021 w 549933"/>
                <a:gd name="connsiteY269" fmla="*/ 125139 h 759650"/>
                <a:gd name="connsiteX270" fmla="*/ 110371 w 549933"/>
                <a:gd name="connsiteY270" fmla="*/ 126451 h 759650"/>
                <a:gd name="connsiteX271" fmla="*/ 105155 w 549933"/>
                <a:gd name="connsiteY271" fmla="*/ 126889 h 759650"/>
                <a:gd name="connsiteX272" fmla="*/ 105155 w 549933"/>
                <a:gd name="connsiteY272" fmla="*/ 126014 h 759650"/>
                <a:gd name="connsiteX273" fmla="*/ 107208 w 549933"/>
                <a:gd name="connsiteY273" fmla="*/ 124164 h 759650"/>
                <a:gd name="connsiteX274" fmla="*/ 108284 w 549933"/>
                <a:gd name="connsiteY274" fmla="*/ 122415 h 759650"/>
                <a:gd name="connsiteX275" fmla="*/ 109059 w 549933"/>
                <a:gd name="connsiteY275" fmla="*/ 119690 h 759650"/>
                <a:gd name="connsiteX276" fmla="*/ 109496 w 549933"/>
                <a:gd name="connsiteY276" fmla="*/ 115889 h 759650"/>
                <a:gd name="connsiteX277" fmla="*/ 108857 w 549933"/>
                <a:gd name="connsiteY277" fmla="*/ 113265 h 759650"/>
                <a:gd name="connsiteX278" fmla="*/ 107881 w 549933"/>
                <a:gd name="connsiteY278" fmla="*/ 111213 h 759650"/>
                <a:gd name="connsiteX279" fmla="*/ 107107 w 549933"/>
                <a:gd name="connsiteY279" fmla="*/ 108723 h 759650"/>
                <a:gd name="connsiteX280" fmla="*/ 107544 w 549933"/>
                <a:gd name="connsiteY280" fmla="*/ 106234 h 759650"/>
                <a:gd name="connsiteX281" fmla="*/ 108857 w 549933"/>
                <a:gd name="connsiteY281" fmla="*/ 104922 h 759650"/>
                <a:gd name="connsiteX282" fmla="*/ 109934 w 549933"/>
                <a:gd name="connsiteY282" fmla="*/ 103509 h 759650"/>
                <a:gd name="connsiteX283" fmla="*/ 109395 w 549933"/>
                <a:gd name="connsiteY283" fmla="*/ 100347 h 759650"/>
                <a:gd name="connsiteX284" fmla="*/ 110809 w 549933"/>
                <a:gd name="connsiteY284" fmla="*/ 97757 h 759650"/>
                <a:gd name="connsiteX285" fmla="*/ 111785 w 549933"/>
                <a:gd name="connsiteY285" fmla="*/ 96546 h 759650"/>
                <a:gd name="connsiteX286" fmla="*/ 111145 w 549933"/>
                <a:gd name="connsiteY286" fmla="*/ 89280 h 759650"/>
                <a:gd name="connsiteX287" fmla="*/ 112222 w 549933"/>
                <a:gd name="connsiteY287" fmla="*/ 86117 h 759650"/>
                <a:gd name="connsiteX288" fmla="*/ 106905 w 549933"/>
                <a:gd name="connsiteY288" fmla="*/ 80802 h 759650"/>
                <a:gd name="connsiteX289" fmla="*/ 105592 w 549933"/>
                <a:gd name="connsiteY289" fmla="*/ 78750 h 759650"/>
                <a:gd name="connsiteX290" fmla="*/ 103640 w 549933"/>
                <a:gd name="connsiteY290" fmla="*/ 76160 h 759650"/>
                <a:gd name="connsiteX291" fmla="*/ 106467 w 549933"/>
                <a:gd name="connsiteY291" fmla="*/ 73772 h 759650"/>
                <a:gd name="connsiteX292" fmla="*/ 107342 w 549933"/>
                <a:gd name="connsiteY292" fmla="*/ 72258 h 759650"/>
                <a:gd name="connsiteX293" fmla="*/ 105390 w 549933"/>
                <a:gd name="connsiteY293" fmla="*/ 68019 h 759650"/>
                <a:gd name="connsiteX294" fmla="*/ 103539 w 549933"/>
                <a:gd name="connsiteY294" fmla="*/ 66169 h 759650"/>
                <a:gd name="connsiteX295" fmla="*/ 102126 w 549933"/>
                <a:gd name="connsiteY295" fmla="*/ 62570 h 759650"/>
                <a:gd name="connsiteX296" fmla="*/ 98760 w 549933"/>
                <a:gd name="connsiteY296" fmla="*/ 62570 h 759650"/>
                <a:gd name="connsiteX297" fmla="*/ 97986 w 549933"/>
                <a:gd name="connsiteY297" fmla="*/ 63343 h 759650"/>
                <a:gd name="connsiteX298" fmla="*/ 96573 w 549933"/>
                <a:gd name="connsiteY298" fmla="*/ 66270 h 759650"/>
                <a:gd name="connsiteX299" fmla="*/ 95496 w 549933"/>
                <a:gd name="connsiteY299" fmla="*/ 67683 h 759650"/>
                <a:gd name="connsiteX300" fmla="*/ 93308 w 549933"/>
                <a:gd name="connsiteY300" fmla="*/ 68558 h 759650"/>
                <a:gd name="connsiteX301" fmla="*/ 90683 w 549933"/>
                <a:gd name="connsiteY301" fmla="*/ 68019 h 759650"/>
                <a:gd name="connsiteX302" fmla="*/ 90044 w 549933"/>
                <a:gd name="connsiteY302" fmla="*/ 65194 h 759650"/>
                <a:gd name="connsiteX303" fmla="*/ 87654 w 549933"/>
                <a:gd name="connsiteY303" fmla="*/ 63444 h 759650"/>
                <a:gd name="connsiteX304" fmla="*/ 85467 w 549933"/>
                <a:gd name="connsiteY304" fmla="*/ 66371 h 759650"/>
                <a:gd name="connsiteX305" fmla="*/ 84491 w 549933"/>
                <a:gd name="connsiteY305" fmla="*/ 67784 h 759650"/>
                <a:gd name="connsiteX306" fmla="*/ 82000 w 549933"/>
                <a:gd name="connsiteY306" fmla="*/ 65833 h 759650"/>
                <a:gd name="connsiteX307" fmla="*/ 81024 w 549933"/>
                <a:gd name="connsiteY307" fmla="*/ 64319 h 759650"/>
                <a:gd name="connsiteX308" fmla="*/ 79611 w 549933"/>
                <a:gd name="connsiteY308" fmla="*/ 64117 h 759650"/>
                <a:gd name="connsiteX309" fmla="*/ 76683 w 549933"/>
                <a:gd name="connsiteY309" fmla="*/ 64756 h 759650"/>
                <a:gd name="connsiteX310" fmla="*/ 75707 w 549933"/>
                <a:gd name="connsiteY310" fmla="*/ 66808 h 759650"/>
                <a:gd name="connsiteX311" fmla="*/ 75168 w 549933"/>
                <a:gd name="connsiteY311" fmla="*/ 68995 h 759650"/>
                <a:gd name="connsiteX312" fmla="*/ 74092 w 549933"/>
                <a:gd name="connsiteY312" fmla="*/ 70744 h 759650"/>
                <a:gd name="connsiteX313" fmla="*/ 71803 w 549933"/>
                <a:gd name="connsiteY313" fmla="*/ 71619 h 759650"/>
                <a:gd name="connsiteX314" fmla="*/ 70053 w 549933"/>
                <a:gd name="connsiteY314" fmla="*/ 72931 h 759650"/>
                <a:gd name="connsiteX315" fmla="*/ 70053 w 549933"/>
                <a:gd name="connsiteY315" fmla="*/ 75656 h 759650"/>
                <a:gd name="connsiteX316" fmla="*/ 71467 w 549933"/>
                <a:gd name="connsiteY316" fmla="*/ 77708 h 759650"/>
                <a:gd name="connsiteX317" fmla="*/ 72106 w 549933"/>
                <a:gd name="connsiteY317" fmla="*/ 78919 h 759650"/>
                <a:gd name="connsiteX318" fmla="*/ 73418 w 549933"/>
                <a:gd name="connsiteY318" fmla="*/ 79894 h 759650"/>
                <a:gd name="connsiteX319" fmla="*/ 74395 w 549933"/>
                <a:gd name="connsiteY319" fmla="*/ 81744 h 759650"/>
                <a:gd name="connsiteX320" fmla="*/ 74192 w 549933"/>
                <a:gd name="connsiteY320" fmla="*/ 84234 h 759650"/>
                <a:gd name="connsiteX321" fmla="*/ 73856 w 549933"/>
                <a:gd name="connsiteY321" fmla="*/ 85310 h 759650"/>
                <a:gd name="connsiteX322" fmla="*/ 72543 w 549933"/>
                <a:gd name="connsiteY322" fmla="*/ 86824 h 759650"/>
                <a:gd name="connsiteX323" fmla="*/ 71029 w 549933"/>
                <a:gd name="connsiteY323" fmla="*/ 87026 h 759650"/>
                <a:gd name="connsiteX324" fmla="*/ 67765 w 549933"/>
                <a:gd name="connsiteY324" fmla="*/ 86925 h 759650"/>
                <a:gd name="connsiteX325" fmla="*/ 64937 w 549933"/>
                <a:gd name="connsiteY325" fmla="*/ 87026 h 759650"/>
                <a:gd name="connsiteX326" fmla="*/ 61134 w 549933"/>
                <a:gd name="connsiteY326" fmla="*/ 87261 h 759650"/>
                <a:gd name="connsiteX327" fmla="*/ 58409 w 549933"/>
                <a:gd name="connsiteY327" fmla="*/ 88136 h 759650"/>
                <a:gd name="connsiteX328" fmla="*/ 55918 w 549933"/>
                <a:gd name="connsiteY328" fmla="*/ 89347 h 759650"/>
                <a:gd name="connsiteX329" fmla="*/ 53731 w 549933"/>
                <a:gd name="connsiteY329" fmla="*/ 92173 h 759650"/>
                <a:gd name="connsiteX330" fmla="*/ 51678 w 549933"/>
                <a:gd name="connsiteY330" fmla="*/ 94561 h 759650"/>
                <a:gd name="connsiteX331" fmla="*/ 49826 w 549933"/>
                <a:gd name="connsiteY331" fmla="*/ 97488 h 759650"/>
                <a:gd name="connsiteX332" fmla="*/ 48177 w 549933"/>
                <a:gd name="connsiteY332" fmla="*/ 101087 h 759650"/>
                <a:gd name="connsiteX333" fmla="*/ 48581 w 549933"/>
                <a:gd name="connsiteY333" fmla="*/ 104115 h 759650"/>
                <a:gd name="connsiteX334" fmla="*/ 47403 w 549933"/>
                <a:gd name="connsiteY334" fmla="*/ 106503 h 759650"/>
                <a:gd name="connsiteX335" fmla="*/ 47403 w 549933"/>
                <a:gd name="connsiteY335" fmla="*/ 108656 h 759650"/>
                <a:gd name="connsiteX336" fmla="*/ 48951 w 549933"/>
                <a:gd name="connsiteY336" fmla="*/ 110708 h 759650"/>
                <a:gd name="connsiteX337" fmla="*/ 48548 w 549933"/>
                <a:gd name="connsiteY337" fmla="*/ 112289 h 759650"/>
                <a:gd name="connsiteX338" fmla="*/ 47807 w 549933"/>
                <a:gd name="connsiteY338" fmla="*/ 114577 h 759650"/>
                <a:gd name="connsiteX339" fmla="*/ 48884 w 549933"/>
                <a:gd name="connsiteY339" fmla="*/ 117571 h 759650"/>
                <a:gd name="connsiteX340" fmla="*/ 49557 w 549933"/>
                <a:gd name="connsiteY340" fmla="*/ 119959 h 759650"/>
                <a:gd name="connsiteX341" fmla="*/ 50534 w 549933"/>
                <a:gd name="connsiteY341" fmla="*/ 124097 h 759650"/>
                <a:gd name="connsiteX342" fmla="*/ 50735 w 549933"/>
                <a:gd name="connsiteY342" fmla="*/ 126552 h 759650"/>
                <a:gd name="connsiteX343" fmla="*/ 51173 w 549933"/>
                <a:gd name="connsiteY343" fmla="*/ 130791 h 759650"/>
                <a:gd name="connsiteX344" fmla="*/ 52048 w 549933"/>
                <a:gd name="connsiteY344" fmla="*/ 133886 h 759650"/>
                <a:gd name="connsiteX345" fmla="*/ 51139 w 549933"/>
                <a:gd name="connsiteY345" fmla="*/ 135097 h 759650"/>
                <a:gd name="connsiteX346" fmla="*/ 48481 w 549933"/>
                <a:gd name="connsiteY346" fmla="*/ 134760 h 759650"/>
                <a:gd name="connsiteX347" fmla="*/ 44678 w 549933"/>
                <a:gd name="connsiteY347" fmla="*/ 132305 h 759650"/>
                <a:gd name="connsiteX348" fmla="*/ 39831 w 549933"/>
                <a:gd name="connsiteY348" fmla="*/ 134088 h 759650"/>
                <a:gd name="connsiteX349" fmla="*/ 34413 w 549933"/>
                <a:gd name="connsiteY349" fmla="*/ 133448 h 759650"/>
                <a:gd name="connsiteX350" fmla="*/ 31788 w 549933"/>
                <a:gd name="connsiteY350" fmla="*/ 134962 h 759650"/>
                <a:gd name="connsiteX351" fmla="*/ 28321 w 549933"/>
                <a:gd name="connsiteY351" fmla="*/ 137788 h 759650"/>
                <a:gd name="connsiteX352" fmla="*/ 22432 w 549933"/>
                <a:gd name="connsiteY352" fmla="*/ 143439 h 759650"/>
                <a:gd name="connsiteX353" fmla="*/ 21119 w 549933"/>
                <a:gd name="connsiteY353" fmla="*/ 145626 h 759650"/>
                <a:gd name="connsiteX354" fmla="*/ 20042 w 549933"/>
                <a:gd name="connsiteY354" fmla="*/ 148014 h 759650"/>
                <a:gd name="connsiteX355" fmla="*/ 21792 w 549933"/>
                <a:gd name="connsiteY355" fmla="*/ 150201 h 759650"/>
                <a:gd name="connsiteX356" fmla="*/ 22869 w 549933"/>
                <a:gd name="connsiteY356" fmla="*/ 150840 h 759650"/>
                <a:gd name="connsiteX357" fmla="*/ 26773 w 549933"/>
                <a:gd name="connsiteY357" fmla="*/ 151042 h 759650"/>
                <a:gd name="connsiteX358" fmla="*/ 29937 w 549933"/>
                <a:gd name="connsiteY358" fmla="*/ 152556 h 759650"/>
                <a:gd name="connsiteX359" fmla="*/ 31788 w 549933"/>
                <a:gd name="connsiteY359" fmla="*/ 156054 h 759650"/>
                <a:gd name="connsiteX360" fmla="*/ 31788 w 549933"/>
                <a:gd name="connsiteY360" fmla="*/ 160831 h 759650"/>
                <a:gd name="connsiteX361" fmla="*/ 28961 w 549933"/>
                <a:gd name="connsiteY361" fmla="*/ 162345 h 759650"/>
                <a:gd name="connsiteX362" fmla="*/ 29836 w 549933"/>
                <a:gd name="connsiteY362" fmla="*/ 166045 h 759650"/>
                <a:gd name="connsiteX363" fmla="*/ 31586 w 549933"/>
                <a:gd name="connsiteY363" fmla="*/ 166281 h 759650"/>
                <a:gd name="connsiteX364" fmla="*/ 34211 w 549933"/>
                <a:gd name="connsiteY364" fmla="*/ 166483 h 759650"/>
                <a:gd name="connsiteX365" fmla="*/ 35826 w 549933"/>
                <a:gd name="connsiteY365" fmla="*/ 167795 h 759650"/>
                <a:gd name="connsiteX366" fmla="*/ 37038 w 549933"/>
                <a:gd name="connsiteY366" fmla="*/ 170385 h 759650"/>
                <a:gd name="connsiteX367" fmla="*/ 37038 w 549933"/>
                <a:gd name="connsiteY367" fmla="*/ 173009 h 759650"/>
                <a:gd name="connsiteX368" fmla="*/ 34009 w 549933"/>
                <a:gd name="connsiteY368" fmla="*/ 175868 h 759650"/>
                <a:gd name="connsiteX369" fmla="*/ 31821 w 549933"/>
                <a:gd name="connsiteY369" fmla="*/ 177146 h 759650"/>
                <a:gd name="connsiteX370" fmla="*/ 28557 w 549933"/>
                <a:gd name="connsiteY370" fmla="*/ 178223 h 759650"/>
                <a:gd name="connsiteX371" fmla="*/ 27480 w 549933"/>
                <a:gd name="connsiteY371" fmla="*/ 178862 h 759650"/>
                <a:gd name="connsiteX372" fmla="*/ 25090 w 549933"/>
                <a:gd name="connsiteY372" fmla="*/ 180174 h 759650"/>
                <a:gd name="connsiteX373" fmla="*/ 23576 w 549933"/>
                <a:gd name="connsiteY373" fmla="*/ 182125 h 759650"/>
                <a:gd name="connsiteX374" fmla="*/ 21759 w 549933"/>
                <a:gd name="connsiteY374" fmla="*/ 185758 h 759650"/>
                <a:gd name="connsiteX375" fmla="*/ 21389 w 549933"/>
                <a:gd name="connsiteY375" fmla="*/ 187945 h 759650"/>
                <a:gd name="connsiteX376" fmla="*/ 21389 w 549933"/>
                <a:gd name="connsiteY376" fmla="*/ 190400 h 759650"/>
                <a:gd name="connsiteX377" fmla="*/ 23273 w 549933"/>
                <a:gd name="connsiteY377" fmla="*/ 190972 h 759650"/>
                <a:gd name="connsiteX378" fmla="*/ 26033 w 549933"/>
                <a:gd name="connsiteY378" fmla="*/ 192419 h 759650"/>
                <a:gd name="connsiteX379" fmla="*/ 27615 w 549933"/>
                <a:gd name="connsiteY379" fmla="*/ 193428 h 759650"/>
                <a:gd name="connsiteX380" fmla="*/ 28490 w 549933"/>
                <a:gd name="connsiteY380" fmla="*/ 194605 h 759650"/>
                <a:gd name="connsiteX381" fmla="*/ 29365 w 549933"/>
                <a:gd name="connsiteY381" fmla="*/ 196926 h 759650"/>
                <a:gd name="connsiteX382" fmla="*/ 31250 w 549933"/>
                <a:gd name="connsiteY382" fmla="*/ 198945 h 759650"/>
                <a:gd name="connsiteX383" fmla="*/ 34413 w 549933"/>
                <a:gd name="connsiteY383" fmla="*/ 201703 h 759650"/>
                <a:gd name="connsiteX384" fmla="*/ 37139 w 549933"/>
                <a:gd name="connsiteY384" fmla="*/ 205605 h 759650"/>
                <a:gd name="connsiteX385" fmla="*/ 40067 w 549933"/>
                <a:gd name="connsiteY385" fmla="*/ 209743 h 759650"/>
                <a:gd name="connsiteX386" fmla="*/ 41043 w 549933"/>
                <a:gd name="connsiteY386" fmla="*/ 213107 h 759650"/>
                <a:gd name="connsiteX387" fmla="*/ 42120 w 549933"/>
                <a:gd name="connsiteY387" fmla="*/ 217009 h 759650"/>
                <a:gd name="connsiteX388" fmla="*/ 43634 w 549933"/>
                <a:gd name="connsiteY388" fmla="*/ 221450 h 759650"/>
                <a:gd name="connsiteX389" fmla="*/ 45148 w 549933"/>
                <a:gd name="connsiteY389" fmla="*/ 223838 h 759650"/>
                <a:gd name="connsiteX390" fmla="*/ 46125 w 549933"/>
                <a:gd name="connsiteY390" fmla="*/ 227539 h 759650"/>
                <a:gd name="connsiteX391" fmla="*/ 46865 w 549933"/>
                <a:gd name="connsiteY391" fmla="*/ 229927 h 759650"/>
                <a:gd name="connsiteX392" fmla="*/ 50466 w 549933"/>
                <a:gd name="connsiteY392" fmla="*/ 232954 h 759650"/>
                <a:gd name="connsiteX393" fmla="*/ 53832 w 549933"/>
                <a:gd name="connsiteY393" fmla="*/ 235780 h 759650"/>
                <a:gd name="connsiteX394" fmla="*/ 56658 w 549933"/>
                <a:gd name="connsiteY394" fmla="*/ 237832 h 759650"/>
                <a:gd name="connsiteX395" fmla="*/ 60024 w 549933"/>
                <a:gd name="connsiteY395" fmla="*/ 241297 h 759650"/>
                <a:gd name="connsiteX396" fmla="*/ 61101 w 549933"/>
                <a:gd name="connsiteY396" fmla="*/ 244022 h 759650"/>
                <a:gd name="connsiteX397" fmla="*/ 61438 w 549933"/>
                <a:gd name="connsiteY397" fmla="*/ 245973 h 759650"/>
                <a:gd name="connsiteX398" fmla="*/ 61438 w 549933"/>
                <a:gd name="connsiteY398" fmla="*/ 248698 h 759650"/>
                <a:gd name="connsiteX399" fmla="*/ 62077 w 549933"/>
                <a:gd name="connsiteY399" fmla="*/ 251860 h 759650"/>
                <a:gd name="connsiteX400" fmla="*/ 62615 w 549933"/>
                <a:gd name="connsiteY400" fmla="*/ 257612 h 759650"/>
                <a:gd name="connsiteX401" fmla="*/ 63692 w 549933"/>
                <a:gd name="connsiteY401" fmla="*/ 262187 h 759650"/>
                <a:gd name="connsiteX402" fmla="*/ 62481 w 549933"/>
                <a:gd name="connsiteY402" fmla="*/ 265955 h 759650"/>
                <a:gd name="connsiteX403" fmla="*/ 64433 w 549933"/>
                <a:gd name="connsiteY403" fmla="*/ 269891 h 759650"/>
                <a:gd name="connsiteX404" fmla="*/ 66721 w 549933"/>
                <a:gd name="connsiteY404" fmla="*/ 269655 h 759650"/>
                <a:gd name="connsiteX405" fmla="*/ 69447 w 549933"/>
                <a:gd name="connsiteY405" fmla="*/ 269756 h 759650"/>
                <a:gd name="connsiteX406" fmla="*/ 74226 w 549933"/>
                <a:gd name="connsiteY406" fmla="*/ 270294 h 759650"/>
                <a:gd name="connsiteX407" fmla="*/ 76952 w 549933"/>
                <a:gd name="connsiteY407" fmla="*/ 271001 h 759650"/>
                <a:gd name="connsiteX408" fmla="*/ 80755 w 549933"/>
                <a:gd name="connsiteY408" fmla="*/ 271169 h 759650"/>
                <a:gd name="connsiteX409" fmla="*/ 81294 w 549933"/>
                <a:gd name="connsiteY409" fmla="*/ 271169 h 759650"/>
                <a:gd name="connsiteX410" fmla="*/ 82707 w 549933"/>
                <a:gd name="connsiteY410" fmla="*/ 273221 h 759650"/>
                <a:gd name="connsiteX411" fmla="*/ 82472 w 549933"/>
                <a:gd name="connsiteY411" fmla="*/ 273995 h 759650"/>
                <a:gd name="connsiteX412" fmla="*/ 79308 w 549933"/>
                <a:gd name="connsiteY412" fmla="*/ 275071 h 759650"/>
                <a:gd name="connsiteX413" fmla="*/ 77558 w 549933"/>
                <a:gd name="connsiteY413" fmla="*/ 277561 h 759650"/>
                <a:gd name="connsiteX414" fmla="*/ 75371 w 549933"/>
                <a:gd name="connsiteY414" fmla="*/ 278536 h 759650"/>
                <a:gd name="connsiteX415" fmla="*/ 72981 w 549933"/>
                <a:gd name="connsiteY415" fmla="*/ 279747 h 759650"/>
                <a:gd name="connsiteX416" fmla="*/ 65139 w 549933"/>
                <a:gd name="connsiteY416" fmla="*/ 283347 h 759650"/>
                <a:gd name="connsiteX417" fmla="*/ 57534 w 549933"/>
                <a:gd name="connsiteY417" fmla="*/ 284423 h 759650"/>
                <a:gd name="connsiteX418" fmla="*/ 55346 w 549933"/>
                <a:gd name="connsiteY418" fmla="*/ 285836 h 759650"/>
                <a:gd name="connsiteX419" fmla="*/ 51846 w 549933"/>
                <a:gd name="connsiteY419" fmla="*/ 288561 h 759650"/>
                <a:gd name="connsiteX420" fmla="*/ 42928 w 549933"/>
                <a:gd name="connsiteY420" fmla="*/ 288561 h 759650"/>
                <a:gd name="connsiteX421" fmla="*/ 43567 w 549933"/>
                <a:gd name="connsiteY421" fmla="*/ 294010 h 759650"/>
                <a:gd name="connsiteX422" fmla="*/ 44004 w 549933"/>
                <a:gd name="connsiteY422" fmla="*/ 298585 h 759650"/>
                <a:gd name="connsiteX423" fmla="*/ 42692 w 549933"/>
                <a:gd name="connsiteY423" fmla="*/ 299662 h 759650"/>
                <a:gd name="connsiteX424" fmla="*/ 38351 w 549933"/>
                <a:gd name="connsiteY424" fmla="*/ 299023 h 759650"/>
                <a:gd name="connsiteX425" fmla="*/ 35725 w 549933"/>
                <a:gd name="connsiteY425" fmla="*/ 298585 h 759650"/>
                <a:gd name="connsiteX426" fmla="*/ 33774 w 549933"/>
                <a:gd name="connsiteY426" fmla="*/ 299897 h 759650"/>
                <a:gd name="connsiteX427" fmla="*/ 31586 w 549933"/>
                <a:gd name="connsiteY427" fmla="*/ 305986 h 759650"/>
                <a:gd name="connsiteX428" fmla="*/ 32899 w 549933"/>
                <a:gd name="connsiteY428" fmla="*/ 310763 h 759650"/>
                <a:gd name="connsiteX429" fmla="*/ 37038 w 549933"/>
                <a:gd name="connsiteY429" fmla="*/ 314026 h 759650"/>
                <a:gd name="connsiteX430" fmla="*/ 40505 w 549933"/>
                <a:gd name="connsiteY430" fmla="*/ 314665 h 759650"/>
                <a:gd name="connsiteX431" fmla="*/ 42894 w 549933"/>
                <a:gd name="connsiteY431" fmla="*/ 314665 h 759650"/>
                <a:gd name="connsiteX432" fmla="*/ 44644 w 549933"/>
                <a:gd name="connsiteY432" fmla="*/ 316616 h 759650"/>
                <a:gd name="connsiteX433" fmla="*/ 45721 w 549933"/>
                <a:gd name="connsiteY433" fmla="*/ 318366 h 759650"/>
                <a:gd name="connsiteX434" fmla="*/ 51610 w 549933"/>
                <a:gd name="connsiteY434" fmla="*/ 320956 h 759650"/>
                <a:gd name="connsiteX435" fmla="*/ 55952 w 549933"/>
                <a:gd name="connsiteY435" fmla="*/ 322470 h 759650"/>
                <a:gd name="connsiteX436" fmla="*/ 62043 w 549933"/>
                <a:gd name="connsiteY436" fmla="*/ 322907 h 759650"/>
                <a:gd name="connsiteX437" fmla="*/ 65947 w 549933"/>
                <a:gd name="connsiteY437" fmla="*/ 323445 h 759650"/>
                <a:gd name="connsiteX438" fmla="*/ 70962 w 549933"/>
                <a:gd name="connsiteY438" fmla="*/ 323344 h 759650"/>
                <a:gd name="connsiteX439" fmla="*/ 74226 w 549933"/>
                <a:gd name="connsiteY439" fmla="*/ 323344 h 759650"/>
                <a:gd name="connsiteX440" fmla="*/ 75303 w 549933"/>
                <a:gd name="connsiteY440" fmla="*/ 323781 h 759650"/>
                <a:gd name="connsiteX441" fmla="*/ 76178 w 549933"/>
                <a:gd name="connsiteY441" fmla="*/ 325531 h 759650"/>
                <a:gd name="connsiteX442" fmla="*/ 78130 w 549933"/>
                <a:gd name="connsiteY442" fmla="*/ 328357 h 759650"/>
                <a:gd name="connsiteX443" fmla="*/ 77895 w 549933"/>
                <a:gd name="connsiteY443" fmla="*/ 331182 h 759650"/>
                <a:gd name="connsiteX444" fmla="*/ 76818 w 549933"/>
                <a:gd name="connsiteY444" fmla="*/ 334008 h 759650"/>
                <a:gd name="connsiteX445" fmla="*/ 76178 w 549933"/>
                <a:gd name="connsiteY445" fmla="*/ 334883 h 759650"/>
                <a:gd name="connsiteX446" fmla="*/ 73991 w 549933"/>
                <a:gd name="connsiteY446" fmla="*/ 338785 h 759650"/>
                <a:gd name="connsiteX447" fmla="*/ 73856 w 549933"/>
                <a:gd name="connsiteY447" fmla="*/ 340299 h 759650"/>
                <a:gd name="connsiteX448" fmla="*/ 75101 w 549933"/>
                <a:gd name="connsiteY448" fmla="*/ 343326 h 759650"/>
                <a:gd name="connsiteX449" fmla="*/ 75101 w 549933"/>
                <a:gd name="connsiteY449" fmla="*/ 346791 h 759650"/>
                <a:gd name="connsiteX450" fmla="*/ 76246 w 549933"/>
                <a:gd name="connsiteY450" fmla="*/ 348103 h 759650"/>
                <a:gd name="connsiteX451" fmla="*/ 77390 w 549933"/>
                <a:gd name="connsiteY451" fmla="*/ 350727 h 759650"/>
                <a:gd name="connsiteX452" fmla="*/ 81159 w 549933"/>
                <a:gd name="connsiteY452" fmla="*/ 352308 h 759650"/>
                <a:gd name="connsiteX453" fmla="*/ 82472 w 549933"/>
                <a:gd name="connsiteY453" fmla="*/ 352443 h 759650"/>
                <a:gd name="connsiteX454" fmla="*/ 83784 w 549933"/>
                <a:gd name="connsiteY454" fmla="*/ 354326 h 759650"/>
                <a:gd name="connsiteX455" fmla="*/ 85803 w 549933"/>
                <a:gd name="connsiteY455" fmla="*/ 356647 h 759650"/>
                <a:gd name="connsiteX456" fmla="*/ 86106 w 549933"/>
                <a:gd name="connsiteY456" fmla="*/ 358834 h 759650"/>
                <a:gd name="connsiteX457" fmla="*/ 86981 w 549933"/>
                <a:gd name="connsiteY457" fmla="*/ 362030 h 759650"/>
                <a:gd name="connsiteX458" fmla="*/ 86409 w 549933"/>
                <a:gd name="connsiteY458" fmla="*/ 366369 h 759650"/>
                <a:gd name="connsiteX459" fmla="*/ 86275 w 549933"/>
                <a:gd name="connsiteY459" fmla="*/ 367984 h 759650"/>
                <a:gd name="connsiteX460" fmla="*/ 85265 w 549933"/>
                <a:gd name="connsiteY460" fmla="*/ 370574 h 759650"/>
                <a:gd name="connsiteX461" fmla="*/ 83515 w 549933"/>
                <a:gd name="connsiteY461" fmla="*/ 376091 h 759650"/>
                <a:gd name="connsiteX462" fmla="*/ 82068 w 549933"/>
                <a:gd name="connsiteY462" fmla="*/ 376966 h 759650"/>
                <a:gd name="connsiteX463" fmla="*/ 79611 w 549933"/>
                <a:gd name="connsiteY463" fmla="*/ 377975 h 759650"/>
                <a:gd name="connsiteX464" fmla="*/ 79174 w 549933"/>
                <a:gd name="connsiteY464" fmla="*/ 380733 h 759650"/>
                <a:gd name="connsiteX465" fmla="*/ 80486 w 549933"/>
                <a:gd name="connsiteY465" fmla="*/ 383357 h 759650"/>
                <a:gd name="connsiteX466" fmla="*/ 81058 w 549933"/>
                <a:gd name="connsiteY466" fmla="*/ 385376 h 759650"/>
                <a:gd name="connsiteX467" fmla="*/ 80351 w 549933"/>
                <a:gd name="connsiteY467" fmla="*/ 387260 h 759650"/>
                <a:gd name="connsiteX468" fmla="*/ 78332 w 549933"/>
                <a:gd name="connsiteY468" fmla="*/ 388571 h 759650"/>
                <a:gd name="connsiteX469" fmla="*/ 77625 w 549933"/>
                <a:gd name="connsiteY469" fmla="*/ 389143 h 759650"/>
                <a:gd name="connsiteX470" fmla="*/ 79207 w 549933"/>
                <a:gd name="connsiteY470" fmla="*/ 393214 h 759650"/>
                <a:gd name="connsiteX471" fmla="*/ 80890 w 549933"/>
                <a:gd name="connsiteY471" fmla="*/ 397116 h 759650"/>
                <a:gd name="connsiteX472" fmla="*/ 83851 w 549933"/>
                <a:gd name="connsiteY472" fmla="*/ 400581 h 759650"/>
                <a:gd name="connsiteX473" fmla="*/ 83851 w 549933"/>
                <a:gd name="connsiteY473" fmla="*/ 402397 h 759650"/>
                <a:gd name="connsiteX474" fmla="*/ 82102 w 549933"/>
                <a:gd name="connsiteY474" fmla="*/ 402498 h 759650"/>
                <a:gd name="connsiteX475" fmla="*/ 77625 w 549933"/>
                <a:gd name="connsiteY475" fmla="*/ 404651 h 759650"/>
                <a:gd name="connsiteX476" fmla="*/ 75168 w 549933"/>
                <a:gd name="connsiteY476" fmla="*/ 405660 h 759650"/>
                <a:gd name="connsiteX477" fmla="*/ 71264 w 549933"/>
                <a:gd name="connsiteY477" fmla="*/ 407847 h 759650"/>
                <a:gd name="connsiteX478" fmla="*/ 68236 w 549933"/>
                <a:gd name="connsiteY478" fmla="*/ 411043 h 759650"/>
                <a:gd name="connsiteX479" fmla="*/ 65644 w 549933"/>
                <a:gd name="connsiteY479" fmla="*/ 413061 h 759650"/>
                <a:gd name="connsiteX480" fmla="*/ 62009 w 549933"/>
                <a:gd name="connsiteY480" fmla="*/ 414070 h 759650"/>
                <a:gd name="connsiteX481" fmla="*/ 59250 w 549933"/>
                <a:gd name="connsiteY481" fmla="*/ 417098 h 759650"/>
                <a:gd name="connsiteX482" fmla="*/ 56793 w 549933"/>
                <a:gd name="connsiteY482" fmla="*/ 417098 h 759650"/>
                <a:gd name="connsiteX483" fmla="*/ 50702 w 549933"/>
                <a:gd name="connsiteY483" fmla="*/ 410874 h 759650"/>
                <a:gd name="connsiteX484" fmla="*/ 47067 w 549933"/>
                <a:gd name="connsiteY484" fmla="*/ 407679 h 759650"/>
                <a:gd name="connsiteX485" fmla="*/ 42995 w 549933"/>
                <a:gd name="connsiteY485" fmla="*/ 407242 h 759650"/>
                <a:gd name="connsiteX486" fmla="*/ 38956 w 549933"/>
                <a:gd name="connsiteY486" fmla="*/ 409697 h 759650"/>
                <a:gd name="connsiteX487" fmla="*/ 33740 w 549933"/>
                <a:gd name="connsiteY487" fmla="*/ 413162 h 759650"/>
                <a:gd name="connsiteX488" fmla="*/ 32999 w 549933"/>
                <a:gd name="connsiteY488" fmla="*/ 415483 h 759650"/>
                <a:gd name="connsiteX489" fmla="*/ 31148 w 549933"/>
                <a:gd name="connsiteY489" fmla="*/ 416526 h 759650"/>
                <a:gd name="connsiteX490" fmla="*/ 30408 w 549933"/>
                <a:gd name="connsiteY490" fmla="*/ 416930 h 759650"/>
                <a:gd name="connsiteX491" fmla="*/ 26638 w 549933"/>
                <a:gd name="connsiteY491" fmla="*/ 418040 h 759650"/>
                <a:gd name="connsiteX492" fmla="*/ 25461 w 549933"/>
                <a:gd name="connsiteY492" fmla="*/ 420697 h 759650"/>
                <a:gd name="connsiteX493" fmla="*/ 21691 w 549933"/>
                <a:gd name="connsiteY493" fmla="*/ 424465 h 759650"/>
                <a:gd name="connsiteX494" fmla="*/ 19235 w 549933"/>
                <a:gd name="connsiteY494" fmla="*/ 426921 h 759650"/>
                <a:gd name="connsiteX495" fmla="*/ 19975 w 549933"/>
                <a:gd name="connsiteY495" fmla="*/ 430116 h 759650"/>
                <a:gd name="connsiteX496" fmla="*/ 22163 w 549933"/>
                <a:gd name="connsiteY496" fmla="*/ 433447 h 759650"/>
                <a:gd name="connsiteX497" fmla="*/ 24485 w 549933"/>
                <a:gd name="connsiteY497" fmla="*/ 436340 h 759650"/>
                <a:gd name="connsiteX498" fmla="*/ 27244 w 549933"/>
                <a:gd name="connsiteY498" fmla="*/ 438964 h 759650"/>
                <a:gd name="connsiteX499" fmla="*/ 30004 w 549933"/>
                <a:gd name="connsiteY499" fmla="*/ 442731 h 759650"/>
                <a:gd name="connsiteX500" fmla="*/ 30307 w 549933"/>
                <a:gd name="connsiteY500" fmla="*/ 445052 h 759650"/>
                <a:gd name="connsiteX501" fmla="*/ 29432 w 549933"/>
                <a:gd name="connsiteY501" fmla="*/ 448248 h 759650"/>
                <a:gd name="connsiteX502" fmla="*/ 28288 w 549933"/>
                <a:gd name="connsiteY502" fmla="*/ 453462 h 759650"/>
                <a:gd name="connsiteX503" fmla="*/ 24215 w 549933"/>
                <a:gd name="connsiteY503" fmla="*/ 456355 h 759650"/>
                <a:gd name="connsiteX504" fmla="*/ 18562 w 549933"/>
                <a:gd name="connsiteY504" fmla="*/ 459551 h 759650"/>
                <a:gd name="connsiteX505" fmla="*/ 17552 w 549933"/>
                <a:gd name="connsiteY505" fmla="*/ 462444 h 759650"/>
                <a:gd name="connsiteX506" fmla="*/ 16812 w 549933"/>
                <a:gd name="connsiteY506" fmla="*/ 464463 h 759650"/>
                <a:gd name="connsiteX507" fmla="*/ 12335 w 549933"/>
                <a:gd name="connsiteY507" fmla="*/ 465606 h 759650"/>
                <a:gd name="connsiteX508" fmla="*/ 9441 w 549933"/>
                <a:gd name="connsiteY508" fmla="*/ 466615 h 759650"/>
                <a:gd name="connsiteX509" fmla="*/ 4797 w 549933"/>
                <a:gd name="connsiteY509" fmla="*/ 469340 h 759650"/>
                <a:gd name="connsiteX510" fmla="*/ 2980 w 549933"/>
                <a:gd name="connsiteY510" fmla="*/ 472233 h 759650"/>
                <a:gd name="connsiteX511" fmla="*/ 2172 w 549933"/>
                <a:gd name="connsiteY511" fmla="*/ 476304 h 759650"/>
                <a:gd name="connsiteX512" fmla="*/ 2172 w 549933"/>
                <a:gd name="connsiteY512" fmla="*/ 480643 h 759650"/>
                <a:gd name="connsiteX513" fmla="*/ 2912 w 549933"/>
                <a:gd name="connsiteY513" fmla="*/ 486732 h 759650"/>
                <a:gd name="connsiteX514" fmla="*/ 3787 w 549933"/>
                <a:gd name="connsiteY514" fmla="*/ 490769 h 759650"/>
                <a:gd name="connsiteX515" fmla="*/ 4056 w 549933"/>
                <a:gd name="connsiteY515" fmla="*/ 493527 h 759650"/>
                <a:gd name="connsiteX516" fmla="*/ 3047 w 549933"/>
                <a:gd name="connsiteY516" fmla="*/ 496555 h 759650"/>
                <a:gd name="connsiteX517" fmla="*/ 18 w 549933"/>
                <a:gd name="connsiteY517" fmla="*/ 500322 h 759650"/>
                <a:gd name="connsiteX518" fmla="*/ 3350 w 549933"/>
                <a:gd name="connsiteY518" fmla="*/ 505234 h 759650"/>
                <a:gd name="connsiteX519" fmla="*/ 4662 w 549933"/>
                <a:gd name="connsiteY519" fmla="*/ 508261 h 759650"/>
                <a:gd name="connsiteX520" fmla="*/ 7994 w 549933"/>
                <a:gd name="connsiteY520" fmla="*/ 510448 h 759650"/>
                <a:gd name="connsiteX521" fmla="*/ 11191 w 549933"/>
                <a:gd name="connsiteY521" fmla="*/ 512769 h 759650"/>
                <a:gd name="connsiteX522" fmla="*/ 14826 w 549933"/>
                <a:gd name="connsiteY522" fmla="*/ 513778 h 759650"/>
                <a:gd name="connsiteX523" fmla="*/ 18158 w 549933"/>
                <a:gd name="connsiteY523" fmla="*/ 512769 h 759650"/>
                <a:gd name="connsiteX524" fmla="*/ 18730 w 549933"/>
                <a:gd name="connsiteY524" fmla="*/ 512769 h 759650"/>
                <a:gd name="connsiteX525" fmla="*/ 21624 w 549933"/>
                <a:gd name="connsiteY525" fmla="*/ 512971 h 759650"/>
                <a:gd name="connsiteX526" fmla="*/ 25696 w 549933"/>
                <a:gd name="connsiteY526" fmla="*/ 517983 h 759650"/>
                <a:gd name="connsiteX527" fmla="*/ 29163 w 549933"/>
                <a:gd name="connsiteY527" fmla="*/ 517983 h 759650"/>
                <a:gd name="connsiteX528" fmla="*/ 31653 w 549933"/>
                <a:gd name="connsiteY528" fmla="*/ 517445 h 759650"/>
                <a:gd name="connsiteX529" fmla="*/ 33504 w 549933"/>
                <a:gd name="connsiteY529" fmla="*/ 517983 h 759650"/>
                <a:gd name="connsiteX530" fmla="*/ 33504 w 549933"/>
                <a:gd name="connsiteY530" fmla="*/ 520607 h 759650"/>
                <a:gd name="connsiteX531" fmla="*/ 33067 w 549933"/>
                <a:gd name="connsiteY531" fmla="*/ 523870 h 759650"/>
                <a:gd name="connsiteX532" fmla="*/ 32427 w 549933"/>
                <a:gd name="connsiteY532" fmla="*/ 525485 h 759650"/>
                <a:gd name="connsiteX533" fmla="*/ 31889 w 549933"/>
                <a:gd name="connsiteY533" fmla="*/ 528109 h 759650"/>
                <a:gd name="connsiteX534" fmla="*/ 31990 w 549933"/>
                <a:gd name="connsiteY534" fmla="*/ 530834 h 759650"/>
                <a:gd name="connsiteX535" fmla="*/ 34278 w 549933"/>
                <a:gd name="connsiteY535" fmla="*/ 534298 h 759650"/>
                <a:gd name="connsiteX536" fmla="*/ 36836 w 549933"/>
                <a:gd name="connsiteY536" fmla="*/ 536350 h 759650"/>
                <a:gd name="connsiteX537" fmla="*/ 37004 w 549933"/>
                <a:gd name="connsiteY537" fmla="*/ 539513 h 759650"/>
                <a:gd name="connsiteX538" fmla="*/ 37004 w 549933"/>
                <a:gd name="connsiteY538" fmla="*/ 543213 h 759650"/>
                <a:gd name="connsiteX539" fmla="*/ 38418 w 549933"/>
                <a:gd name="connsiteY539" fmla="*/ 545601 h 759650"/>
                <a:gd name="connsiteX540" fmla="*/ 40605 w 549933"/>
                <a:gd name="connsiteY540" fmla="*/ 548091 h 759650"/>
                <a:gd name="connsiteX541" fmla="*/ 42456 w 549933"/>
                <a:gd name="connsiteY541" fmla="*/ 550143 h 759650"/>
                <a:gd name="connsiteX542" fmla="*/ 43870 w 549933"/>
                <a:gd name="connsiteY542" fmla="*/ 551656 h 759650"/>
                <a:gd name="connsiteX543" fmla="*/ 46057 w 549933"/>
                <a:gd name="connsiteY543" fmla="*/ 553944 h 759650"/>
                <a:gd name="connsiteX544" fmla="*/ 48346 w 549933"/>
                <a:gd name="connsiteY544" fmla="*/ 557207 h 759650"/>
                <a:gd name="connsiteX545" fmla="*/ 48682 w 549933"/>
                <a:gd name="connsiteY545" fmla="*/ 559495 h 759650"/>
                <a:gd name="connsiteX546" fmla="*/ 49658 w 549933"/>
                <a:gd name="connsiteY546" fmla="*/ 560806 h 759650"/>
                <a:gd name="connsiteX547" fmla="*/ 49355 w 549933"/>
                <a:gd name="connsiteY547" fmla="*/ 563060 h 759650"/>
                <a:gd name="connsiteX548" fmla="*/ 49490 w 549933"/>
                <a:gd name="connsiteY548" fmla="*/ 565314 h 759650"/>
                <a:gd name="connsiteX549" fmla="*/ 52384 w 549933"/>
                <a:gd name="connsiteY549" fmla="*/ 566693 h 759650"/>
                <a:gd name="connsiteX550" fmla="*/ 53529 w 549933"/>
                <a:gd name="connsiteY550" fmla="*/ 566693 h 759650"/>
                <a:gd name="connsiteX551" fmla="*/ 56423 w 549933"/>
                <a:gd name="connsiteY551" fmla="*/ 568443 h 759650"/>
                <a:gd name="connsiteX552" fmla="*/ 59183 w 549933"/>
                <a:gd name="connsiteY552" fmla="*/ 570461 h 759650"/>
                <a:gd name="connsiteX553" fmla="*/ 61505 w 549933"/>
                <a:gd name="connsiteY553" fmla="*/ 573219 h 759650"/>
                <a:gd name="connsiteX554" fmla="*/ 61505 w 549933"/>
                <a:gd name="connsiteY554" fmla="*/ 575238 h 759650"/>
                <a:gd name="connsiteX555" fmla="*/ 60933 w 549933"/>
                <a:gd name="connsiteY555" fmla="*/ 578131 h 759650"/>
                <a:gd name="connsiteX556" fmla="*/ 60360 w 549933"/>
                <a:gd name="connsiteY556" fmla="*/ 581327 h 759650"/>
                <a:gd name="connsiteX557" fmla="*/ 59048 w 549933"/>
                <a:gd name="connsiteY557" fmla="*/ 587113 h 759650"/>
                <a:gd name="connsiteX558" fmla="*/ 56726 w 549933"/>
                <a:gd name="connsiteY558" fmla="*/ 590746 h 759650"/>
                <a:gd name="connsiteX559" fmla="*/ 55144 w 549933"/>
                <a:gd name="connsiteY559" fmla="*/ 595253 h 759650"/>
                <a:gd name="connsiteX560" fmla="*/ 53832 w 549933"/>
                <a:gd name="connsiteY560" fmla="*/ 598146 h 759650"/>
                <a:gd name="connsiteX561" fmla="*/ 51644 w 549933"/>
                <a:gd name="connsiteY561" fmla="*/ 599593 h 759650"/>
                <a:gd name="connsiteX562" fmla="*/ 49187 w 549933"/>
                <a:gd name="connsiteY562" fmla="*/ 602183 h 759650"/>
                <a:gd name="connsiteX563" fmla="*/ 46158 w 549933"/>
                <a:gd name="connsiteY563" fmla="*/ 604504 h 759650"/>
                <a:gd name="connsiteX564" fmla="*/ 44139 w 549933"/>
                <a:gd name="connsiteY564" fmla="*/ 607532 h 759650"/>
                <a:gd name="connsiteX565" fmla="*/ 44442 w 549933"/>
                <a:gd name="connsiteY565" fmla="*/ 610559 h 759650"/>
                <a:gd name="connsiteX566" fmla="*/ 48514 w 549933"/>
                <a:gd name="connsiteY566" fmla="*/ 614462 h 759650"/>
                <a:gd name="connsiteX567" fmla="*/ 46932 w 549933"/>
                <a:gd name="connsiteY567" fmla="*/ 616648 h 759650"/>
                <a:gd name="connsiteX568" fmla="*/ 43029 w 549933"/>
                <a:gd name="connsiteY568" fmla="*/ 618532 h 759650"/>
                <a:gd name="connsiteX569" fmla="*/ 38822 w 549933"/>
                <a:gd name="connsiteY569" fmla="*/ 622602 h 759650"/>
                <a:gd name="connsiteX570" fmla="*/ 36870 w 549933"/>
                <a:gd name="connsiteY570" fmla="*/ 628187 h 759650"/>
                <a:gd name="connsiteX571" fmla="*/ 34043 w 549933"/>
                <a:gd name="connsiteY571" fmla="*/ 633401 h 759650"/>
                <a:gd name="connsiteX572" fmla="*/ 30341 w 549933"/>
                <a:gd name="connsiteY572" fmla="*/ 637303 h 759650"/>
                <a:gd name="connsiteX573" fmla="*/ 28826 w 549933"/>
                <a:gd name="connsiteY573" fmla="*/ 641003 h 759650"/>
                <a:gd name="connsiteX574" fmla="*/ 28624 w 549933"/>
                <a:gd name="connsiteY574" fmla="*/ 646419 h 759650"/>
                <a:gd name="connsiteX575" fmla="*/ 29264 w 549933"/>
                <a:gd name="connsiteY575" fmla="*/ 652071 h 759650"/>
                <a:gd name="connsiteX576" fmla="*/ 31653 w 549933"/>
                <a:gd name="connsiteY576" fmla="*/ 653585 h 759650"/>
                <a:gd name="connsiteX577" fmla="*/ 29701 w 549933"/>
                <a:gd name="connsiteY577" fmla="*/ 659673 h 759650"/>
                <a:gd name="connsiteX578" fmla="*/ 30576 w 549933"/>
                <a:gd name="connsiteY578" fmla="*/ 664248 h 759650"/>
                <a:gd name="connsiteX579" fmla="*/ 30341 w 549933"/>
                <a:gd name="connsiteY579" fmla="*/ 667074 h 759650"/>
                <a:gd name="connsiteX580" fmla="*/ 28591 w 549933"/>
                <a:gd name="connsiteY580" fmla="*/ 667074 h 759650"/>
                <a:gd name="connsiteX581" fmla="*/ 25966 w 549933"/>
                <a:gd name="connsiteY581" fmla="*/ 667074 h 759650"/>
                <a:gd name="connsiteX582" fmla="*/ 22061 w 549933"/>
                <a:gd name="connsiteY582" fmla="*/ 668386 h 759650"/>
                <a:gd name="connsiteX583" fmla="*/ 17720 w 549933"/>
                <a:gd name="connsiteY583" fmla="*/ 669462 h 759650"/>
                <a:gd name="connsiteX584" fmla="*/ 18360 w 549933"/>
                <a:gd name="connsiteY584" fmla="*/ 672053 h 759650"/>
                <a:gd name="connsiteX585" fmla="*/ 19437 w 549933"/>
                <a:gd name="connsiteY585" fmla="*/ 674004 h 759650"/>
                <a:gd name="connsiteX586" fmla="*/ 16609 w 549933"/>
                <a:gd name="connsiteY586" fmla="*/ 677906 h 759650"/>
                <a:gd name="connsiteX587" fmla="*/ 11831 w 549933"/>
                <a:gd name="connsiteY587" fmla="*/ 677906 h 759650"/>
                <a:gd name="connsiteX588" fmla="*/ 8566 w 549933"/>
                <a:gd name="connsiteY588" fmla="*/ 680294 h 759650"/>
                <a:gd name="connsiteX589" fmla="*/ 4427 w 549933"/>
                <a:gd name="connsiteY589" fmla="*/ 682044 h 759650"/>
                <a:gd name="connsiteX590" fmla="*/ 3787 w 549933"/>
                <a:gd name="connsiteY590" fmla="*/ 685508 h 759650"/>
                <a:gd name="connsiteX591" fmla="*/ 9643 w 549933"/>
                <a:gd name="connsiteY591" fmla="*/ 688973 h 759650"/>
                <a:gd name="connsiteX592" fmla="*/ 9879 w 549933"/>
                <a:gd name="connsiteY592" fmla="*/ 690050 h 759650"/>
                <a:gd name="connsiteX593" fmla="*/ 4225 w 549933"/>
                <a:gd name="connsiteY593" fmla="*/ 692001 h 759650"/>
                <a:gd name="connsiteX594" fmla="*/ 4864 w 549933"/>
                <a:gd name="connsiteY594" fmla="*/ 695264 h 759650"/>
                <a:gd name="connsiteX595" fmla="*/ 8768 w 549933"/>
                <a:gd name="connsiteY595" fmla="*/ 698964 h 759650"/>
                <a:gd name="connsiteX596" fmla="*/ 12470 w 549933"/>
                <a:gd name="connsiteY596" fmla="*/ 703304 h 759650"/>
                <a:gd name="connsiteX597" fmla="*/ 14422 w 549933"/>
                <a:gd name="connsiteY597" fmla="*/ 705490 h 759650"/>
                <a:gd name="connsiteX598" fmla="*/ 14422 w 549933"/>
                <a:gd name="connsiteY598" fmla="*/ 709393 h 759650"/>
                <a:gd name="connsiteX599" fmla="*/ 14422 w 549933"/>
                <a:gd name="connsiteY599" fmla="*/ 713530 h 759650"/>
                <a:gd name="connsiteX600" fmla="*/ 19201 w 549933"/>
                <a:gd name="connsiteY600" fmla="*/ 717668 h 759650"/>
                <a:gd name="connsiteX601" fmla="*/ 26369 w 549933"/>
                <a:gd name="connsiteY601" fmla="*/ 723319 h 759650"/>
                <a:gd name="connsiteX602" fmla="*/ 30946 w 549933"/>
                <a:gd name="connsiteY602" fmla="*/ 724833 h 759650"/>
                <a:gd name="connsiteX603" fmla="*/ 31250 w 549933"/>
                <a:gd name="connsiteY603" fmla="*/ 729913 h 759650"/>
                <a:gd name="connsiteX604" fmla="*/ 34581 w 549933"/>
                <a:gd name="connsiteY604" fmla="*/ 728164 h 759650"/>
                <a:gd name="connsiteX605" fmla="*/ 36600 w 549933"/>
                <a:gd name="connsiteY605" fmla="*/ 727289 h 759650"/>
                <a:gd name="connsiteX606" fmla="*/ 39226 w 549933"/>
                <a:gd name="connsiteY606" fmla="*/ 726717 h 759650"/>
                <a:gd name="connsiteX607" fmla="*/ 41379 w 549933"/>
                <a:gd name="connsiteY607" fmla="*/ 726717 h 759650"/>
                <a:gd name="connsiteX608" fmla="*/ 42995 w 549933"/>
                <a:gd name="connsiteY608" fmla="*/ 728164 h 759650"/>
                <a:gd name="connsiteX609" fmla="*/ 46899 w 549933"/>
                <a:gd name="connsiteY609" fmla="*/ 728736 h 759650"/>
                <a:gd name="connsiteX610" fmla="*/ 50534 w 549933"/>
                <a:gd name="connsiteY610" fmla="*/ 729610 h 759650"/>
                <a:gd name="connsiteX611" fmla="*/ 54303 w 549933"/>
                <a:gd name="connsiteY611" fmla="*/ 728164 h 759650"/>
                <a:gd name="connsiteX612" fmla="*/ 56760 w 549933"/>
                <a:gd name="connsiteY612" fmla="*/ 726246 h 759650"/>
                <a:gd name="connsiteX613" fmla="*/ 58913 w 549933"/>
                <a:gd name="connsiteY613" fmla="*/ 724833 h 759650"/>
                <a:gd name="connsiteX614" fmla="*/ 60495 w 549933"/>
                <a:gd name="connsiteY614" fmla="*/ 724833 h 759650"/>
                <a:gd name="connsiteX615" fmla="*/ 62380 w 549933"/>
                <a:gd name="connsiteY615" fmla="*/ 725842 h 759650"/>
                <a:gd name="connsiteX616" fmla="*/ 63120 w 549933"/>
                <a:gd name="connsiteY616" fmla="*/ 729038 h 759650"/>
                <a:gd name="connsiteX617" fmla="*/ 63120 w 549933"/>
                <a:gd name="connsiteY617" fmla="*/ 730922 h 759650"/>
                <a:gd name="connsiteX618" fmla="*/ 67899 w 549933"/>
                <a:gd name="connsiteY618" fmla="*/ 732066 h 759650"/>
                <a:gd name="connsiteX619" fmla="*/ 70221 w 549933"/>
                <a:gd name="connsiteY619" fmla="*/ 733209 h 759650"/>
                <a:gd name="connsiteX620" fmla="*/ 73418 w 549933"/>
                <a:gd name="connsiteY620" fmla="*/ 734219 h 759650"/>
                <a:gd name="connsiteX621" fmla="*/ 77188 w 549933"/>
                <a:gd name="connsiteY621" fmla="*/ 734791 h 759650"/>
                <a:gd name="connsiteX622" fmla="*/ 80519 w 549933"/>
                <a:gd name="connsiteY622" fmla="*/ 735228 h 759650"/>
                <a:gd name="connsiteX623" fmla="*/ 84424 w 549933"/>
                <a:gd name="connsiteY623" fmla="*/ 735968 h 759650"/>
                <a:gd name="connsiteX624" fmla="*/ 87318 w 549933"/>
                <a:gd name="connsiteY624" fmla="*/ 736843 h 759650"/>
                <a:gd name="connsiteX625" fmla="*/ 90919 w 549933"/>
                <a:gd name="connsiteY625" fmla="*/ 739298 h 759650"/>
                <a:gd name="connsiteX626" fmla="*/ 91794 w 549933"/>
                <a:gd name="connsiteY626" fmla="*/ 739601 h 759650"/>
                <a:gd name="connsiteX627" fmla="*/ 93544 w 549933"/>
                <a:gd name="connsiteY627" fmla="*/ 741922 h 759650"/>
                <a:gd name="connsiteX628" fmla="*/ 97885 w 549933"/>
                <a:gd name="connsiteY628" fmla="*/ 743941 h 759650"/>
                <a:gd name="connsiteX629" fmla="*/ 102092 w 549933"/>
                <a:gd name="connsiteY629" fmla="*/ 745522 h 759650"/>
                <a:gd name="connsiteX630" fmla="*/ 108049 w 549933"/>
                <a:gd name="connsiteY630" fmla="*/ 747405 h 759650"/>
                <a:gd name="connsiteX631" fmla="*/ 110237 w 549933"/>
                <a:gd name="connsiteY631" fmla="*/ 747708 h 759650"/>
                <a:gd name="connsiteX632" fmla="*/ 116900 w 549933"/>
                <a:gd name="connsiteY632" fmla="*/ 747002 h 759650"/>
                <a:gd name="connsiteX633" fmla="*/ 118650 w 549933"/>
                <a:gd name="connsiteY633" fmla="*/ 746127 h 759650"/>
                <a:gd name="connsiteX634" fmla="*/ 120266 w 549933"/>
                <a:gd name="connsiteY634" fmla="*/ 745992 h 759650"/>
                <a:gd name="connsiteX635" fmla="*/ 124607 w 549933"/>
                <a:gd name="connsiteY635" fmla="*/ 748314 h 759650"/>
                <a:gd name="connsiteX636" fmla="*/ 129252 w 549933"/>
                <a:gd name="connsiteY636" fmla="*/ 748886 h 759650"/>
                <a:gd name="connsiteX637" fmla="*/ 133593 w 549933"/>
                <a:gd name="connsiteY637" fmla="*/ 747574 h 759650"/>
                <a:gd name="connsiteX638" fmla="*/ 137228 w 549933"/>
                <a:gd name="connsiteY638" fmla="*/ 746833 h 759650"/>
                <a:gd name="connsiteX639" fmla="*/ 140189 w 549933"/>
                <a:gd name="connsiteY639" fmla="*/ 749861 h 759650"/>
                <a:gd name="connsiteX640" fmla="*/ 143151 w 549933"/>
                <a:gd name="connsiteY640" fmla="*/ 752922 h 759650"/>
                <a:gd name="connsiteX641" fmla="*/ 143151 w 549933"/>
                <a:gd name="connsiteY641" fmla="*/ 755243 h 759650"/>
                <a:gd name="connsiteX642" fmla="*/ 143151 w 549933"/>
                <a:gd name="connsiteY642" fmla="*/ 758708 h 759650"/>
                <a:gd name="connsiteX643" fmla="*/ 147492 w 549933"/>
                <a:gd name="connsiteY643" fmla="*/ 756084 h 759650"/>
                <a:gd name="connsiteX644" fmla="*/ 150084 w 549933"/>
                <a:gd name="connsiteY644" fmla="*/ 750870 h 759650"/>
                <a:gd name="connsiteX645" fmla="*/ 150084 w 549933"/>
                <a:gd name="connsiteY645" fmla="*/ 749996 h 759650"/>
                <a:gd name="connsiteX646" fmla="*/ 151665 w 549933"/>
                <a:gd name="connsiteY646" fmla="*/ 745084 h 759650"/>
                <a:gd name="connsiteX647" fmla="*/ 153550 w 549933"/>
                <a:gd name="connsiteY647" fmla="*/ 742898 h 759650"/>
                <a:gd name="connsiteX648" fmla="*/ 156007 w 549933"/>
                <a:gd name="connsiteY648" fmla="*/ 741014 h 759650"/>
                <a:gd name="connsiteX649" fmla="*/ 158329 w 549933"/>
                <a:gd name="connsiteY649" fmla="*/ 738121 h 759650"/>
                <a:gd name="connsiteX650" fmla="*/ 160651 w 549933"/>
                <a:gd name="connsiteY650" fmla="*/ 736674 h 759650"/>
                <a:gd name="connsiteX651" fmla="*/ 162973 w 549933"/>
                <a:gd name="connsiteY651" fmla="*/ 737549 h 759650"/>
                <a:gd name="connsiteX652" fmla="*/ 165565 w 549933"/>
                <a:gd name="connsiteY652" fmla="*/ 738424 h 759650"/>
                <a:gd name="connsiteX653" fmla="*/ 167450 w 549933"/>
                <a:gd name="connsiteY653" fmla="*/ 738726 h 759650"/>
                <a:gd name="connsiteX654" fmla="*/ 173541 w 549933"/>
                <a:gd name="connsiteY654" fmla="*/ 742360 h 759650"/>
                <a:gd name="connsiteX655" fmla="*/ 175123 w 549933"/>
                <a:gd name="connsiteY655" fmla="*/ 748011 h 759650"/>
                <a:gd name="connsiteX656" fmla="*/ 176132 w 549933"/>
                <a:gd name="connsiteY656" fmla="*/ 750029 h 759650"/>
                <a:gd name="connsiteX657" fmla="*/ 176132 w 549933"/>
                <a:gd name="connsiteY657" fmla="*/ 753494 h 759650"/>
                <a:gd name="connsiteX658" fmla="*/ 176132 w 549933"/>
                <a:gd name="connsiteY658" fmla="*/ 756959 h 759650"/>
                <a:gd name="connsiteX659" fmla="*/ 176873 w 549933"/>
                <a:gd name="connsiteY659" fmla="*/ 759011 h 759650"/>
                <a:gd name="connsiteX660" fmla="*/ 178084 w 549933"/>
                <a:gd name="connsiteY660" fmla="*/ 759650 h 759650"/>
                <a:gd name="connsiteX661" fmla="*/ 183301 w 549933"/>
                <a:gd name="connsiteY661" fmla="*/ 758877 h 759650"/>
                <a:gd name="connsiteX662" fmla="*/ 186330 w 549933"/>
                <a:gd name="connsiteY662" fmla="*/ 755614 h 759650"/>
                <a:gd name="connsiteX663" fmla="*/ 188517 w 549933"/>
                <a:gd name="connsiteY663" fmla="*/ 751913 h 759650"/>
                <a:gd name="connsiteX664" fmla="*/ 190705 w 549933"/>
                <a:gd name="connsiteY664" fmla="*/ 745185 h 759650"/>
                <a:gd name="connsiteX665" fmla="*/ 191142 w 549933"/>
                <a:gd name="connsiteY665" fmla="*/ 738659 h 759650"/>
                <a:gd name="connsiteX666" fmla="*/ 188315 w 549933"/>
                <a:gd name="connsiteY666" fmla="*/ 732806 h 759650"/>
                <a:gd name="connsiteX667" fmla="*/ 183974 w 549933"/>
                <a:gd name="connsiteY667" fmla="*/ 725842 h 759650"/>
                <a:gd name="connsiteX668" fmla="*/ 177445 w 549933"/>
                <a:gd name="connsiteY668" fmla="*/ 719989 h 759650"/>
                <a:gd name="connsiteX669" fmla="*/ 173541 w 549933"/>
                <a:gd name="connsiteY669" fmla="*/ 716087 h 759650"/>
                <a:gd name="connsiteX670" fmla="*/ 172026 w 549933"/>
                <a:gd name="connsiteY670" fmla="*/ 707845 h 759650"/>
                <a:gd name="connsiteX671" fmla="*/ 172228 w 549933"/>
                <a:gd name="connsiteY671" fmla="*/ 695230 h 759650"/>
                <a:gd name="connsiteX672" fmla="*/ 177882 w 549933"/>
                <a:gd name="connsiteY672" fmla="*/ 687830 h 759650"/>
                <a:gd name="connsiteX673" fmla="*/ 182123 w 549933"/>
                <a:gd name="connsiteY673" fmla="*/ 685004 h 759650"/>
                <a:gd name="connsiteX674" fmla="*/ 183099 w 549933"/>
                <a:gd name="connsiteY674" fmla="*/ 681976 h 759650"/>
                <a:gd name="connsiteX675" fmla="*/ 183099 w 549933"/>
                <a:gd name="connsiteY675" fmla="*/ 675248 h 759650"/>
                <a:gd name="connsiteX676" fmla="*/ 184613 w 549933"/>
                <a:gd name="connsiteY676" fmla="*/ 673196 h 759650"/>
                <a:gd name="connsiteX677" fmla="*/ 190907 w 549933"/>
                <a:gd name="connsiteY677" fmla="*/ 670909 h 759650"/>
                <a:gd name="connsiteX678" fmla="*/ 196123 w 549933"/>
                <a:gd name="connsiteY678" fmla="*/ 670909 h 759650"/>
                <a:gd name="connsiteX679" fmla="*/ 197873 w 549933"/>
                <a:gd name="connsiteY679" fmla="*/ 669833 h 759650"/>
                <a:gd name="connsiteX680" fmla="*/ 201138 w 549933"/>
                <a:gd name="connsiteY680" fmla="*/ 666569 h 759650"/>
                <a:gd name="connsiteX681" fmla="*/ 208744 w 549933"/>
                <a:gd name="connsiteY681" fmla="*/ 656141 h 759650"/>
                <a:gd name="connsiteX682" fmla="*/ 209821 w 549933"/>
                <a:gd name="connsiteY682" fmla="*/ 648101 h 759650"/>
                <a:gd name="connsiteX683" fmla="*/ 215273 w 549933"/>
                <a:gd name="connsiteY683" fmla="*/ 641138 h 759650"/>
                <a:gd name="connsiteX684" fmla="*/ 221128 w 549933"/>
                <a:gd name="connsiteY684" fmla="*/ 634612 h 759650"/>
                <a:gd name="connsiteX685" fmla="*/ 224157 w 549933"/>
                <a:gd name="connsiteY685" fmla="*/ 629633 h 759650"/>
                <a:gd name="connsiteX686" fmla="*/ 226547 w 549933"/>
                <a:gd name="connsiteY686" fmla="*/ 622232 h 759650"/>
                <a:gd name="connsiteX687" fmla="*/ 226783 w 549933"/>
                <a:gd name="connsiteY687" fmla="*/ 611804 h 759650"/>
                <a:gd name="connsiteX688" fmla="*/ 227220 w 549933"/>
                <a:gd name="connsiteY688" fmla="*/ 606825 h 759650"/>
                <a:gd name="connsiteX689" fmla="*/ 229172 w 549933"/>
                <a:gd name="connsiteY689" fmla="*/ 601611 h 759650"/>
                <a:gd name="connsiteX690" fmla="*/ 234389 w 549933"/>
                <a:gd name="connsiteY690" fmla="*/ 596633 h 759650"/>
                <a:gd name="connsiteX691" fmla="*/ 239403 w 549933"/>
                <a:gd name="connsiteY691" fmla="*/ 595119 h 759650"/>
                <a:gd name="connsiteX692" fmla="*/ 243744 w 549933"/>
                <a:gd name="connsiteY692" fmla="*/ 593807 h 759650"/>
                <a:gd name="connsiteX693" fmla="*/ 248961 w 549933"/>
                <a:gd name="connsiteY693" fmla="*/ 585128 h 759650"/>
                <a:gd name="connsiteX694" fmla="*/ 251350 w 549933"/>
                <a:gd name="connsiteY694" fmla="*/ 581226 h 759650"/>
                <a:gd name="connsiteX695" fmla="*/ 260908 w 549933"/>
                <a:gd name="connsiteY695" fmla="*/ 569284 h 759650"/>
                <a:gd name="connsiteX696" fmla="*/ 266562 w 549933"/>
                <a:gd name="connsiteY696" fmla="*/ 568207 h 759650"/>
                <a:gd name="connsiteX697" fmla="*/ 271577 w 549933"/>
                <a:gd name="connsiteY697" fmla="*/ 569721 h 759650"/>
                <a:gd name="connsiteX698" fmla="*/ 280563 w 549933"/>
                <a:gd name="connsiteY698" fmla="*/ 571235 h 759650"/>
                <a:gd name="connsiteX699" fmla="*/ 286789 w 549933"/>
                <a:gd name="connsiteY699" fmla="*/ 563632 h 759650"/>
                <a:gd name="connsiteX700" fmla="*/ 291332 w 549933"/>
                <a:gd name="connsiteY700" fmla="*/ 556904 h 759650"/>
                <a:gd name="connsiteX701" fmla="*/ 294597 w 549933"/>
                <a:gd name="connsiteY701" fmla="*/ 550614 h 759650"/>
                <a:gd name="connsiteX702" fmla="*/ 300015 w 549933"/>
                <a:gd name="connsiteY702" fmla="*/ 544626 h 759650"/>
                <a:gd name="connsiteX703" fmla="*/ 304794 w 549933"/>
                <a:gd name="connsiteY703" fmla="*/ 542338 h 759650"/>
                <a:gd name="connsiteX704" fmla="*/ 312635 w 549933"/>
                <a:gd name="connsiteY704" fmla="*/ 542338 h 759650"/>
                <a:gd name="connsiteX705" fmla="*/ 319602 w 549933"/>
                <a:gd name="connsiteY705" fmla="*/ 542338 h 759650"/>
                <a:gd name="connsiteX706" fmla="*/ 325693 w 549933"/>
                <a:gd name="connsiteY706" fmla="*/ 542540 h 759650"/>
                <a:gd name="connsiteX707" fmla="*/ 335924 w 549933"/>
                <a:gd name="connsiteY707" fmla="*/ 538840 h 759650"/>
                <a:gd name="connsiteX708" fmla="*/ 340501 w 549933"/>
                <a:gd name="connsiteY708" fmla="*/ 538840 h 759650"/>
                <a:gd name="connsiteX709" fmla="*/ 347872 w 549933"/>
                <a:gd name="connsiteY709" fmla="*/ 537528 h 759650"/>
                <a:gd name="connsiteX710" fmla="*/ 355040 w 549933"/>
                <a:gd name="connsiteY710" fmla="*/ 534265 h 759650"/>
                <a:gd name="connsiteX711" fmla="*/ 360896 w 549933"/>
                <a:gd name="connsiteY711" fmla="*/ 530127 h 759650"/>
                <a:gd name="connsiteX712" fmla="*/ 361973 w 549933"/>
                <a:gd name="connsiteY712" fmla="*/ 525552 h 759650"/>
                <a:gd name="connsiteX713" fmla="*/ 363723 w 549933"/>
                <a:gd name="connsiteY713" fmla="*/ 519901 h 759650"/>
                <a:gd name="connsiteX714" fmla="*/ 365675 w 549933"/>
                <a:gd name="connsiteY714" fmla="*/ 516873 h 759650"/>
                <a:gd name="connsiteX715" fmla="*/ 365675 w 549933"/>
                <a:gd name="connsiteY715" fmla="*/ 508396 h 759650"/>
                <a:gd name="connsiteX716" fmla="*/ 370690 w 549933"/>
                <a:gd name="connsiteY716" fmla="*/ 506882 h 759650"/>
                <a:gd name="connsiteX717" fmla="*/ 376983 w 549933"/>
                <a:gd name="connsiteY717" fmla="*/ 505806 h 759650"/>
                <a:gd name="connsiteX718" fmla="*/ 380483 w 549933"/>
                <a:gd name="connsiteY718" fmla="*/ 505806 h 759650"/>
                <a:gd name="connsiteX719" fmla="*/ 383074 w 549933"/>
                <a:gd name="connsiteY719" fmla="*/ 503417 h 759650"/>
                <a:gd name="connsiteX720" fmla="*/ 384690 w 549933"/>
                <a:gd name="connsiteY720" fmla="*/ 500793 h 759650"/>
                <a:gd name="connsiteX721" fmla="*/ 386541 w 549933"/>
                <a:gd name="connsiteY721" fmla="*/ 496656 h 759650"/>
                <a:gd name="connsiteX722" fmla="*/ 386541 w 549933"/>
                <a:gd name="connsiteY722" fmla="*/ 494469 h 759650"/>
                <a:gd name="connsiteX723" fmla="*/ 387618 w 549933"/>
                <a:gd name="connsiteY723" fmla="*/ 493594 h 759650"/>
                <a:gd name="connsiteX724" fmla="*/ 383041 w 549933"/>
                <a:gd name="connsiteY724" fmla="*/ 485790 h 759650"/>
                <a:gd name="connsiteX725" fmla="*/ 378464 w 549933"/>
                <a:gd name="connsiteY725" fmla="*/ 481451 h 759650"/>
                <a:gd name="connsiteX726" fmla="*/ 373887 w 549933"/>
                <a:gd name="connsiteY726" fmla="*/ 473209 h 759650"/>
                <a:gd name="connsiteX727" fmla="*/ 367795 w 549933"/>
                <a:gd name="connsiteY727" fmla="*/ 464092 h 759650"/>
                <a:gd name="connsiteX728" fmla="*/ 364430 w 549933"/>
                <a:gd name="connsiteY728" fmla="*/ 459517 h 759650"/>
                <a:gd name="connsiteX729" fmla="*/ 360391 w 549933"/>
                <a:gd name="connsiteY729" fmla="*/ 456490 h 759650"/>
                <a:gd name="connsiteX730" fmla="*/ 360391 w 549933"/>
                <a:gd name="connsiteY730" fmla="*/ 450468 h 759650"/>
                <a:gd name="connsiteX731" fmla="*/ 357901 w 549933"/>
                <a:gd name="connsiteY731" fmla="*/ 452352 h 759650"/>
                <a:gd name="connsiteX732" fmla="*/ 356151 w 549933"/>
                <a:gd name="connsiteY732" fmla="*/ 452689 h 759650"/>
                <a:gd name="connsiteX733" fmla="*/ 352011 w 549933"/>
                <a:gd name="connsiteY733" fmla="*/ 454337 h 759650"/>
                <a:gd name="connsiteX734" fmla="*/ 348848 w 549933"/>
                <a:gd name="connsiteY734" fmla="*/ 456086 h 759650"/>
                <a:gd name="connsiteX735" fmla="*/ 347198 w 549933"/>
                <a:gd name="connsiteY735" fmla="*/ 456725 h 759650"/>
                <a:gd name="connsiteX736" fmla="*/ 343194 w 549933"/>
                <a:gd name="connsiteY736" fmla="*/ 454774 h 759650"/>
                <a:gd name="connsiteX737" fmla="*/ 341982 w 549933"/>
                <a:gd name="connsiteY737" fmla="*/ 455312 h 759650"/>
                <a:gd name="connsiteX738" fmla="*/ 340400 w 549933"/>
                <a:gd name="connsiteY738" fmla="*/ 457398 h 759650"/>
                <a:gd name="connsiteX739" fmla="*/ 338078 w 549933"/>
                <a:gd name="connsiteY739" fmla="*/ 458205 h 759650"/>
                <a:gd name="connsiteX740" fmla="*/ 335689 w 549933"/>
                <a:gd name="connsiteY740" fmla="*/ 458172 h 759650"/>
                <a:gd name="connsiteX741" fmla="*/ 332121 w 549933"/>
                <a:gd name="connsiteY741" fmla="*/ 458172 h 759650"/>
                <a:gd name="connsiteX742" fmla="*/ 330035 w 549933"/>
                <a:gd name="connsiteY742" fmla="*/ 457533 h 759650"/>
                <a:gd name="connsiteX743" fmla="*/ 329934 w 549933"/>
                <a:gd name="connsiteY743" fmla="*/ 456759 h 759650"/>
                <a:gd name="connsiteX744" fmla="*/ 331684 w 549933"/>
                <a:gd name="connsiteY744" fmla="*/ 455851 h 759650"/>
                <a:gd name="connsiteX745" fmla="*/ 333535 w 549933"/>
                <a:gd name="connsiteY745" fmla="*/ 454135 h 759650"/>
                <a:gd name="connsiteX746" fmla="*/ 333198 w 549933"/>
                <a:gd name="connsiteY746" fmla="*/ 452083 h 759650"/>
                <a:gd name="connsiteX747" fmla="*/ 331145 w 549933"/>
                <a:gd name="connsiteY747" fmla="*/ 450569 h 759650"/>
                <a:gd name="connsiteX748" fmla="*/ 328857 w 549933"/>
                <a:gd name="connsiteY748" fmla="*/ 450771 h 759650"/>
                <a:gd name="connsiteX749" fmla="*/ 327645 w 549933"/>
                <a:gd name="connsiteY749" fmla="*/ 452520 h 759650"/>
                <a:gd name="connsiteX750" fmla="*/ 327006 w 549933"/>
                <a:gd name="connsiteY750" fmla="*/ 453597 h 759650"/>
                <a:gd name="connsiteX751" fmla="*/ 322765 w 549933"/>
                <a:gd name="connsiteY751" fmla="*/ 454909 h 759650"/>
                <a:gd name="connsiteX752" fmla="*/ 321284 w 549933"/>
                <a:gd name="connsiteY752" fmla="*/ 455851 h 759650"/>
                <a:gd name="connsiteX753" fmla="*/ 318121 w 549933"/>
                <a:gd name="connsiteY753" fmla="*/ 454505 h 759650"/>
                <a:gd name="connsiteX754" fmla="*/ 317010 w 549933"/>
                <a:gd name="connsiteY754" fmla="*/ 454000 h 759650"/>
                <a:gd name="connsiteX755" fmla="*/ 316169 w 549933"/>
                <a:gd name="connsiteY755" fmla="*/ 452991 h 759650"/>
                <a:gd name="connsiteX756" fmla="*/ 316909 w 549933"/>
                <a:gd name="connsiteY756" fmla="*/ 451108 h 759650"/>
                <a:gd name="connsiteX757" fmla="*/ 316909 w 549933"/>
                <a:gd name="connsiteY757" fmla="*/ 451040 h 759650"/>
                <a:gd name="connsiteX758" fmla="*/ 316909 w 549933"/>
                <a:gd name="connsiteY758" fmla="*/ 449358 h 759650"/>
                <a:gd name="connsiteX759" fmla="*/ 316909 w 549933"/>
                <a:gd name="connsiteY759" fmla="*/ 447542 h 759650"/>
                <a:gd name="connsiteX760" fmla="*/ 316472 w 549933"/>
                <a:gd name="connsiteY760" fmla="*/ 446129 h 759650"/>
                <a:gd name="connsiteX761" fmla="*/ 314183 w 549933"/>
                <a:gd name="connsiteY761" fmla="*/ 444245 h 759650"/>
                <a:gd name="connsiteX762" fmla="*/ 313443 w 549933"/>
                <a:gd name="connsiteY762" fmla="*/ 444346 h 759650"/>
                <a:gd name="connsiteX763" fmla="*/ 312131 w 549933"/>
                <a:gd name="connsiteY763" fmla="*/ 444985 h 759650"/>
                <a:gd name="connsiteX764" fmla="*/ 310414 w 549933"/>
                <a:gd name="connsiteY764" fmla="*/ 445961 h 759650"/>
                <a:gd name="connsiteX765" fmla="*/ 307318 w 549933"/>
                <a:gd name="connsiteY765" fmla="*/ 446734 h 759650"/>
                <a:gd name="connsiteX766" fmla="*/ 302102 w 549933"/>
                <a:gd name="connsiteY766" fmla="*/ 446734 h 759650"/>
                <a:gd name="connsiteX767" fmla="*/ 298837 w 549933"/>
                <a:gd name="connsiteY767" fmla="*/ 446734 h 759650"/>
                <a:gd name="connsiteX768" fmla="*/ 296010 w 549933"/>
                <a:gd name="connsiteY768" fmla="*/ 445221 h 759650"/>
                <a:gd name="connsiteX769" fmla="*/ 290019 w 549933"/>
                <a:gd name="connsiteY769" fmla="*/ 440343 h 759650"/>
                <a:gd name="connsiteX770" fmla="*/ 287293 w 549933"/>
                <a:gd name="connsiteY770" fmla="*/ 438392 h 759650"/>
                <a:gd name="connsiteX771" fmla="*/ 283827 w 549933"/>
                <a:gd name="connsiteY771" fmla="*/ 435129 h 759650"/>
                <a:gd name="connsiteX772" fmla="*/ 281740 w 549933"/>
                <a:gd name="connsiteY772" fmla="*/ 431327 h 759650"/>
                <a:gd name="connsiteX773" fmla="*/ 281101 w 549933"/>
                <a:gd name="connsiteY773" fmla="*/ 425575 h 759650"/>
                <a:gd name="connsiteX774" fmla="*/ 280360 w 549933"/>
                <a:gd name="connsiteY774" fmla="*/ 421572 h 759650"/>
                <a:gd name="connsiteX775" fmla="*/ 280360 w 549933"/>
                <a:gd name="connsiteY775" fmla="*/ 415719 h 759650"/>
                <a:gd name="connsiteX776" fmla="*/ 281942 w 549933"/>
                <a:gd name="connsiteY776" fmla="*/ 413768 h 759650"/>
                <a:gd name="connsiteX777" fmla="*/ 286991 w 549933"/>
                <a:gd name="connsiteY777" fmla="*/ 410168 h 759650"/>
                <a:gd name="connsiteX778" fmla="*/ 291568 w 549933"/>
                <a:gd name="connsiteY778" fmla="*/ 408755 h 759650"/>
                <a:gd name="connsiteX779" fmla="*/ 294731 w 549933"/>
                <a:gd name="connsiteY779" fmla="*/ 406468 h 759650"/>
                <a:gd name="connsiteX780" fmla="*/ 298332 w 549933"/>
                <a:gd name="connsiteY780" fmla="*/ 404281 h 759650"/>
                <a:gd name="connsiteX781" fmla="*/ 301260 w 549933"/>
                <a:gd name="connsiteY781" fmla="*/ 402095 h 759650"/>
                <a:gd name="connsiteX782" fmla="*/ 303885 w 549933"/>
                <a:gd name="connsiteY782" fmla="*/ 399370 h 759650"/>
                <a:gd name="connsiteX783" fmla="*/ 303111 w 549933"/>
                <a:gd name="connsiteY783" fmla="*/ 397082 h 759650"/>
                <a:gd name="connsiteX784" fmla="*/ 300183 w 549933"/>
                <a:gd name="connsiteY784" fmla="*/ 395871 h 759650"/>
                <a:gd name="connsiteX785" fmla="*/ 294092 w 549933"/>
                <a:gd name="connsiteY785" fmla="*/ 392844 h 759650"/>
                <a:gd name="connsiteX786" fmla="*/ 290289 w 549933"/>
                <a:gd name="connsiteY786" fmla="*/ 389143 h 759650"/>
                <a:gd name="connsiteX787" fmla="*/ 289851 w 549933"/>
                <a:gd name="connsiteY787" fmla="*/ 385107 h 759650"/>
                <a:gd name="connsiteX788" fmla="*/ 291601 w 549933"/>
                <a:gd name="connsiteY788" fmla="*/ 382079 h 759650"/>
                <a:gd name="connsiteX789" fmla="*/ 292779 w 549933"/>
                <a:gd name="connsiteY789" fmla="*/ 378614 h 759650"/>
                <a:gd name="connsiteX790" fmla="*/ 290625 w 549933"/>
                <a:gd name="connsiteY790" fmla="*/ 375452 h 759650"/>
                <a:gd name="connsiteX791" fmla="*/ 284971 w 549933"/>
                <a:gd name="connsiteY791" fmla="*/ 371752 h 759650"/>
                <a:gd name="connsiteX792" fmla="*/ 284971 w 549933"/>
                <a:gd name="connsiteY792" fmla="*/ 368287 h 759650"/>
                <a:gd name="connsiteX793" fmla="*/ 287226 w 549933"/>
                <a:gd name="connsiteY793" fmla="*/ 365898 h 759650"/>
                <a:gd name="connsiteX794" fmla="*/ 291063 w 549933"/>
                <a:gd name="connsiteY794" fmla="*/ 362299 h 759650"/>
                <a:gd name="connsiteX795" fmla="*/ 290524 w 549933"/>
                <a:gd name="connsiteY795" fmla="*/ 357623 h 759650"/>
                <a:gd name="connsiteX796" fmla="*/ 288505 w 549933"/>
                <a:gd name="connsiteY796" fmla="*/ 354696 h 759650"/>
                <a:gd name="connsiteX797" fmla="*/ 287361 w 549933"/>
                <a:gd name="connsiteY797" fmla="*/ 352510 h 759650"/>
                <a:gd name="connsiteX798" fmla="*/ 287361 w 549933"/>
                <a:gd name="connsiteY798" fmla="*/ 350222 h 759650"/>
                <a:gd name="connsiteX799" fmla="*/ 287361 w 549933"/>
                <a:gd name="connsiteY799" fmla="*/ 347565 h 759650"/>
                <a:gd name="connsiteX800" fmla="*/ 287866 w 549933"/>
                <a:gd name="connsiteY800" fmla="*/ 344100 h 759650"/>
                <a:gd name="connsiteX801" fmla="*/ 289077 w 549933"/>
                <a:gd name="connsiteY801" fmla="*/ 341913 h 759650"/>
                <a:gd name="connsiteX802" fmla="*/ 290962 w 549933"/>
                <a:gd name="connsiteY802" fmla="*/ 338717 h 759650"/>
                <a:gd name="connsiteX803" fmla="*/ 292914 w 549933"/>
                <a:gd name="connsiteY803" fmla="*/ 337473 h 759650"/>
                <a:gd name="connsiteX804" fmla="*/ 294496 w 549933"/>
                <a:gd name="connsiteY804" fmla="*/ 335118 h 759650"/>
                <a:gd name="connsiteX805" fmla="*/ 295539 w 549933"/>
                <a:gd name="connsiteY805" fmla="*/ 333503 h 759650"/>
                <a:gd name="connsiteX806" fmla="*/ 296246 w 549933"/>
                <a:gd name="connsiteY806" fmla="*/ 331317 h 759650"/>
                <a:gd name="connsiteX807" fmla="*/ 296246 w 549933"/>
                <a:gd name="connsiteY807" fmla="*/ 329534 h 759650"/>
                <a:gd name="connsiteX808" fmla="*/ 296414 w 549933"/>
                <a:gd name="connsiteY808" fmla="*/ 327919 h 759650"/>
                <a:gd name="connsiteX809" fmla="*/ 296447 w 549933"/>
                <a:gd name="connsiteY809" fmla="*/ 326809 h 759650"/>
                <a:gd name="connsiteX810" fmla="*/ 296279 w 549933"/>
                <a:gd name="connsiteY810" fmla="*/ 325531 h 759650"/>
                <a:gd name="connsiteX811" fmla="*/ 296279 w 549933"/>
                <a:gd name="connsiteY811" fmla="*/ 324252 h 759650"/>
                <a:gd name="connsiteX812" fmla="*/ 297188 w 549933"/>
                <a:gd name="connsiteY812" fmla="*/ 323748 h 759650"/>
                <a:gd name="connsiteX813" fmla="*/ 298635 w 549933"/>
                <a:gd name="connsiteY813" fmla="*/ 323311 h 759650"/>
                <a:gd name="connsiteX814" fmla="*/ 300284 w 549933"/>
                <a:gd name="connsiteY814" fmla="*/ 323311 h 759650"/>
                <a:gd name="connsiteX815" fmla="*/ 301563 w 549933"/>
                <a:gd name="connsiteY815" fmla="*/ 324252 h 759650"/>
                <a:gd name="connsiteX816" fmla="*/ 303044 w 549933"/>
                <a:gd name="connsiteY816" fmla="*/ 325295 h 759650"/>
                <a:gd name="connsiteX817" fmla="*/ 303347 w 549933"/>
                <a:gd name="connsiteY817" fmla="*/ 326675 h 759650"/>
                <a:gd name="connsiteX818" fmla="*/ 303077 w 549933"/>
                <a:gd name="connsiteY818" fmla="*/ 328861 h 759650"/>
                <a:gd name="connsiteX819" fmla="*/ 302438 w 549933"/>
                <a:gd name="connsiteY819" fmla="*/ 331485 h 759650"/>
                <a:gd name="connsiteX820" fmla="*/ 301226 w 549933"/>
                <a:gd name="connsiteY820" fmla="*/ 333234 h 759650"/>
                <a:gd name="connsiteX821" fmla="*/ 300688 w 549933"/>
                <a:gd name="connsiteY821" fmla="*/ 335320 h 759650"/>
                <a:gd name="connsiteX822" fmla="*/ 301765 w 549933"/>
                <a:gd name="connsiteY822" fmla="*/ 336733 h 759650"/>
                <a:gd name="connsiteX823" fmla="*/ 305905 w 549933"/>
                <a:gd name="connsiteY823" fmla="*/ 338146 h 759650"/>
                <a:gd name="connsiteX824" fmla="*/ 309505 w 549933"/>
                <a:gd name="connsiteY824" fmla="*/ 337944 h 759650"/>
                <a:gd name="connsiteX825" fmla="*/ 312871 w 549933"/>
                <a:gd name="connsiteY825" fmla="*/ 340534 h 759650"/>
                <a:gd name="connsiteX826" fmla="*/ 315900 w 549933"/>
                <a:gd name="connsiteY826" fmla="*/ 341947 h 759650"/>
                <a:gd name="connsiteX827" fmla="*/ 318828 w 549933"/>
                <a:gd name="connsiteY827" fmla="*/ 340736 h 759650"/>
                <a:gd name="connsiteX828" fmla="*/ 319703 w 549933"/>
                <a:gd name="connsiteY828" fmla="*/ 337809 h 759650"/>
                <a:gd name="connsiteX829" fmla="*/ 320679 w 549933"/>
                <a:gd name="connsiteY829" fmla="*/ 333571 h 759650"/>
                <a:gd name="connsiteX830" fmla="*/ 319804 w 549933"/>
                <a:gd name="connsiteY830" fmla="*/ 329870 h 759650"/>
                <a:gd name="connsiteX831" fmla="*/ 318390 w 549933"/>
                <a:gd name="connsiteY831" fmla="*/ 328457 h 759650"/>
                <a:gd name="connsiteX832" fmla="*/ 315126 w 549933"/>
                <a:gd name="connsiteY832" fmla="*/ 328020 h 759650"/>
                <a:gd name="connsiteX833" fmla="*/ 311659 w 549933"/>
                <a:gd name="connsiteY833" fmla="*/ 326271 h 759650"/>
                <a:gd name="connsiteX834" fmla="*/ 313712 w 549933"/>
                <a:gd name="connsiteY834" fmla="*/ 323445 h 759650"/>
                <a:gd name="connsiteX835" fmla="*/ 316001 w 549933"/>
                <a:gd name="connsiteY835" fmla="*/ 320586 h 759650"/>
                <a:gd name="connsiteX836" fmla="*/ 318054 w 549933"/>
                <a:gd name="connsiteY836" fmla="*/ 319644 h 759650"/>
                <a:gd name="connsiteX837" fmla="*/ 321116 w 549933"/>
                <a:gd name="connsiteY837" fmla="*/ 319307 h 759650"/>
                <a:gd name="connsiteX838" fmla="*/ 323068 w 549933"/>
                <a:gd name="connsiteY838" fmla="*/ 317895 h 759650"/>
                <a:gd name="connsiteX839" fmla="*/ 322967 w 549933"/>
                <a:gd name="connsiteY839" fmla="*/ 315708 h 759650"/>
                <a:gd name="connsiteX840" fmla="*/ 321116 w 549933"/>
                <a:gd name="connsiteY840" fmla="*/ 313118 h 759650"/>
                <a:gd name="connsiteX841" fmla="*/ 319164 w 549933"/>
                <a:gd name="connsiteY841" fmla="*/ 312344 h 759650"/>
                <a:gd name="connsiteX842" fmla="*/ 315361 w 549933"/>
                <a:gd name="connsiteY842" fmla="*/ 311469 h 759650"/>
                <a:gd name="connsiteX843" fmla="*/ 314385 w 549933"/>
                <a:gd name="connsiteY843" fmla="*/ 308206 h 759650"/>
                <a:gd name="connsiteX844" fmla="*/ 312534 w 549933"/>
                <a:gd name="connsiteY844" fmla="*/ 302118 h 759650"/>
                <a:gd name="connsiteX845" fmla="*/ 313174 w 549933"/>
                <a:gd name="connsiteY845" fmla="*/ 298215 h 759650"/>
                <a:gd name="connsiteX846" fmla="*/ 314049 w 549933"/>
                <a:gd name="connsiteY846" fmla="*/ 293539 h 759650"/>
                <a:gd name="connsiteX847" fmla="*/ 315462 w 549933"/>
                <a:gd name="connsiteY847" fmla="*/ 291689 h 759650"/>
                <a:gd name="connsiteX848" fmla="*/ 319501 w 549933"/>
                <a:gd name="connsiteY848" fmla="*/ 291588 h 759650"/>
                <a:gd name="connsiteX849" fmla="*/ 321015 w 549933"/>
                <a:gd name="connsiteY849" fmla="*/ 290949 h 759650"/>
                <a:gd name="connsiteX850" fmla="*/ 322092 w 549933"/>
                <a:gd name="connsiteY850" fmla="*/ 287720 h 759650"/>
                <a:gd name="connsiteX851" fmla="*/ 322092 w 549933"/>
                <a:gd name="connsiteY851" fmla="*/ 286509 h 759650"/>
                <a:gd name="connsiteX852" fmla="*/ 322597 w 549933"/>
                <a:gd name="connsiteY852" fmla="*/ 284457 h 759650"/>
                <a:gd name="connsiteX853" fmla="*/ 323304 w 549933"/>
                <a:gd name="connsiteY853" fmla="*/ 283380 h 759650"/>
                <a:gd name="connsiteX854" fmla="*/ 325693 w 549933"/>
                <a:gd name="connsiteY854" fmla="*/ 282405 h 759650"/>
                <a:gd name="connsiteX855" fmla="*/ 327342 w 549933"/>
                <a:gd name="connsiteY855" fmla="*/ 280218 h 759650"/>
                <a:gd name="connsiteX856" fmla="*/ 329934 w 549933"/>
                <a:gd name="connsiteY856" fmla="*/ 277493 h 759650"/>
                <a:gd name="connsiteX857" fmla="*/ 332559 w 549933"/>
                <a:gd name="connsiteY857" fmla="*/ 273894 h 759650"/>
                <a:gd name="connsiteX858" fmla="*/ 332559 w 549933"/>
                <a:gd name="connsiteY858" fmla="*/ 269857 h 759650"/>
                <a:gd name="connsiteX859" fmla="*/ 337136 w 549933"/>
                <a:gd name="connsiteY859" fmla="*/ 267570 h 759650"/>
                <a:gd name="connsiteX860" fmla="*/ 341040 w 549933"/>
                <a:gd name="connsiteY860" fmla="*/ 264408 h 759650"/>
                <a:gd name="connsiteX861" fmla="*/ 348208 w 549933"/>
                <a:gd name="connsiteY861" fmla="*/ 266998 h 759650"/>
                <a:gd name="connsiteX862" fmla="*/ 349622 w 549933"/>
                <a:gd name="connsiteY862" fmla="*/ 268310 h 759650"/>
                <a:gd name="connsiteX863" fmla="*/ 352180 w 549933"/>
                <a:gd name="connsiteY863" fmla="*/ 269655 h 759650"/>
                <a:gd name="connsiteX864" fmla="*/ 353929 w 549933"/>
                <a:gd name="connsiteY864" fmla="*/ 274062 h 759650"/>
                <a:gd name="connsiteX865" fmla="*/ 356992 w 549933"/>
                <a:gd name="connsiteY865" fmla="*/ 276383 h 759650"/>
                <a:gd name="connsiteX866" fmla="*/ 358742 w 549933"/>
                <a:gd name="connsiteY866" fmla="*/ 275845 h 759650"/>
                <a:gd name="connsiteX867" fmla="*/ 361603 w 549933"/>
                <a:gd name="connsiteY867" fmla="*/ 272582 h 759650"/>
                <a:gd name="connsiteX868" fmla="*/ 366281 w 549933"/>
                <a:gd name="connsiteY868" fmla="*/ 272582 h 759650"/>
                <a:gd name="connsiteX869" fmla="*/ 368232 w 549933"/>
                <a:gd name="connsiteY869" fmla="*/ 274264 h 759650"/>
                <a:gd name="connsiteX870" fmla="*/ 368838 w 549933"/>
                <a:gd name="connsiteY870" fmla="*/ 276316 h 759650"/>
                <a:gd name="connsiteX871" fmla="*/ 368300 w 549933"/>
                <a:gd name="connsiteY871" fmla="*/ 281261 h 759650"/>
                <a:gd name="connsiteX872" fmla="*/ 365204 w 549933"/>
                <a:gd name="connsiteY872" fmla="*/ 281631 h 759650"/>
                <a:gd name="connsiteX873" fmla="*/ 362579 w 549933"/>
                <a:gd name="connsiteY873" fmla="*/ 283414 h 759650"/>
                <a:gd name="connsiteX874" fmla="*/ 361872 w 549933"/>
                <a:gd name="connsiteY874" fmla="*/ 285029 h 759650"/>
                <a:gd name="connsiteX875" fmla="*/ 364733 w 549933"/>
                <a:gd name="connsiteY875" fmla="*/ 286711 h 759650"/>
                <a:gd name="connsiteX876" fmla="*/ 366045 w 549933"/>
                <a:gd name="connsiteY876" fmla="*/ 286711 h 759650"/>
                <a:gd name="connsiteX877" fmla="*/ 369209 w 549933"/>
                <a:gd name="connsiteY877" fmla="*/ 287148 h 759650"/>
                <a:gd name="connsiteX878" fmla="*/ 369983 w 549933"/>
                <a:gd name="connsiteY878" fmla="*/ 288224 h 759650"/>
                <a:gd name="connsiteX879" fmla="*/ 368906 w 549933"/>
                <a:gd name="connsiteY879" fmla="*/ 289402 h 759650"/>
                <a:gd name="connsiteX880" fmla="*/ 368266 w 549933"/>
                <a:gd name="connsiteY880" fmla="*/ 290747 h 759650"/>
                <a:gd name="connsiteX881" fmla="*/ 368973 w 549933"/>
                <a:gd name="connsiteY881" fmla="*/ 292059 h 759650"/>
                <a:gd name="connsiteX882" fmla="*/ 370555 w 549933"/>
                <a:gd name="connsiteY882" fmla="*/ 292934 h 759650"/>
                <a:gd name="connsiteX883" fmla="*/ 372305 w 549933"/>
                <a:gd name="connsiteY883" fmla="*/ 294010 h 759650"/>
                <a:gd name="connsiteX884" fmla="*/ 372944 w 549933"/>
                <a:gd name="connsiteY884" fmla="*/ 296231 h 759650"/>
                <a:gd name="connsiteX885" fmla="*/ 372170 w 549933"/>
                <a:gd name="connsiteY885" fmla="*/ 297879 h 759650"/>
                <a:gd name="connsiteX886" fmla="*/ 371497 w 549933"/>
                <a:gd name="connsiteY886" fmla="*/ 298585 h 759650"/>
                <a:gd name="connsiteX887" fmla="*/ 370420 w 549933"/>
                <a:gd name="connsiteY887" fmla="*/ 299292 h 759650"/>
                <a:gd name="connsiteX888" fmla="*/ 368232 w 549933"/>
                <a:gd name="connsiteY888" fmla="*/ 299090 h 759650"/>
                <a:gd name="connsiteX889" fmla="*/ 367862 w 549933"/>
                <a:gd name="connsiteY889" fmla="*/ 297711 h 759650"/>
                <a:gd name="connsiteX890" fmla="*/ 366483 w 549933"/>
                <a:gd name="connsiteY890" fmla="*/ 297139 h 759650"/>
                <a:gd name="connsiteX891" fmla="*/ 364665 w 549933"/>
                <a:gd name="connsiteY891" fmla="*/ 297139 h 759650"/>
                <a:gd name="connsiteX892" fmla="*/ 362780 w 549933"/>
                <a:gd name="connsiteY892" fmla="*/ 297004 h 759650"/>
                <a:gd name="connsiteX893" fmla="*/ 362209 w 549933"/>
                <a:gd name="connsiteY893" fmla="*/ 298148 h 759650"/>
                <a:gd name="connsiteX894" fmla="*/ 361131 w 549933"/>
                <a:gd name="connsiteY894" fmla="*/ 299157 h 759650"/>
                <a:gd name="connsiteX895" fmla="*/ 358439 w 549933"/>
                <a:gd name="connsiteY895" fmla="*/ 299292 h 759650"/>
                <a:gd name="connsiteX896" fmla="*/ 356554 w 549933"/>
                <a:gd name="connsiteY896" fmla="*/ 298552 h 759650"/>
                <a:gd name="connsiteX897" fmla="*/ 354804 w 549933"/>
                <a:gd name="connsiteY897" fmla="*/ 298047 h 759650"/>
                <a:gd name="connsiteX898" fmla="*/ 353929 w 549933"/>
                <a:gd name="connsiteY898" fmla="*/ 297408 h 759650"/>
                <a:gd name="connsiteX899" fmla="*/ 352112 w 549933"/>
                <a:gd name="connsiteY899" fmla="*/ 296096 h 759650"/>
                <a:gd name="connsiteX900" fmla="*/ 350800 w 549933"/>
                <a:gd name="connsiteY900" fmla="*/ 295356 h 759650"/>
                <a:gd name="connsiteX901" fmla="*/ 350295 w 549933"/>
                <a:gd name="connsiteY901" fmla="*/ 295356 h 759650"/>
                <a:gd name="connsiteX902" fmla="*/ 349050 w 549933"/>
                <a:gd name="connsiteY902" fmla="*/ 296062 h 759650"/>
                <a:gd name="connsiteX903" fmla="*/ 348107 w 549933"/>
                <a:gd name="connsiteY903" fmla="*/ 296836 h 759650"/>
                <a:gd name="connsiteX904" fmla="*/ 348174 w 549933"/>
                <a:gd name="connsiteY904" fmla="*/ 297980 h 759650"/>
                <a:gd name="connsiteX905" fmla="*/ 348174 w 549933"/>
                <a:gd name="connsiteY905" fmla="*/ 299359 h 759650"/>
                <a:gd name="connsiteX906" fmla="*/ 347905 w 549933"/>
                <a:gd name="connsiteY906" fmla="*/ 301041 h 759650"/>
                <a:gd name="connsiteX907" fmla="*/ 347535 w 549933"/>
                <a:gd name="connsiteY907" fmla="*/ 304304 h 759650"/>
                <a:gd name="connsiteX908" fmla="*/ 347535 w 549933"/>
                <a:gd name="connsiteY908" fmla="*/ 306053 h 759650"/>
                <a:gd name="connsiteX909" fmla="*/ 349487 w 549933"/>
                <a:gd name="connsiteY909" fmla="*/ 308442 h 759650"/>
                <a:gd name="connsiteX910" fmla="*/ 351675 w 549933"/>
                <a:gd name="connsiteY910" fmla="*/ 310191 h 759650"/>
                <a:gd name="connsiteX911" fmla="*/ 351675 w 549933"/>
                <a:gd name="connsiteY911" fmla="*/ 315405 h 759650"/>
                <a:gd name="connsiteX912" fmla="*/ 351675 w 549933"/>
                <a:gd name="connsiteY912" fmla="*/ 316919 h 759650"/>
                <a:gd name="connsiteX913" fmla="*/ 355141 w 549933"/>
                <a:gd name="connsiteY913" fmla="*/ 320619 h 759650"/>
                <a:gd name="connsiteX914" fmla="*/ 355141 w 549933"/>
                <a:gd name="connsiteY914" fmla="*/ 324522 h 759650"/>
                <a:gd name="connsiteX915" fmla="*/ 356218 w 549933"/>
                <a:gd name="connsiteY915" fmla="*/ 328155 h 759650"/>
                <a:gd name="connsiteX916" fmla="*/ 361064 w 549933"/>
                <a:gd name="connsiteY916" fmla="*/ 328155 h 759650"/>
                <a:gd name="connsiteX917" fmla="*/ 361636 w 549933"/>
                <a:gd name="connsiteY917" fmla="*/ 330913 h 759650"/>
                <a:gd name="connsiteX918" fmla="*/ 361064 w 549933"/>
                <a:gd name="connsiteY918" fmla="*/ 334378 h 759650"/>
                <a:gd name="connsiteX919" fmla="*/ 360357 w 549933"/>
                <a:gd name="connsiteY919" fmla="*/ 334513 h 759650"/>
                <a:gd name="connsiteX920" fmla="*/ 360357 w 549933"/>
                <a:gd name="connsiteY920" fmla="*/ 339861 h 759650"/>
                <a:gd name="connsiteX921" fmla="*/ 361737 w 549933"/>
                <a:gd name="connsiteY921" fmla="*/ 342317 h 759650"/>
                <a:gd name="connsiteX922" fmla="*/ 363858 w 549933"/>
                <a:gd name="connsiteY922" fmla="*/ 343461 h 759650"/>
                <a:gd name="connsiteX923" fmla="*/ 365608 w 549933"/>
                <a:gd name="connsiteY923" fmla="*/ 343158 h 759650"/>
                <a:gd name="connsiteX924" fmla="*/ 365608 w 549933"/>
                <a:gd name="connsiteY924" fmla="*/ 341140 h 759650"/>
                <a:gd name="connsiteX925" fmla="*/ 368502 w 549933"/>
                <a:gd name="connsiteY925" fmla="*/ 338818 h 759650"/>
                <a:gd name="connsiteX926" fmla="*/ 372137 w 549933"/>
                <a:gd name="connsiteY926" fmla="*/ 335051 h 759650"/>
                <a:gd name="connsiteX927" fmla="*/ 376209 w 549933"/>
                <a:gd name="connsiteY927" fmla="*/ 334344 h 759650"/>
                <a:gd name="connsiteX928" fmla="*/ 383007 w 549933"/>
                <a:gd name="connsiteY928" fmla="*/ 335791 h 759650"/>
                <a:gd name="connsiteX929" fmla="*/ 384454 w 549933"/>
                <a:gd name="connsiteY929" fmla="*/ 337977 h 759650"/>
                <a:gd name="connsiteX930" fmla="*/ 386642 w 549933"/>
                <a:gd name="connsiteY930" fmla="*/ 340870 h 759650"/>
                <a:gd name="connsiteX931" fmla="*/ 386339 w 549933"/>
                <a:gd name="connsiteY931" fmla="*/ 345345 h 759650"/>
                <a:gd name="connsiteX932" fmla="*/ 385464 w 549933"/>
                <a:gd name="connsiteY932" fmla="*/ 347666 h 759650"/>
                <a:gd name="connsiteX933" fmla="*/ 386372 w 549933"/>
                <a:gd name="connsiteY933" fmla="*/ 349819 h 759650"/>
                <a:gd name="connsiteX934" fmla="*/ 385497 w 549933"/>
                <a:gd name="connsiteY934" fmla="*/ 351770 h 759650"/>
                <a:gd name="connsiteX935" fmla="*/ 384959 w 549933"/>
                <a:gd name="connsiteY935" fmla="*/ 353822 h 759650"/>
                <a:gd name="connsiteX936" fmla="*/ 383007 w 549933"/>
                <a:gd name="connsiteY936" fmla="*/ 355335 h 759650"/>
                <a:gd name="connsiteX937" fmla="*/ 383007 w 549933"/>
                <a:gd name="connsiteY937" fmla="*/ 359675 h 759650"/>
                <a:gd name="connsiteX938" fmla="*/ 386036 w 549933"/>
                <a:gd name="connsiteY938" fmla="*/ 360651 h 759650"/>
                <a:gd name="connsiteX939" fmla="*/ 388863 w 549933"/>
                <a:gd name="connsiteY939" fmla="*/ 360112 h 759650"/>
                <a:gd name="connsiteX940" fmla="*/ 391017 w 549933"/>
                <a:gd name="connsiteY940" fmla="*/ 358901 h 759650"/>
                <a:gd name="connsiteX941" fmla="*/ 394281 w 549933"/>
                <a:gd name="connsiteY941" fmla="*/ 359675 h 759650"/>
                <a:gd name="connsiteX942" fmla="*/ 394281 w 549933"/>
                <a:gd name="connsiteY942" fmla="*/ 361525 h 759650"/>
                <a:gd name="connsiteX943" fmla="*/ 394281 w 549933"/>
                <a:gd name="connsiteY943" fmla="*/ 363174 h 759650"/>
                <a:gd name="connsiteX944" fmla="*/ 396570 w 549933"/>
                <a:gd name="connsiteY944" fmla="*/ 363174 h 759650"/>
                <a:gd name="connsiteX945" fmla="*/ 398522 w 549933"/>
                <a:gd name="connsiteY945" fmla="*/ 364485 h 759650"/>
                <a:gd name="connsiteX946" fmla="*/ 400373 w 549933"/>
                <a:gd name="connsiteY946" fmla="*/ 366773 h 759650"/>
                <a:gd name="connsiteX947" fmla="*/ 400373 w 549933"/>
                <a:gd name="connsiteY947" fmla="*/ 369262 h 759650"/>
                <a:gd name="connsiteX948" fmla="*/ 400373 w 549933"/>
                <a:gd name="connsiteY948" fmla="*/ 373030 h 759650"/>
                <a:gd name="connsiteX949" fmla="*/ 398926 w 549933"/>
                <a:gd name="connsiteY949" fmla="*/ 376461 h 759650"/>
                <a:gd name="connsiteX950" fmla="*/ 398219 w 549933"/>
                <a:gd name="connsiteY950" fmla="*/ 377470 h 759650"/>
                <a:gd name="connsiteX951" fmla="*/ 396200 w 549933"/>
                <a:gd name="connsiteY951" fmla="*/ 378715 h 759650"/>
                <a:gd name="connsiteX952" fmla="*/ 391757 w 549933"/>
                <a:gd name="connsiteY952" fmla="*/ 379287 h 759650"/>
                <a:gd name="connsiteX953" fmla="*/ 390310 w 549933"/>
                <a:gd name="connsiteY953" fmla="*/ 381473 h 759650"/>
                <a:gd name="connsiteX954" fmla="*/ 389940 w 549933"/>
                <a:gd name="connsiteY954" fmla="*/ 382012 h 759650"/>
                <a:gd name="connsiteX955" fmla="*/ 395459 w 549933"/>
                <a:gd name="connsiteY955" fmla="*/ 382718 h 759650"/>
                <a:gd name="connsiteX956" fmla="*/ 401551 w 549933"/>
                <a:gd name="connsiteY956" fmla="*/ 377134 h 759650"/>
                <a:gd name="connsiteX957" fmla="*/ 406464 w 549933"/>
                <a:gd name="connsiteY957" fmla="*/ 377134 h 759650"/>
                <a:gd name="connsiteX958" fmla="*/ 410099 w 549933"/>
                <a:gd name="connsiteY958" fmla="*/ 381339 h 759650"/>
                <a:gd name="connsiteX959" fmla="*/ 411412 w 549933"/>
                <a:gd name="connsiteY959" fmla="*/ 389446 h 759650"/>
                <a:gd name="connsiteX960" fmla="*/ 417368 w 549933"/>
                <a:gd name="connsiteY960" fmla="*/ 394223 h 759650"/>
                <a:gd name="connsiteX961" fmla="*/ 423022 w 549933"/>
                <a:gd name="connsiteY961" fmla="*/ 395972 h 759650"/>
                <a:gd name="connsiteX962" fmla="*/ 427499 w 549933"/>
                <a:gd name="connsiteY962" fmla="*/ 394828 h 759650"/>
                <a:gd name="connsiteX963" fmla="*/ 430830 w 549933"/>
                <a:gd name="connsiteY963" fmla="*/ 393079 h 759650"/>
                <a:gd name="connsiteX964" fmla="*/ 434902 w 549933"/>
                <a:gd name="connsiteY964" fmla="*/ 388874 h 759650"/>
                <a:gd name="connsiteX965" fmla="*/ 438672 w 549933"/>
                <a:gd name="connsiteY965" fmla="*/ 385409 h 759650"/>
                <a:gd name="connsiteX966" fmla="*/ 442306 w 549933"/>
                <a:gd name="connsiteY966" fmla="*/ 383525 h 759650"/>
                <a:gd name="connsiteX967" fmla="*/ 447658 w 549933"/>
                <a:gd name="connsiteY967" fmla="*/ 380195 h 759650"/>
                <a:gd name="connsiteX968" fmla="*/ 454893 w 549933"/>
                <a:gd name="connsiteY968" fmla="*/ 380498 h 759650"/>
                <a:gd name="connsiteX969" fmla="*/ 463004 w 549933"/>
                <a:gd name="connsiteY969" fmla="*/ 380632 h 759650"/>
                <a:gd name="connsiteX970" fmla="*/ 467345 w 549933"/>
                <a:gd name="connsiteY970" fmla="*/ 380632 h 759650"/>
                <a:gd name="connsiteX971" fmla="*/ 470980 w 549933"/>
                <a:gd name="connsiteY971" fmla="*/ 378311 h 759650"/>
                <a:gd name="connsiteX972" fmla="*/ 473673 w 549933"/>
                <a:gd name="connsiteY972" fmla="*/ 377874 h 759650"/>
                <a:gd name="connsiteX973" fmla="*/ 475187 w 549933"/>
                <a:gd name="connsiteY973" fmla="*/ 380632 h 759650"/>
                <a:gd name="connsiteX974" fmla="*/ 475187 w 549933"/>
                <a:gd name="connsiteY974" fmla="*/ 383223 h 759650"/>
                <a:gd name="connsiteX975" fmla="*/ 473571 w 549933"/>
                <a:gd name="connsiteY975" fmla="*/ 384669 h 759650"/>
                <a:gd name="connsiteX976" fmla="*/ 475187 w 549933"/>
                <a:gd name="connsiteY976" fmla="*/ 385107 h 759650"/>
                <a:gd name="connsiteX977" fmla="*/ 478384 w 549933"/>
                <a:gd name="connsiteY977" fmla="*/ 384535 h 759650"/>
                <a:gd name="connsiteX978" fmla="*/ 480269 w 549933"/>
                <a:gd name="connsiteY978" fmla="*/ 381507 h 759650"/>
                <a:gd name="connsiteX979" fmla="*/ 481278 w 549933"/>
                <a:gd name="connsiteY979" fmla="*/ 379186 h 759650"/>
                <a:gd name="connsiteX980" fmla="*/ 482288 w 549933"/>
                <a:gd name="connsiteY980" fmla="*/ 377168 h 759650"/>
                <a:gd name="connsiteX981" fmla="*/ 483163 w 549933"/>
                <a:gd name="connsiteY981" fmla="*/ 375149 h 759650"/>
                <a:gd name="connsiteX982" fmla="*/ 484307 w 549933"/>
                <a:gd name="connsiteY982" fmla="*/ 372828 h 759650"/>
                <a:gd name="connsiteX983" fmla="*/ 485317 w 549933"/>
                <a:gd name="connsiteY983" fmla="*/ 370070 h 759650"/>
                <a:gd name="connsiteX984" fmla="*/ 485889 w 549933"/>
                <a:gd name="connsiteY984" fmla="*/ 367311 h 759650"/>
                <a:gd name="connsiteX985" fmla="*/ 486764 w 549933"/>
                <a:gd name="connsiteY985" fmla="*/ 365293 h 759650"/>
                <a:gd name="connsiteX986" fmla="*/ 488514 w 549933"/>
                <a:gd name="connsiteY986" fmla="*/ 363846 h 759650"/>
                <a:gd name="connsiteX987" fmla="*/ 491274 w 549933"/>
                <a:gd name="connsiteY987" fmla="*/ 359372 h 759650"/>
                <a:gd name="connsiteX988" fmla="*/ 493024 w 549933"/>
                <a:gd name="connsiteY988" fmla="*/ 356008 h 759650"/>
                <a:gd name="connsiteX989" fmla="*/ 493966 w 549933"/>
                <a:gd name="connsiteY989" fmla="*/ 353586 h 759650"/>
                <a:gd name="connsiteX990" fmla="*/ 496053 w 549933"/>
                <a:gd name="connsiteY990" fmla="*/ 349516 h 759650"/>
                <a:gd name="connsiteX991" fmla="*/ 496053 w 549933"/>
                <a:gd name="connsiteY991" fmla="*/ 346757 h 759650"/>
                <a:gd name="connsiteX992" fmla="*/ 496928 w 549933"/>
                <a:gd name="connsiteY992" fmla="*/ 341409 h 759650"/>
                <a:gd name="connsiteX993" fmla="*/ 495918 w 549933"/>
                <a:gd name="connsiteY993" fmla="*/ 335892 h 759650"/>
                <a:gd name="connsiteX994" fmla="*/ 493293 w 549933"/>
                <a:gd name="connsiteY994" fmla="*/ 332999 h 759650"/>
                <a:gd name="connsiteX995" fmla="*/ 492553 w 549933"/>
                <a:gd name="connsiteY995" fmla="*/ 330106 h 759650"/>
                <a:gd name="connsiteX996" fmla="*/ 494875 w 549933"/>
                <a:gd name="connsiteY996" fmla="*/ 327919 h 759650"/>
                <a:gd name="connsiteX997" fmla="*/ 499519 w 549933"/>
                <a:gd name="connsiteY997" fmla="*/ 324454 h 759650"/>
                <a:gd name="connsiteX998" fmla="*/ 501707 w 549933"/>
                <a:gd name="connsiteY998" fmla="*/ 320384 h 759650"/>
                <a:gd name="connsiteX999" fmla="*/ 502582 w 549933"/>
                <a:gd name="connsiteY999" fmla="*/ 316347 h 759650"/>
                <a:gd name="connsiteX1000" fmla="*/ 504601 w 549933"/>
                <a:gd name="connsiteY1000" fmla="*/ 313454 h 759650"/>
                <a:gd name="connsiteX1001" fmla="*/ 506755 w 549933"/>
                <a:gd name="connsiteY1001" fmla="*/ 311268 h 759650"/>
                <a:gd name="connsiteX1002" fmla="*/ 509212 w 549933"/>
                <a:gd name="connsiteY1002" fmla="*/ 309081 h 759650"/>
                <a:gd name="connsiteX1003" fmla="*/ 512409 w 549933"/>
                <a:gd name="connsiteY1003" fmla="*/ 307769 h 759650"/>
                <a:gd name="connsiteX1004" fmla="*/ 515034 w 549933"/>
                <a:gd name="connsiteY1004" fmla="*/ 302858 h 759650"/>
                <a:gd name="connsiteX1005" fmla="*/ 517221 w 549933"/>
                <a:gd name="connsiteY1005" fmla="*/ 300099 h 759650"/>
                <a:gd name="connsiteX1006" fmla="*/ 520688 w 549933"/>
                <a:gd name="connsiteY1006" fmla="*/ 295020 h 759650"/>
                <a:gd name="connsiteX1007" fmla="*/ 523448 w 549933"/>
                <a:gd name="connsiteY1007" fmla="*/ 293573 h 759650"/>
                <a:gd name="connsiteX1008" fmla="*/ 526780 w 549933"/>
                <a:gd name="connsiteY1008" fmla="*/ 291992 h 759650"/>
                <a:gd name="connsiteX1009" fmla="*/ 529404 w 549933"/>
                <a:gd name="connsiteY1009" fmla="*/ 290983 h 759650"/>
                <a:gd name="connsiteX1010" fmla="*/ 533881 w 549933"/>
                <a:gd name="connsiteY1010" fmla="*/ 287653 h 759650"/>
                <a:gd name="connsiteX1011" fmla="*/ 539232 w 549933"/>
                <a:gd name="connsiteY1011" fmla="*/ 285197 h 759650"/>
                <a:gd name="connsiteX1012" fmla="*/ 543136 w 549933"/>
                <a:gd name="connsiteY1012" fmla="*/ 280992 h 759650"/>
                <a:gd name="connsiteX1013" fmla="*/ 547847 w 549933"/>
                <a:gd name="connsiteY1013" fmla="*/ 277796 h 759650"/>
                <a:gd name="connsiteX1014" fmla="*/ 549934 w 549933"/>
                <a:gd name="connsiteY1014" fmla="*/ 276484 h 759650"/>
                <a:gd name="connsiteX1015" fmla="*/ 549934 w 549933"/>
                <a:gd name="connsiteY1015" fmla="*/ 273726 h 759650"/>
                <a:gd name="connsiteX1016" fmla="*/ 547410 w 549933"/>
                <a:gd name="connsiteY1016" fmla="*/ 270059 h 759650"/>
                <a:gd name="connsiteX1017" fmla="*/ 340299 w 549933"/>
                <a:gd name="connsiteY1017" fmla="*/ 224645 h 759650"/>
                <a:gd name="connsiteX1018" fmla="*/ 338718 w 549933"/>
                <a:gd name="connsiteY1018" fmla="*/ 226025 h 759650"/>
                <a:gd name="connsiteX1019" fmla="*/ 337270 w 549933"/>
                <a:gd name="connsiteY1019" fmla="*/ 226462 h 759650"/>
                <a:gd name="connsiteX1020" fmla="*/ 335621 w 549933"/>
                <a:gd name="connsiteY1020" fmla="*/ 226159 h 759650"/>
                <a:gd name="connsiteX1021" fmla="*/ 333905 w 549933"/>
                <a:gd name="connsiteY1021" fmla="*/ 225957 h 759650"/>
                <a:gd name="connsiteX1022" fmla="*/ 332761 w 549933"/>
                <a:gd name="connsiteY1022" fmla="*/ 226832 h 759650"/>
                <a:gd name="connsiteX1023" fmla="*/ 332761 w 549933"/>
                <a:gd name="connsiteY1023" fmla="*/ 229961 h 759650"/>
                <a:gd name="connsiteX1024" fmla="*/ 332963 w 549933"/>
                <a:gd name="connsiteY1024" fmla="*/ 230970 h 759650"/>
                <a:gd name="connsiteX1025" fmla="*/ 332189 w 549933"/>
                <a:gd name="connsiteY1025" fmla="*/ 232416 h 759650"/>
                <a:gd name="connsiteX1026" fmla="*/ 329799 w 549933"/>
                <a:gd name="connsiteY1026" fmla="*/ 232921 h 759650"/>
                <a:gd name="connsiteX1027" fmla="*/ 328116 w 549933"/>
                <a:gd name="connsiteY1027" fmla="*/ 232349 h 759650"/>
                <a:gd name="connsiteX1028" fmla="*/ 325087 w 549933"/>
                <a:gd name="connsiteY1028" fmla="*/ 232046 h 759650"/>
                <a:gd name="connsiteX1029" fmla="*/ 322698 w 549933"/>
                <a:gd name="connsiteY1029" fmla="*/ 230364 h 759650"/>
                <a:gd name="connsiteX1030" fmla="*/ 319232 w 549933"/>
                <a:gd name="connsiteY1030" fmla="*/ 231104 h 759650"/>
                <a:gd name="connsiteX1031" fmla="*/ 317280 w 549933"/>
                <a:gd name="connsiteY1031" fmla="*/ 233997 h 759650"/>
                <a:gd name="connsiteX1032" fmla="*/ 314957 w 549933"/>
                <a:gd name="connsiteY1032" fmla="*/ 238404 h 759650"/>
                <a:gd name="connsiteX1033" fmla="*/ 316337 w 549933"/>
                <a:gd name="connsiteY1033" fmla="*/ 240927 h 759650"/>
                <a:gd name="connsiteX1034" fmla="*/ 319972 w 549933"/>
                <a:gd name="connsiteY1034" fmla="*/ 243383 h 759650"/>
                <a:gd name="connsiteX1035" fmla="*/ 320039 w 549933"/>
                <a:gd name="connsiteY1035" fmla="*/ 244627 h 759650"/>
                <a:gd name="connsiteX1036" fmla="*/ 316977 w 549933"/>
                <a:gd name="connsiteY1036" fmla="*/ 246881 h 759650"/>
                <a:gd name="connsiteX1037" fmla="*/ 316102 w 549933"/>
                <a:gd name="connsiteY1037" fmla="*/ 249270 h 759650"/>
                <a:gd name="connsiteX1038" fmla="*/ 316977 w 549933"/>
                <a:gd name="connsiteY1038" fmla="*/ 251961 h 759650"/>
                <a:gd name="connsiteX1039" fmla="*/ 318996 w 549933"/>
                <a:gd name="connsiteY1039" fmla="*/ 253475 h 759650"/>
                <a:gd name="connsiteX1040" fmla="*/ 320679 w 549933"/>
                <a:gd name="connsiteY1040" fmla="*/ 255056 h 759650"/>
                <a:gd name="connsiteX1041" fmla="*/ 320712 w 549933"/>
                <a:gd name="connsiteY1041" fmla="*/ 255998 h 759650"/>
                <a:gd name="connsiteX1042" fmla="*/ 320612 w 549933"/>
                <a:gd name="connsiteY1042" fmla="*/ 257074 h 759650"/>
                <a:gd name="connsiteX1043" fmla="*/ 320612 w 549933"/>
                <a:gd name="connsiteY1043" fmla="*/ 259463 h 759650"/>
                <a:gd name="connsiteX1044" fmla="*/ 321756 w 549933"/>
                <a:gd name="connsiteY1044" fmla="*/ 260270 h 759650"/>
                <a:gd name="connsiteX1045" fmla="*/ 323438 w 549933"/>
                <a:gd name="connsiteY1045" fmla="*/ 262288 h 759650"/>
                <a:gd name="connsiteX1046" fmla="*/ 325189 w 549933"/>
                <a:gd name="connsiteY1046" fmla="*/ 263735 h 759650"/>
                <a:gd name="connsiteX1047" fmla="*/ 326703 w 549933"/>
                <a:gd name="connsiteY1047" fmla="*/ 265316 h 759650"/>
                <a:gd name="connsiteX1048" fmla="*/ 327746 w 549933"/>
                <a:gd name="connsiteY1048" fmla="*/ 267772 h 759650"/>
                <a:gd name="connsiteX1049" fmla="*/ 328352 w 549933"/>
                <a:gd name="connsiteY1049" fmla="*/ 269386 h 759650"/>
                <a:gd name="connsiteX1050" fmla="*/ 328419 w 549933"/>
                <a:gd name="connsiteY1050" fmla="*/ 271573 h 759650"/>
                <a:gd name="connsiteX1051" fmla="*/ 328487 w 549933"/>
                <a:gd name="connsiteY1051" fmla="*/ 273860 h 759650"/>
                <a:gd name="connsiteX1052" fmla="*/ 326905 w 549933"/>
                <a:gd name="connsiteY1052" fmla="*/ 276148 h 759650"/>
                <a:gd name="connsiteX1053" fmla="*/ 324852 w 549933"/>
                <a:gd name="connsiteY1053" fmla="*/ 278435 h 759650"/>
                <a:gd name="connsiteX1054" fmla="*/ 323203 w 549933"/>
                <a:gd name="connsiteY1054" fmla="*/ 279680 h 759650"/>
                <a:gd name="connsiteX1055" fmla="*/ 320140 w 549933"/>
                <a:gd name="connsiteY1055" fmla="*/ 281295 h 759650"/>
                <a:gd name="connsiteX1056" fmla="*/ 318289 w 549933"/>
                <a:gd name="connsiteY1056" fmla="*/ 282438 h 759650"/>
                <a:gd name="connsiteX1057" fmla="*/ 316876 w 549933"/>
                <a:gd name="connsiteY1057" fmla="*/ 282943 h 759650"/>
                <a:gd name="connsiteX1058" fmla="*/ 314520 w 549933"/>
                <a:gd name="connsiteY1058" fmla="*/ 282943 h 759650"/>
                <a:gd name="connsiteX1059" fmla="*/ 312198 w 549933"/>
                <a:gd name="connsiteY1059" fmla="*/ 283279 h 759650"/>
                <a:gd name="connsiteX1060" fmla="*/ 309304 w 549933"/>
                <a:gd name="connsiteY1060" fmla="*/ 283246 h 759650"/>
                <a:gd name="connsiteX1061" fmla="*/ 305837 w 549933"/>
                <a:gd name="connsiteY1061" fmla="*/ 282539 h 759650"/>
                <a:gd name="connsiteX1062" fmla="*/ 301933 w 549933"/>
                <a:gd name="connsiteY1062" fmla="*/ 283952 h 759650"/>
                <a:gd name="connsiteX1063" fmla="*/ 298332 w 549933"/>
                <a:gd name="connsiteY1063" fmla="*/ 284827 h 759650"/>
                <a:gd name="connsiteX1064" fmla="*/ 295942 w 549933"/>
                <a:gd name="connsiteY1064" fmla="*/ 285600 h 759650"/>
                <a:gd name="connsiteX1065" fmla="*/ 292779 w 549933"/>
                <a:gd name="connsiteY1065" fmla="*/ 284827 h 759650"/>
                <a:gd name="connsiteX1066" fmla="*/ 289952 w 549933"/>
                <a:gd name="connsiteY1066" fmla="*/ 282977 h 759650"/>
                <a:gd name="connsiteX1067" fmla="*/ 286385 w 549933"/>
                <a:gd name="connsiteY1067" fmla="*/ 282102 h 759650"/>
                <a:gd name="connsiteX1068" fmla="*/ 281370 w 549933"/>
                <a:gd name="connsiteY1068" fmla="*/ 282539 h 759650"/>
                <a:gd name="connsiteX1069" fmla="*/ 278543 w 549933"/>
                <a:gd name="connsiteY1069" fmla="*/ 286677 h 759650"/>
                <a:gd name="connsiteX1070" fmla="*/ 277130 w 549933"/>
                <a:gd name="connsiteY1070" fmla="*/ 291555 h 759650"/>
                <a:gd name="connsiteX1071" fmla="*/ 277130 w 549933"/>
                <a:gd name="connsiteY1071" fmla="*/ 295995 h 759650"/>
                <a:gd name="connsiteX1072" fmla="*/ 276356 w 549933"/>
                <a:gd name="connsiteY1072" fmla="*/ 301748 h 759650"/>
                <a:gd name="connsiteX1073" fmla="*/ 276894 w 549933"/>
                <a:gd name="connsiteY1073" fmla="*/ 305112 h 759650"/>
                <a:gd name="connsiteX1074" fmla="*/ 280697 w 549933"/>
                <a:gd name="connsiteY1074" fmla="*/ 310662 h 759650"/>
                <a:gd name="connsiteX1075" fmla="*/ 282313 w 549933"/>
                <a:gd name="connsiteY1075" fmla="*/ 314127 h 759650"/>
                <a:gd name="connsiteX1076" fmla="*/ 285241 w 549933"/>
                <a:gd name="connsiteY1076" fmla="*/ 314497 h 759650"/>
                <a:gd name="connsiteX1077" fmla="*/ 288168 w 549933"/>
                <a:gd name="connsiteY1077" fmla="*/ 312479 h 759650"/>
                <a:gd name="connsiteX1078" fmla="*/ 288370 w 549933"/>
                <a:gd name="connsiteY1078" fmla="*/ 312479 h 759650"/>
                <a:gd name="connsiteX1079" fmla="*/ 290861 w 549933"/>
                <a:gd name="connsiteY1079" fmla="*/ 314430 h 759650"/>
                <a:gd name="connsiteX1080" fmla="*/ 293149 w 549933"/>
                <a:gd name="connsiteY1080" fmla="*/ 318029 h 759650"/>
                <a:gd name="connsiteX1081" fmla="*/ 293688 w 549933"/>
                <a:gd name="connsiteY1081" fmla="*/ 320216 h 759650"/>
                <a:gd name="connsiteX1082" fmla="*/ 291837 w 549933"/>
                <a:gd name="connsiteY1082" fmla="*/ 324219 h 759650"/>
                <a:gd name="connsiteX1083" fmla="*/ 292039 w 549933"/>
                <a:gd name="connsiteY1083" fmla="*/ 327886 h 759650"/>
                <a:gd name="connsiteX1084" fmla="*/ 293452 w 549933"/>
                <a:gd name="connsiteY1084" fmla="*/ 329231 h 759650"/>
                <a:gd name="connsiteX1085" fmla="*/ 293452 w 549933"/>
                <a:gd name="connsiteY1085" fmla="*/ 330106 h 759650"/>
                <a:gd name="connsiteX1086" fmla="*/ 290625 w 549933"/>
                <a:gd name="connsiteY1086" fmla="*/ 332494 h 759650"/>
                <a:gd name="connsiteX1087" fmla="*/ 289212 w 549933"/>
                <a:gd name="connsiteY1087" fmla="*/ 333806 h 759650"/>
                <a:gd name="connsiteX1088" fmla="*/ 284971 w 549933"/>
                <a:gd name="connsiteY1088" fmla="*/ 336195 h 759650"/>
                <a:gd name="connsiteX1089" fmla="*/ 282784 w 549933"/>
                <a:gd name="connsiteY1089" fmla="*/ 340332 h 759650"/>
                <a:gd name="connsiteX1090" fmla="*/ 279620 w 549933"/>
                <a:gd name="connsiteY1090" fmla="*/ 340332 h 759650"/>
                <a:gd name="connsiteX1091" fmla="*/ 276457 w 549933"/>
                <a:gd name="connsiteY1091" fmla="*/ 340332 h 759650"/>
                <a:gd name="connsiteX1092" fmla="*/ 272654 w 549933"/>
                <a:gd name="connsiteY1092" fmla="*/ 340332 h 759650"/>
                <a:gd name="connsiteX1093" fmla="*/ 268413 w 549933"/>
                <a:gd name="connsiteY1093" fmla="*/ 336329 h 759650"/>
                <a:gd name="connsiteX1094" fmla="*/ 263634 w 549933"/>
                <a:gd name="connsiteY1094" fmla="*/ 335656 h 759650"/>
                <a:gd name="connsiteX1095" fmla="*/ 262221 w 549933"/>
                <a:gd name="connsiteY1095" fmla="*/ 336867 h 759650"/>
                <a:gd name="connsiteX1096" fmla="*/ 261548 w 549933"/>
                <a:gd name="connsiteY1096" fmla="*/ 337843 h 759650"/>
                <a:gd name="connsiteX1097" fmla="*/ 261009 w 549933"/>
                <a:gd name="connsiteY1097" fmla="*/ 339693 h 759650"/>
                <a:gd name="connsiteX1098" fmla="*/ 260471 w 549933"/>
                <a:gd name="connsiteY1098" fmla="*/ 341644 h 759650"/>
                <a:gd name="connsiteX1099" fmla="*/ 260571 w 549933"/>
                <a:gd name="connsiteY1099" fmla="*/ 344033 h 759650"/>
                <a:gd name="connsiteX1100" fmla="*/ 260235 w 549933"/>
                <a:gd name="connsiteY1100" fmla="*/ 345883 h 759650"/>
                <a:gd name="connsiteX1101" fmla="*/ 259562 w 549933"/>
                <a:gd name="connsiteY1101" fmla="*/ 347195 h 759650"/>
                <a:gd name="connsiteX1102" fmla="*/ 258047 w 549933"/>
                <a:gd name="connsiteY1102" fmla="*/ 348944 h 759650"/>
                <a:gd name="connsiteX1103" fmla="*/ 254447 w 549933"/>
                <a:gd name="connsiteY1103" fmla="*/ 350592 h 759650"/>
                <a:gd name="connsiteX1104" fmla="*/ 251821 w 549933"/>
                <a:gd name="connsiteY1104" fmla="*/ 351231 h 759650"/>
                <a:gd name="connsiteX1105" fmla="*/ 249432 w 549933"/>
                <a:gd name="connsiteY1105" fmla="*/ 352005 h 759650"/>
                <a:gd name="connsiteX1106" fmla="*/ 247783 w 549933"/>
                <a:gd name="connsiteY1106" fmla="*/ 352005 h 759650"/>
                <a:gd name="connsiteX1107" fmla="*/ 245730 w 549933"/>
                <a:gd name="connsiteY1107" fmla="*/ 352039 h 759650"/>
                <a:gd name="connsiteX1108" fmla="*/ 241490 w 549933"/>
                <a:gd name="connsiteY1108" fmla="*/ 348978 h 759650"/>
                <a:gd name="connsiteX1109" fmla="*/ 238999 w 549933"/>
                <a:gd name="connsiteY1109" fmla="*/ 345950 h 759650"/>
                <a:gd name="connsiteX1110" fmla="*/ 236710 w 549933"/>
                <a:gd name="connsiteY1110" fmla="*/ 343663 h 759650"/>
                <a:gd name="connsiteX1111" fmla="*/ 234321 w 549933"/>
                <a:gd name="connsiteY1111" fmla="*/ 343562 h 759650"/>
                <a:gd name="connsiteX1112" fmla="*/ 230417 w 549933"/>
                <a:gd name="connsiteY1112" fmla="*/ 343663 h 759650"/>
                <a:gd name="connsiteX1113" fmla="*/ 227153 w 549933"/>
                <a:gd name="connsiteY1113" fmla="*/ 345176 h 759650"/>
                <a:gd name="connsiteX1114" fmla="*/ 225302 w 549933"/>
                <a:gd name="connsiteY1114" fmla="*/ 346690 h 759650"/>
                <a:gd name="connsiteX1115" fmla="*/ 220624 w 549933"/>
                <a:gd name="connsiteY1115" fmla="*/ 349079 h 759650"/>
                <a:gd name="connsiteX1116" fmla="*/ 216148 w 549933"/>
                <a:gd name="connsiteY1116" fmla="*/ 350390 h 759650"/>
                <a:gd name="connsiteX1117" fmla="*/ 212345 w 549933"/>
                <a:gd name="connsiteY1117" fmla="*/ 350491 h 759650"/>
                <a:gd name="connsiteX1118" fmla="*/ 206926 w 549933"/>
                <a:gd name="connsiteY1118" fmla="*/ 349079 h 759650"/>
                <a:gd name="connsiteX1119" fmla="*/ 204436 w 549933"/>
                <a:gd name="connsiteY1119" fmla="*/ 349079 h 759650"/>
                <a:gd name="connsiteX1120" fmla="*/ 202147 w 549933"/>
                <a:gd name="connsiteY1120" fmla="*/ 350929 h 759650"/>
                <a:gd name="connsiteX1121" fmla="*/ 201171 w 549933"/>
                <a:gd name="connsiteY1121" fmla="*/ 355066 h 759650"/>
                <a:gd name="connsiteX1122" fmla="*/ 199657 w 549933"/>
                <a:gd name="connsiteY1122" fmla="*/ 355706 h 759650"/>
                <a:gd name="connsiteX1123" fmla="*/ 194878 w 549933"/>
                <a:gd name="connsiteY1123" fmla="*/ 355066 h 759650"/>
                <a:gd name="connsiteX1124" fmla="*/ 192589 w 549933"/>
                <a:gd name="connsiteY1124" fmla="*/ 353654 h 759650"/>
                <a:gd name="connsiteX1125" fmla="*/ 189863 w 549933"/>
                <a:gd name="connsiteY1125" fmla="*/ 348978 h 759650"/>
                <a:gd name="connsiteX1126" fmla="*/ 188989 w 549933"/>
                <a:gd name="connsiteY1126" fmla="*/ 345950 h 759650"/>
                <a:gd name="connsiteX1127" fmla="*/ 186262 w 549933"/>
                <a:gd name="connsiteY1127" fmla="*/ 343999 h 759650"/>
                <a:gd name="connsiteX1128" fmla="*/ 182459 w 549933"/>
                <a:gd name="connsiteY1128" fmla="*/ 343562 h 759650"/>
                <a:gd name="connsiteX1129" fmla="*/ 179531 w 549933"/>
                <a:gd name="connsiteY1129" fmla="*/ 343360 h 759650"/>
                <a:gd name="connsiteX1130" fmla="*/ 175829 w 549933"/>
                <a:gd name="connsiteY1130" fmla="*/ 342048 h 759650"/>
                <a:gd name="connsiteX1131" fmla="*/ 175156 w 549933"/>
                <a:gd name="connsiteY1131" fmla="*/ 337708 h 759650"/>
                <a:gd name="connsiteX1132" fmla="*/ 172565 w 549933"/>
                <a:gd name="connsiteY1132" fmla="*/ 336834 h 759650"/>
                <a:gd name="connsiteX1133" fmla="*/ 167887 w 549933"/>
                <a:gd name="connsiteY1133" fmla="*/ 335959 h 759650"/>
                <a:gd name="connsiteX1134" fmla="*/ 167416 w 549933"/>
                <a:gd name="connsiteY1134" fmla="*/ 334445 h 759650"/>
                <a:gd name="connsiteX1135" fmla="*/ 165598 w 549933"/>
                <a:gd name="connsiteY1135" fmla="*/ 331418 h 759650"/>
                <a:gd name="connsiteX1136" fmla="*/ 165598 w 549933"/>
                <a:gd name="connsiteY1136" fmla="*/ 329130 h 759650"/>
                <a:gd name="connsiteX1137" fmla="*/ 166911 w 549933"/>
                <a:gd name="connsiteY1137" fmla="*/ 327953 h 759650"/>
                <a:gd name="connsiteX1138" fmla="*/ 169839 w 549933"/>
                <a:gd name="connsiteY1138" fmla="*/ 328054 h 759650"/>
                <a:gd name="connsiteX1139" fmla="*/ 172128 w 549933"/>
                <a:gd name="connsiteY1139" fmla="*/ 328928 h 759650"/>
                <a:gd name="connsiteX1140" fmla="*/ 173642 w 549933"/>
                <a:gd name="connsiteY1140" fmla="*/ 329366 h 759650"/>
                <a:gd name="connsiteX1141" fmla="*/ 176031 w 549933"/>
                <a:gd name="connsiteY1141" fmla="*/ 329803 h 759650"/>
                <a:gd name="connsiteX1142" fmla="*/ 177479 w 549933"/>
                <a:gd name="connsiteY1142" fmla="*/ 328727 h 759650"/>
                <a:gd name="connsiteX1143" fmla="*/ 178387 w 549933"/>
                <a:gd name="connsiteY1143" fmla="*/ 327179 h 759650"/>
                <a:gd name="connsiteX1144" fmla="*/ 178791 w 549933"/>
                <a:gd name="connsiteY1144" fmla="*/ 325463 h 759650"/>
                <a:gd name="connsiteX1145" fmla="*/ 177748 w 549933"/>
                <a:gd name="connsiteY1145" fmla="*/ 323849 h 759650"/>
                <a:gd name="connsiteX1146" fmla="*/ 174584 w 549933"/>
                <a:gd name="connsiteY1146" fmla="*/ 320720 h 759650"/>
                <a:gd name="connsiteX1147" fmla="*/ 173103 w 549933"/>
                <a:gd name="connsiteY1147" fmla="*/ 318567 h 759650"/>
                <a:gd name="connsiteX1148" fmla="*/ 169974 w 549933"/>
                <a:gd name="connsiteY1148" fmla="*/ 315271 h 759650"/>
                <a:gd name="connsiteX1149" fmla="*/ 167651 w 549933"/>
                <a:gd name="connsiteY1149" fmla="*/ 313454 h 759650"/>
                <a:gd name="connsiteX1150" fmla="*/ 165397 w 549933"/>
                <a:gd name="connsiteY1150" fmla="*/ 310998 h 759650"/>
                <a:gd name="connsiteX1151" fmla="*/ 164387 w 549933"/>
                <a:gd name="connsiteY1151" fmla="*/ 308038 h 759650"/>
                <a:gd name="connsiteX1152" fmla="*/ 164151 w 549933"/>
                <a:gd name="connsiteY1152" fmla="*/ 305448 h 759650"/>
                <a:gd name="connsiteX1153" fmla="*/ 163882 w 549933"/>
                <a:gd name="connsiteY1153" fmla="*/ 301613 h 759650"/>
                <a:gd name="connsiteX1154" fmla="*/ 163882 w 549933"/>
                <a:gd name="connsiteY1154" fmla="*/ 299662 h 759650"/>
                <a:gd name="connsiteX1155" fmla="*/ 167517 w 549933"/>
                <a:gd name="connsiteY1155" fmla="*/ 298787 h 759650"/>
                <a:gd name="connsiteX1156" fmla="*/ 168257 w 549933"/>
                <a:gd name="connsiteY1156" fmla="*/ 298787 h 759650"/>
                <a:gd name="connsiteX1157" fmla="*/ 170007 w 549933"/>
                <a:gd name="connsiteY1157" fmla="*/ 298787 h 759650"/>
                <a:gd name="connsiteX1158" fmla="*/ 171757 w 549933"/>
                <a:gd name="connsiteY1158" fmla="*/ 298787 h 759650"/>
                <a:gd name="connsiteX1159" fmla="*/ 173473 w 549933"/>
                <a:gd name="connsiteY1159" fmla="*/ 298787 h 759650"/>
                <a:gd name="connsiteX1160" fmla="*/ 174214 w 549933"/>
                <a:gd name="connsiteY1160" fmla="*/ 298283 h 759650"/>
                <a:gd name="connsiteX1161" fmla="*/ 176166 w 549933"/>
                <a:gd name="connsiteY1161" fmla="*/ 296769 h 759650"/>
                <a:gd name="connsiteX1162" fmla="*/ 177680 w 549933"/>
                <a:gd name="connsiteY1162" fmla="*/ 293506 h 759650"/>
                <a:gd name="connsiteX1163" fmla="*/ 180575 w 549933"/>
                <a:gd name="connsiteY1163" fmla="*/ 290916 h 759650"/>
                <a:gd name="connsiteX1164" fmla="*/ 182392 w 549933"/>
                <a:gd name="connsiteY1164" fmla="*/ 290041 h 759650"/>
                <a:gd name="connsiteX1165" fmla="*/ 185724 w 549933"/>
                <a:gd name="connsiteY1165" fmla="*/ 287350 h 759650"/>
                <a:gd name="connsiteX1166" fmla="*/ 187911 w 549933"/>
                <a:gd name="connsiteY1166" fmla="*/ 286711 h 759650"/>
                <a:gd name="connsiteX1167" fmla="*/ 190234 w 549933"/>
                <a:gd name="connsiteY1167" fmla="*/ 286711 h 759650"/>
                <a:gd name="connsiteX1168" fmla="*/ 193128 w 549933"/>
                <a:gd name="connsiteY1168" fmla="*/ 286677 h 759650"/>
                <a:gd name="connsiteX1169" fmla="*/ 195753 w 549933"/>
                <a:gd name="connsiteY1169" fmla="*/ 286071 h 759650"/>
                <a:gd name="connsiteX1170" fmla="*/ 197638 w 549933"/>
                <a:gd name="connsiteY1170" fmla="*/ 285500 h 759650"/>
                <a:gd name="connsiteX1171" fmla="*/ 200027 w 549933"/>
                <a:gd name="connsiteY1171" fmla="*/ 283549 h 759650"/>
                <a:gd name="connsiteX1172" fmla="*/ 200835 w 549933"/>
                <a:gd name="connsiteY1172" fmla="*/ 282607 h 759650"/>
                <a:gd name="connsiteX1173" fmla="*/ 202215 w 549933"/>
                <a:gd name="connsiteY1173" fmla="*/ 281026 h 759650"/>
                <a:gd name="connsiteX1174" fmla="*/ 203729 w 549933"/>
                <a:gd name="connsiteY1174" fmla="*/ 280084 h 759650"/>
                <a:gd name="connsiteX1175" fmla="*/ 206119 w 549933"/>
                <a:gd name="connsiteY1175" fmla="*/ 278133 h 759650"/>
                <a:gd name="connsiteX1176" fmla="*/ 207633 w 549933"/>
                <a:gd name="connsiteY1176" fmla="*/ 276619 h 759650"/>
                <a:gd name="connsiteX1177" fmla="*/ 209148 w 549933"/>
                <a:gd name="connsiteY1177" fmla="*/ 274298 h 759650"/>
                <a:gd name="connsiteX1178" fmla="*/ 209148 w 549933"/>
                <a:gd name="connsiteY1178" fmla="*/ 270160 h 759650"/>
                <a:gd name="connsiteX1179" fmla="*/ 205816 w 549933"/>
                <a:gd name="connsiteY1179" fmla="*/ 266964 h 759650"/>
                <a:gd name="connsiteX1180" fmla="*/ 205109 w 549933"/>
                <a:gd name="connsiteY1180" fmla="*/ 263701 h 759650"/>
                <a:gd name="connsiteX1181" fmla="*/ 201037 w 549933"/>
                <a:gd name="connsiteY1181" fmla="*/ 260573 h 759650"/>
                <a:gd name="connsiteX1182" fmla="*/ 199589 w 549933"/>
                <a:gd name="connsiteY1182" fmla="*/ 260573 h 759650"/>
                <a:gd name="connsiteX1183" fmla="*/ 197840 w 549933"/>
                <a:gd name="connsiteY1183" fmla="*/ 260573 h 759650"/>
                <a:gd name="connsiteX1184" fmla="*/ 195820 w 549933"/>
                <a:gd name="connsiteY1184" fmla="*/ 259429 h 759650"/>
                <a:gd name="connsiteX1185" fmla="*/ 194945 w 549933"/>
                <a:gd name="connsiteY1185" fmla="*/ 257848 h 759650"/>
                <a:gd name="connsiteX1186" fmla="*/ 195349 w 549933"/>
                <a:gd name="connsiteY1186" fmla="*/ 256637 h 759650"/>
                <a:gd name="connsiteX1187" fmla="*/ 194205 w 549933"/>
                <a:gd name="connsiteY1187" fmla="*/ 254719 h 759650"/>
                <a:gd name="connsiteX1188" fmla="*/ 193397 w 549933"/>
                <a:gd name="connsiteY1188" fmla="*/ 253138 h 759650"/>
                <a:gd name="connsiteX1189" fmla="*/ 192152 w 549933"/>
                <a:gd name="connsiteY1189" fmla="*/ 252365 h 759650"/>
                <a:gd name="connsiteX1190" fmla="*/ 189695 w 549933"/>
                <a:gd name="connsiteY1190" fmla="*/ 250413 h 759650"/>
                <a:gd name="connsiteX1191" fmla="*/ 188585 w 549933"/>
                <a:gd name="connsiteY1191" fmla="*/ 248126 h 759650"/>
                <a:gd name="connsiteX1192" fmla="*/ 188282 w 549933"/>
                <a:gd name="connsiteY1192" fmla="*/ 246377 h 759650"/>
                <a:gd name="connsiteX1193" fmla="*/ 188282 w 549933"/>
                <a:gd name="connsiteY1193" fmla="*/ 245771 h 759650"/>
                <a:gd name="connsiteX1194" fmla="*/ 187911 w 549933"/>
                <a:gd name="connsiteY1194" fmla="*/ 243753 h 759650"/>
                <a:gd name="connsiteX1195" fmla="*/ 188282 w 549933"/>
                <a:gd name="connsiteY1195" fmla="*/ 242441 h 759650"/>
                <a:gd name="connsiteX1196" fmla="*/ 189157 w 549933"/>
                <a:gd name="connsiteY1196" fmla="*/ 241230 h 759650"/>
                <a:gd name="connsiteX1197" fmla="*/ 190907 w 549933"/>
                <a:gd name="connsiteY1197" fmla="*/ 239716 h 759650"/>
                <a:gd name="connsiteX1198" fmla="*/ 192522 w 549933"/>
                <a:gd name="connsiteY1198" fmla="*/ 239279 h 759650"/>
                <a:gd name="connsiteX1199" fmla="*/ 193734 w 549933"/>
                <a:gd name="connsiteY1199" fmla="*/ 239279 h 759650"/>
                <a:gd name="connsiteX1200" fmla="*/ 195955 w 549933"/>
                <a:gd name="connsiteY1200" fmla="*/ 238135 h 759650"/>
                <a:gd name="connsiteX1201" fmla="*/ 198782 w 549933"/>
                <a:gd name="connsiteY1201" fmla="*/ 236117 h 759650"/>
                <a:gd name="connsiteX1202" fmla="*/ 199859 w 549933"/>
                <a:gd name="connsiteY1202" fmla="*/ 235309 h 759650"/>
                <a:gd name="connsiteX1203" fmla="*/ 201104 w 549933"/>
                <a:gd name="connsiteY1203" fmla="*/ 234939 h 759650"/>
                <a:gd name="connsiteX1204" fmla="*/ 203325 w 549933"/>
                <a:gd name="connsiteY1204" fmla="*/ 234939 h 759650"/>
                <a:gd name="connsiteX1205" fmla="*/ 205244 w 549933"/>
                <a:gd name="connsiteY1205" fmla="*/ 234939 h 759650"/>
                <a:gd name="connsiteX1206" fmla="*/ 207128 w 549933"/>
                <a:gd name="connsiteY1206" fmla="*/ 234906 h 759650"/>
                <a:gd name="connsiteX1207" fmla="*/ 209955 w 549933"/>
                <a:gd name="connsiteY1207" fmla="*/ 234872 h 759650"/>
                <a:gd name="connsiteX1208" fmla="*/ 211840 w 549933"/>
                <a:gd name="connsiteY1208" fmla="*/ 234872 h 759650"/>
                <a:gd name="connsiteX1209" fmla="*/ 214027 w 549933"/>
                <a:gd name="connsiteY1209" fmla="*/ 234872 h 759650"/>
                <a:gd name="connsiteX1210" fmla="*/ 217460 w 549933"/>
                <a:gd name="connsiteY1210" fmla="*/ 234065 h 759650"/>
                <a:gd name="connsiteX1211" fmla="*/ 218638 w 549933"/>
                <a:gd name="connsiteY1211" fmla="*/ 231474 h 759650"/>
                <a:gd name="connsiteX1212" fmla="*/ 220927 w 549933"/>
                <a:gd name="connsiteY1212" fmla="*/ 228279 h 759650"/>
                <a:gd name="connsiteX1213" fmla="*/ 221566 w 549933"/>
                <a:gd name="connsiteY1213" fmla="*/ 225285 h 759650"/>
                <a:gd name="connsiteX1214" fmla="*/ 222206 w 549933"/>
                <a:gd name="connsiteY1214" fmla="*/ 222997 h 759650"/>
                <a:gd name="connsiteX1215" fmla="*/ 223855 w 549933"/>
                <a:gd name="connsiteY1215" fmla="*/ 220710 h 759650"/>
                <a:gd name="connsiteX1216" fmla="*/ 224662 w 549933"/>
                <a:gd name="connsiteY1216" fmla="*/ 219734 h 759650"/>
                <a:gd name="connsiteX1217" fmla="*/ 226009 w 549933"/>
                <a:gd name="connsiteY1217" fmla="*/ 218220 h 759650"/>
                <a:gd name="connsiteX1218" fmla="*/ 227927 w 549933"/>
                <a:gd name="connsiteY1218" fmla="*/ 216437 h 759650"/>
                <a:gd name="connsiteX1219" fmla="*/ 230586 w 549933"/>
                <a:gd name="connsiteY1219" fmla="*/ 215529 h 759650"/>
                <a:gd name="connsiteX1220" fmla="*/ 232638 w 549933"/>
                <a:gd name="connsiteY1220" fmla="*/ 215395 h 759650"/>
                <a:gd name="connsiteX1221" fmla="*/ 234321 w 549933"/>
                <a:gd name="connsiteY1221" fmla="*/ 215395 h 759650"/>
                <a:gd name="connsiteX1222" fmla="*/ 236441 w 549933"/>
                <a:gd name="connsiteY1222" fmla="*/ 215058 h 759650"/>
                <a:gd name="connsiteX1223" fmla="*/ 238192 w 549933"/>
                <a:gd name="connsiteY1223" fmla="*/ 214419 h 759650"/>
                <a:gd name="connsiteX1224" fmla="*/ 239605 w 549933"/>
                <a:gd name="connsiteY1224" fmla="*/ 213174 h 759650"/>
                <a:gd name="connsiteX1225" fmla="*/ 240648 w 549933"/>
                <a:gd name="connsiteY1225" fmla="*/ 212132 h 759650"/>
                <a:gd name="connsiteX1226" fmla="*/ 242398 w 549933"/>
                <a:gd name="connsiteY1226" fmla="*/ 212132 h 759650"/>
                <a:gd name="connsiteX1227" fmla="*/ 243206 w 549933"/>
                <a:gd name="connsiteY1227" fmla="*/ 213444 h 759650"/>
                <a:gd name="connsiteX1228" fmla="*/ 243710 w 549933"/>
                <a:gd name="connsiteY1228" fmla="*/ 214621 h 759650"/>
                <a:gd name="connsiteX1229" fmla="*/ 246100 w 549933"/>
                <a:gd name="connsiteY1229" fmla="*/ 215126 h 759650"/>
                <a:gd name="connsiteX1230" fmla="*/ 247884 w 549933"/>
                <a:gd name="connsiteY1230" fmla="*/ 214957 h 759650"/>
                <a:gd name="connsiteX1231" fmla="*/ 248759 w 549933"/>
                <a:gd name="connsiteY1231" fmla="*/ 213444 h 759650"/>
                <a:gd name="connsiteX1232" fmla="*/ 247884 w 549933"/>
                <a:gd name="connsiteY1232" fmla="*/ 211257 h 759650"/>
                <a:gd name="connsiteX1233" fmla="*/ 246100 w 549933"/>
                <a:gd name="connsiteY1233" fmla="*/ 210214 h 759650"/>
                <a:gd name="connsiteX1234" fmla="*/ 243610 w 549933"/>
                <a:gd name="connsiteY1234" fmla="*/ 208801 h 759650"/>
                <a:gd name="connsiteX1235" fmla="*/ 240581 w 549933"/>
                <a:gd name="connsiteY1235" fmla="*/ 206514 h 759650"/>
                <a:gd name="connsiteX1236" fmla="*/ 239504 w 549933"/>
                <a:gd name="connsiteY1236" fmla="*/ 204495 h 759650"/>
                <a:gd name="connsiteX1237" fmla="*/ 237989 w 549933"/>
                <a:gd name="connsiteY1237" fmla="*/ 202208 h 759650"/>
                <a:gd name="connsiteX1238" fmla="*/ 236744 w 549933"/>
                <a:gd name="connsiteY1238" fmla="*/ 199752 h 759650"/>
                <a:gd name="connsiteX1239" fmla="*/ 236475 w 549933"/>
                <a:gd name="connsiteY1239" fmla="*/ 198070 h 759650"/>
                <a:gd name="connsiteX1240" fmla="*/ 237384 w 549933"/>
                <a:gd name="connsiteY1240" fmla="*/ 196926 h 759650"/>
                <a:gd name="connsiteX1241" fmla="*/ 239134 w 549933"/>
                <a:gd name="connsiteY1241" fmla="*/ 196388 h 759650"/>
                <a:gd name="connsiteX1242" fmla="*/ 241287 w 549933"/>
                <a:gd name="connsiteY1242" fmla="*/ 196725 h 759650"/>
                <a:gd name="connsiteX1243" fmla="*/ 243610 w 549933"/>
                <a:gd name="connsiteY1243" fmla="*/ 198037 h 759650"/>
                <a:gd name="connsiteX1244" fmla="*/ 244821 w 549933"/>
                <a:gd name="connsiteY1244" fmla="*/ 199113 h 759650"/>
                <a:gd name="connsiteX1245" fmla="*/ 248254 w 549933"/>
                <a:gd name="connsiteY1245" fmla="*/ 200425 h 759650"/>
                <a:gd name="connsiteX1246" fmla="*/ 249331 w 549933"/>
                <a:gd name="connsiteY1246" fmla="*/ 199349 h 759650"/>
                <a:gd name="connsiteX1247" fmla="*/ 248826 w 549933"/>
                <a:gd name="connsiteY1247" fmla="*/ 197767 h 759650"/>
                <a:gd name="connsiteX1248" fmla="*/ 248658 w 549933"/>
                <a:gd name="connsiteY1248" fmla="*/ 195715 h 759650"/>
                <a:gd name="connsiteX1249" fmla="*/ 247009 w 549933"/>
                <a:gd name="connsiteY1249" fmla="*/ 193764 h 759650"/>
                <a:gd name="connsiteX1250" fmla="*/ 245663 w 549933"/>
                <a:gd name="connsiteY1250" fmla="*/ 192621 h 759650"/>
                <a:gd name="connsiteX1251" fmla="*/ 244687 w 549933"/>
                <a:gd name="connsiteY1251" fmla="*/ 190770 h 759650"/>
                <a:gd name="connsiteX1252" fmla="*/ 244687 w 549933"/>
                <a:gd name="connsiteY1252" fmla="*/ 189358 h 759650"/>
                <a:gd name="connsiteX1253" fmla="*/ 246706 w 549933"/>
                <a:gd name="connsiteY1253" fmla="*/ 188752 h 759650"/>
                <a:gd name="connsiteX1254" fmla="*/ 249331 w 549933"/>
                <a:gd name="connsiteY1254" fmla="*/ 188416 h 759650"/>
                <a:gd name="connsiteX1255" fmla="*/ 253336 w 549933"/>
                <a:gd name="connsiteY1255" fmla="*/ 189660 h 759650"/>
                <a:gd name="connsiteX1256" fmla="*/ 255961 w 549933"/>
                <a:gd name="connsiteY1256" fmla="*/ 187743 h 759650"/>
                <a:gd name="connsiteX1257" fmla="*/ 258351 w 549933"/>
                <a:gd name="connsiteY1257" fmla="*/ 186296 h 759650"/>
                <a:gd name="connsiteX1258" fmla="*/ 258653 w 549933"/>
                <a:gd name="connsiteY1258" fmla="*/ 183168 h 759650"/>
                <a:gd name="connsiteX1259" fmla="*/ 258653 w 549933"/>
                <a:gd name="connsiteY1259" fmla="*/ 180645 h 759650"/>
                <a:gd name="connsiteX1260" fmla="*/ 259730 w 549933"/>
                <a:gd name="connsiteY1260" fmla="*/ 178626 h 759650"/>
                <a:gd name="connsiteX1261" fmla="*/ 260875 w 549933"/>
                <a:gd name="connsiteY1261" fmla="*/ 176945 h 759650"/>
                <a:gd name="connsiteX1262" fmla="*/ 263264 w 549933"/>
                <a:gd name="connsiteY1262" fmla="*/ 175633 h 759650"/>
                <a:gd name="connsiteX1263" fmla="*/ 265452 w 549933"/>
                <a:gd name="connsiteY1263" fmla="*/ 175633 h 759650"/>
                <a:gd name="connsiteX1264" fmla="*/ 266764 w 549933"/>
                <a:gd name="connsiteY1264" fmla="*/ 176137 h 759650"/>
                <a:gd name="connsiteX1265" fmla="*/ 267639 w 549933"/>
                <a:gd name="connsiteY1265" fmla="*/ 178660 h 759650"/>
                <a:gd name="connsiteX1266" fmla="*/ 267639 w 549933"/>
                <a:gd name="connsiteY1266" fmla="*/ 181620 h 759650"/>
                <a:gd name="connsiteX1267" fmla="*/ 267673 w 549933"/>
                <a:gd name="connsiteY1267" fmla="*/ 184076 h 759650"/>
                <a:gd name="connsiteX1268" fmla="*/ 267673 w 549933"/>
                <a:gd name="connsiteY1268" fmla="*/ 187205 h 759650"/>
                <a:gd name="connsiteX1269" fmla="*/ 268077 w 549933"/>
                <a:gd name="connsiteY1269" fmla="*/ 189526 h 759650"/>
                <a:gd name="connsiteX1270" fmla="*/ 269894 w 549933"/>
                <a:gd name="connsiteY1270" fmla="*/ 192419 h 759650"/>
                <a:gd name="connsiteX1271" fmla="*/ 271206 w 549933"/>
                <a:gd name="connsiteY1271" fmla="*/ 195379 h 759650"/>
                <a:gd name="connsiteX1272" fmla="*/ 273596 w 549933"/>
                <a:gd name="connsiteY1272" fmla="*/ 198003 h 759650"/>
                <a:gd name="connsiteX1273" fmla="*/ 277130 w 549933"/>
                <a:gd name="connsiteY1273" fmla="*/ 200694 h 759650"/>
                <a:gd name="connsiteX1274" fmla="*/ 281269 w 549933"/>
                <a:gd name="connsiteY1274" fmla="*/ 203284 h 759650"/>
                <a:gd name="connsiteX1275" fmla="*/ 283423 w 549933"/>
                <a:gd name="connsiteY1275" fmla="*/ 204664 h 759650"/>
                <a:gd name="connsiteX1276" fmla="*/ 287899 w 549933"/>
                <a:gd name="connsiteY1276" fmla="*/ 210685 h 759650"/>
                <a:gd name="connsiteX1277" fmla="*/ 291231 w 549933"/>
                <a:gd name="connsiteY1277" fmla="*/ 214217 h 759650"/>
                <a:gd name="connsiteX1278" fmla="*/ 293755 w 549933"/>
                <a:gd name="connsiteY1278" fmla="*/ 216606 h 759650"/>
                <a:gd name="connsiteX1279" fmla="*/ 299847 w 549933"/>
                <a:gd name="connsiteY1279" fmla="*/ 219129 h 759650"/>
                <a:gd name="connsiteX1280" fmla="*/ 305938 w 549933"/>
                <a:gd name="connsiteY1280" fmla="*/ 217548 h 759650"/>
                <a:gd name="connsiteX1281" fmla="*/ 310583 w 549933"/>
                <a:gd name="connsiteY1281" fmla="*/ 216673 h 759650"/>
                <a:gd name="connsiteX1282" fmla="*/ 321756 w 549933"/>
                <a:gd name="connsiteY1282" fmla="*/ 217043 h 759650"/>
                <a:gd name="connsiteX1283" fmla="*/ 325087 w 549933"/>
                <a:gd name="connsiteY1283" fmla="*/ 217043 h 759650"/>
                <a:gd name="connsiteX1284" fmla="*/ 329294 w 549933"/>
                <a:gd name="connsiteY1284" fmla="*/ 218792 h 759650"/>
                <a:gd name="connsiteX1285" fmla="*/ 335218 w 549933"/>
                <a:gd name="connsiteY1285" fmla="*/ 218792 h 759650"/>
                <a:gd name="connsiteX1286" fmla="*/ 338415 w 549933"/>
                <a:gd name="connsiteY1286" fmla="*/ 218355 h 759650"/>
                <a:gd name="connsiteX1287" fmla="*/ 340299 w 549933"/>
                <a:gd name="connsiteY1287" fmla="*/ 221046 h 759650"/>
                <a:gd name="connsiteX1288" fmla="*/ 341107 w 549933"/>
                <a:gd name="connsiteY1288" fmla="*/ 222560 h 759650"/>
                <a:gd name="connsiteX1289" fmla="*/ 340299 w 549933"/>
                <a:gd name="connsiteY1289" fmla="*/ 224645 h 75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</a:cxnLst>
              <a:rect l="l" t="t" r="r" b="b"/>
              <a:pathLst>
                <a:path w="549933" h="759650">
                  <a:moveTo>
                    <a:pt x="547410" y="270059"/>
                  </a:moveTo>
                  <a:lnTo>
                    <a:pt x="544078" y="266729"/>
                  </a:lnTo>
                  <a:lnTo>
                    <a:pt x="542328" y="262591"/>
                  </a:lnTo>
                  <a:lnTo>
                    <a:pt x="542462" y="256872"/>
                  </a:lnTo>
                  <a:lnTo>
                    <a:pt x="542328" y="256872"/>
                  </a:lnTo>
                  <a:lnTo>
                    <a:pt x="535361" y="254282"/>
                  </a:lnTo>
                  <a:cubicBezTo>
                    <a:pt x="535361" y="254282"/>
                    <a:pt x="531457" y="251389"/>
                    <a:pt x="530717" y="250952"/>
                  </a:cubicBezTo>
                  <a:cubicBezTo>
                    <a:pt x="529977" y="250514"/>
                    <a:pt x="523885" y="247184"/>
                    <a:pt x="523885" y="247184"/>
                  </a:cubicBezTo>
                  <a:cubicBezTo>
                    <a:pt x="523885" y="247184"/>
                    <a:pt x="522640" y="243854"/>
                    <a:pt x="522505" y="243282"/>
                  </a:cubicBezTo>
                  <a:cubicBezTo>
                    <a:pt x="522371" y="242710"/>
                    <a:pt x="522303" y="241398"/>
                    <a:pt x="522303" y="239380"/>
                  </a:cubicBezTo>
                  <a:cubicBezTo>
                    <a:pt x="522303" y="237361"/>
                    <a:pt x="522303" y="233425"/>
                    <a:pt x="522303" y="233425"/>
                  </a:cubicBezTo>
                  <a:lnTo>
                    <a:pt x="522000" y="229221"/>
                  </a:lnTo>
                  <a:cubicBezTo>
                    <a:pt x="522000" y="229221"/>
                    <a:pt x="519678" y="225318"/>
                    <a:pt x="519241" y="225016"/>
                  </a:cubicBezTo>
                  <a:cubicBezTo>
                    <a:pt x="518803" y="224713"/>
                    <a:pt x="515034" y="220676"/>
                    <a:pt x="514462" y="220541"/>
                  </a:cubicBezTo>
                  <a:cubicBezTo>
                    <a:pt x="513890" y="220407"/>
                    <a:pt x="510390" y="218220"/>
                    <a:pt x="510390" y="218220"/>
                  </a:cubicBezTo>
                  <a:cubicBezTo>
                    <a:pt x="510390" y="218220"/>
                    <a:pt x="507058" y="218086"/>
                    <a:pt x="505913" y="218220"/>
                  </a:cubicBezTo>
                  <a:cubicBezTo>
                    <a:pt x="504736" y="218355"/>
                    <a:pt x="501404" y="219600"/>
                    <a:pt x="501404" y="219600"/>
                  </a:cubicBezTo>
                  <a:lnTo>
                    <a:pt x="500091" y="220407"/>
                  </a:lnTo>
                  <a:lnTo>
                    <a:pt x="497029" y="220407"/>
                  </a:lnTo>
                  <a:cubicBezTo>
                    <a:pt x="497029" y="220407"/>
                    <a:pt x="491678" y="219700"/>
                    <a:pt x="490803" y="219700"/>
                  </a:cubicBezTo>
                  <a:cubicBezTo>
                    <a:pt x="489928" y="219700"/>
                    <a:pt x="488177" y="219129"/>
                    <a:pt x="488177" y="219129"/>
                  </a:cubicBezTo>
                  <a:cubicBezTo>
                    <a:pt x="488177" y="219129"/>
                    <a:pt x="486731" y="215495"/>
                    <a:pt x="486293" y="214655"/>
                  </a:cubicBezTo>
                  <a:cubicBezTo>
                    <a:pt x="485855" y="213780"/>
                    <a:pt x="482961" y="209642"/>
                    <a:pt x="482961" y="209642"/>
                  </a:cubicBezTo>
                  <a:lnTo>
                    <a:pt x="482524" y="204798"/>
                  </a:lnTo>
                  <a:lnTo>
                    <a:pt x="477879" y="204798"/>
                  </a:lnTo>
                  <a:lnTo>
                    <a:pt x="473403" y="205538"/>
                  </a:lnTo>
                  <a:lnTo>
                    <a:pt x="469937" y="204092"/>
                  </a:lnTo>
                  <a:cubicBezTo>
                    <a:pt x="469937" y="204092"/>
                    <a:pt x="466874" y="201333"/>
                    <a:pt x="465461" y="200459"/>
                  </a:cubicBezTo>
                  <a:cubicBezTo>
                    <a:pt x="464047" y="199584"/>
                    <a:pt x="458797" y="196826"/>
                    <a:pt x="458663" y="196422"/>
                  </a:cubicBezTo>
                  <a:cubicBezTo>
                    <a:pt x="458528" y="195985"/>
                    <a:pt x="453715" y="191645"/>
                    <a:pt x="453715" y="191645"/>
                  </a:cubicBezTo>
                  <a:lnTo>
                    <a:pt x="450383" y="188012"/>
                  </a:lnTo>
                  <a:cubicBezTo>
                    <a:pt x="450383" y="188012"/>
                    <a:pt x="451258" y="183235"/>
                    <a:pt x="451696" y="182798"/>
                  </a:cubicBezTo>
                  <a:cubicBezTo>
                    <a:pt x="452134" y="182361"/>
                    <a:pt x="458932" y="175431"/>
                    <a:pt x="458932" y="175431"/>
                  </a:cubicBezTo>
                  <a:cubicBezTo>
                    <a:pt x="458932" y="175431"/>
                    <a:pt x="460682" y="173412"/>
                    <a:pt x="461119" y="173412"/>
                  </a:cubicBezTo>
                  <a:cubicBezTo>
                    <a:pt x="461557" y="173412"/>
                    <a:pt x="462870" y="170957"/>
                    <a:pt x="462870" y="170957"/>
                  </a:cubicBezTo>
                  <a:lnTo>
                    <a:pt x="463576" y="168636"/>
                  </a:lnTo>
                  <a:lnTo>
                    <a:pt x="459537" y="166617"/>
                  </a:lnTo>
                  <a:cubicBezTo>
                    <a:pt x="459537" y="166617"/>
                    <a:pt x="457788" y="165608"/>
                    <a:pt x="457788" y="165171"/>
                  </a:cubicBezTo>
                  <a:cubicBezTo>
                    <a:pt x="457788" y="164733"/>
                    <a:pt x="458494" y="162143"/>
                    <a:pt x="459235" y="161975"/>
                  </a:cubicBezTo>
                  <a:cubicBezTo>
                    <a:pt x="459941" y="161840"/>
                    <a:pt x="462870" y="159788"/>
                    <a:pt x="463307" y="159654"/>
                  </a:cubicBezTo>
                  <a:cubicBezTo>
                    <a:pt x="463744" y="159519"/>
                    <a:pt x="464451" y="158073"/>
                    <a:pt x="466201" y="157770"/>
                  </a:cubicBezTo>
                  <a:cubicBezTo>
                    <a:pt x="467951" y="157467"/>
                    <a:pt x="471418" y="155752"/>
                    <a:pt x="471990" y="155583"/>
                  </a:cubicBezTo>
                  <a:cubicBezTo>
                    <a:pt x="472562" y="155449"/>
                    <a:pt x="476634" y="150941"/>
                    <a:pt x="476634" y="150941"/>
                  </a:cubicBezTo>
                  <a:lnTo>
                    <a:pt x="478822" y="146871"/>
                  </a:lnTo>
                  <a:lnTo>
                    <a:pt x="478822" y="143103"/>
                  </a:lnTo>
                  <a:cubicBezTo>
                    <a:pt x="478822" y="143103"/>
                    <a:pt x="478956" y="139907"/>
                    <a:pt x="479394" y="139033"/>
                  </a:cubicBezTo>
                  <a:cubicBezTo>
                    <a:pt x="479831" y="138158"/>
                    <a:pt x="481144" y="137149"/>
                    <a:pt x="482288" y="136846"/>
                  </a:cubicBezTo>
                  <a:cubicBezTo>
                    <a:pt x="483432" y="136543"/>
                    <a:pt x="483600" y="136712"/>
                    <a:pt x="485048" y="136274"/>
                  </a:cubicBezTo>
                  <a:cubicBezTo>
                    <a:pt x="486495" y="135837"/>
                    <a:pt x="488245" y="134828"/>
                    <a:pt x="488380" y="134256"/>
                  </a:cubicBezTo>
                  <a:cubicBezTo>
                    <a:pt x="488514" y="133684"/>
                    <a:pt x="489086" y="131228"/>
                    <a:pt x="488514" y="131060"/>
                  </a:cubicBezTo>
                  <a:cubicBezTo>
                    <a:pt x="487942" y="130926"/>
                    <a:pt x="482995" y="131363"/>
                    <a:pt x="481985" y="131060"/>
                  </a:cubicBezTo>
                  <a:cubicBezTo>
                    <a:pt x="480975" y="130757"/>
                    <a:pt x="478351" y="131026"/>
                    <a:pt x="478351" y="131026"/>
                  </a:cubicBezTo>
                  <a:lnTo>
                    <a:pt x="475456" y="132641"/>
                  </a:lnTo>
                  <a:lnTo>
                    <a:pt x="470812" y="134828"/>
                  </a:lnTo>
                  <a:lnTo>
                    <a:pt x="465595" y="135568"/>
                  </a:lnTo>
                  <a:lnTo>
                    <a:pt x="463273" y="134828"/>
                  </a:lnTo>
                  <a:lnTo>
                    <a:pt x="461086" y="132809"/>
                  </a:lnTo>
                  <a:cubicBezTo>
                    <a:pt x="461086" y="132809"/>
                    <a:pt x="458898" y="133112"/>
                    <a:pt x="458191" y="133381"/>
                  </a:cubicBezTo>
                  <a:cubicBezTo>
                    <a:pt x="457484" y="133684"/>
                    <a:pt x="456172" y="135971"/>
                    <a:pt x="456172" y="135971"/>
                  </a:cubicBezTo>
                  <a:cubicBezTo>
                    <a:pt x="456172" y="135971"/>
                    <a:pt x="454590" y="137283"/>
                    <a:pt x="454153" y="137418"/>
                  </a:cubicBezTo>
                  <a:cubicBezTo>
                    <a:pt x="453715" y="137553"/>
                    <a:pt x="450686" y="134962"/>
                    <a:pt x="449812" y="134390"/>
                  </a:cubicBezTo>
                  <a:cubicBezTo>
                    <a:pt x="448936" y="133818"/>
                    <a:pt x="447792" y="132641"/>
                    <a:pt x="447186" y="132372"/>
                  </a:cubicBezTo>
                  <a:cubicBezTo>
                    <a:pt x="446614" y="132069"/>
                    <a:pt x="444426" y="130926"/>
                    <a:pt x="444426" y="130926"/>
                  </a:cubicBezTo>
                  <a:lnTo>
                    <a:pt x="439648" y="133247"/>
                  </a:lnTo>
                  <a:lnTo>
                    <a:pt x="434296" y="134121"/>
                  </a:lnTo>
                  <a:cubicBezTo>
                    <a:pt x="434296" y="134121"/>
                    <a:pt x="431402" y="135299"/>
                    <a:pt x="431268" y="134861"/>
                  </a:cubicBezTo>
                  <a:cubicBezTo>
                    <a:pt x="431133" y="134424"/>
                    <a:pt x="429686" y="132103"/>
                    <a:pt x="429686" y="132103"/>
                  </a:cubicBezTo>
                  <a:lnTo>
                    <a:pt x="427499" y="132237"/>
                  </a:lnTo>
                  <a:cubicBezTo>
                    <a:pt x="427499" y="132237"/>
                    <a:pt x="424032" y="129614"/>
                    <a:pt x="423594" y="129479"/>
                  </a:cubicBezTo>
                  <a:cubicBezTo>
                    <a:pt x="423157" y="129344"/>
                    <a:pt x="421710" y="131363"/>
                    <a:pt x="421575" y="131935"/>
                  </a:cubicBezTo>
                  <a:cubicBezTo>
                    <a:pt x="421441" y="132507"/>
                    <a:pt x="419825" y="135130"/>
                    <a:pt x="419825" y="135130"/>
                  </a:cubicBezTo>
                  <a:cubicBezTo>
                    <a:pt x="419825" y="135130"/>
                    <a:pt x="418513" y="136274"/>
                    <a:pt x="417065" y="136712"/>
                  </a:cubicBezTo>
                  <a:cubicBezTo>
                    <a:pt x="415618" y="137149"/>
                    <a:pt x="414037" y="137452"/>
                    <a:pt x="414037" y="137452"/>
                  </a:cubicBezTo>
                  <a:lnTo>
                    <a:pt x="411714" y="138595"/>
                  </a:lnTo>
                  <a:cubicBezTo>
                    <a:pt x="411714" y="138595"/>
                    <a:pt x="406801" y="135400"/>
                    <a:pt x="406195" y="135265"/>
                  </a:cubicBezTo>
                  <a:cubicBezTo>
                    <a:pt x="405623" y="135130"/>
                    <a:pt x="404748" y="135130"/>
                    <a:pt x="404445" y="134559"/>
                  </a:cubicBezTo>
                  <a:cubicBezTo>
                    <a:pt x="404176" y="133987"/>
                    <a:pt x="403873" y="130926"/>
                    <a:pt x="403873" y="130926"/>
                  </a:cubicBezTo>
                  <a:lnTo>
                    <a:pt x="402291" y="126855"/>
                  </a:lnTo>
                  <a:cubicBezTo>
                    <a:pt x="402291" y="126855"/>
                    <a:pt x="401147" y="124971"/>
                    <a:pt x="401147" y="124534"/>
                  </a:cubicBezTo>
                  <a:cubicBezTo>
                    <a:pt x="401147" y="124097"/>
                    <a:pt x="400272" y="122953"/>
                    <a:pt x="400272" y="122516"/>
                  </a:cubicBezTo>
                  <a:cubicBezTo>
                    <a:pt x="400272" y="122078"/>
                    <a:pt x="399834" y="121372"/>
                    <a:pt x="400709" y="120766"/>
                  </a:cubicBezTo>
                  <a:cubicBezTo>
                    <a:pt x="401584" y="120194"/>
                    <a:pt x="402291" y="119320"/>
                    <a:pt x="402291" y="118748"/>
                  </a:cubicBezTo>
                  <a:cubicBezTo>
                    <a:pt x="402291" y="118176"/>
                    <a:pt x="402291" y="113534"/>
                    <a:pt x="402291" y="113534"/>
                  </a:cubicBezTo>
                  <a:lnTo>
                    <a:pt x="401416" y="112659"/>
                  </a:lnTo>
                  <a:lnTo>
                    <a:pt x="394315" y="111650"/>
                  </a:lnTo>
                  <a:lnTo>
                    <a:pt x="393137" y="108622"/>
                  </a:lnTo>
                  <a:lnTo>
                    <a:pt x="396772" y="106604"/>
                  </a:lnTo>
                  <a:cubicBezTo>
                    <a:pt x="396772" y="106604"/>
                    <a:pt x="394450" y="103408"/>
                    <a:pt x="393878" y="103139"/>
                  </a:cubicBezTo>
                  <a:cubicBezTo>
                    <a:pt x="393305" y="102836"/>
                    <a:pt x="390983" y="102567"/>
                    <a:pt x="390545" y="102264"/>
                  </a:cubicBezTo>
                  <a:cubicBezTo>
                    <a:pt x="390108" y="101962"/>
                    <a:pt x="389805" y="101121"/>
                    <a:pt x="389401" y="100515"/>
                  </a:cubicBezTo>
                  <a:cubicBezTo>
                    <a:pt x="388964" y="99943"/>
                    <a:pt x="387214" y="97622"/>
                    <a:pt x="386945" y="96748"/>
                  </a:cubicBezTo>
                  <a:cubicBezTo>
                    <a:pt x="386676" y="95873"/>
                    <a:pt x="385800" y="93855"/>
                    <a:pt x="385800" y="93855"/>
                  </a:cubicBezTo>
                  <a:cubicBezTo>
                    <a:pt x="385800" y="93855"/>
                    <a:pt x="385363" y="92274"/>
                    <a:pt x="385800" y="91668"/>
                  </a:cubicBezTo>
                  <a:cubicBezTo>
                    <a:pt x="386238" y="91096"/>
                    <a:pt x="387820" y="87699"/>
                    <a:pt x="387820" y="87699"/>
                  </a:cubicBezTo>
                  <a:lnTo>
                    <a:pt x="388695" y="86622"/>
                  </a:lnTo>
                  <a:lnTo>
                    <a:pt x="389267" y="86622"/>
                  </a:lnTo>
                  <a:cubicBezTo>
                    <a:pt x="389267" y="86622"/>
                    <a:pt x="388964" y="86185"/>
                    <a:pt x="390849" y="86622"/>
                  </a:cubicBezTo>
                  <a:cubicBezTo>
                    <a:pt x="392733" y="87059"/>
                    <a:pt x="394046" y="87497"/>
                    <a:pt x="394046" y="87497"/>
                  </a:cubicBezTo>
                  <a:cubicBezTo>
                    <a:pt x="394046" y="87497"/>
                    <a:pt x="396940" y="89246"/>
                    <a:pt x="397243" y="89818"/>
                  </a:cubicBezTo>
                  <a:cubicBezTo>
                    <a:pt x="397546" y="90390"/>
                    <a:pt x="398690" y="91836"/>
                    <a:pt x="400440" y="91130"/>
                  </a:cubicBezTo>
                  <a:cubicBezTo>
                    <a:pt x="402190" y="90423"/>
                    <a:pt x="403637" y="87497"/>
                    <a:pt x="403637" y="87497"/>
                  </a:cubicBezTo>
                  <a:cubicBezTo>
                    <a:pt x="403637" y="87497"/>
                    <a:pt x="403503" y="82854"/>
                    <a:pt x="402931" y="81845"/>
                  </a:cubicBezTo>
                  <a:cubicBezTo>
                    <a:pt x="402358" y="80836"/>
                    <a:pt x="400474" y="78212"/>
                    <a:pt x="400474" y="78212"/>
                  </a:cubicBezTo>
                  <a:lnTo>
                    <a:pt x="399599" y="74747"/>
                  </a:lnTo>
                  <a:lnTo>
                    <a:pt x="396267" y="71417"/>
                  </a:lnTo>
                  <a:cubicBezTo>
                    <a:pt x="396267" y="71417"/>
                    <a:pt x="395829" y="70408"/>
                    <a:pt x="396839" y="69533"/>
                  </a:cubicBezTo>
                  <a:cubicBezTo>
                    <a:pt x="397849" y="68659"/>
                    <a:pt x="399868" y="66640"/>
                    <a:pt x="400305" y="66640"/>
                  </a:cubicBezTo>
                  <a:cubicBezTo>
                    <a:pt x="400743" y="66640"/>
                    <a:pt x="401887" y="64050"/>
                    <a:pt x="400878" y="64050"/>
                  </a:cubicBezTo>
                  <a:cubicBezTo>
                    <a:pt x="399868" y="64050"/>
                    <a:pt x="396536" y="63310"/>
                    <a:pt x="396536" y="63310"/>
                  </a:cubicBezTo>
                  <a:cubicBezTo>
                    <a:pt x="396536" y="63310"/>
                    <a:pt x="394214" y="62570"/>
                    <a:pt x="394079" y="61729"/>
                  </a:cubicBezTo>
                  <a:cubicBezTo>
                    <a:pt x="393945" y="60854"/>
                    <a:pt x="395661" y="59408"/>
                    <a:pt x="395661" y="59408"/>
                  </a:cubicBezTo>
                  <a:lnTo>
                    <a:pt x="396233" y="57658"/>
                  </a:lnTo>
                  <a:lnTo>
                    <a:pt x="395527" y="55337"/>
                  </a:lnTo>
                  <a:lnTo>
                    <a:pt x="394517" y="55337"/>
                  </a:lnTo>
                  <a:cubicBezTo>
                    <a:pt x="394517" y="55337"/>
                    <a:pt x="392363" y="53588"/>
                    <a:pt x="391757" y="53588"/>
                  </a:cubicBezTo>
                  <a:cubicBezTo>
                    <a:pt x="391185" y="53588"/>
                    <a:pt x="390007" y="54025"/>
                    <a:pt x="389570" y="54328"/>
                  </a:cubicBezTo>
                  <a:cubicBezTo>
                    <a:pt x="389132" y="54631"/>
                    <a:pt x="388695" y="55640"/>
                    <a:pt x="388392" y="56212"/>
                  </a:cubicBezTo>
                  <a:cubicBezTo>
                    <a:pt x="388122" y="56784"/>
                    <a:pt x="387247" y="58096"/>
                    <a:pt x="387247" y="58096"/>
                  </a:cubicBezTo>
                  <a:cubicBezTo>
                    <a:pt x="387247" y="58096"/>
                    <a:pt x="385699" y="59542"/>
                    <a:pt x="385598" y="59542"/>
                  </a:cubicBezTo>
                  <a:cubicBezTo>
                    <a:pt x="385497" y="59542"/>
                    <a:pt x="383781" y="59408"/>
                    <a:pt x="383781" y="59408"/>
                  </a:cubicBezTo>
                  <a:cubicBezTo>
                    <a:pt x="383781" y="59408"/>
                    <a:pt x="382839" y="58533"/>
                    <a:pt x="382569" y="57961"/>
                  </a:cubicBezTo>
                  <a:cubicBezTo>
                    <a:pt x="382267" y="57389"/>
                    <a:pt x="381459" y="56515"/>
                    <a:pt x="381459" y="56515"/>
                  </a:cubicBezTo>
                  <a:lnTo>
                    <a:pt x="381459" y="54496"/>
                  </a:lnTo>
                  <a:lnTo>
                    <a:pt x="384252" y="53285"/>
                  </a:lnTo>
                  <a:lnTo>
                    <a:pt x="383579" y="51603"/>
                  </a:lnTo>
                  <a:lnTo>
                    <a:pt x="382873" y="50426"/>
                  </a:lnTo>
                  <a:lnTo>
                    <a:pt x="380012" y="48307"/>
                  </a:lnTo>
                  <a:lnTo>
                    <a:pt x="377892" y="49719"/>
                  </a:lnTo>
                  <a:cubicBezTo>
                    <a:pt x="377892" y="49719"/>
                    <a:pt x="377252" y="49484"/>
                    <a:pt x="377252" y="49349"/>
                  </a:cubicBezTo>
                  <a:cubicBezTo>
                    <a:pt x="377252" y="49181"/>
                    <a:pt x="377084" y="47163"/>
                    <a:pt x="377252" y="46692"/>
                  </a:cubicBezTo>
                  <a:cubicBezTo>
                    <a:pt x="377420" y="46187"/>
                    <a:pt x="377858" y="44842"/>
                    <a:pt x="377858" y="44842"/>
                  </a:cubicBezTo>
                  <a:cubicBezTo>
                    <a:pt x="377858" y="44842"/>
                    <a:pt x="377286" y="43799"/>
                    <a:pt x="377185" y="43698"/>
                  </a:cubicBezTo>
                  <a:cubicBezTo>
                    <a:pt x="377084" y="43597"/>
                    <a:pt x="372844" y="40939"/>
                    <a:pt x="372844" y="40939"/>
                  </a:cubicBezTo>
                  <a:lnTo>
                    <a:pt x="371430" y="37845"/>
                  </a:lnTo>
                  <a:cubicBezTo>
                    <a:pt x="371430" y="37845"/>
                    <a:pt x="370622" y="35389"/>
                    <a:pt x="370622" y="35086"/>
                  </a:cubicBezTo>
                  <a:cubicBezTo>
                    <a:pt x="370622" y="34783"/>
                    <a:pt x="372877" y="32563"/>
                    <a:pt x="372877" y="32563"/>
                  </a:cubicBezTo>
                  <a:lnTo>
                    <a:pt x="373146" y="32193"/>
                  </a:lnTo>
                  <a:lnTo>
                    <a:pt x="374593" y="30040"/>
                  </a:lnTo>
                  <a:lnTo>
                    <a:pt x="374089" y="27652"/>
                  </a:lnTo>
                  <a:cubicBezTo>
                    <a:pt x="374089" y="27652"/>
                    <a:pt x="372910" y="26273"/>
                    <a:pt x="372844" y="26071"/>
                  </a:cubicBezTo>
                  <a:cubicBezTo>
                    <a:pt x="372776" y="25835"/>
                    <a:pt x="371598" y="24389"/>
                    <a:pt x="371598" y="24389"/>
                  </a:cubicBezTo>
                  <a:cubicBezTo>
                    <a:pt x="371598" y="24389"/>
                    <a:pt x="370521" y="22370"/>
                    <a:pt x="370589" y="22068"/>
                  </a:cubicBezTo>
                  <a:cubicBezTo>
                    <a:pt x="370656" y="21765"/>
                    <a:pt x="369915" y="20184"/>
                    <a:pt x="369915" y="20184"/>
                  </a:cubicBezTo>
                  <a:lnTo>
                    <a:pt x="367458" y="18300"/>
                  </a:lnTo>
                  <a:lnTo>
                    <a:pt x="362949" y="13893"/>
                  </a:lnTo>
                  <a:lnTo>
                    <a:pt x="357093" y="10630"/>
                  </a:lnTo>
                  <a:lnTo>
                    <a:pt x="355780" y="7165"/>
                  </a:lnTo>
                  <a:cubicBezTo>
                    <a:pt x="355780" y="7165"/>
                    <a:pt x="356420" y="5416"/>
                    <a:pt x="355780" y="5214"/>
                  </a:cubicBezTo>
                  <a:cubicBezTo>
                    <a:pt x="355141" y="5012"/>
                    <a:pt x="352516" y="1749"/>
                    <a:pt x="352516" y="1749"/>
                  </a:cubicBezTo>
                  <a:lnTo>
                    <a:pt x="347098" y="0"/>
                  </a:lnTo>
                  <a:lnTo>
                    <a:pt x="343900" y="639"/>
                  </a:lnTo>
                  <a:lnTo>
                    <a:pt x="340266" y="1379"/>
                  </a:lnTo>
                  <a:lnTo>
                    <a:pt x="337506" y="2388"/>
                  </a:lnTo>
                  <a:lnTo>
                    <a:pt x="335487" y="5147"/>
                  </a:lnTo>
                  <a:cubicBezTo>
                    <a:pt x="335487" y="5147"/>
                    <a:pt x="333737" y="6728"/>
                    <a:pt x="333333" y="6896"/>
                  </a:cubicBezTo>
                  <a:cubicBezTo>
                    <a:pt x="332895" y="7031"/>
                    <a:pt x="329833" y="5887"/>
                    <a:pt x="329833" y="5887"/>
                  </a:cubicBezTo>
                  <a:lnTo>
                    <a:pt x="327814" y="4440"/>
                  </a:lnTo>
                  <a:cubicBezTo>
                    <a:pt x="327814" y="4440"/>
                    <a:pt x="327814" y="4003"/>
                    <a:pt x="326939" y="3869"/>
                  </a:cubicBezTo>
                  <a:cubicBezTo>
                    <a:pt x="326064" y="3734"/>
                    <a:pt x="324313" y="3869"/>
                    <a:pt x="323910" y="4306"/>
                  </a:cubicBezTo>
                  <a:cubicBezTo>
                    <a:pt x="323472" y="4743"/>
                    <a:pt x="322732" y="6055"/>
                    <a:pt x="322462" y="6627"/>
                  </a:cubicBezTo>
                  <a:cubicBezTo>
                    <a:pt x="322193" y="7199"/>
                    <a:pt x="321587" y="8343"/>
                    <a:pt x="321587" y="8343"/>
                  </a:cubicBezTo>
                  <a:lnTo>
                    <a:pt x="320578" y="10664"/>
                  </a:lnTo>
                  <a:lnTo>
                    <a:pt x="320578" y="12850"/>
                  </a:lnTo>
                  <a:lnTo>
                    <a:pt x="317684" y="16046"/>
                  </a:lnTo>
                  <a:cubicBezTo>
                    <a:pt x="317684" y="16046"/>
                    <a:pt x="318559" y="16248"/>
                    <a:pt x="316943" y="16551"/>
                  </a:cubicBezTo>
                  <a:cubicBezTo>
                    <a:pt x="315361" y="16853"/>
                    <a:pt x="314318" y="17190"/>
                    <a:pt x="314318" y="17190"/>
                  </a:cubicBezTo>
                  <a:lnTo>
                    <a:pt x="310986" y="17190"/>
                  </a:lnTo>
                  <a:lnTo>
                    <a:pt x="309236" y="16315"/>
                  </a:lnTo>
                  <a:lnTo>
                    <a:pt x="305601" y="14297"/>
                  </a:lnTo>
                  <a:cubicBezTo>
                    <a:pt x="305601" y="14297"/>
                    <a:pt x="304592" y="13288"/>
                    <a:pt x="304020" y="13288"/>
                  </a:cubicBezTo>
                  <a:cubicBezTo>
                    <a:pt x="303447" y="13288"/>
                    <a:pt x="300688" y="15172"/>
                    <a:pt x="300688" y="15172"/>
                  </a:cubicBezTo>
                  <a:lnTo>
                    <a:pt x="299375" y="17358"/>
                  </a:lnTo>
                  <a:cubicBezTo>
                    <a:pt x="299375" y="17358"/>
                    <a:pt x="297356" y="17661"/>
                    <a:pt x="295741" y="17661"/>
                  </a:cubicBezTo>
                  <a:cubicBezTo>
                    <a:pt x="294159" y="17661"/>
                    <a:pt x="290390" y="17358"/>
                    <a:pt x="290390" y="17358"/>
                  </a:cubicBezTo>
                  <a:cubicBezTo>
                    <a:pt x="290390" y="17358"/>
                    <a:pt x="288067" y="17223"/>
                    <a:pt x="287495" y="17493"/>
                  </a:cubicBezTo>
                  <a:cubicBezTo>
                    <a:pt x="286923" y="17762"/>
                    <a:pt x="283861" y="18636"/>
                    <a:pt x="283861" y="18636"/>
                  </a:cubicBezTo>
                  <a:cubicBezTo>
                    <a:pt x="283861" y="18636"/>
                    <a:pt x="281539" y="19074"/>
                    <a:pt x="280966" y="19343"/>
                  </a:cubicBezTo>
                  <a:cubicBezTo>
                    <a:pt x="280394" y="19646"/>
                    <a:pt x="278779" y="19646"/>
                    <a:pt x="278510" y="20083"/>
                  </a:cubicBezTo>
                  <a:cubicBezTo>
                    <a:pt x="278206" y="20520"/>
                    <a:pt x="279317" y="24288"/>
                    <a:pt x="278577" y="24422"/>
                  </a:cubicBezTo>
                  <a:cubicBezTo>
                    <a:pt x="277870" y="24557"/>
                    <a:pt x="271846" y="25566"/>
                    <a:pt x="271846" y="25566"/>
                  </a:cubicBezTo>
                  <a:lnTo>
                    <a:pt x="271846" y="28459"/>
                  </a:lnTo>
                  <a:lnTo>
                    <a:pt x="272855" y="29468"/>
                  </a:lnTo>
                  <a:cubicBezTo>
                    <a:pt x="272855" y="29468"/>
                    <a:pt x="273563" y="30646"/>
                    <a:pt x="273731" y="31218"/>
                  </a:cubicBezTo>
                  <a:cubicBezTo>
                    <a:pt x="273865" y="31789"/>
                    <a:pt x="274168" y="32967"/>
                    <a:pt x="274168" y="32967"/>
                  </a:cubicBezTo>
                  <a:lnTo>
                    <a:pt x="274875" y="34716"/>
                  </a:lnTo>
                  <a:lnTo>
                    <a:pt x="275178" y="37912"/>
                  </a:lnTo>
                  <a:lnTo>
                    <a:pt x="275312" y="39796"/>
                  </a:lnTo>
                  <a:lnTo>
                    <a:pt x="277332" y="44001"/>
                  </a:lnTo>
                  <a:lnTo>
                    <a:pt x="276187" y="47768"/>
                  </a:lnTo>
                  <a:cubicBezTo>
                    <a:pt x="276187" y="47768"/>
                    <a:pt x="274740" y="48071"/>
                    <a:pt x="273293" y="48475"/>
                  </a:cubicBezTo>
                  <a:cubicBezTo>
                    <a:pt x="271846" y="48912"/>
                    <a:pt x="267067" y="50224"/>
                    <a:pt x="267067" y="50224"/>
                  </a:cubicBezTo>
                  <a:cubicBezTo>
                    <a:pt x="267067" y="51973"/>
                    <a:pt x="270096" y="55304"/>
                    <a:pt x="270096" y="55304"/>
                  </a:cubicBezTo>
                  <a:lnTo>
                    <a:pt x="274000" y="57187"/>
                  </a:lnTo>
                  <a:lnTo>
                    <a:pt x="276154" y="58499"/>
                  </a:lnTo>
                  <a:lnTo>
                    <a:pt x="277163" y="60383"/>
                  </a:lnTo>
                  <a:lnTo>
                    <a:pt x="276591" y="62704"/>
                  </a:lnTo>
                  <a:cubicBezTo>
                    <a:pt x="276591" y="62704"/>
                    <a:pt x="275716" y="66169"/>
                    <a:pt x="275716" y="66775"/>
                  </a:cubicBezTo>
                  <a:cubicBezTo>
                    <a:pt x="275716" y="67347"/>
                    <a:pt x="275144" y="70408"/>
                    <a:pt x="275009" y="70845"/>
                  </a:cubicBezTo>
                  <a:cubicBezTo>
                    <a:pt x="274875" y="71282"/>
                    <a:pt x="274437" y="72493"/>
                    <a:pt x="274000" y="72662"/>
                  </a:cubicBezTo>
                  <a:cubicBezTo>
                    <a:pt x="273563" y="72796"/>
                    <a:pt x="272553" y="72863"/>
                    <a:pt x="271980" y="72863"/>
                  </a:cubicBezTo>
                  <a:cubicBezTo>
                    <a:pt x="271409" y="72863"/>
                    <a:pt x="269221" y="72863"/>
                    <a:pt x="269221" y="72863"/>
                  </a:cubicBezTo>
                  <a:lnTo>
                    <a:pt x="266327" y="73166"/>
                  </a:lnTo>
                  <a:cubicBezTo>
                    <a:pt x="266327" y="73166"/>
                    <a:pt x="265182" y="73301"/>
                    <a:pt x="264745" y="74747"/>
                  </a:cubicBezTo>
                  <a:cubicBezTo>
                    <a:pt x="264308" y="76194"/>
                    <a:pt x="264038" y="78649"/>
                    <a:pt x="263735" y="79255"/>
                  </a:cubicBezTo>
                  <a:cubicBezTo>
                    <a:pt x="263432" y="79827"/>
                    <a:pt x="263163" y="80130"/>
                    <a:pt x="262591" y="80399"/>
                  </a:cubicBezTo>
                  <a:cubicBezTo>
                    <a:pt x="262019" y="80702"/>
                    <a:pt x="256802" y="80836"/>
                    <a:pt x="256802" y="80836"/>
                  </a:cubicBezTo>
                  <a:cubicBezTo>
                    <a:pt x="256802" y="80836"/>
                    <a:pt x="252023" y="81139"/>
                    <a:pt x="251014" y="81139"/>
                  </a:cubicBezTo>
                  <a:cubicBezTo>
                    <a:pt x="250004" y="81139"/>
                    <a:pt x="247513" y="79827"/>
                    <a:pt x="247513" y="79827"/>
                  </a:cubicBezTo>
                  <a:lnTo>
                    <a:pt x="244451" y="76564"/>
                  </a:lnTo>
                  <a:lnTo>
                    <a:pt x="242869" y="74613"/>
                  </a:lnTo>
                  <a:lnTo>
                    <a:pt x="239672" y="74613"/>
                  </a:lnTo>
                  <a:lnTo>
                    <a:pt x="238225" y="77808"/>
                  </a:lnTo>
                  <a:cubicBezTo>
                    <a:pt x="238225" y="77808"/>
                    <a:pt x="235768" y="78952"/>
                    <a:pt x="235465" y="78549"/>
                  </a:cubicBezTo>
                  <a:cubicBezTo>
                    <a:pt x="235196" y="78111"/>
                    <a:pt x="235465" y="76799"/>
                    <a:pt x="235768" y="76227"/>
                  </a:cubicBezTo>
                  <a:cubicBezTo>
                    <a:pt x="236071" y="75656"/>
                    <a:pt x="237081" y="75353"/>
                    <a:pt x="237081" y="74646"/>
                  </a:cubicBezTo>
                  <a:cubicBezTo>
                    <a:pt x="237081" y="73906"/>
                    <a:pt x="237081" y="72056"/>
                    <a:pt x="237081" y="72056"/>
                  </a:cubicBezTo>
                  <a:cubicBezTo>
                    <a:pt x="237081" y="72056"/>
                    <a:pt x="234624" y="71047"/>
                    <a:pt x="233884" y="71047"/>
                  </a:cubicBezTo>
                  <a:cubicBezTo>
                    <a:pt x="233143" y="71047"/>
                    <a:pt x="230855" y="72191"/>
                    <a:pt x="230855" y="72191"/>
                  </a:cubicBezTo>
                  <a:lnTo>
                    <a:pt x="228835" y="74075"/>
                  </a:lnTo>
                  <a:lnTo>
                    <a:pt x="226648" y="77270"/>
                  </a:lnTo>
                  <a:lnTo>
                    <a:pt x="226648" y="79020"/>
                  </a:lnTo>
                  <a:lnTo>
                    <a:pt x="224898" y="81038"/>
                  </a:lnTo>
                  <a:lnTo>
                    <a:pt x="224898" y="82484"/>
                  </a:lnTo>
                  <a:lnTo>
                    <a:pt x="221970" y="85411"/>
                  </a:lnTo>
                  <a:lnTo>
                    <a:pt x="220220" y="87362"/>
                  </a:lnTo>
                  <a:lnTo>
                    <a:pt x="217830" y="89011"/>
                  </a:lnTo>
                  <a:lnTo>
                    <a:pt x="216080" y="89784"/>
                  </a:lnTo>
                  <a:cubicBezTo>
                    <a:pt x="216080" y="89784"/>
                    <a:pt x="214229" y="90558"/>
                    <a:pt x="213792" y="90659"/>
                  </a:cubicBezTo>
                  <a:cubicBezTo>
                    <a:pt x="213354" y="90760"/>
                    <a:pt x="212277" y="91197"/>
                    <a:pt x="212277" y="91197"/>
                  </a:cubicBezTo>
                  <a:lnTo>
                    <a:pt x="210662" y="92711"/>
                  </a:lnTo>
                  <a:lnTo>
                    <a:pt x="209248" y="95436"/>
                  </a:lnTo>
                  <a:lnTo>
                    <a:pt x="209248" y="98161"/>
                  </a:lnTo>
                  <a:lnTo>
                    <a:pt x="209248" y="101625"/>
                  </a:lnTo>
                  <a:cubicBezTo>
                    <a:pt x="208474" y="101962"/>
                    <a:pt x="206320" y="100986"/>
                    <a:pt x="205345" y="99674"/>
                  </a:cubicBezTo>
                  <a:cubicBezTo>
                    <a:pt x="204368" y="98362"/>
                    <a:pt x="203830" y="97723"/>
                    <a:pt x="203830" y="97387"/>
                  </a:cubicBezTo>
                  <a:cubicBezTo>
                    <a:pt x="203830" y="97050"/>
                    <a:pt x="202753" y="90659"/>
                    <a:pt x="202753" y="90659"/>
                  </a:cubicBezTo>
                  <a:lnTo>
                    <a:pt x="201542" y="88472"/>
                  </a:lnTo>
                  <a:lnTo>
                    <a:pt x="198916" y="86858"/>
                  </a:lnTo>
                  <a:lnTo>
                    <a:pt x="196527" y="84267"/>
                  </a:lnTo>
                  <a:cubicBezTo>
                    <a:pt x="196527" y="84267"/>
                    <a:pt x="195215" y="82215"/>
                    <a:pt x="193902" y="82215"/>
                  </a:cubicBezTo>
                  <a:cubicBezTo>
                    <a:pt x="192589" y="82215"/>
                    <a:pt x="189661" y="83090"/>
                    <a:pt x="189661" y="83090"/>
                  </a:cubicBezTo>
                  <a:cubicBezTo>
                    <a:pt x="189661" y="83090"/>
                    <a:pt x="188484" y="83292"/>
                    <a:pt x="188248" y="83628"/>
                  </a:cubicBezTo>
                  <a:cubicBezTo>
                    <a:pt x="188046" y="83965"/>
                    <a:pt x="185522" y="85478"/>
                    <a:pt x="185219" y="85680"/>
                  </a:cubicBezTo>
                  <a:cubicBezTo>
                    <a:pt x="184882" y="85916"/>
                    <a:pt x="181618" y="88405"/>
                    <a:pt x="181517" y="88741"/>
                  </a:cubicBezTo>
                  <a:cubicBezTo>
                    <a:pt x="181383" y="89078"/>
                    <a:pt x="173036" y="95570"/>
                    <a:pt x="173036" y="95570"/>
                  </a:cubicBezTo>
                  <a:lnTo>
                    <a:pt x="169771" y="98295"/>
                  </a:lnTo>
                  <a:lnTo>
                    <a:pt x="161627" y="103610"/>
                  </a:lnTo>
                  <a:lnTo>
                    <a:pt x="158800" y="105561"/>
                  </a:lnTo>
                  <a:lnTo>
                    <a:pt x="157387" y="108286"/>
                  </a:lnTo>
                  <a:cubicBezTo>
                    <a:pt x="157387" y="108286"/>
                    <a:pt x="160315" y="111650"/>
                    <a:pt x="155637" y="110473"/>
                  </a:cubicBezTo>
                  <a:cubicBezTo>
                    <a:pt x="150959" y="109295"/>
                    <a:pt x="148805" y="106469"/>
                    <a:pt x="148805" y="106469"/>
                  </a:cubicBezTo>
                  <a:cubicBezTo>
                    <a:pt x="148805" y="106469"/>
                    <a:pt x="148166" y="106032"/>
                    <a:pt x="146853" y="106469"/>
                  </a:cubicBezTo>
                  <a:cubicBezTo>
                    <a:pt x="145540" y="106907"/>
                    <a:pt x="144261" y="108757"/>
                    <a:pt x="144026" y="109194"/>
                  </a:cubicBezTo>
                  <a:cubicBezTo>
                    <a:pt x="143790" y="109632"/>
                    <a:pt x="143050" y="111818"/>
                    <a:pt x="143252" y="112255"/>
                  </a:cubicBezTo>
                  <a:cubicBezTo>
                    <a:pt x="143454" y="112693"/>
                    <a:pt x="146516" y="116393"/>
                    <a:pt x="146954" y="116696"/>
                  </a:cubicBezTo>
                  <a:cubicBezTo>
                    <a:pt x="147391" y="117032"/>
                    <a:pt x="149882" y="118748"/>
                    <a:pt x="149882" y="118748"/>
                  </a:cubicBezTo>
                  <a:lnTo>
                    <a:pt x="151733" y="120497"/>
                  </a:lnTo>
                  <a:cubicBezTo>
                    <a:pt x="151733" y="120497"/>
                    <a:pt x="151935" y="121372"/>
                    <a:pt x="151632" y="122011"/>
                  </a:cubicBezTo>
                  <a:cubicBezTo>
                    <a:pt x="151295" y="122650"/>
                    <a:pt x="151867" y="123525"/>
                    <a:pt x="150016" y="123760"/>
                  </a:cubicBezTo>
                  <a:cubicBezTo>
                    <a:pt x="148166" y="123962"/>
                    <a:pt x="146415" y="123962"/>
                    <a:pt x="145002" y="123962"/>
                  </a:cubicBezTo>
                  <a:cubicBezTo>
                    <a:pt x="143588" y="123962"/>
                    <a:pt x="145540" y="123962"/>
                    <a:pt x="142713" y="124063"/>
                  </a:cubicBezTo>
                  <a:cubicBezTo>
                    <a:pt x="139886" y="124164"/>
                    <a:pt x="139011" y="123827"/>
                    <a:pt x="137800" y="123827"/>
                  </a:cubicBezTo>
                  <a:cubicBezTo>
                    <a:pt x="136588" y="123827"/>
                    <a:pt x="135208" y="123727"/>
                    <a:pt x="133761" y="123727"/>
                  </a:cubicBezTo>
                  <a:cubicBezTo>
                    <a:pt x="132348" y="123727"/>
                    <a:pt x="132011" y="120901"/>
                    <a:pt x="130295" y="120901"/>
                  </a:cubicBezTo>
                  <a:cubicBezTo>
                    <a:pt x="128545" y="120901"/>
                    <a:pt x="127030" y="121103"/>
                    <a:pt x="126155" y="121675"/>
                  </a:cubicBezTo>
                  <a:cubicBezTo>
                    <a:pt x="125280" y="122213"/>
                    <a:pt x="124203" y="123861"/>
                    <a:pt x="123867" y="124399"/>
                  </a:cubicBezTo>
                  <a:cubicBezTo>
                    <a:pt x="123530" y="124938"/>
                    <a:pt x="122891" y="125375"/>
                    <a:pt x="120939" y="125375"/>
                  </a:cubicBezTo>
                  <a:cubicBezTo>
                    <a:pt x="118987" y="125375"/>
                    <a:pt x="117674" y="124837"/>
                    <a:pt x="117674" y="124837"/>
                  </a:cubicBezTo>
                  <a:lnTo>
                    <a:pt x="115285" y="124063"/>
                  </a:lnTo>
                  <a:lnTo>
                    <a:pt x="112021" y="125139"/>
                  </a:lnTo>
                  <a:lnTo>
                    <a:pt x="110371" y="126451"/>
                  </a:lnTo>
                  <a:lnTo>
                    <a:pt x="105155" y="126889"/>
                  </a:lnTo>
                  <a:cubicBezTo>
                    <a:pt x="105155" y="126889"/>
                    <a:pt x="103943" y="126350"/>
                    <a:pt x="105155" y="126014"/>
                  </a:cubicBezTo>
                  <a:cubicBezTo>
                    <a:pt x="106366" y="125678"/>
                    <a:pt x="107107" y="124601"/>
                    <a:pt x="107208" y="124164"/>
                  </a:cubicBezTo>
                  <a:cubicBezTo>
                    <a:pt x="107309" y="123727"/>
                    <a:pt x="108184" y="122852"/>
                    <a:pt x="108284" y="122415"/>
                  </a:cubicBezTo>
                  <a:cubicBezTo>
                    <a:pt x="108386" y="121977"/>
                    <a:pt x="109059" y="120127"/>
                    <a:pt x="109059" y="119690"/>
                  </a:cubicBezTo>
                  <a:cubicBezTo>
                    <a:pt x="109059" y="119253"/>
                    <a:pt x="109496" y="116326"/>
                    <a:pt x="109496" y="115889"/>
                  </a:cubicBezTo>
                  <a:cubicBezTo>
                    <a:pt x="109496" y="115451"/>
                    <a:pt x="108857" y="113265"/>
                    <a:pt x="108857" y="113265"/>
                  </a:cubicBezTo>
                  <a:cubicBezTo>
                    <a:pt x="108857" y="113265"/>
                    <a:pt x="107982" y="111515"/>
                    <a:pt x="107881" y="111213"/>
                  </a:cubicBezTo>
                  <a:cubicBezTo>
                    <a:pt x="107780" y="110876"/>
                    <a:pt x="107107" y="109026"/>
                    <a:pt x="107107" y="108723"/>
                  </a:cubicBezTo>
                  <a:cubicBezTo>
                    <a:pt x="107107" y="108387"/>
                    <a:pt x="107544" y="106234"/>
                    <a:pt x="107544" y="106234"/>
                  </a:cubicBezTo>
                  <a:cubicBezTo>
                    <a:pt x="107544" y="106234"/>
                    <a:pt x="108520" y="105023"/>
                    <a:pt x="108857" y="104922"/>
                  </a:cubicBezTo>
                  <a:cubicBezTo>
                    <a:pt x="109193" y="104821"/>
                    <a:pt x="109934" y="103509"/>
                    <a:pt x="109934" y="103509"/>
                  </a:cubicBezTo>
                  <a:cubicBezTo>
                    <a:pt x="109934" y="103509"/>
                    <a:pt x="109395" y="100684"/>
                    <a:pt x="109395" y="100347"/>
                  </a:cubicBezTo>
                  <a:cubicBezTo>
                    <a:pt x="109395" y="100011"/>
                    <a:pt x="110809" y="97757"/>
                    <a:pt x="110809" y="97757"/>
                  </a:cubicBezTo>
                  <a:lnTo>
                    <a:pt x="111785" y="96546"/>
                  </a:lnTo>
                  <a:lnTo>
                    <a:pt x="111145" y="89280"/>
                  </a:lnTo>
                  <a:cubicBezTo>
                    <a:pt x="111145" y="89280"/>
                    <a:pt x="112559" y="86353"/>
                    <a:pt x="112222" y="86117"/>
                  </a:cubicBezTo>
                  <a:cubicBezTo>
                    <a:pt x="111886" y="85882"/>
                    <a:pt x="106905" y="80802"/>
                    <a:pt x="106905" y="80802"/>
                  </a:cubicBezTo>
                  <a:cubicBezTo>
                    <a:pt x="106905" y="80802"/>
                    <a:pt x="105693" y="79188"/>
                    <a:pt x="105592" y="78750"/>
                  </a:cubicBezTo>
                  <a:cubicBezTo>
                    <a:pt x="105491" y="78313"/>
                    <a:pt x="103001" y="77338"/>
                    <a:pt x="103640" y="76160"/>
                  </a:cubicBezTo>
                  <a:cubicBezTo>
                    <a:pt x="104280" y="74983"/>
                    <a:pt x="106467" y="73772"/>
                    <a:pt x="106467" y="73772"/>
                  </a:cubicBezTo>
                  <a:cubicBezTo>
                    <a:pt x="106467" y="73772"/>
                    <a:pt x="108318" y="73974"/>
                    <a:pt x="107342" y="72258"/>
                  </a:cubicBezTo>
                  <a:cubicBezTo>
                    <a:pt x="106366" y="70509"/>
                    <a:pt x="106164" y="68120"/>
                    <a:pt x="105390" y="68019"/>
                  </a:cubicBezTo>
                  <a:cubicBezTo>
                    <a:pt x="104650" y="67918"/>
                    <a:pt x="103741" y="67582"/>
                    <a:pt x="103539" y="66169"/>
                  </a:cubicBezTo>
                  <a:cubicBezTo>
                    <a:pt x="103337" y="64756"/>
                    <a:pt x="103203" y="62570"/>
                    <a:pt x="102126" y="62570"/>
                  </a:cubicBezTo>
                  <a:cubicBezTo>
                    <a:pt x="101049" y="62570"/>
                    <a:pt x="98760" y="62570"/>
                    <a:pt x="98760" y="62570"/>
                  </a:cubicBezTo>
                  <a:lnTo>
                    <a:pt x="97986" y="63343"/>
                  </a:lnTo>
                  <a:lnTo>
                    <a:pt x="96573" y="66270"/>
                  </a:lnTo>
                  <a:lnTo>
                    <a:pt x="95496" y="67683"/>
                  </a:lnTo>
                  <a:lnTo>
                    <a:pt x="93308" y="68558"/>
                  </a:lnTo>
                  <a:lnTo>
                    <a:pt x="90683" y="68019"/>
                  </a:lnTo>
                  <a:lnTo>
                    <a:pt x="90044" y="65194"/>
                  </a:lnTo>
                  <a:lnTo>
                    <a:pt x="87654" y="63444"/>
                  </a:lnTo>
                  <a:lnTo>
                    <a:pt x="85467" y="66371"/>
                  </a:lnTo>
                  <a:lnTo>
                    <a:pt x="84491" y="67784"/>
                  </a:lnTo>
                  <a:lnTo>
                    <a:pt x="82000" y="65833"/>
                  </a:lnTo>
                  <a:cubicBezTo>
                    <a:pt x="82000" y="65833"/>
                    <a:pt x="81361" y="64319"/>
                    <a:pt x="81024" y="64319"/>
                  </a:cubicBezTo>
                  <a:cubicBezTo>
                    <a:pt x="80688" y="64319"/>
                    <a:pt x="80049" y="64117"/>
                    <a:pt x="79611" y="64117"/>
                  </a:cubicBezTo>
                  <a:cubicBezTo>
                    <a:pt x="79174" y="64117"/>
                    <a:pt x="76784" y="64319"/>
                    <a:pt x="76683" y="64756"/>
                  </a:cubicBezTo>
                  <a:cubicBezTo>
                    <a:pt x="76582" y="65194"/>
                    <a:pt x="75707" y="66808"/>
                    <a:pt x="75707" y="66808"/>
                  </a:cubicBezTo>
                  <a:lnTo>
                    <a:pt x="75168" y="68995"/>
                  </a:lnTo>
                  <a:lnTo>
                    <a:pt x="74092" y="70744"/>
                  </a:lnTo>
                  <a:cubicBezTo>
                    <a:pt x="74092" y="70744"/>
                    <a:pt x="72140" y="71282"/>
                    <a:pt x="71803" y="71619"/>
                  </a:cubicBezTo>
                  <a:cubicBezTo>
                    <a:pt x="71500" y="71955"/>
                    <a:pt x="70053" y="72931"/>
                    <a:pt x="70053" y="72931"/>
                  </a:cubicBezTo>
                  <a:lnTo>
                    <a:pt x="70053" y="75656"/>
                  </a:lnTo>
                  <a:lnTo>
                    <a:pt x="71467" y="77708"/>
                  </a:lnTo>
                  <a:lnTo>
                    <a:pt x="72106" y="78919"/>
                  </a:lnTo>
                  <a:cubicBezTo>
                    <a:pt x="72106" y="78919"/>
                    <a:pt x="73082" y="79120"/>
                    <a:pt x="73418" y="79894"/>
                  </a:cubicBezTo>
                  <a:cubicBezTo>
                    <a:pt x="73755" y="80668"/>
                    <a:pt x="74395" y="81744"/>
                    <a:pt x="74395" y="81744"/>
                  </a:cubicBezTo>
                  <a:lnTo>
                    <a:pt x="74192" y="84234"/>
                  </a:lnTo>
                  <a:lnTo>
                    <a:pt x="73856" y="85310"/>
                  </a:lnTo>
                  <a:cubicBezTo>
                    <a:pt x="73856" y="85310"/>
                    <a:pt x="72981" y="86723"/>
                    <a:pt x="72543" y="86824"/>
                  </a:cubicBezTo>
                  <a:cubicBezTo>
                    <a:pt x="72106" y="86925"/>
                    <a:pt x="71467" y="87026"/>
                    <a:pt x="71029" y="87026"/>
                  </a:cubicBezTo>
                  <a:cubicBezTo>
                    <a:pt x="70592" y="87026"/>
                    <a:pt x="68202" y="86925"/>
                    <a:pt x="67765" y="86925"/>
                  </a:cubicBezTo>
                  <a:cubicBezTo>
                    <a:pt x="67327" y="86925"/>
                    <a:pt x="65812" y="86824"/>
                    <a:pt x="64937" y="87026"/>
                  </a:cubicBezTo>
                  <a:cubicBezTo>
                    <a:pt x="64063" y="87261"/>
                    <a:pt x="61909" y="86925"/>
                    <a:pt x="61134" y="87261"/>
                  </a:cubicBezTo>
                  <a:cubicBezTo>
                    <a:pt x="60360" y="87598"/>
                    <a:pt x="58745" y="88035"/>
                    <a:pt x="58409" y="88136"/>
                  </a:cubicBezTo>
                  <a:cubicBezTo>
                    <a:pt x="58072" y="88237"/>
                    <a:pt x="56457" y="88910"/>
                    <a:pt x="55918" y="89347"/>
                  </a:cubicBezTo>
                  <a:cubicBezTo>
                    <a:pt x="55380" y="89784"/>
                    <a:pt x="53731" y="92173"/>
                    <a:pt x="53731" y="92173"/>
                  </a:cubicBezTo>
                  <a:cubicBezTo>
                    <a:pt x="53731" y="92173"/>
                    <a:pt x="51678" y="94225"/>
                    <a:pt x="51678" y="94561"/>
                  </a:cubicBezTo>
                  <a:cubicBezTo>
                    <a:pt x="51678" y="94897"/>
                    <a:pt x="49826" y="97488"/>
                    <a:pt x="49826" y="97488"/>
                  </a:cubicBezTo>
                  <a:lnTo>
                    <a:pt x="48177" y="101087"/>
                  </a:lnTo>
                  <a:lnTo>
                    <a:pt x="48581" y="104115"/>
                  </a:lnTo>
                  <a:lnTo>
                    <a:pt x="47403" y="106503"/>
                  </a:lnTo>
                  <a:lnTo>
                    <a:pt x="47403" y="108656"/>
                  </a:lnTo>
                  <a:lnTo>
                    <a:pt x="48951" y="110708"/>
                  </a:lnTo>
                  <a:lnTo>
                    <a:pt x="48548" y="112289"/>
                  </a:lnTo>
                  <a:cubicBezTo>
                    <a:pt x="48548" y="112289"/>
                    <a:pt x="47807" y="114341"/>
                    <a:pt x="47807" y="114577"/>
                  </a:cubicBezTo>
                  <a:cubicBezTo>
                    <a:pt x="47807" y="114778"/>
                    <a:pt x="48884" y="117571"/>
                    <a:pt x="48884" y="117571"/>
                  </a:cubicBezTo>
                  <a:lnTo>
                    <a:pt x="49557" y="119959"/>
                  </a:lnTo>
                  <a:cubicBezTo>
                    <a:pt x="49557" y="119959"/>
                    <a:pt x="50534" y="123861"/>
                    <a:pt x="50534" y="124097"/>
                  </a:cubicBezTo>
                  <a:cubicBezTo>
                    <a:pt x="50534" y="124298"/>
                    <a:pt x="50702" y="126317"/>
                    <a:pt x="50735" y="126552"/>
                  </a:cubicBezTo>
                  <a:cubicBezTo>
                    <a:pt x="50803" y="126754"/>
                    <a:pt x="51173" y="130791"/>
                    <a:pt x="51173" y="130791"/>
                  </a:cubicBezTo>
                  <a:lnTo>
                    <a:pt x="52048" y="133886"/>
                  </a:lnTo>
                  <a:cubicBezTo>
                    <a:pt x="52048" y="133886"/>
                    <a:pt x="51980" y="134962"/>
                    <a:pt x="51139" y="135097"/>
                  </a:cubicBezTo>
                  <a:cubicBezTo>
                    <a:pt x="50264" y="135198"/>
                    <a:pt x="49288" y="134996"/>
                    <a:pt x="48481" y="134760"/>
                  </a:cubicBezTo>
                  <a:cubicBezTo>
                    <a:pt x="47673" y="134525"/>
                    <a:pt x="44846" y="132372"/>
                    <a:pt x="44678" y="132305"/>
                  </a:cubicBezTo>
                  <a:cubicBezTo>
                    <a:pt x="44509" y="132237"/>
                    <a:pt x="39831" y="134088"/>
                    <a:pt x="39831" y="134088"/>
                  </a:cubicBezTo>
                  <a:lnTo>
                    <a:pt x="34413" y="133448"/>
                  </a:lnTo>
                  <a:lnTo>
                    <a:pt x="31788" y="134962"/>
                  </a:lnTo>
                  <a:lnTo>
                    <a:pt x="28321" y="137788"/>
                  </a:lnTo>
                  <a:lnTo>
                    <a:pt x="22432" y="143439"/>
                  </a:lnTo>
                  <a:lnTo>
                    <a:pt x="21119" y="145626"/>
                  </a:lnTo>
                  <a:lnTo>
                    <a:pt x="20042" y="148014"/>
                  </a:lnTo>
                  <a:lnTo>
                    <a:pt x="21792" y="150201"/>
                  </a:lnTo>
                  <a:lnTo>
                    <a:pt x="22869" y="150840"/>
                  </a:lnTo>
                  <a:lnTo>
                    <a:pt x="26773" y="151042"/>
                  </a:lnTo>
                  <a:lnTo>
                    <a:pt x="29937" y="152556"/>
                  </a:lnTo>
                  <a:lnTo>
                    <a:pt x="31788" y="156054"/>
                  </a:lnTo>
                  <a:lnTo>
                    <a:pt x="31788" y="160831"/>
                  </a:lnTo>
                  <a:lnTo>
                    <a:pt x="28961" y="162345"/>
                  </a:lnTo>
                  <a:lnTo>
                    <a:pt x="29836" y="166045"/>
                  </a:lnTo>
                  <a:lnTo>
                    <a:pt x="31586" y="166281"/>
                  </a:lnTo>
                  <a:lnTo>
                    <a:pt x="34211" y="166483"/>
                  </a:lnTo>
                  <a:lnTo>
                    <a:pt x="35826" y="167795"/>
                  </a:lnTo>
                  <a:lnTo>
                    <a:pt x="37038" y="170385"/>
                  </a:lnTo>
                  <a:lnTo>
                    <a:pt x="37038" y="173009"/>
                  </a:lnTo>
                  <a:lnTo>
                    <a:pt x="34009" y="175868"/>
                  </a:lnTo>
                  <a:cubicBezTo>
                    <a:pt x="34009" y="175868"/>
                    <a:pt x="33134" y="176911"/>
                    <a:pt x="31821" y="177146"/>
                  </a:cubicBezTo>
                  <a:cubicBezTo>
                    <a:pt x="30509" y="177348"/>
                    <a:pt x="29634" y="177584"/>
                    <a:pt x="28557" y="178223"/>
                  </a:cubicBezTo>
                  <a:cubicBezTo>
                    <a:pt x="27480" y="178862"/>
                    <a:pt x="27480" y="178862"/>
                    <a:pt x="27480" y="178862"/>
                  </a:cubicBezTo>
                  <a:lnTo>
                    <a:pt x="25090" y="180174"/>
                  </a:lnTo>
                  <a:cubicBezTo>
                    <a:pt x="25090" y="180174"/>
                    <a:pt x="23576" y="181486"/>
                    <a:pt x="23576" y="182125"/>
                  </a:cubicBezTo>
                  <a:cubicBezTo>
                    <a:pt x="23576" y="182764"/>
                    <a:pt x="21759" y="185758"/>
                    <a:pt x="21759" y="185758"/>
                  </a:cubicBezTo>
                  <a:lnTo>
                    <a:pt x="21389" y="187945"/>
                  </a:lnTo>
                  <a:lnTo>
                    <a:pt x="21389" y="190400"/>
                  </a:lnTo>
                  <a:lnTo>
                    <a:pt x="23273" y="190972"/>
                  </a:lnTo>
                  <a:lnTo>
                    <a:pt x="26033" y="192419"/>
                  </a:lnTo>
                  <a:lnTo>
                    <a:pt x="27615" y="193428"/>
                  </a:lnTo>
                  <a:lnTo>
                    <a:pt x="28490" y="194605"/>
                  </a:lnTo>
                  <a:lnTo>
                    <a:pt x="29365" y="196926"/>
                  </a:lnTo>
                  <a:cubicBezTo>
                    <a:pt x="29365" y="196926"/>
                    <a:pt x="31081" y="198508"/>
                    <a:pt x="31250" y="198945"/>
                  </a:cubicBezTo>
                  <a:cubicBezTo>
                    <a:pt x="31384" y="199382"/>
                    <a:pt x="33841" y="201569"/>
                    <a:pt x="34413" y="201703"/>
                  </a:cubicBezTo>
                  <a:cubicBezTo>
                    <a:pt x="34985" y="201838"/>
                    <a:pt x="37139" y="205605"/>
                    <a:pt x="37139" y="205605"/>
                  </a:cubicBezTo>
                  <a:lnTo>
                    <a:pt x="40067" y="209743"/>
                  </a:lnTo>
                  <a:lnTo>
                    <a:pt x="41043" y="213107"/>
                  </a:lnTo>
                  <a:lnTo>
                    <a:pt x="42120" y="217009"/>
                  </a:lnTo>
                  <a:lnTo>
                    <a:pt x="43634" y="221450"/>
                  </a:lnTo>
                  <a:lnTo>
                    <a:pt x="45148" y="223838"/>
                  </a:lnTo>
                  <a:lnTo>
                    <a:pt x="46125" y="227539"/>
                  </a:lnTo>
                  <a:lnTo>
                    <a:pt x="46865" y="229927"/>
                  </a:lnTo>
                  <a:lnTo>
                    <a:pt x="50466" y="232954"/>
                  </a:lnTo>
                  <a:cubicBezTo>
                    <a:pt x="50466" y="232954"/>
                    <a:pt x="52957" y="235141"/>
                    <a:pt x="53832" y="235780"/>
                  </a:cubicBezTo>
                  <a:cubicBezTo>
                    <a:pt x="54707" y="236419"/>
                    <a:pt x="56322" y="237630"/>
                    <a:pt x="56658" y="237832"/>
                  </a:cubicBezTo>
                  <a:cubicBezTo>
                    <a:pt x="56995" y="238034"/>
                    <a:pt x="59923" y="240994"/>
                    <a:pt x="60024" y="241297"/>
                  </a:cubicBezTo>
                  <a:cubicBezTo>
                    <a:pt x="60125" y="241634"/>
                    <a:pt x="61000" y="243686"/>
                    <a:pt x="61101" y="244022"/>
                  </a:cubicBezTo>
                  <a:cubicBezTo>
                    <a:pt x="61202" y="244358"/>
                    <a:pt x="61539" y="245536"/>
                    <a:pt x="61438" y="245973"/>
                  </a:cubicBezTo>
                  <a:cubicBezTo>
                    <a:pt x="61337" y="246410"/>
                    <a:pt x="61438" y="247588"/>
                    <a:pt x="61438" y="248698"/>
                  </a:cubicBezTo>
                  <a:cubicBezTo>
                    <a:pt x="61438" y="249774"/>
                    <a:pt x="62077" y="251860"/>
                    <a:pt x="62077" y="251860"/>
                  </a:cubicBezTo>
                  <a:lnTo>
                    <a:pt x="62615" y="257612"/>
                  </a:lnTo>
                  <a:lnTo>
                    <a:pt x="63692" y="262187"/>
                  </a:lnTo>
                  <a:lnTo>
                    <a:pt x="62481" y="265955"/>
                  </a:lnTo>
                  <a:lnTo>
                    <a:pt x="64433" y="269891"/>
                  </a:lnTo>
                  <a:cubicBezTo>
                    <a:pt x="64433" y="269891"/>
                    <a:pt x="65846" y="269454"/>
                    <a:pt x="66721" y="269655"/>
                  </a:cubicBezTo>
                  <a:cubicBezTo>
                    <a:pt x="67596" y="269891"/>
                    <a:pt x="69447" y="269756"/>
                    <a:pt x="69447" y="269756"/>
                  </a:cubicBezTo>
                  <a:lnTo>
                    <a:pt x="74226" y="270294"/>
                  </a:lnTo>
                  <a:cubicBezTo>
                    <a:pt x="74226" y="270294"/>
                    <a:pt x="76515" y="271001"/>
                    <a:pt x="76952" y="271001"/>
                  </a:cubicBezTo>
                  <a:cubicBezTo>
                    <a:pt x="77390" y="271001"/>
                    <a:pt x="79880" y="271169"/>
                    <a:pt x="80755" y="271169"/>
                  </a:cubicBezTo>
                  <a:cubicBezTo>
                    <a:pt x="81058" y="271169"/>
                    <a:pt x="81226" y="271169"/>
                    <a:pt x="81294" y="271169"/>
                  </a:cubicBezTo>
                  <a:lnTo>
                    <a:pt x="82707" y="273221"/>
                  </a:lnTo>
                  <a:lnTo>
                    <a:pt x="82472" y="273995"/>
                  </a:lnTo>
                  <a:lnTo>
                    <a:pt x="79308" y="275071"/>
                  </a:lnTo>
                  <a:cubicBezTo>
                    <a:pt x="79308" y="275071"/>
                    <a:pt x="78332" y="277359"/>
                    <a:pt x="77558" y="277561"/>
                  </a:cubicBezTo>
                  <a:cubicBezTo>
                    <a:pt x="76784" y="277762"/>
                    <a:pt x="76246" y="278099"/>
                    <a:pt x="75371" y="278536"/>
                  </a:cubicBezTo>
                  <a:cubicBezTo>
                    <a:pt x="74496" y="278974"/>
                    <a:pt x="72981" y="279747"/>
                    <a:pt x="72981" y="279747"/>
                  </a:cubicBezTo>
                  <a:lnTo>
                    <a:pt x="65139" y="283347"/>
                  </a:lnTo>
                  <a:lnTo>
                    <a:pt x="57534" y="284423"/>
                  </a:lnTo>
                  <a:lnTo>
                    <a:pt x="55346" y="285836"/>
                  </a:lnTo>
                  <a:lnTo>
                    <a:pt x="51846" y="288561"/>
                  </a:lnTo>
                  <a:lnTo>
                    <a:pt x="42928" y="288561"/>
                  </a:lnTo>
                  <a:lnTo>
                    <a:pt x="43567" y="294010"/>
                  </a:lnTo>
                  <a:lnTo>
                    <a:pt x="44004" y="298585"/>
                  </a:lnTo>
                  <a:cubicBezTo>
                    <a:pt x="44004" y="298585"/>
                    <a:pt x="44879" y="299662"/>
                    <a:pt x="42692" y="299662"/>
                  </a:cubicBezTo>
                  <a:cubicBezTo>
                    <a:pt x="40505" y="299662"/>
                    <a:pt x="38351" y="299023"/>
                    <a:pt x="38351" y="299023"/>
                  </a:cubicBezTo>
                  <a:lnTo>
                    <a:pt x="35725" y="298585"/>
                  </a:lnTo>
                  <a:cubicBezTo>
                    <a:pt x="35725" y="298585"/>
                    <a:pt x="34413" y="299023"/>
                    <a:pt x="33774" y="299897"/>
                  </a:cubicBezTo>
                  <a:cubicBezTo>
                    <a:pt x="33134" y="300772"/>
                    <a:pt x="31586" y="305986"/>
                    <a:pt x="31586" y="305986"/>
                  </a:cubicBezTo>
                  <a:cubicBezTo>
                    <a:pt x="31586" y="305986"/>
                    <a:pt x="32259" y="310124"/>
                    <a:pt x="32899" y="310763"/>
                  </a:cubicBezTo>
                  <a:cubicBezTo>
                    <a:pt x="33538" y="311402"/>
                    <a:pt x="36163" y="313791"/>
                    <a:pt x="37038" y="314026"/>
                  </a:cubicBezTo>
                  <a:cubicBezTo>
                    <a:pt x="37913" y="314228"/>
                    <a:pt x="39865" y="314665"/>
                    <a:pt x="40505" y="314665"/>
                  </a:cubicBezTo>
                  <a:cubicBezTo>
                    <a:pt x="41144" y="314665"/>
                    <a:pt x="42894" y="314665"/>
                    <a:pt x="42894" y="314665"/>
                  </a:cubicBezTo>
                  <a:lnTo>
                    <a:pt x="44644" y="316616"/>
                  </a:lnTo>
                  <a:cubicBezTo>
                    <a:pt x="44644" y="316616"/>
                    <a:pt x="45081" y="317928"/>
                    <a:pt x="45721" y="318366"/>
                  </a:cubicBezTo>
                  <a:cubicBezTo>
                    <a:pt x="46360" y="318803"/>
                    <a:pt x="51610" y="320956"/>
                    <a:pt x="51610" y="320956"/>
                  </a:cubicBezTo>
                  <a:cubicBezTo>
                    <a:pt x="51610" y="320956"/>
                    <a:pt x="54437" y="322470"/>
                    <a:pt x="55952" y="322470"/>
                  </a:cubicBezTo>
                  <a:cubicBezTo>
                    <a:pt x="57500" y="322470"/>
                    <a:pt x="62043" y="322907"/>
                    <a:pt x="62043" y="322907"/>
                  </a:cubicBezTo>
                  <a:lnTo>
                    <a:pt x="65947" y="323445"/>
                  </a:lnTo>
                  <a:lnTo>
                    <a:pt x="70962" y="323344"/>
                  </a:lnTo>
                  <a:lnTo>
                    <a:pt x="74226" y="323344"/>
                  </a:lnTo>
                  <a:cubicBezTo>
                    <a:pt x="74226" y="323344"/>
                    <a:pt x="74664" y="323142"/>
                    <a:pt x="75303" y="323781"/>
                  </a:cubicBezTo>
                  <a:cubicBezTo>
                    <a:pt x="75942" y="324421"/>
                    <a:pt x="76178" y="325531"/>
                    <a:pt x="76178" y="325531"/>
                  </a:cubicBezTo>
                  <a:lnTo>
                    <a:pt x="78130" y="328357"/>
                  </a:lnTo>
                  <a:cubicBezTo>
                    <a:pt x="78130" y="328357"/>
                    <a:pt x="78130" y="330308"/>
                    <a:pt x="77895" y="331182"/>
                  </a:cubicBezTo>
                  <a:cubicBezTo>
                    <a:pt x="77693" y="332057"/>
                    <a:pt x="77457" y="333133"/>
                    <a:pt x="76818" y="334008"/>
                  </a:cubicBezTo>
                  <a:cubicBezTo>
                    <a:pt x="76178" y="334883"/>
                    <a:pt x="77457" y="333571"/>
                    <a:pt x="76178" y="334883"/>
                  </a:cubicBezTo>
                  <a:cubicBezTo>
                    <a:pt x="74866" y="336195"/>
                    <a:pt x="73991" y="338785"/>
                    <a:pt x="73991" y="338785"/>
                  </a:cubicBezTo>
                  <a:lnTo>
                    <a:pt x="73856" y="340299"/>
                  </a:lnTo>
                  <a:lnTo>
                    <a:pt x="75101" y="343326"/>
                  </a:lnTo>
                  <a:lnTo>
                    <a:pt x="75101" y="346791"/>
                  </a:lnTo>
                  <a:lnTo>
                    <a:pt x="76246" y="348103"/>
                  </a:lnTo>
                  <a:lnTo>
                    <a:pt x="77390" y="350727"/>
                  </a:lnTo>
                  <a:lnTo>
                    <a:pt x="81159" y="352308"/>
                  </a:lnTo>
                  <a:lnTo>
                    <a:pt x="82472" y="352443"/>
                  </a:lnTo>
                  <a:cubicBezTo>
                    <a:pt x="82472" y="352443"/>
                    <a:pt x="83481" y="353754"/>
                    <a:pt x="83784" y="354326"/>
                  </a:cubicBezTo>
                  <a:cubicBezTo>
                    <a:pt x="84087" y="354898"/>
                    <a:pt x="85803" y="356647"/>
                    <a:pt x="85803" y="356647"/>
                  </a:cubicBezTo>
                  <a:lnTo>
                    <a:pt x="86106" y="358834"/>
                  </a:lnTo>
                  <a:lnTo>
                    <a:pt x="86981" y="362030"/>
                  </a:lnTo>
                  <a:lnTo>
                    <a:pt x="86409" y="366369"/>
                  </a:lnTo>
                  <a:lnTo>
                    <a:pt x="86275" y="367984"/>
                  </a:lnTo>
                  <a:lnTo>
                    <a:pt x="85265" y="370574"/>
                  </a:lnTo>
                  <a:lnTo>
                    <a:pt x="83515" y="376091"/>
                  </a:lnTo>
                  <a:lnTo>
                    <a:pt x="82068" y="376966"/>
                  </a:lnTo>
                  <a:lnTo>
                    <a:pt x="79611" y="377975"/>
                  </a:lnTo>
                  <a:cubicBezTo>
                    <a:pt x="79611" y="377975"/>
                    <a:pt x="79174" y="379993"/>
                    <a:pt x="79174" y="380733"/>
                  </a:cubicBezTo>
                  <a:cubicBezTo>
                    <a:pt x="79174" y="381440"/>
                    <a:pt x="80486" y="383357"/>
                    <a:pt x="80486" y="383357"/>
                  </a:cubicBezTo>
                  <a:cubicBezTo>
                    <a:pt x="80486" y="383357"/>
                    <a:pt x="81226" y="384938"/>
                    <a:pt x="81058" y="385376"/>
                  </a:cubicBezTo>
                  <a:cubicBezTo>
                    <a:pt x="80923" y="385813"/>
                    <a:pt x="80755" y="387125"/>
                    <a:pt x="80351" y="387260"/>
                  </a:cubicBezTo>
                  <a:cubicBezTo>
                    <a:pt x="79914" y="387394"/>
                    <a:pt x="78904" y="388571"/>
                    <a:pt x="78332" y="388571"/>
                  </a:cubicBezTo>
                  <a:cubicBezTo>
                    <a:pt x="77760" y="388571"/>
                    <a:pt x="77760" y="388437"/>
                    <a:pt x="77625" y="389143"/>
                  </a:cubicBezTo>
                  <a:cubicBezTo>
                    <a:pt x="77457" y="389850"/>
                    <a:pt x="78635" y="392339"/>
                    <a:pt x="79207" y="393214"/>
                  </a:cubicBezTo>
                  <a:cubicBezTo>
                    <a:pt x="79779" y="394088"/>
                    <a:pt x="80890" y="396544"/>
                    <a:pt x="80890" y="397116"/>
                  </a:cubicBezTo>
                  <a:cubicBezTo>
                    <a:pt x="80890" y="397688"/>
                    <a:pt x="83851" y="400581"/>
                    <a:pt x="83851" y="400581"/>
                  </a:cubicBezTo>
                  <a:lnTo>
                    <a:pt x="83851" y="402397"/>
                  </a:lnTo>
                  <a:cubicBezTo>
                    <a:pt x="83818" y="402296"/>
                    <a:pt x="83515" y="402196"/>
                    <a:pt x="82102" y="402498"/>
                  </a:cubicBezTo>
                  <a:cubicBezTo>
                    <a:pt x="80082" y="402936"/>
                    <a:pt x="78467" y="404248"/>
                    <a:pt x="77625" y="404651"/>
                  </a:cubicBezTo>
                  <a:cubicBezTo>
                    <a:pt x="76750" y="405089"/>
                    <a:pt x="76885" y="404954"/>
                    <a:pt x="75168" y="405660"/>
                  </a:cubicBezTo>
                  <a:cubicBezTo>
                    <a:pt x="73418" y="406401"/>
                    <a:pt x="72847" y="406804"/>
                    <a:pt x="71264" y="407847"/>
                  </a:cubicBezTo>
                  <a:cubicBezTo>
                    <a:pt x="69683" y="408856"/>
                    <a:pt x="68808" y="410605"/>
                    <a:pt x="68236" y="411043"/>
                  </a:cubicBezTo>
                  <a:cubicBezTo>
                    <a:pt x="67664" y="411480"/>
                    <a:pt x="65644" y="413061"/>
                    <a:pt x="65644" y="413061"/>
                  </a:cubicBezTo>
                  <a:cubicBezTo>
                    <a:pt x="65644" y="413061"/>
                    <a:pt x="62750" y="412927"/>
                    <a:pt x="62009" y="414070"/>
                  </a:cubicBezTo>
                  <a:cubicBezTo>
                    <a:pt x="61269" y="415248"/>
                    <a:pt x="60260" y="417098"/>
                    <a:pt x="59250" y="417098"/>
                  </a:cubicBezTo>
                  <a:cubicBezTo>
                    <a:pt x="58240" y="417098"/>
                    <a:pt x="58947" y="419284"/>
                    <a:pt x="56793" y="417098"/>
                  </a:cubicBezTo>
                  <a:cubicBezTo>
                    <a:pt x="54639" y="414911"/>
                    <a:pt x="52721" y="411749"/>
                    <a:pt x="50702" y="410874"/>
                  </a:cubicBezTo>
                  <a:cubicBezTo>
                    <a:pt x="48682" y="410000"/>
                    <a:pt x="48514" y="407981"/>
                    <a:pt x="47067" y="407679"/>
                  </a:cubicBezTo>
                  <a:cubicBezTo>
                    <a:pt x="45620" y="407376"/>
                    <a:pt x="42995" y="407242"/>
                    <a:pt x="42995" y="407242"/>
                  </a:cubicBezTo>
                  <a:lnTo>
                    <a:pt x="38956" y="409697"/>
                  </a:lnTo>
                  <a:lnTo>
                    <a:pt x="33740" y="413162"/>
                  </a:lnTo>
                  <a:lnTo>
                    <a:pt x="32999" y="415483"/>
                  </a:lnTo>
                  <a:lnTo>
                    <a:pt x="31148" y="416526"/>
                  </a:lnTo>
                  <a:lnTo>
                    <a:pt x="30408" y="416930"/>
                  </a:lnTo>
                  <a:lnTo>
                    <a:pt x="26638" y="418040"/>
                  </a:lnTo>
                  <a:lnTo>
                    <a:pt x="25461" y="420697"/>
                  </a:lnTo>
                  <a:lnTo>
                    <a:pt x="21691" y="424465"/>
                  </a:lnTo>
                  <a:lnTo>
                    <a:pt x="19235" y="426921"/>
                  </a:lnTo>
                  <a:lnTo>
                    <a:pt x="19975" y="430116"/>
                  </a:lnTo>
                  <a:lnTo>
                    <a:pt x="22163" y="433447"/>
                  </a:lnTo>
                  <a:lnTo>
                    <a:pt x="24485" y="436340"/>
                  </a:lnTo>
                  <a:lnTo>
                    <a:pt x="27244" y="438964"/>
                  </a:lnTo>
                  <a:lnTo>
                    <a:pt x="30004" y="442731"/>
                  </a:lnTo>
                  <a:lnTo>
                    <a:pt x="30307" y="445052"/>
                  </a:lnTo>
                  <a:cubicBezTo>
                    <a:pt x="30307" y="445052"/>
                    <a:pt x="29567" y="447643"/>
                    <a:pt x="29432" y="448248"/>
                  </a:cubicBezTo>
                  <a:cubicBezTo>
                    <a:pt x="29297" y="448820"/>
                    <a:pt x="28288" y="453462"/>
                    <a:pt x="28288" y="453462"/>
                  </a:cubicBezTo>
                  <a:lnTo>
                    <a:pt x="24215" y="456355"/>
                  </a:lnTo>
                  <a:lnTo>
                    <a:pt x="18562" y="459551"/>
                  </a:lnTo>
                  <a:lnTo>
                    <a:pt x="17552" y="462444"/>
                  </a:lnTo>
                  <a:cubicBezTo>
                    <a:pt x="17552" y="462444"/>
                    <a:pt x="16980" y="464025"/>
                    <a:pt x="16812" y="464463"/>
                  </a:cubicBezTo>
                  <a:cubicBezTo>
                    <a:pt x="16677" y="464900"/>
                    <a:pt x="12335" y="465606"/>
                    <a:pt x="12335" y="465606"/>
                  </a:cubicBezTo>
                  <a:cubicBezTo>
                    <a:pt x="12335" y="465606"/>
                    <a:pt x="9879" y="466313"/>
                    <a:pt x="9441" y="466615"/>
                  </a:cubicBezTo>
                  <a:cubicBezTo>
                    <a:pt x="9003" y="466918"/>
                    <a:pt x="4797" y="469340"/>
                    <a:pt x="4797" y="469340"/>
                  </a:cubicBezTo>
                  <a:lnTo>
                    <a:pt x="2980" y="472233"/>
                  </a:lnTo>
                  <a:lnTo>
                    <a:pt x="2172" y="476304"/>
                  </a:lnTo>
                  <a:lnTo>
                    <a:pt x="2172" y="480643"/>
                  </a:lnTo>
                  <a:cubicBezTo>
                    <a:pt x="2172" y="480643"/>
                    <a:pt x="2912" y="486160"/>
                    <a:pt x="2912" y="486732"/>
                  </a:cubicBezTo>
                  <a:cubicBezTo>
                    <a:pt x="2912" y="487304"/>
                    <a:pt x="3787" y="490769"/>
                    <a:pt x="3787" y="490769"/>
                  </a:cubicBezTo>
                  <a:cubicBezTo>
                    <a:pt x="3787" y="490769"/>
                    <a:pt x="4056" y="492955"/>
                    <a:pt x="4056" y="493527"/>
                  </a:cubicBezTo>
                  <a:cubicBezTo>
                    <a:pt x="4056" y="494099"/>
                    <a:pt x="4359" y="495276"/>
                    <a:pt x="3047" y="496555"/>
                  </a:cubicBezTo>
                  <a:cubicBezTo>
                    <a:pt x="1734" y="497867"/>
                    <a:pt x="287" y="499751"/>
                    <a:pt x="18" y="500322"/>
                  </a:cubicBezTo>
                  <a:cubicBezTo>
                    <a:pt x="-285" y="500894"/>
                    <a:pt x="3350" y="505234"/>
                    <a:pt x="3350" y="505234"/>
                  </a:cubicBezTo>
                  <a:lnTo>
                    <a:pt x="4662" y="508261"/>
                  </a:lnTo>
                  <a:cubicBezTo>
                    <a:pt x="4662" y="508261"/>
                    <a:pt x="7557" y="510145"/>
                    <a:pt x="7994" y="510448"/>
                  </a:cubicBezTo>
                  <a:cubicBezTo>
                    <a:pt x="8432" y="510751"/>
                    <a:pt x="11191" y="512769"/>
                    <a:pt x="11191" y="512769"/>
                  </a:cubicBezTo>
                  <a:cubicBezTo>
                    <a:pt x="11191" y="512769"/>
                    <a:pt x="14220" y="513913"/>
                    <a:pt x="14826" y="513778"/>
                  </a:cubicBezTo>
                  <a:cubicBezTo>
                    <a:pt x="15398" y="513644"/>
                    <a:pt x="18158" y="512769"/>
                    <a:pt x="18158" y="512769"/>
                  </a:cubicBezTo>
                  <a:lnTo>
                    <a:pt x="18730" y="512769"/>
                  </a:lnTo>
                  <a:cubicBezTo>
                    <a:pt x="18730" y="512769"/>
                    <a:pt x="21186" y="512836"/>
                    <a:pt x="21624" y="512971"/>
                  </a:cubicBezTo>
                  <a:cubicBezTo>
                    <a:pt x="22061" y="513105"/>
                    <a:pt x="25696" y="517983"/>
                    <a:pt x="25696" y="517983"/>
                  </a:cubicBezTo>
                  <a:lnTo>
                    <a:pt x="29163" y="517983"/>
                  </a:lnTo>
                  <a:lnTo>
                    <a:pt x="31653" y="517445"/>
                  </a:lnTo>
                  <a:lnTo>
                    <a:pt x="33504" y="517983"/>
                  </a:lnTo>
                  <a:lnTo>
                    <a:pt x="33504" y="520607"/>
                  </a:lnTo>
                  <a:lnTo>
                    <a:pt x="33067" y="523870"/>
                  </a:lnTo>
                  <a:lnTo>
                    <a:pt x="32427" y="525485"/>
                  </a:lnTo>
                  <a:cubicBezTo>
                    <a:pt x="32427" y="525485"/>
                    <a:pt x="31889" y="527537"/>
                    <a:pt x="31889" y="528109"/>
                  </a:cubicBezTo>
                  <a:cubicBezTo>
                    <a:pt x="31889" y="528647"/>
                    <a:pt x="31451" y="529623"/>
                    <a:pt x="31990" y="530834"/>
                  </a:cubicBezTo>
                  <a:cubicBezTo>
                    <a:pt x="32528" y="532044"/>
                    <a:pt x="33740" y="533861"/>
                    <a:pt x="34278" y="534298"/>
                  </a:cubicBezTo>
                  <a:cubicBezTo>
                    <a:pt x="34817" y="534736"/>
                    <a:pt x="36702" y="536048"/>
                    <a:pt x="36836" y="536350"/>
                  </a:cubicBezTo>
                  <a:cubicBezTo>
                    <a:pt x="36937" y="536687"/>
                    <a:pt x="37004" y="539075"/>
                    <a:pt x="37004" y="539513"/>
                  </a:cubicBezTo>
                  <a:cubicBezTo>
                    <a:pt x="37004" y="539950"/>
                    <a:pt x="37004" y="543213"/>
                    <a:pt x="37004" y="543213"/>
                  </a:cubicBezTo>
                  <a:lnTo>
                    <a:pt x="38418" y="545601"/>
                  </a:lnTo>
                  <a:lnTo>
                    <a:pt x="40605" y="548091"/>
                  </a:lnTo>
                  <a:cubicBezTo>
                    <a:pt x="40605" y="548091"/>
                    <a:pt x="42120" y="549941"/>
                    <a:pt x="42456" y="550143"/>
                  </a:cubicBezTo>
                  <a:cubicBezTo>
                    <a:pt x="42793" y="550344"/>
                    <a:pt x="43870" y="551656"/>
                    <a:pt x="43870" y="551656"/>
                  </a:cubicBezTo>
                  <a:lnTo>
                    <a:pt x="46057" y="553944"/>
                  </a:lnTo>
                  <a:lnTo>
                    <a:pt x="48346" y="557207"/>
                  </a:lnTo>
                  <a:cubicBezTo>
                    <a:pt x="48346" y="557207"/>
                    <a:pt x="48447" y="558956"/>
                    <a:pt x="48682" y="559495"/>
                  </a:cubicBezTo>
                  <a:cubicBezTo>
                    <a:pt x="48884" y="560033"/>
                    <a:pt x="49658" y="560806"/>
                    <a:pt x="49658" y="560806"/>
                  </a:cubicBezTo>
                  <a:lnTo>
                    <a:pt x="49355" y="563060"/>
                  </a:lnTo>
                  <a:lnTo>
                    <a:pt x="49490" y="565314"/>
                  </a:lnTo>
                  <a:lnTo>
                    <a:pt x="52384" y="566693"/>
                  </a:lnTo>
                  <a:lnTo>
                    <a:pt x="53529" y="566693"/>
                  </a:lnTo>
                  <a:lnTo>
                    <a:pt x="56423" y="568443"/>
                  </a:lnTo>
                  <a:cubicBezTo>
                    <a:pt x="56423" y="568443"/>
                    <a:pt x="58745" y="570192"/>
                    <a:pt x="59183" y="570461"/>
                  </a:cubicBezTo>
                  <a:cubicBezTo>
                    <a:pt x="59620" y="570764"/>
                    <a:pt x="61505" y="573219"/>
                    <a:pt x="61505" y="573219"/>
                  </a:cubicBezTo>
                  <a:cubicBezTo>
                    <a:pt x="61505" y="573219"/>
                    <a:pt x="61639" y="574801"/>
                    <a:pt x="61505" y="575238"/>
                  </a:cubicBezTo>
                  <a:cubicBezTo>
                    <a:pt x="61370" y="575675"/>
                    <a:pt x="60933" y="577424"/>
                    <a:pt x="60933" y="578131"/>
                  </a:cubicBezTo>
                  <a:cubicBezTo>
                    <a:pt x="60933" y="578871"/>
                    <a:pt x="60664" y="579443"/>
                    <a:pt x="60360" y="581327"/>
                  </a:cubicBezTo>
                  <a:cubicBezTo>
                    <a:pt x="60058" y="583210"/>
                    <a:pt x="59351" y="586541"/>
                    <a:pt x="59048" y="587113"/>
                  </a:cubicBezTo>
                  <a:cubicBezTo>
                    <a:pt x="58745" y="587684"/>
                    <a:pt x="56726" y="590746"/>
                    <a:pt x="56726" y="590746"/>
                  </a:cubicBezTo>
                  <a:lnTo>
                    <a:pt x="55144" y="595253"/>
                  </a:lnTo>
                  <a:cubicBezTo>
                    <a:pt x="55144" y="595253"/>
                    <a:pt x="54437" y="597709"/>
                    <a:pt x="53832" y="598146"/>
                  </a:cubicBezTo>
                  <a:cubicBezTo>
                    <a:pt x="53259" y="598584"/>
                    <a:pt x="52822" y="598853"/>
                    <a:pt x="51644" y="599593"/>
                  </a:cubicBezTo>
                  <a:cubicBezTo>
                    <a:pt x="50500" y="600299"/>
                    <a:pt x="49760" y="602049"/>
                    <a:pt x="49187" y="602183"/>
                  </a:cubicBezTo>
                  <a:cubicBezTo>
                    <a:pt x="48615" y="602318"/>
                    <a:pt x="47168" y="603764"/>
                    <a:pt x="46158" y="604504"/>
                  </a:cubicBezTo>
                  <a:cubicBezTo>
                    <a:pt x="45148" y="605211"/>
                    <a:pt x="44408" y="606657"/>
                    <a:pt x="44139" y="607532"/>
                  </a:cubicBezTo>
                  <a:cubicBezTo>
                    <a:pt x="43870" y="608407"/>
                    <a:pt x="44442" y="610559"/>
                    <a:pt x="44442" y="610559"/>
                  </a:cubicBezTo>
                  <a:lnTo>
                    <a:pt x="48514" y="614462"/>
                  </a:lnTo>
                  <a:cubicBezTo>
                    <a:pt x="48514" y="614462"/>
                    <a:pt x="47505" y="616345"/>
                    <a:pt x="46932" y="616648"/>
                  </a:cubicBezTo>
                  <a:cubicBezTo>
                    <a:pt x="46360" y="616951"/>
                    <a:pt x="44173" y="618397"/>
                    <a:pt x="43029" y="618532"/>
                  </a:cubicBezTo>
                  <a:cubicBezTo>
                    <a:pt x="41850" y="618667"/>
                    <a:pt x="38822" y="622602"/>
                    <a:pt x="38822" y="622602"/>
                  </a:cubicBezTo>
                  <a:lnTo>
                    <a:pt x="36870" y="628187"/>
                  </a:lnTo>
                  <a:lnTo>
                    <a:pt x="34043" y="633401"/>
                  </a:lnTo>
                  <a:lnTo>
                    <a:pt x="30341" y="637303"/>
                  </a:lnTo>
                  <a:lnTo>
                    <a:pt x="28826" y="641003"/>
                  </a:lnTo>
                  <a:lnTo>
                    <a:pt x="28624" y="646419"/>
                  </a:lnTo>
                  <a:lnTo>
                    <a:pt x="29264" y="652071"/>
                  </a:lnTo>
                  <a:lnTo>
                    <a:pt x="31653" y="653585"/>
                  </a:lnTo>
                  <a:lnTo>
                    <a:pt x="29701" y="659673"/>
                  </a:lnTo>
                  <a:lnTo>
                    <a:pt x="30576" y="664248"/>
                  </a:lnTo>
                  <a:lnTo>
                    <a:pt x="30341" y="667074"/>
                  </a:lnTo>
                  <a:cubicBezTo>
                    <a:pt x="30341" y="667074"/>
                    <a:pt x="29903" y="666872"/>
                    <a:pt x="28591" y="667074"/>
                  </a:cubicBezTo>
                  <a:cubicBezTo>
                    <a:pt x="27278" y="667310"/>
                    <a:pt x="26841" y="666872"/>
                    <a:pt x="25966" y="667074"/>
                  </a:cubicBezTo>
                  <a:cubicBezTo>
                    <a:pt x="25090" y="667310"/>
                    <a:pt x="22061" y="668386"/>
                    <a:pt x="22061" y="668386"/>
                  </a:cubicBezTo>
                  <a:lnTo>
                    <a:pt x="17720" y="669462"/>
                  </a:lnTo>
                  <a:lnTo>
                    <a:pt x="18360" y="672053"/>
                  </a:lnTo>
                  <a:lnTo>
                    <a:pt x="19437" y="674004"/>
                  </a:lnTo>
                  <a:lnTo>
                    <a:pt x="16609" y="677906"/>
                  </a:lnTo>
                  <a:lnTo>
                    <a:pt x="11831" y="677906"/>
                  </a:lnTo>
                  <a:lnTo>
                    <a:pt x="8566" y="680294"/>
                  </a:lnTo>
                  <a:lnTo>
                    <a:pt x="4427" y="682044"/>
                  </a:lnTo>
                  <a:lnTo>
                    <a:pt x="3787" y="685508"/>
                  </a:lnTo>
                  <a:lnTo>
                    <a:pt x="9643" y="688973"/>
                  </a:lnTo>
                  <a:cubicBezTo>
                    <a:pt x="9643" y="688973"/>
                    <a:pt x="13345" y="689613"/>
                    <a:pt x="9879" y="690050"/>
                  </a:cubicBezTo>
                  <a:cubicBezTo>
                    <a:pt x="6412" y="690487"/>
                    <a:pt x="4225" y="692001"/>
                    <a:pt x="4225" y="692001"/>
                  </a:cubicBezTo>
                  <a:cubicBezTo>
                    <a:pt x="4225" y="692001"/>
                    <a:pt x="3585" y="694188"/>
                    <a:pt x="4864" y="695264"/>
                  </a:cubicBezTo>
                  <a:cubicBezTo>
                    <a:pt x="6177" y="696341"/>
                    <a:pt x="7893" y="698292"/>
                    <a:pt x="8768" y="698964"/>
                  </a:cubicBezTo>
                  <a:cubicBezTo>
                    <a:pt x="9643" y="699603"/>
                    <a:pt x="12470" y="703304"/>
                    <a:pt x="12470" y="703304"/>
                  </a:cubicBezTo>
                  <a:lnTo>
                    <a:pt x="14422" y="705490"/>
                  </a:lnTo>
                  <a:cubicBezTo>
                    <a:pt x="14422" y="705490"/>
                    <a:pt x="14658" y="708518"/>
                    <a:pt x="14422" y="709393"/>
                  </a:cubicBezTo>
                  <a:cubicBezTo>
                    <a:pt x="14220" y="710267"/>
                    <a:pt x="14422" y="713530"/>
                    <a:pt x="14422" y="713530"/>
                  </a:cubicBezTo>
                  <a:lnTo>
                    <a:pt x="19201" y="717668"/>
                  </a:lnTo>
                  <a:cubicBezTo>
                    <a:pt x="19201" y="717668"/>
                    <a:pt x="25057" y="722680"/>
                    <a:pt x="26369" y="723319"/>
                  </a:cubicBezTo>
                  <a:cubicBezTo>
                    <a:pt x="27682" y="723959"/>
                    <a:pt x="30946" y="724833"/>
                    <a:pt x="30946" y="724833"/>
                  </a:cubicBezTo>
                  <a:lnTo>
                    <a:pt x="31250" y="729913"/>
                  </a:lnTo>
                  <a:cubicBezTo>
                    <a:pt x="31687" y="729610"/>
                    <a:pt x="34144" y="728332"/>
                    <a:pt x="34581" y="728164"/>
                  </a:cubicBezTo>
                  <a:cubicBezTo>
                    <a:pt x="35019" y="728029"/>
                    <a:pt x="36600" y="727289"/>
                    <a:pt x="36600" y="727289"/>
                  </a:cubicBezTo>
                  <a:cubicBezTo>
                    <a:pt x="36600" y="727289"/>
                    <a:pt x="38620" y="726717"/>
                    <a:pt x="39226" y="726717"/>
                  </a:cubicBezTo>
                  <a:cubicBezTo>
                    <a:pt x="39797" y="726717"/>
                    <a:pt x="41110" y="725977"/>
                    <a:pt x="41379" y="726717"/>
                  </a:cubicBezTo>
                  <a:cubicBezTo>
                    <a:pt x="41682" y="727424"/>
                    <a:pt x="42995" y="728164"/>
                    <a:pt x="42995" y="728164"/>
                  </a:cubicBezTo>
                  <a:lnTo>
                    <a:pt x="46899" y="728736"/>
                  </a:lnTo>
                  <a:lnTo>
                    <a:pt x="50534" y="729610"/>
                  </a:lnTo>
                  <a:cubicBezTo>
                    <a:pt x="50534" y="729610"/>
                    <a:pt x="53731" y="728736"/>
                    <a:pt x="54303" y="728164"/>
                  </a:cubicBezTo>
                  <a:cubicBezTo>
                    <a:pt x="54875" y="727592"/>
                    <a:pt x="56187" y="726784"/>
                    <a:pt x="56760" y="726246"/>
                  </a:cubicBezTo>
                  <a:cubicBezTo>
                    <a:pt x="57332" y="725708"/>
                    <a:pt x="58341" y="724833"/>
                    <a:pt x="58913" y="724833"/>
                  </a:cubicBezTo>
                  <a:cubicBezTo>
                    <a:pt x="59485" y="724833"/>
                    <a:pt x="60495" y="724833"/>
                    <a:pt x="60495" y="724833"/>
                  </a:cubicBezTo>
                  <a:cubicBezTo>
                    <a:pt x="60495" y="724833"/>
                    <a:pt x="62245" y="725271"/>
                    <a:pt x="62380" y="725842"/>
                  </a:cubicBezTo>
                  <a:cubicBezTo>
                    <a:pt x="62514" y="726414"/>
                    <a:pt x="63120" y="729038"/>
                    <a:pt x="63120" y="729038"/>
                  </a:cubicBezTo>
                  <a:lnTo>
                    <a:pt x="63120" y="730922"/>
                  </a:lnTo>
                  <a:cubicBezTo>
                    <a:pt x="63120" y="730922"/>
                    <a:pt x="67461" y="731931"/>
                    <a:pt x="67899" y="732066"/>
                  </a:cubicBezTo>
                  <a:cubicBezTo>
                    <a:pt x="68337" y="732200"/>
                    <a:pt x="69649" y="733209"/>
                    <a:pt x="70221" y="733209"/>
                  </a:cubicBezTo>
                  <a:cubicBezTo>
                    <a:pt x="70794" y="733209"/>
                    <a:pt x="73418" y="734219"/>
                    <a:pt x="73418" y="734219"/>
                  </a:cubicBezTo>
                  <a:cubicBezTo>
                    <a:pt x="73418" y="734219"/>
                    <a:pt x="76616" y="734791"/>
                    <a:pt x="77188" y="734791"/>
                  </a:cubicBezTo>
                  <a:cubicBezTo>
                    <a:pt x="77760" y="734791"/>
                    <a:pt x="79073" y="735228"/>
                    <a:pt x="80519" y="735228"/>
                  </a:cubicBezTo>
                  <a:cubicBezTo>
                    <a:pt x="81967" y="735228"/>
                    <a:pt x="83279" y="735800"/>
                    <a:pt x="84424" y="735968"/>
                  </a:cubicBezTo>
                  <a:cubicBezTo>
                    <a:pt x="85601" y="736103"/>
                    <a:pt x="87049" y="736405"/>
                    <a:pt x="87318" y="736843"/>
                  </a:cubicBezTo>
                  <a:cubicBezTo>
                    <a:pt x="87587" y="737280"/>
                    <a:pt x="90078" y="739029"/>
                    <a:pt x="90919" y="739298"/>
                  </a:cubicBezTo>
                  <a:cubicBezTo>
                    <a:pt x="91794" y="739601"/>
                    <a:pt x="91053" y="738861"/>
                    <a:pt x="91794" y="739601"/>
                  </a:cubicBezTo>
                  <a:cubicBezTo>
                    <a:pt x="92534" y="740308"/>
                    <a:pt x="93544" y="741922"/>
                    <a:pt x="93544" y="741922"/>
                  </a:cubicBezTo>
                  <a:lnTo>
                    <a:pt x="97885" y="743941"/>
                  </a:lnTo>
                  <a:lnTo>
                    <a:pt x="102092" y="745522"/>
                  </a:lnTo>
                  <a:lnTo>
                    <a:pt x="108049" y="747405"/>
                  </a:lnTo>
                  <a:lnTo>
                    <a:pt x="110237" y="747708"/>
                  </a:lnTo>
                  <a:lnTo>
                    <a:pt x="116900" y="747002"/>
                  </a:lnTo>
                  <a:lnTo>
                    <a:pt x="118650" y="746127"/>
                  </a:lnTo>
                  <a:cubicBezTo>
                    <a:pt x="118650" y="746127"/>
                    <a:pt x="119828" y="746127"/>
                    <a:pt x="120266" y="745992"/>
                  </a:cubicBezTo>
                  <a:cubicBezTo>
                    <a:pt x="120703" y="745858"/>
                    <a:pt x="124607" y="748314"/>
                    <a:pt x="124607" y="748314"/>
                  </a:cubicBezTo>
                  <a:lnTo>
                    <a:pt x="129252" y="748886"/>
                  </a:lnTo>
                  <a:cubicBezTo>
                    <a:pt x="129252" y="748886"/>
                    <a:pt x="133021" y="747574"/>
                    <a:pt x="133593" y="747574"/>
                  </a:cubicBezTo>
                  <a:cubicBezTo>
                    <a:pt x="134165" y="747574"/>
                    <a:pt x="137228" y="746833"/>
                    <a:pt x="137228" y="746833"/>
                  </a:cubicBezTo>
                  <a:lnTo>
                    <a:pt x="140189" y="749861"/>
                  </a:lnTo>
                  <a:lnTo>
                    <a:pt x="143151" y="752922"/>
                  </a:lnTo>
                  <a:lnTo>
                    <a:pt x="143151" y="755243"/>
                  </a:lnTo>
                  <a:lnTo>
                    <a:pt x="143151" y="758708"/>
                  </a:lnTo>
                  <a:lnTo>
                    <a:pt x="147492" y="756084"/>
                  </a:lnTo>
                  <a:lnTo>
                    <a:pt x="150084" y="750870"/>
                  </a:lnTo>
                  <a:lnTo>
                    <a:pt x="150084" y="749996"/>
                  </a:lnTo>
                  <a:cubicBezTo>
                    <a:pt x="150084" y="749996"/>
                    <a:pt x="151093" y="745522"/>
                    <a:pt x="151665" y="745084"/>
                  </a:cubicBezTo>
                  <a:cubicBezTo>
                    <a:pt x="152238" y="744647"/>
                    <a:pt x="152978" y="742898"/>
                    <a:pt x="153550" y="742898"/>
                  </a:cubicBezTo>
                  <a:cubicBezTo>
                    <a:pt x="154122" y="742898"/>
                    <a:pt x="155738" y="741451"/>
                    <a:pt x="156007" y="741014"/>
                  </a:cubicBezTo>
                  <a:cubicBezTo>
                    <a:pt x="156276" y="740577"/>
                    <a:pt x="157891" y="738121"/>
                    <a:pt x="158329" y="738121"/>
                  </a:cubicBezTo>
                  <a:cubicBezTo>
                    <a:pt x="158766" y="738121"/>
                    <a:pt x="160651" y="736674"/>
                    <a:pt x="160651" y="736674"/>
                  </a:cubicBezTo>
                  <a:cubicBezTo>
                    <a:pt x="160651" y="736674"/>
                    <a:pt x="162536" y="737414"/>
                    <a:pt x="162973" y="737549"/>
                  </a:cubicBezTo>
                  <a:cubicBezTo>
                    <a:pt x="163411" y="737684"/>
                    <a:pt x="164858" y="738289"/>
                    <a:pt x="165565" y="738424"/>
                  </a:cubicBezTo>
                  <a:cubicBezTo>
                    <a:pt x="166305" y="738558"/>
                    <a:pt x="167450" y="738726"/>
                    <a:pt x="167450" y="738726"/>
                  </a:cubicBezTo>
                  <a:lnTo>
                    <a:pt x="173541" y="742360"/>
                  </a:lnTo>
                  <a:lnTo>
                    <a:pt x="175123" y="748011"/>
                  </a:lnTo>
                  <a:lnTo>
                    <a:pt x="176132" y="750029"/>
                  </a:lnTo>
                  <a:lnTo>
                    <a:pt x="176132" y="753494"/>
                  </a:lnTo>
                  <a:lnTo>
                    <a:pt x="176132" y="756959"/>
                  </a:lnTo>
                  <a:lnTo>
                    <a:pt x="176873" y="759011"/>
                  </a:lnTo>
                  <a:lnTo>
                    <a:pt x="178084" y="759650"/>
                  </a:lnTo>
                  <a:lnTo>
                    <a:pt x="183301" y="758877"/>
                  </a:lnTo>
                  <a:cubicBezTo>
                    <a:pt x="183974" y="758675"/>
                    <a:pt x="186128" y="756253"/>
                    <a:pt x="186330" y="755614"/>
                  </a:cubicBezTo>
                  <a:cubicBezTo>
                    <a:pt x="186565" y="754974"/>
                    <a:pt x="188517" y="751913"/>
                    <a:pt x="188517" y="751913"/>
                  </a:cubicBezTo>
                  <a:lnTo>
                    <a:pt x="190705" y="745185"/>
                  </a:lnTo>
                  <a:lnTo>
                    <a:pt x="191142" y="738659"/>
                  </a:lnTo>
                  <a:lnTo>
                    <a:pt x="188315" y="732806"/>
                  </a:lnTo>
                  <a:lnTo>
                    <a:pt x="183974" y="725842"/>
                  </a:lnTo>
                  <a:lnTo>
                    <a:pt x="177445" y="719989"/>
                  </a:lnTo>
                  <a:lnTo>
                    <a:pt x="173541" y="716087"/>
                  </a:lnTo>
                  <a:lnTo>
                    <a:pt x="172026" y="707845"/>
                  </a:lnTo>
                  <a:lnTo>
                    <a:pt x="172228" y="695230"/>
                  </a:lnTo>
                  <a:lnTo>
                    <a:pt x="177882" y="687830"/>
                  </a:lnTo>
                  <a:lnTo>
                    <a:pt x="182123" y="685004"/>
                  </a:lnTo>
                  <a:lnTo>
                    <a:pt x="183099" y="681976"/>
                  </a:lnTo>
                  <a:lnTo>
                    <a:pt x="183099" y="675248"/>
                  </a:lnTo>
                  <a:cubicBezTo>
                    <a:pt x="183099" y="675248"/>
                    <a:pt x="183974" y="673398"/>
                    <a:pt x="184613" y="673196"/>
                  </a:cubicBezTo>
                  <a:cubicBezTo>
                    <a:pt x="185253" y="672995"/>
                    <a:pt x="190907" y="670909"/>
                    <a:pt x="190907" y="670909"/>
                  </a:cubicBezTo>
                  <a:lnTo>
                    <a:pt x="196123" y="670909"/>
                  </a:lnTo>
                  <a:lnTo>
                    <a:pt x="197873" y="669833"/>
                  </a:lnTo>
                  <a:lnTo>
                    <a:pt x="201138" y="666569"/>
                  </a:lnTo>
                  <a:lnTo>
                    <a:pt x="208744" y="656141"/>
                  </a:lnTo>
                  <a:cubicBezTo>
                    <a:pt x="208744" y="656141"/>
                    <a:pt x="209383" y="648976"/>
                    <a:pt x="209821" y="648101"/>
                  </a:cubicBezTo>
                  <a:cubicBezTo>
                    <a:pt x="210258" y="647227"/>
                    <a:pt x="215273" y="641138"/>
                    <a:pt x="215273" y="641138"/>
                  </a:cubicBezTo>
                  <a:lnTo>
                    <a:pt x="221128" y="634612"/>
                  </a:lnTo>
                  <a:lnTo>
                    <a:pt x="224157" y="629633"/>
                  </a:lnTo>
                  <a:lnTo>
                    <a:pt x="226547" y="622232"/>
                  </a:lnTo>
                  <a:lnTo>
                    <a:pt x="226783" y="611804"/>
                  </a:lnTo>
                  <a:lnTo>
                    <a:pt x="227220" y="606825"/>
                  </a:lnTo>
                  <a:cubicBezTo>
                    <a:pt x="227220" y="606825"/>
                    <a:pt x="227455" y="602688"/>
                    <a:pt x="229172" y="601611"/>
                  </a:cubicBezTo>
                  <a:cubicBezTo>
                    <a:pt x="230922" y="600535"/>
                    <a:pt x="234389" y="596633"/>
                    <a:pt x="234389" y="596633"/>
                  </a:cubicBezTo>
                  <a:lnTo>
                    <a:pt x="239403" y="595119"/>
                  </a:lnTo>
                  <a:lnTo>
                    <a:pt x="243744" y="593807"/>
                  </a:lnTo>
                  <a:lnTo>
                    <a:pt x="248961" y="585128"/>
                  </a:lnTo>
                  <a:lnTo>
                    <a:pt x="251350" y="581226"/>
                  </a:lnTo>
                  <a:lnTo>
                    <a:pt x="260908" y="569284"/>
                  </a:lnTo>
                  <a:lnTo>
                    <a:pt x="266562" y="568207"/>
                  </a:lnTo>
                  <a:lnTo>
                    <a:pt x="271577" y="569721"/>
                  </a:lnTo>
                  <a:cubicBezTo>
                    <a:pt x="271577" y="569721"/>
                    <a:pt x="279317" y="571672"/>
                    <a:pt x="280563" y="571235"/>
                  </a:cubicBezTo>
                  <a:cubicBezTo>
                    <a:pt x="281808" y="570797"/>
                    <a:pt x="286149" y="564271"/>
                    <a:pt x="286789" y="563632"/>
                  </a:cubicBezTo>
                  <a:cubicBezTo>
                    <a:pt x="287428" y="562993"/>
                    <a:pt x="290693" y="557779"/>
                    <a:pt x="291332" y="556904"/>
                  </a:cubicBezTo>
                  <a:cubicBezTo>
                    <a:pt x="292005" y="556030"/>
                    <a:pt x="293082" y="552565"/>
                    <a:pt x="294597" y="550614"/>
                  </a:cubicBezTo>
                  <a:cubicBezTo>
                    <a:pt x="296111" y="548662"/>
                    <a:pt x="299611" y="545500"/>
                    <a:pt x="300015" y="544626"/>
                  </a:cubicBezTo>
                  <a:cubicBezTo>
                    <a:pt x="300452" y="543751"/>
                    <a:pt x="300217" y="542338"/>
                    <a:pt x="304794" y="542338"/>
                  </a:cubicBezTo>
                  <a:cubicBezTo>
                    <a:pt x="309371" y="542338"/>
                    <a:pt x="312635" y="542338"/>
                    <a:pt x="312635" y="542338"/>
                  </a:cubicBezTo>
                  <a:cubicBezTo>
                    <a:pt x="312635" y="542338"/>
                    <a:pt x="318727" y="542540"/>
                    <a:pt x="319602" y="542338"/>
                  </a:cubicBezTo>
                  <a:cubicBezTo>
                    <a:pt x="320477" y="542103"/>
                    <a:pt x="323068" y="542977"/>
                    <a:pt x="325693" y="542540"/>
                  </a:cubicBezTo>
                  <a:cubicBezTo>
                    <a:pt x="328284" y="542103"/>
                    <a:pt x="335924" y="538840"/>
                    <a:pt x="335924" y="538840"/>
                  </a:cubicBezTo>
                  <a:lnTo>
                    <a:pt x="340501" y="538840"/>
                  </a:lnTo>
                  <a:lnTo>
                    <a:pt x="347872" y="537528"/>
                  </a:lnTo>
                  <a:lnTo>
                    <a:pt x="355040" y="534265"/>
                  </a:lnTo>
                  <a:lnTo>
                    <a:pt x="360896" y="530127"/>
                  </a:lnTo>
                  <a:lnTo>
                    <a:pt x="361973" y="525552"/>
                  </a:lnTo>
                  <a:lnTo>
                    <a:pt x="363723" y="519901"/>
                  </a:lnTo>
                  <a:lnTo>
                    <a:pt x="365675" y="516873"/>
                  </a:lnTo>
                  <a:lnTo>
                    <a:pt x="365675" y="508396"/>
                  </a:lnTo>
                  <a:lnTo>
                    <a:pt x="370690" y="506882"/>
                  </a:lnTo>
                  <a:cubicBezTo>
                    <a:pt x="370690" y="506882"/>
                    <a:pt x="376108" y="505806"/>
                    <a:pt x="376983" y="505806"/>
                  </a:cubicBezTo>
                  <a:cubicBezTo>
                    <a:pt x="377858" y="505806"/>
                    <a:pt x="380483" y="505806"/>
                    <a:pt x="380483" y="505806"/>
                  </a:cubicBezTo>
                  <a:lnTo>
                    <a:pt x="383074" y="503417"/>
                  </a:lnTo>
                  <a:lnTo>
                    <a:pt x="384690" y="500793"/>
                  </a:lnTo>
                  <a:lnTo>
                    <a:pt x="386541" y="496656"/>
                  </a:lnTo>
                  <a:lnTo>
                    <a:pt x="386541" y="494469"/>
                  </a:lnTo>
                  <a:lnTo>
                    <a:pt x="387618" y="493594"/>
                  </a:lnTo>
                  <a:lnTo>
                    <a:pt x="383041" y="485790"/>
                  </a:lnTo>
                  <a:lnTo>
                    <a:pt x="378464" y="481451"/>
                  </a:lnTo>
                  <a:lnTo>
                    <a:pt x="373887" y="473209"/>
                  </a:lnTo>
                  <a:lnTo>
                    <a:pt x="367795" y="464092"/>
                  </a:lnTo>
                  <a:lnTo>
                    <a:pt x="364430" y="459517"/>
                  </a:lnTo>
                  <a:cubicBezTo>
                    <a:pt x="364430" y="459517"/>
                    <a:pt x="360391" y="457331"/>
                    <a:pt x="360391" y="456490"/>
                  </a:cubicBezTo>
                  <a:cubicBezTo>
                    <a:pt x="360391" y="455851"/>
                    <a:pt x="360391" y="452319"/>
                    <a:pt x="360391" y="450468"/>
                  </a:cubicBezTo>
                  <a:lnTo>
                    <a:pt x="357901" y="452352"/>
                  </a:lnTo>
                  <a:cubicBezTo>
                    <a:pt x="357901" y="452352"/>
                    <a:pt x="356588" y="452689"/>
                    <a:pt x="356151" y="452689"/>
                  </a:cubicBezTo>
                  <a:cubicBezTo>
                    <a:pt x="355713" y="452689"/>
                    <a:pt x="352449" y="454202"/>
                    <a:pt x="352011" y="454337"/>
                  </a:cubicBezTo>
                  <a:cubicBezTo>
                    <a:pt x="351574" y="454438"/>
                    <a:pt x="349521" y="455851"/>
                    <a:pt x="348848" y="456086"/>
                  </a:cubicBezTo>
                  <a:cubicBezTo>
                    <a:pt x="348174" y="456288"/>
                    <a:pt x="347198" y="456725"/>
                    <a:pt x="347198" y="456725"/>
                  </a:cubicBezTo>
                  <a:cubicBezTo>
                    <a:pt x="347198" y="456725"/>
                    <a:pt x="343496" y="454673"/>
                    <a:pt x="343194" y="454774"/>
                  </a:cubicBezTo>
                  <a:cubicBezTo>
                    <a:pt x="342857" y="454875"/>
                    <a:pt x="342319" y="454976"/>
                    <a:pt x="341982" y="455312"/>
                  </a:cubicBezTo>
                  <a:cubicBezTo>
                    <a:pt x="341646" y="455649"/>
                    <a:pt x="340400" y="457398"/>
                    <a:pt x="340400" y="457398"/>
                  </a:cubicBezTo>
                  <a:lnTo>
                    <a:pt x="338078" y="458205"/>
                  </a:lnTo>
                  <a:cubicBezTo>
                    <a:pt x="338078" y="458205"/>
                    <a:pt x="336126" y="458037"/>
                    <a:pt x="335689" y="458172"/>
                  </a:cubicBezTo>
                  <a:cubicBezTo>
                    <a:pt x="335251" y="458273"/>
                    <a:pt x="333501" y="458037"/>
                    <a:pt x="332121" y="458172"/>
                  </a:cubicBezTo>
                  <a:cubicBezTo>
                    <a:pt x="330708" y="458273"/>
                    <a:pt x="330371" y="457533"/>
                    <a:pt x="330035" y="457533"/>
                  </a:cubicBezTo>
                  <a:cubicBezTo>
                    <a:pt x="329698" y="457533"/>
                    <a:pt x="329934" y="456759"/>
                    <a:pt x="329934" y="456759"/>
                  </a:cubicBezTo>
                  <a:cubicBezTo>
                    <a:pt x="329934" y="456759"/>
                    <a:pt x="331246" y="455682"/>
                    <a:pt x="331684" y="455851"/>
                  </a:cubicBezTo>
                  <a:cubicBezTo>
                    <a:pt x="332121" y="456019"/>
                    <a:pt x="333299" y="454471"/>
                    <a:pt x="333535" y="454135"/>
                  </a:cubicBezTo>
                  <a:cubicBezTo>
                    <a:pt x="333737" y="453799"/>
                    <a:pt x="333198" y="452083"/>
                    <a:pt x="333198" y="452083"/>
                  </a:cubicBezTo>
                  <a:lnTo>
                    <a:pt x="331145" y="450569"/>
                  </a:lnTo>
                  <a:cubicBezTo>
                    <a:pt x="331145" y="450569"/>
                    <a:pt x="329294" y="450771"/>
                    <a:pt x="328857" y="450771"/>
                  </a:cubicBezTo>
                  <a:cubicBezTo>
                    <a:pt x="328419" y="450771"/>
                    <a:pt x="327645" y="452520"/>
                    <a:pt x="327645" y="452520"/>
                  </a:cubicBezTo>
                  <a:lnTo>
                    <a:pt x="327006" y="453597"/>
                  </a:lnTo>
                  <a:lnTo>
                    <a:pt x="322765" y="454909"/>
                  </a:lnTo>
                  <a:lnTo>
                    <a:pt x="321284" y="455851"/>
                  </a:lnTo>
                  <a:cubicBezTo>
                    <a:pt x="321284" y="455851"/>
                    <a:pt x="320174" y="455312"/>
                    <a:pt x="318121" y="454505"/>
                  </a:cubicBezTo>
                  <a:cubicBezTo>
                    <a:pt x="316102" y="453698"/>
                    <a:pt x="317616" y="454202"/>
                    <a:pt x="317010" y="454000"/>
                  </a:cubicBezTo>
                  <a:cubicBezTo>
                    <a:pt x="316405" y="453799"/>
                    <a:pt x="316169" y="453126"/>
                    <a:pt x="316169" y="452991"/>
                  </a:cubicBezTo>
                  <a:cubicBezTo>
                    <a:pt x="316169" y="452857"/>
                    <a:pt x="316909" y="451108"/>
                    <a:pt x="316909" y="451108"/>
                  </a:cubicBezTo>
                  <a:lnTo>
                    <a:pt x="316909" y="451040"/>
                  </a:lnTo>
                  <a:lnTo>
                    <a:pt x="316909" y="449358"/>
                  </a:lnTo>
                  <a:lnTo>
                    <a:pt x="316909" y="447542"/>
                  </a:lnTo>
                  <a:lnTo>
                    <a:pt x="316472" y="446129"/>
                  </a:lnTo>
                  <a:cubicBezTo>
                    <a:pt x="316472" y="446129"/>
                    <a:pt x="314486" y="444312"/>
                    <a:pt x="314183" y="444245"/>
                  </a:cubicBezTo>
                  <a:cubicBezTo>
                    <a:pt x="313881" y="444178"/>
                    <a:pt x="313679" y="444279"/>
                    <a:pt x="313443" y="444346"/>
                  </a:cubicBezTo>
                  <a:cubicBezTo>
                    <a:pt x="313241" y="444413"/>
                    <a:pt x="312131" y="444985"/>
                    <a:pt x="312131" y="444985"/>
                  </a:cubicBezTo>
                  <a:lnTo>
                    <a:pt x="310414" y="445961"/>
                  </a:lnTo>
                  <a:cubicBezTo>
                    <a:pt x="310414" y="445961"/>
                    <a:pt x="309270" y="446600"/>
                    <a:pt x="307318" y="446734"/>
                  </a:cubicBezTo>
                  <a:cubicBezTo>
                    <a:pt x="305366" y="446835"/>
                    <a:pt x="302102" y="446734"/>
                    <a:pt x="302102" y="446734"/>
                  </a:cubicBezTo>
                  <a:cubicBezTo>
                    <a:pt x="302102" y="446734"/>
                    <a:pt x="299914" y="446734"/>
                    <a:pt x="298837" y="446734"/>
                  </a:cubicBezTo>
                  <a:cubicBezTo>
                    <a:pt x="297760" y="446734"/>
                    <a:pt x="296313" y="445523"/>
                    <a:pt x="296010" y="445221"/>
                  </a:cubicBezTo>
                  <a:cubicBezTo>
                    <a:pt x="295673" y="444884"/>
                    <a:pt x="290995" y="440881"/>
                    <a:pt x="290019" y="440343"/>
                  </a:cubicBezTo>
                  <a:cubicBezTo>
                    <a:pt x="289044" y="439805"/>
                    <a:pt x="287731" y="438728"/>
                    <a:pt x="287293" y="438392"/>
                  </a:cubicBezTo>
                  <a:cubicBezTo>
                    <a:pt x="286856" y="438055"/>
                    <a:pt x="283827" y="435129"/>
                    <a:pt x="283827" y="435129"/>
                  </a:cubicBezTo>
                  <a:cubicBezTo>
                    <a:pt x="283827" y="435129"/>
                    <a:pt x="281740" y="431866"/>
                    <a:pt x="281740" y="431327"/>
                  </a:cubicBezTo>
                  <a:cubicBezTo>
                    <a:pt x="281740" y="430789"/>
                    <a:pt x="281101" y="426012"/>
                    <a:pt x="281101" y="425575"/>
                  </a:cubicBezTo>
                  <a:cubicBezTo>
                    <a:pt x="281101" y="425138"/>
                    <a:pt x="280360" y="421572"/>
                    <a:pt x="280360" y="421572"/>
                  </a:cubicBezTo>
                  <a:lnTo>
                    <a:pt x="280360" y="415719"/>
                  </a:lnTo>
                  <a:lnTo>
                    <a:pt x="281942" y="413768"/>
                  </a:lnTo>
                  <a:lnTo>
                    <a:pt x="286991" y="410168"/>
                  </a:lnTo>
                  <a:cubicBezTo>
                    <a:pt x="286991" y="410168"/>
                    <a:pt x="290356" y="409293"/>
                    <a:pt x="291568" y="408755"/>
                  </a:cubicBezTo>
                  <a:cubicBezTo>
                    <a:pt x="292745" y="408217"/>
                    <a:pt x="294058" y="407242"/>
                    <a:pt x="294731" y="406468"/>
                  </a:cubicBezTo>
                  <a:cubicBezTo>
                    <a:pt x="295371" y="405694"/>
                    <a:pt x="297995" y="404618"/>
                    <a:pt x="298332" y="404281"/>
                  </a:cubicBezTo>
                  <a:cubicBezTo>
                    <a:pt x="298669" y="403945"/>
                    <a:pt x="300923" y="402431"/>
                    <a:pt x="301260" y="402095"/>
                  </a:cubicBezTo>
                  <a:cubicBezTo>
                    <a:pt x="301597" y="401758"/>
                    <a:pt x="303885" y="399370"/>
                    <a:pt x="303885" y="399370"/>
                  </a:cubicBezTo>
                  <a:lnTo>
                    <a:pt x="303111" y="397082"/>
                  </a:lnTo>
                  <a:cubicBezTo>
                    <a:pt x="303111" y="397082"/>
                    <a:pt x="300823" y="396006"/>
                    <a:pt x="300183" y="395871"/>
                  </a:cubicBezTo>
                  <a:cubicBezTo>
                    <a:pt x="299544" y="395770"/>
                    <a:pt x="294428" y="393147"/>
                    <a:pt x="294092" y="392844"/>
                  </a:cubicBezTo>
                  <a:cubicBezTo>
                    <a:pt x="293755" y="392507"/>
                    <a:pt x="290928" y="389783"/>
                    <a:pt x="290289" y="389143"/>
                  </a:cubicBezTo>
                  <a:cubicBezTo>
                    <a:pt x="289649" y="388504"/>
                    <a:pt x="289414" y="385779"/>
                    <a:pt x="289851" y="385107"/>
                  </a:cubicBezTo>
                  <a:cubicBezTo>
                    <a:pt x="290289" y="384467"/>
                    <a:pt x="291029" y="382516"/>
                    <a:pt x="291601" y="382079"/>
                  </a:cubicBezTo>
                  <a:cubicBezTo>
                    <a:pt x="292139" y="381642"/>
                    <a:pt x="292779" y="378614"/>
                    <a:pt x="292779" y="378614"/>
                  </a:cubicBezTo>
                  <a:cubicBezTo>
                    <a:pt x="292779" y="378614"/>
                    <a:pt x="291029" y="375452"/>
                    <a:pt x="290625" y="375452"/>
                  </a:cubicBezTo>
                  <a:cubicBezTo>
                    <a:pt x="290188" y="375452"/>
                    <a:pt x="286486" y="372424"/>
                    <a:pt x="284971" y="371752"/>
                  </a:cubicBezTo>
                  <a:cubicBezTo>
                    <a:pt x="283457" y="371112"/>
                    <a:pt x="284769" y="368825"/>
                    <a:pt x="284971" y="368287"/>
                  </a:cubicBezTo>
                  <a:cubicBezTo>
                    <a:pt x="285207" y="367749"/>
                    <a:pt x="286923" y="366134"/>
                    <a:pt x="287226" y="365898"/>
                  </a:cubicBezTo>
                  <a:cubicBezTo>
                    <a:pt x="287495" y="365663"/>
                    <a:pt x="291063" y="362736"/>
                    <a:pt x="291063" y="362299"/>
                  </a:cubicBezTo>
                  <a:cubicBezTo>
                    <a:pt x="291063" y="361862"/>
                    <a:pt x="290524" y="357623"/>
                    <a:pt x="290524" y="357623"/>
                  </a:cubicBezTo>
                  <a:lnTo>
                    <a:pt x="288505" y="354696"/>
                  </a:lnTo>
                  <a:cubicBezTo>
                    <a:pt x="288505" y="354696"/>
                    <a:pt x="287697" y="352846"/>
                    <a:pt x="287361" y="352510"/>
                  </a:cubicBezTo>
                  <a:cubicBezTo>
                    <a:pt x="287024" y="352173"/>
                    <a:pt x="287361" y="350222"/>
                    <a:pt x="287361" y="350222"/>
                  </a:cubicBezTo>
                  <a:lnTo>
                    <a:pt x="287361" y="347565"/>
                  </a:lnTo>
                  <a:cubicBezTo>
                    <a:pt x="287361" y="347565"/>
                    <a:pt x="287697" y="344470"/>
                    <a:pt x="287866" y="344100"/>
                  </a:cubicBezTo>
                  <a:cubicBezTo>
                    <a:pt x="288034" y="343730"/>
                    <a:pt x="289077" y="341913"/>
                    <a:pt x="289077" y="341913"/>
                  </a:cubicBezTo>
                  <a:lnTo>
                    <a:pt x="290962" y="338717"/>
                  </a:lnTo>
                  <a:lnTo>
                    <a:pt x="292914" y="337473"/>
                  </a:lnTo>
                  <a:lnTo>
                    <a:pt x="294496" y="335118"/>
                  </a:lnTo>
                  <a:cubicBezTo>
                    <a:pt x="294496" y="335118"/>
                    <a:pt x="295505" y="333604"/>
                    <a:pt x="295539" y="333503"/>
                  </a:cubicBezTo>
                  <a:cubicBezTo>
                    <a:pt x="295572" y="333402"/>
                    <a:pt x="296246" y="331552"/>
                    <a:pt x="296246" y="331317"/>
                  </a:cubicBezTo>
                  <a:cubicBezTo>
                    <a:pt x="296246" y="331115"/>
                    <a:pt x="296246" y="329534"/>
                    <a:pt x="296246" y="329534"/>
                  </a:cubicBezTo>
                  <a:cubicBezTo>
                    <a:pt x="296246" y="329534"/>
                    <a:pt x="296414" y="328121"/>
                    <a:pt x="296414" y="327919"/>
                  </a:cubicBezTo>
                  <a:cubicBezTo>
                    <a:pt x="296414" y="327717"/>
                    <a:pt x="296447" y="326809"/>
                    <a:pt x="296447" y="326809"/>
                  </a:cubicBezTo>
                  <a:cubicBezTo>
                    <a:pt x="296447" y="326809"/>
                    <a:pt x="296346" y="325632"/>
                    <a:pt x="296279" y="325531"/>
                  </a:cubicBezTo>
                  <a:cubicBezTo>
                    <a:pt x="296246" y="325430"/>
                    <a:pt x="296279" y="324252"/>
                    <a:pt x="296279" y="324252"/>
                  </a:cubicBezTo>
                  <a:cubicBezTo>
                    <a:pt x="296279" y="324252"/>
                    <a:pt x="297087" y="323748"/>
                    <a:pt x="297188" y="323748"/>
                  </a:cubicBezTo>
                  <a:cubicBezTo>
                    <a:pt x="297255" y="323748"/>
                    <a:pt x="298635" y="323311"/>
                    <a:pt x="298635" y="323311"/>
                  </a:cubicBezTo>
                  <a:cubicBezTo>
                    <a:pt x="298635" y="323311"/>
                    <a:pt x="300217" y="323311"/>
                    <a:pt x="300284" y="323311"/>
                  </a:cubicBezTo>
                  <a:cubicBezTo>
                    <a:pt x="300351" y="323311"/>
                    <a:pt x="301462" y="324219"/>
                    <a:pt x="301563" y="324252"/>
                  </a:cubicBezTo>
                  <a:cubicBezTo>
                    <a:pt x="301664" y="324286"/>
                    <a:pt x="303044" y="325194"/>
                    <a:pt x="303044" y="325295"/>
                  </a:cubicBezTo>
                  <a:cubicBezTo>
                    <a:pt x="303077" y="325363"/>
                    <a:pt x="303347" y="326675"/>
                    <a:pt x="303347" y="326675"/>
                  </a:cubicBezTo>
                  <a:cubicBezTo>
                    <a:pt x="303347" y="326675"/>
                    <a:pt x="303077" y="328424"/>
                    <a:pt x="303077" y="328861"/>
                  </a:cubicBezTo>
                  <a:cubicBezTo>
                    <a:pt x="303077" y="329298"/>
                    <a:pt x="302741" y="330274"/>
                    <a:pt x="302438" y="331485"/>
                  </a:cubicBezTo>
                  <a:cubicBezTo>
                    <a:pt x="302102" y="332696"/>
                    <a:pt x="301698" y="332898"/>
                    <a:pt x="301226" y="333234"/>
                  </a:cubicBezTo>
                  <a:cubicBezTo>
                    <a:pt x="300789" y="333571"/>
                    <a:pt x="300587" y="334883"/>
                    <a:pt x="300688" y="335320"/>
                  </a:cubicBezTo>
                  <a:cubicBezTo>
                    <a:pt x="300789" y="335757"/>
                    <a:pt x="301765" y="336733"/>
                    <a:pt x="301765" y="336733"/>
                  </a:cubicBezTo>
                  <a:lnTo>
                    <a:pt x="305905" y="338146"/>
                  </a:lnTo>
                  <a:lnTo>
                    <a:pt x="309505" y="337944"/>
                  </a:lnTo>
                  <a:cubicBezTo>
                    <a:pt x="309505" y="337944"/>
                    <a:pt x="312433" y="340433"/>
                    <a:pt x="312871" y="340534"/>
                  </a:cubicBezTo>
                  <a:cubicBezTo>
                    <a:pt x="313308" y="340635"/>
                    <a:pt x="315496" y="341947"/>
                    <a:pt x="315900" y="341947"/>
                  </a:cubicBezTo>
                  <a:cubicBezTo>
                    <a:pt x="316337" y="341947"/>
                    <a:pt x="318828" y="340736"/>
                    <a:pt x="318828" y="340736"/>
                  </a:cubicBezTo>
                  <a:lnTo>
                    <a:pt x="319703" y="337809"/>
                  </a:lnTo>
                  <a:lnTo>
                    <a:pt x="320679" y="333571"/>
                  </a:lnTo>
                  <a:cubicBezTo>
                    <a:pt x="320679" y="333571"/>
                    <a:pt x="320140" y="330106"/>
                    <a:pt x="319804" y="329870"/>
                  </a:cubicBezTo>
                  <a:cubicBezTo>
                    <a:pt x="319467" y="329635"/>
                    <a:pt x="318390" y="328457"/>
                    <a:pt x="318390" y="328457"/>
                  </a:cubicBezTo>
                  <a:lnTo>
                    <a:pt x="315126" y="328020"/>
                  </a:lnTo>
                  <a:lnTo>
                    <a:pt x="311659" y="326271"/>
                  </a:lnTo>
                  <a:lnTo>
                    <a:pt x="313712" y="323445"/>
                  </a:lnTo>
                  <a:lnTo>
                    <a:pt x="316001" y="320586"/>
                  </a:lnTo>
                  <a:cubicBezTo>
                    <a:pt x="316001" y="320586"/>
                    <a:pt x="317717" y="319947"/>
                    <a:pt x="318054" y="319644"/>
                  </a:cubicBezTo>
                  <a:cubicBezTo>
                    <a:pt x="318390" y="319307"/>
                    <a:pt x="321116" y="319307"/>
                    <a:pt x="321116" y="319307"/>
                  </a:cubicBezTo>
                  <a:lnTo>
                    <a:pt x="323068" y="317895"/>
                  </a:lnTo>
                  <a:lnTo>
                    <a:pt x="322967" y="315708"/>
                  </a:lnTo>
                  <a:cubicBezTo>
                    <a:pt x="322967" y="315708"/>
                    <a:pt x="321554" y="313320"/>
                    <a:pt x="321116" y="313118"/>
                  </a:cubicBezTo>
                  <a:cubicBezTo>
                    <a:pt x="320679" y="312882"/>
                    <a:pt x="319164" y="312344"/>
                    <a:pt x="319164" y="312344"/>
                  </a:cubicBezTo>
                  <a:lnTo>
                    <a:pt x="315361" y="311469"/>
                  </a:lnTo>
                  <a:lnTo>
                    <a:pt x="314385" y="308206"/>
                  </a:lnTo>
                  <a:lnTo>
                    <a:pt x="312534" y="302118"/>
                  </a:lnTo>
                  <a:lnTo>
                    <a:pt x="313174" y="298215"/>
                  </a:lnTo>
                  <a:lnTo>
                    <a:pt x="314049" y="293539"/>
                  </a:lnTo>
                  <a:cubicBezTo>
                    <a:pt x="314049" y="293539"/>
                    <a:pt x="315126" y="291790"/>
                    <a:pt x="315462" y="291689"/>
                  </a:cubicBezTo>
                  <a:cubicBezTo>
                    <a:pt x="315799" y="291588"/>
                    <a:pt x="318491" y="291689"/>
                    <a:pt x="319501" y="291588"/>
                  </a:cubicBezTo>
                  <a:cubicBezTo>
                    <a:pt x="320477" y="291487"/>
                    <a:pt x="321015" y="290949"/>
                    <a:pt x="321015" y="290949"/>
                  </a:cubicBezTo>
                  <a:lnTo>
                    <a:pt x="322092" y="287720"/>
                  </a:lnTo>
                  <a:lnTo>
                    <a:pt x="322092" y="286509"/>
                  </a:lnTo>
                  <a:lnTo>
                    <a:pt x="322597" y="284457"/>
                  </a:lnTo>
                  <a:lnTo>
                    <a:pt x="323304" y="283380"/>
                  </a:lnTo>
                  <a:lnTo>
                    <a:pt x="325693" y="282405"/>
                  </a:lnTo>
                  <a:lnTo>
                    <a:pt x="327342" y="280218"/>
                  </a:lnTo>
                  <a:lnTo>
                    <a:pt x="329934" y="277493"/>
                  </a:lnTo>
                  <a:lnTo>
                    <a:pt x="332559" y="273894"/>
                  </a:lnTo>
                  <a:cubicBezTo>
                    <a:pt x="332559" y="273894"/>
                    <a:pt x="332357" y="270294"/>
                    <a:pt x="332559" y="269857"/>
                  </a:cubicBezTo>
                  <a:cubicBezTo>
                    <a:pt x="332761" y="269420"/>
                    <a:pt x="335823" y="267671"/>
                    <a:pt x="337136" y="267570"/>
                  </a:cubicBezTo>
                  <a:cubicBezTo>
                    <a:pt x="338448" y="267469"/>
                    <a:pt x="341040" y="264408"/>
                    <a:pt x="341040" y="264408"/>
                  </a:cubicBezTo>
                  <a:cubicBezTo>
                    <a:pt x="341040" y="264408"/>
                    <a:pt x="347771" y="266897"/>
                    <a:pt x="348208" y="266998"/>
                  </a:cubicBezTo>
                  <a:cubicBezTo>
                    <a:pt x="348646" y="267099"/>
                    <a:pt x="349622" y="268310"/>
                    <a:pt x="349622" y="268310"/>
                  </a:cubicBezTo>
                  <a:cubicBezTo>
                    <a:pt x="349622" y="268310"/>
                    <a:pt x="351977" y="269252"/>
                    <a:pt x="352180" y="269655"/>
                  </a:cubicBezTo>
                  <a:cubicBezTo>
                    <a:pt x="352381" y="270093"/>
                    <a:pt x="353492" y="273019"/>
                    <a:pt x="353929" y="274062"/>
                  </a:cubicBezTo>
                  <a:cubicBezTo>
                    <a:pt x="354367" y="275105"/>
                    <a:pt x="355679" y="275980"/>
                    <a:pt x="356992" y="276383"/>
                  </a:cubicBezTo>
                  <a:cubicBezTo>
                    <a:pt x="358305" y="276821"/>
                    <a:pt x="358305" y="276181"/>
                    <a:pt x="358742" y="275845"/>
                  </a:cubicBezTo>
                  <a:cubicBezTo>
                    <a:pt x="359180" y="275509"/>
                    <a:pt x="361232" y="272817"/>
                    <a:pt x="361603" y="272582"/>
                  </a:cubicBezTo>
                  <a:cubicBezTo>
                    <a:pt x="361973" y="272380"/>
                    <a:pt x="366281" y="272582"/>
                    <a:pt x="366281" y="272582"/>
                  </a:cubicBezTo>
                  <a:lnTo>
                    <a:pt x="368232" y="274264"/>
                  </a:lnTo>
                  <a:lnTo>
                    <a:pt x="368838" y="276316"/>
                  </a:lnTo>
                  <a:lnTo>
                    <a:pt x="368300" y="281261"/>
                  </a:lnTo>
                  <a:cubicBezTo>
                    <a:pt x="368300" y="281261"/>
                    <a:pt x="365473" y="281530"/>
                    <a:pt x="365204" y="281631"/>
                  </a:cubicBezTo>
                  <a:cubicBezTo>
                    <a:pt x="364934" y="281732"/>
                    <a:pt x="362881" y="283145"/>
                    <a:pt x="362579" y="283414"/>
                  </a:cubicBezTo>
                  <a:cubicBezTo>
                    <a:pt x="362310" y="283683"/>
                    <a:pt x="361872" y="285029"/>
                    <a:pt x="361872" y="285029"/>
                  </a:cubicBezTo>
                  <a:lnTo>
                    <a:pt x="364733" y="286711"/>
                  </a:lnTo>
                  <a:lnTo>
                    <a:pt x="366045" y="286711"/>
                  </a:lnTo>
                  <a:lnTo>
                    <a:pt x="369209" y="287148"/>
                  </a:lnTo>
                  <a:lnTo>
                    <a:pt x="369983" y="288224"/>
                  </a:lnTo>
                  <a:cubicBezTo>
                    <a:pt x="369983" y="288224"/>
                    <a:pt x="369074" y="289200"/>
                    <a:pt x="368906" y="289402"/>
                  </a:cubicBezTo>
                  <a:cubicBezTo>
                    <a:pt x="368737" y="289637"/>
                    <a:pt x="368199" y="290546"/>
                    <a:pt x="368266" y="290747"/>
                  </a:cubicBezTo>
                  <a:cubicBezTo>
                    <a:pt x="368334" y="290983"/>
                    <a:pt x="368973" y="291891"/>
                    <a:pt x="368973" y="292059"/>
                  </a:cubicBezTo>
                  <a:cubicBezTo>
                    <a:pt x="368973" y="292227"/>
                    <a:pt x="370555" y="292934"/>
                    <a:pt x="370555" y="292934"/>
                  </a:cubicBezTo>
                  <a:lnTo>
                    <a:pt x="372305" y="294010"/>
                  </a:lnTo>
                  <a:cubicBezTo>
                    <a:pt x="372305" y="294010"/>
                    <a:pt x="372944" y="295793"/>
                    <a:pt x="372944" y="296231"/>
                  </a:cubicBezTo>
                  <a:cubicBezTo>
                    <a:pt x="372944" y="296668"/>
                    <a:pt x="372238" y="297711"/>
                    <a:pt x="372170" y="297879"/>
                  </a:cubicBezTo>
                  <a:cubicBezTo>
                    <a:pt x="372103" y="298047"/>
                    <a:pt x="371497" y="298585"/>
                    <a:pt x="371497" y="298585"/>
                  </a:cubicBezTo>
                  <a:lnTo>
                    <a:pt x="370420" y="299292"/>
                  </a:lnTo>
                  <a:lnTo>
                    <a:pt x="368232" y="299090"/>
                  </a:lnTo>
                  <a:lnTo>
                    <a:pt x="367862" y="297711"/>
                  </a:lnTo>
                  <a:lnTo>
                    <a:pt x="366483" y="297139"/>
                  </a:lnTo>
                  <a:lnTo>
                    <a:pt x="364665" y="297139"/>
                  </a:lnTo>
                  <a:cubicBezTo>
                    <a:pt x="364665" y="297139"/>
                    <a:pt x="362983" y="297004"/>
                    <a:pt x="362780" y="297004"/>
                  </a:cubicBezTo>
                  <a:cubicBezTo>
                    <a:pt x="362579" y="297004"/>
                    <a:pt x="362511" y="298081"/>
                    <a:pt x="362209" y="298148"/>
                  </a:cubicBezTo>
                  <a:cubicBezTo>
                    <a:pt x="361906" y="298215"/>
                    <a:pt x="361569" y="298888"/>
                    <a:pt x="361131" y="299157"/>
                  </a:cubicBezTo>
                  <a:cubicBezTo>
                    <a:pt x="360694" y="299426"/>
                    <a:pt x="358439" y="299292"/>
                    <a:pt x="358439" y="299292"/>
                  </a:cubicBezTo>
                  <a:lnTo>
                    <a:pt x="356554" y="298552"/>
                  </a:lnTo>
                  <a:lnTo>
                    <a:pt x="354804" y="298047"/>
                  </a:lnTo>
                  <a:cubicBezTo>
                    <a:pt x="354804" y="298047"/>
                    <a:pt x="354165" y="297475"/>
                    <a:pt x="353929" y="297408"/>
                  </a:cubicBezTo>
                  <a:cubicBezTo>
                    <a:pt x="353728" y="297341"/>
                    <a:pt x="352112" y="296096"/>
                    <a:pt x="352112" y="296096"/>
                  </a:cubicBezTo>
                  <a:lnTo>
                    <a:pt x="350800" y="295356"/>
                  </a:lnTo>
                  <a:lnTo>
                    <a:pt x="350295" y="295356"/>
                  </a:lnTo>
                  <a:lnTo>
                    <a:pt x="349050" y="296062"/>
                  </a:lnTo>
                  <a:lnTo>
                    <a:pt x="348107" y="296836"/>
                  </a:lnTo>
                  <a:lnTo>
                    <a:pt x="348174" y="297980"/>
                  </a:lnTo>
                  <a:lnTo>
                    <a:pt x="348174" y="299359"/>
                  </a:lnTo>
                  <a:lnTo>
                    <a:pt x="347905" y="301041"/>
                  </a:lnTo>
                  <a:cubicBezTo>
                    <a:pt x="347905" y="301041"/>
                    <a:pt x="347299" y="303430"/>
                    <a:pt x="347535" y="304304"/>
                  </a:cubicBezTo>
                  <a:cubicBezTo>
                    <a:pt x="347737" y="305179"/>
                    <a:pt x="347535" y="306053"/>
                    <a:pt x="347535" y="306053"/>
                  </a:cubicBezTo>
                  <a:lnTo>
                    <a:pt x="349487" y="308442"/>
                  </a:lnTo>
                  <a:lnTo>
                    <a:pt x="351675" y="310191"/>
                  </a:lnTo>
                  <a:lnTo>
                    <a:pt x="351675" y="315405"/>
                  </a:lnTo>
                  <a:lnTo>
                    <a:pt x="351675" y="316919"/>
                  </a:lnTo>
                  <a:lnTo>
                    <a:pt x="355141" y="320619"/>
                  </a:lnTo>
                  <a:lnTo>
                    <a:pt x="355141" y="324522"/>
                  </a:lnTo>
                  <a:lnTo>
                    <a:pt x="356218" y="328155"/>
                  </a:lnTo>
                  <a:cubicBezTo>
                    <a:pt x="356218" y="328155"/>
                    <a:pt x="360055" y="328020"/>
                    <a:pt x="361064" y="328155"/>
                  </a:cubicBezTo>
                  <a:cubicBezTo>
                    <a:pt x="362074" y="328289"/>
                    <a:pt x="361636" y="330476"/>
                    <a:pt x="361636" y="330913"/>
                  </a:cubicBezTo>
                  <a:cubicBezTo>
                    <a:pt x="361636" y="331350"/>
                    <a:pt x="361064" y="334378"/>
                    <a:pt x="361064" y="334378"/>
                  </a:cubicBezTo>
                  <a:lnTo>
                    <a:pt x="360357" y="334513"/>
                  </a:lnTo>
                  <a:cubicBezTo>
                    <a:pt x="360357" y="334513"/>
                    <a:pt x="360357" y="338146"/>
                    <a:pt x="360357" y="339861"/>
                  </a:cubicBezTo>
                  <a:cubicBezTo>
                    <a:pt x="360357" y="341611"/>
                    <a:pt x="361300" y="341880"/>
                    <a:pt x="361737" y="342317"/>
                  </a:cubicBezTo>
                  <a:cubicBezTo>
                    <a:pt x="362175" y="342754"/>
                    <a:pt x="363117" y="342754"/>
                    <a:pt x="363858" y="343461"/>
                  </a:cubicBezTo>
                  <a:cubicBezTo>
                    <a:pt x="364564" y="344201"/>
                    <a:pt x="365608" y="343158"/>
                    <a:pt x="365608" y="343158"/>
                  </a:cubicBezTo>
                  <a:lnTo>
                    <a:pt x="365608" y="341140"/>
                  </a:lnTo>
                  <a:cubicBezTo>
                    <a:pt x="365608" y="341140"/>
                    <a:pt x="368064" y="338953"/>
                    <a:pt x="368502" y="338818"/>
                  </a:cubicBezTo>
                  <a:cubicBezTo>
                    <a:pt x="368939" y="338684"/>
                    <a:pt x="372137" y="335051"/>
                    <a:pt x="372137" y="335051"/>
                  </a:cubicBezTo>
                  <a:lnTo>
                    <a:pt x="376209" y="334344"/>
                  </a:lnTo>
                  <a:lnTo>
                    <a:pt x="383007" y="335791"/>
                  </a:lnTo>
                  <a:lnTo>
                    <a:pt x="384454" y="337977"/>
                  </a:lnTo>
                  <a:lnTo>
                    <a:pt x="386642" y="340870"/>
                  </a:lnTo>
                  <a:lnTo>
                    <a:pt x="386339" y="345345"/>
                  </a:lnTo>
                  <a:lnTo>
                    <a:pt x="385464" y="347666"/>
                  </a:lnTo>
                  <a:lnTo>
                    <a:pt x="386372" y="349819"/>
                  </a:lnTo>
                  <a:cubicBezTo>
                    <a:pt x="386372" y="349819"/>
                    <a:pt x="385598" y="351433"/>
                    <a:pt x="385497" y="351770"/>
                  </a:cubicBezTo>
                  <a:cubicBezTo>
                    <a:pt x="385397" y="352106"/>
                    <a:pt x="384959" y="353822"/>
                    <a:pt x="384959" y="353822"/>
                  </a:cubicBezTo>
                  <a:lnTo>
                    <a:pt x="383007" y="355335"/>
                  </a:lnTo>
                  <a:cubicBezTo>
                    <a:pt x="383007" y="355335"/>
                    <a:pt x="383007" y="358800"/>
                    <a:pt x="383007" y="359675"/>
                  </a:cubicBezTo>
                  <a:cubicBezTo>
                    <a:pt x="383007" y="360550"/>
                    <a:pt x="385632" y="360987"/>
                    <a:pt x="386036" y="360651"/>
                  </a:cubicBezTo>
                  <a:cubicBezTo>
                    <a:pt x="386473" y="360314"/>
                    <a:pt x="388122" y="360415"/>
                    <a:pt x="388863" y="360112"/>
                  </a:cubicBezTo>
                  <a:cubicBezTo>
                    <a:pt x="389637" y="359776"/>
                    <a:pt x="390815" y="359238"/>
                    <a:pt x="391017" y="358901"/>
                  </a:cubicBezTo>
                  <a:cubicBezTo>
                    <a:pt x="391252" y="358565"/>
                    <a:pt x="393507" y="359238"/>
                    <a:pt x="394281" y="359675"/>
                  </a:cubicBezTo>
                  <a:cubicBezTo>
                    <a:pt x="395055" y="360112"/>
                    <a:pt x="393844" y="360550"/>
                    <a:pt x="394281" y="361525"/>
                  </a:cubicBezTo>
                  <a:cubicBezTo>
                    <a:pt x="394719" y="362501"/>
                    <a:pt x="394281" y="363174"/>
                    <a:pt x="394281" y="363174"/>
                  </a:cubicBezTo>
                  <a:lnTo>
                    <a:pt x="396570" y="363174"/>
                  </a:lnTo>
                  <a:lnTo>
                    <a:pt x="398522" y="364485"/>
                  </a:lnTo>
                  <a:cubicBezTo>
                    <a:pt x="398522" y="364485"/>
                    <a:pt x="400171" y="366437"/>
                    <a:pt x="400373" y="366773"/>
                  </a:cubicBezTo>
                  <a:cubicBezTo>
                    <a:pt x="400575" y="367109"/>
                    <a:pt x="400373" y="369262"/>
                    <a:pt x="400373" y="369262"/>
                  </a:cubicBezTo>
                  <a:lnTo>
                    <a:pt x="400373" y="373030"/>
                  </a:lnTo>
                  <a:lnTo>
                    <a:pt x="398926" y="376461"/>
                  </a:lnTo>
                  <a:lnTo>
                    <a:pt x="398219" y="377470"/>
                  </a:lnTo>
                  <a:lnTo>
                    <a:pt x="396200" y="378715"/>
                  </a:lnTo>
                  <a:lnTo>
                    <a:pt x="391757" y="379287"/>
                  </a:lnTo>
                  <a:lnTo>
                    <a:pt x="390310" y="381473"/>
                  </a:lnTo>
                  <a:lnTo>
                    <a:pt x="389940" y="382012"/>
                  </a:lnTo>
                  <a:lnTo>
                    <a:pt x="395459" y="382718"/>
                  </a:lnTo>
                  <a:lnTo>
                    <a:pt x="401551" y="377134"/>
                  </a:lnTo>
                  <a:lnTo>
                    <a:pt x="406464" y="377134"/>
                  </a:lnTo>
                  <a:lnTo>
                    <a:pt x="410099" y="381339"/>
                  </a:lnTo>
                  <a:cubicBezTo>
                    <a:pt x="410099" y="381339"/>
                    <a:pt x="410974" y="389009"/>
                    <a:pt x="411412" y="389446"/>
                  </a:cubicBezTo>
                  <a:cubicBezTo>
                    <a:pt x="411849" y="389883"/>
                    <a:pt x="416056" y="394088"/>
                    <a:pt x="417368" y="394223"/>
                  </a:cubicBezTo>
                  <a:cubicBezTo>
                    <a:pt x="418681" y="394357"/>
                    <a:pt x="423022" y="395972"/>
                    <a:pt x="423022" y="395972"/>
                  </a:cubicBezTo>
                  <a:lnTo>
                    <a:pt x="427499" y="394828"/>
                  </a:lnTo>
                  <a:cubicBezTo>
                    <a:pt x="427499" y="394828"/>
                    <a:pt x="430393" y="393247"/>
                    <a:pt x="430830" y="393079"/>
                  </a:cubicBezTo>
                  <a:cubicBezTo>
                    <a:pt x="431268" y="392945"/>
                    <a:pt x="434902" y="388874"/>
                    <a:pt x="434902" y="388874"/>
                  </a:cubicBezTo>
                  <a:cubicBezTo>
                    <a:pt x="434902" y="388874"/>
                    <a:pt x="438099" y="385409"/>
                    <a:pt x="438672" y="385409"/>
                  </a:cubicBezTo>
                  <a:cubicBezTo>
                    <a:pt x="439244" y="385409"/>
                    <a:pt x="441263" y="383828"/>
                    <a:pt x="442306" y="383525"/>
                  </a:cubicBezTo>
                  <a:cubicBezTo>
                    <a:pt x="443316" y="383223"/>
                    <a:pt x="447658" y="380195"/>
                    <a:pt x="447658" y="380195"/>
                  </a:cubicBezTo>
                  <a:cubicBezTo>
                    <a:pt x="447658" y="380195"/>
                    <a:pt x="454321" y="380498"/>
                    <a:pt x="454893" y="380498"/>
                  </a:cubicBezTo>
                  <a:cubicBezTo>
                    <a:pt x="455465" y="380498"/>
                    <a:pt x="462432" y="380632"/>
                    <a:pt x="463004" y="380632"/>
                  </a:cubicBezTo>
                  <a:cubicBezTo>
                    <a:pt x="463576" y="380632"/>
                    <a:pt x="467345" y="380632"/>
                    <a:pt x="467345" y="380632"/>
                  </a:cubicBezTo>
                  <a:cubicBezTo>
                    <a:pt x="467345" y="380632"/>
                    <a:pt x="470542" y="378614"/>
                    <a:pt x="470980" y="378311"/>
                  </a:cubicBezTo>
                  <a:cubicBezTo>
                    <a:pt x="471418" y="378009"/>
                    <a:pt x="472663" y="377874"/>
                    <a:pt x="473673" y="377874"/>
                  </a:cubicBezTo>
                  <a:cubicBezTo>
                    <a:pt x="474682" y="377874"/>
                    <a:pt x="475187" y="380632"/>
                    <a:pt x="475187" y="380632"/>
                  </a:cubicBezTo>
                  <a:lnTo>
                    <a:pt x="475187" y="383223"/>
                  </a:lnTo>
                  <a:lnTo>
                    <a:pt x="473571" y="384669"/>
                  </a:lnTo>
                  <a:lnTo>
                    <a:pt x="475187" y="385107"/>
                  </a:lnTo>
                  <a:cubicBezTo>
                    <a:pt x="475187" y="385107"/>
                    <a:pt x="477947" y="384972"/>
                    <a:pt x="478384" y="384535"/>
                  </a:cubicBezTo>
                  <a:cubicBezTo>
                    <a:pt x="478822" y="384097"/>
                    <a:pt x="479966" y="381911"/>
                    <a:pt x="480269" y="381507"/>
                  </a:cubicBezTo>
                  <a:cubicBezTo>
                    <a:pt x="480538" y="381070"/>
                    <a:pt x="481144" y="379623"/>
                    <a:pt x="481278" y="379186"/>
                  </a:cubicBezTo>
                  <a:cubicBezTo>
                    <a:pt x="481413" y="378749"/>
                    <a:pt x="481985" y="378177"/>
                    <a:pt x="482288" y="377168"/>
                  </a:cubicBezTo>
                  <a:cubicBezTo>
                    <a:pt x="482557" y="376158"/>
                    <a:pt x="483163" y="375149"/>
                    <a:pt x="483163" y="375149"/>
                  </a:cubicBezTo>
                  <a:cubicBezTo>
                    <a:pt x="483163" y="375149"/>
                    <a:pt x="484173" y="373265"/>
                    <a:pt x="484307" y="372828"/>
                  </a:cubicBezTo>
                  <a:cubicBezTo>
                    <a:pt x="484442" y="372391"/>
                    <a:pt x="485317" y="370070"/>
                    <a:pt x="485317" y="370070"/>
                  </a:cubicBezTo>
                  <a:lnTo>
                    <a:pt x="485889" y="367311"/>
                  </a:lnTo>
                  <a:cubicBezTo>
                    <a:pt x="485889" y="367311"/>
                    <a:pt x="486327" y="365730"/>
                    <a:pt x="486764" y="365293"/>
                  </a:cubicBezTo>
                  <a:cubicBezTo>
                    <a:pt x="487202" y="364856"/>
                    <a:pt x="488077" y="364284"/>
                    <a:pt x="488514" y="363846"/>
                  </a:cubicBezTo>
                  <a:cubicBezTo>
                    <a:pt x="488952" y="363409"/>
                    <a:pt x="491274" y="359372"/>
                    <a:pt x="491274" y="359372"/>
                  </a:cubicBezTo>
                  <a:lnTo>
                    <a:pt x="493024" y="356008"/>
                  </a:lnTo>
                  <a:lnTo>
                    <a:pt x="493966" y="353586"/>
                  </a:lnTo>
                  <a:lnTo>
                    <a:pt x="496053" y="349516"/>
                  </a:lnTo>
                  <a:lnTo>
                    <a:pt x="496053" y="346757"/>
                  </a:lnTo>
                  <a:lnTo>
                    <a:pt x="496928" y="341409"/>
                  </a:lnTo>
                  <a:lnTo>
                    <a:pt x="495918" y="335892"/>
                  </a:lnTo>
                  <a:lnTo>
                    <a:pt x="493293" y="332999"/>
                  </a:lnTo>
                  <a:lnTo>
                    <a:pt x="492553" y="330106"/>
                  </a:lnTo>
                  <a:lnTo>
                    <a:pt x="494875" y="327919"/>
                  </a:lnTo>
                  <a:lnTo>
                    <a:pt x="499519" y="324454"/>
                  </a:lnTo>
                  <a:lnTo>
                    <a:pt x="501707" y="320384"/>
                  </a:lnTo>
                  <a:lnTo>
                    <a:pt x="502582" y="316347"/>
                  </a:lnTo>
                  <a:lnTo>
                    <a:pt x="504601" y="313454"/>
                  </a:lnTo>
                  <a:cubicBezTo>
                    <a:pt x="504601" y="313454"/>
                    <a:pt x="506183" y="311268"/>
                    <a:pt x="506755" y="311268"/>
                  </a:cubicBezTo>
                  <a:cubicBezTo>
                    <a:pt x="507327" y="311268"/>
                    <a:pt x="509212" y="309081"/>
                    <a:pt x="509212" y="309081"/>
                  </a:cubicBezTo>
                  <a:cubicBezTo>
                    <a:pt x="509212" y="309081"/>
                    <a:pt x="511837" y="308072"/>
                    <a:pt x="512409" y="307769"/>
                  </a:cubicBezTo>
                  <a:cubicBezTo>
                    <a:pt x="512981" y="307466"/>
                    <a:pt x="514428" y="302858"/>
                    <a:pt x="515034" y="302858"/>
                  </a:cubicBezTo>
                  <a:cubicBezTo>
                    <a:pt x="515606" y="302858"/>
                    <a:pt x="516784" y="300402"/>
                    <a:pt x="517221" y="300099"/>
                  </a:cubicBezTo>
                  <a:cubicBezTo>
                    <a:pt x="517659" y="299796"/>
                    <a:pt x="520688" y="295020"/>
                    <a:pt x="520688" y="295020"/>
                  </a:cubicBezTo>
                  <a:cubicBezTo>
                    <a:pt x="520688" y="295020"/>
                    <a:pt x="522876" y="293573"/>
                    <a:pt x="523448" y="293573"/>
                  </a:cubicBezTo>
                  <a:cubicBezTo>
                    <a:pt x="524020" y="293573"/>
                    <a:pt x="526780" y="291992"/>
                    <a:pt x="526780" y="291992"/>
                  </a:cubicBezTo>
                  <a:cubicBezTo>
                    <a:pt x="526780" y="291992"/>
                    <a:pt x="528967" y="290983"/>
                    <a:pt x="529404" y="290983"/>
                  </a:cubicBezTo>
                  <a:cubicBezTo>
                    <a:pt x="529842" y="290983"/>
                    <a:pt x="533881" y="287653"/>
                    <a:pt x="533881" y="287653"/>
                  </a:cubicBezTo>
                  <a:cubicBezTo>
                    <a:pt x="533881" y="287653"/>
                    <a:pt x="538794" y="285197"/>
                    <a:pt x="539232" y="285197"/>
                  </a:cubicBezTo>
                  <a:cubicBezTo>
                    <a:pt x="539669" y="285197"/>
                    <a:pt x="542563" y="281126"/>
                    <a:pt x="543136" y="280992"/>
                  </a:cubicBezTo>
                  <a:cubicBezTo>
                    <a:pt x="543708" y="280857"/>
                    <a:pt x="547847" y="277796"/>
                    <a:pt x="547847" y="277796"/>
                  </a:cubicBezTo>
                  <a:lnTo>
                    <a:pt x="549934" y="276484"/>
                  </a:lnTo>
                  <a:lnTo>
                    <a:pt x="549934" y="273726"/>
                  </a:lnTo>
                  <a:lnTo>
                    <a:pt x="547410" y="270059"/>
                  </a:lnTo>
                  <a:close/>
                  <a:moveTo>
                    <a:pt x="340299" y="224645"/>
                  </a:moveTo>
                  <a:lnTo>
                    <a:pt x="338718" y="226025"/>
                  </a:lnTo>
                  <a:lnTo>
                    <a:pt x="337270" y="226462"/>
                  </a:lnTo>
                  <a:lnTo>
                    <a:pt x="335621" y="226159"/>
                  </a:lnTo>
                  <a:lnTo>
                    <a:pt x="333905" y="225957"/>
                  </a:lnTo>
                  <a:lnTo>
                    <a:pt x="332761" y="226832"/>
                  </a:lnTo>
                  <a:lnTo>
                    <a:pt x="332761" y="229961"/>
                  </a:lnTo>
                  <a:lnTo>
                    <a:pt x="332963" y="230970"/>
                  </a:lnTo>
                  <a:lnTo>
                    <a:pt x="332189" y="232416"/>
                  </a:lnTo>
                  <a:lnTo>
                    <a:pt x="329799" y="232921"/>
                  </a:lnTo>
                  <a:cubicBezTo>
                    <a:pt x="329799" y="232921"/>
                    <a:pt x="328789" y="232349"/>
                    <a:pt x="328116" y="232349"/>
                  </a:cubicBezTo>
                  <a:cubicBezTo>
                    <a:pt x="327443" y="232349"/>
                    <a:pt x="325357" y="232046"/>
                    <a:pt x="325087" y="232046"/>
                  </a:cubicBezTo>
                  <a:cubicBezTo>
                    <a:pt x="324785" y="232046"/>
                    <a:pt x="322967" y="230465"/>
                    <a:pt x="322698" y="230364"/>
                  </a:cubicBezTo>
                  <a:cubicBezTo>
                    <a:pt x="322429" y="230297"/>
                    <a:pt x="319232" y="231104"/>
                    <a:pt x="319232" y="231104"/>
                  </a:cubicBezTo>
                  <a:cubicBezTo>
                    <a:pt x="319232" y="231104"/>
                    <a:pt x="317481" y="233493"/>
                    <a:pt x="317280" y="233997"/>
                  </a:cubicBezTo>
                  <a:cubicBezTo>
                    <a:pt x="317078" y="234502"/>
                    <a:pt x="314957" y="238404"/>
                    <a:pt x="314957" y="238404"/>
                  </a:cubicBezTo>
                  <a:lnTo>
                    <a:pt x="316337" y="240927"/>
                  </a:lnTo>
                  <a:lnTo>
                    <a:pt x="319972" y="243383"/>
                  </a:lnTo>
                  <a:lnTo>
                    <a:pt x="320039" y="244627"/>
                  </a:lnTo>
                  <a:lnTo>
                    <a:pt x="316977" y="246881"/>
                  </a:lnTo>
                  <a:lnTo>
                    <a:pt x="316102" y="249270"/>
                  </a:lnTo>
                  <a:cubicBezTo>
                    <a:pt x="316102" y="249270"/>
                    <a:pt x="316472" y="251524"/>
                    <a:pt x="316977" y="251961"/>
                  </a:cubicBezTo>
                  <a:cubicBezTo>
                    <a:pt x="317481" y="252398"/>
                    <a:pt x="318491" y="253037"/>
                    <a:pt x="318996" y="253475"/>
                  </a:cubicBezTo>
                  <a:cubicBezTo>
                    <a:pt x="319501" y="253912"/>
                    <a:pt x="320443" y="254988"/>
                    <a:pt x="320679" y="255056"/>
                  </a:cubicBezTo>
                  <a:cubicBezTo>
                    <a:pt x="320914" y="255123"/>
                    <a:pt x="320712" y="255998"/>
                    <a:pt x="320712" y="255998"/>
                  </a:cubicBezTo>
                  <a:cubicBezTo>
                    <a:pt x="320712" y="255998"/>
                    <a:pt x="320612" y="256805"/>
                    <a:pt x="320612" y="257074"/>
                  </a:cubicBezTo>
                  <a:cubicBezTo>
                    <a:pt x="320612" y="257377"/>
                    <a:pt x="320612" y="259463"/>
                    <a:pt x="320612" y="259463"/>
                  </a:cubicBezTo>
                  <a:lnTo>
                    <a:pt x="321756" y="260270"/>
                  </a:lnTo>
                  <a:cubicBezTo>
                    <a:pt x="321756" y="260270"/>
                    <a:pt x="323203" y="262019"/>
                    <a:pt x="323438" y="262288"/>
                  </a:cubicBezTo>
                  <a:cubicBezTo>
                    <a:pt x="323640" y="262591"/>
                    <a:pt x="324684" y="263230"/>
                    <a:pt x="325189" y="263735"/>
                  </a:cubicBezTo>
                  <a:cubicBezTo>
                    <a:pt x="325693" y="264239"/>
                    <a:pt x="325828" y="264609"/>
                    <a:pt x="326703" y="265316"/>
                  </a:cubicBezTo>
                  <a:cubicBezTo>
                    <a:pt x="327578" y="266056"/>
                    <a:pt x="327746" y="267772"/>
                    <a:pt x="327746" y="267772"/>
                  </a:cubicBezTo>
                  <a:lnTo>
                    <a:pt x="328352" y="269386"/>
                  </a:lnTo>
                  <a:lnTo>
                    <a:pt x="328419" y="271573"/>
                  </a:lnTo>
                  <a:lnTo>
                    <a:pt x="328487" y="273860"/>
                  </a:lnTo>
                  <a:cubicBezTo>
                    <a:pt x="328487" y="273860"/>
                    <a:pt x="327073" y="276081"/>
                    <a:pt x="326905" y="276148"/>
                  </a:cubicBezTo>
                  <a:cubicBezTo>
                    <a:pt x="326737" y="276215"/>
                    <a:pt x="324852" y="278435"/>
                    <a:pt x="324852" y="278435"/>
                  </a:cubicBezTo>
                  <a:cubicBezTo>
                    <a:pt x="324852" y="278435"/>
                    <a:pt x="323371" y="279579"/>
                    <a:pt x="323203" y="279680"/>
                  </a:cubicBezTo>
                  <a:cubicBezTo>
                    <a:pt x="323035" y="279781"/>
                    <a:pt x="320477" y="281160"/>
                    <a:pt x="320140" y="281295"/>
                  </a:cubicBezTo>
                  <a:cubicBezTo>
                    <a:pt x="319838" y="281463"/>
                    <a:pt x="318525" y="282371"/>
                    <a:pt x="318289" y="282438"/>
                  </a:cubicBezTo>
                  <a:cubicBezTo>
                    <a:pt x="318087" y="282506"/>
                    <a:pt x="317078" y="282943"/>
                    <a:pt x="316876" y="282943"/>
                  </a:cubicBezTo>
                  <a:cubicBezTo>
                    <a:pt x="316674" y="282943"/>
                    <a:pt x="314520" y="282943"/>
                    <a:pt x="314520" y="282943"/>
                  </a:cubicBezTo>
                  <a:cubicBezTo>
                    <a:pt x="314520" y="282943"/>
                    <a:pt x="313006" y="283279"/>
                    <a:pt x="312198" y="283279"/>
                  </a:cubicBezTo>
                  <a:cubicBezTo>
                    <a:pt x="311390" y="283279"/>
                    <a:pt x="309539" y="283246"/>
                    <a:pt x="309304" y="283246"/>
                  </a:cubicBezTo>
                  <a:cubicBezTo>
                    <a:pt x="309102" y="283246"/>
                    <a:pt x="305837" y="282539"/>
                    <a:pt x="305837" y="282539"/>
                  </a:cubicBezTo>
                  <a:lnTo>
                    <a:pt x="301933" y="283952"/>
                  </a:lnTo>
                  <a:lnTo>
                    <a:pt x="298332" y="284827"/>
                  </a:lnTo>
                  <a:lnTo>
                    <a:pt x="295942" y="285600"/>
                  </a:lnTo>
                  <a:lnTo>
                    <a:pt x="292779" y="284827"/>
                  </a:lnTo>
                  <a:lnTo>
                    <a:pt x="289952" y="282977"/>
                  </a:lnTo>
                  <a:lnTo>
                    <a:pt x="286385" y="282102"/>
                  </a:lnTo>
                  <a:lnTo>
                    <a:pt x="281370" y="282539"/>
                  </a:lnTo>
                  <a:lnTo>
                    <a:pt x="278543" y="286677"/>
                  </a:lnTo>
                  <a:lnTo>
                    <a:pt x="277130" y="291555"/>
                  </a:lnTo>
                  <a:lnTo>
                    <a:pt x="277130" y="295995"/>
                  </a:lnTo>
                  <a:lnTo>
                    <a:pt x="276356" y="301748"/>
                  </a:lnTo>
                  <a:lnTo>
                    <a:pt x="276894" y="305112"/>
                  </a:lnTo>
                  <a:lnTo>
                    <a:pt x="280697" y="310662"/>
                  </a:lnTo>
                  <a:lnTo>
                    <a:pt x="282313" y="314127"/>
                  </a:lnTo>
                  <a:lnTo>
                    <a:pt x="285241" y="314497"/>
                  </a:lnTo>
                  <a:lnTo>
                    <a:pt x="288168" y="312479"/>
                  </a:lnTo>
                  <a:lnTo>
                    <a:pt x="288370" y="312479"/>
                  </a:lnTo>
                  <a:lnTo>
                    <a:pt x="290861" y="314430"/>
                  </a:lnTo>
                  <a:lnTo>
                    <a:pt x="293149" y="318029"/>
                  </a:lnTo>
                  <a:lnTo>
                    <a:pt x="293688" y="320216"/>
                  </a:lnTo>
                  <a:lnTo>
                    <a:pt x="291837" y="324219"/>
                  </a:lnTo>
                  <a:lnTo>
                    <a:pt x="292039" y="327886"/>
                  </a:lnTo>
                  <a:lnTo>
                    <a:pt x="293452" y="329231"/>
                  </a:lnTo>
                  <a:cubicBezTo>
                    <a:pt x="293452" y="329231"/>
                    <a:pt x="293553" y="329769"/>
                    <a:pt x="293452" y="330106"/>
                  </a:cubicBezTo>
                  <a:cubicBezTo>
                    <a:pt x="293351" y="330442"/>
                    <a:pt x="290625" y="332494"/>
                    <a:pt x="290625" y="332494"/>
                  </a:cubicBezTo>
                  <a:cubicBezTo>
                    <a:pt x="290625" y="332494"/>
                    <a:pt x="289649" y="333806"/>
                    <a:pt x="289212" y="333806"/>
                  </a:cubicBezTo>
                  <a:cubicBezTo>
                    <a:pt x="288774" y="333806"/>
                    <a:pt x="284971" y="336195"/>
                    <a:pt x="284971" y="336195"/>
                  </a:cubicBezTo>
                  <a:lnTo>
                    <a:pt x="282784" y="340332"/>
                  </a:lnTo>
                  <a:lnTo>
                    <a:pt x="279620" y="340332"/>
                  </a:lnTo>
                  <a:lnTo>
                    <a:pt x="276457" y="340332"/>
                  </a:lnTo>
                  <a:lnTo>
                    <a:pt x="272654" y="340332"/>
                  </a:lnTo>
                  <a:lnTo>
                    <a:pt x="268413" y="336329"/>
                  </a:lnTo>
                  <a:lnTo>
                    <a:pt x="263634" y="335656"/>
                  </a:lnTo>
                  <a:lnTo>
                    <a:pt x="262221" y="336867"/>
                  </a:lnTo>
                  <a:lnTo>
                    <a:pt x="261548" y="337843"/>
                  </a:lnTo>
                  <a:cubicBezTo>
                    <a:pt x="261548" y="337843"/>
                    <a:pt x="261009" y="339256"/>
                    <a:pt x="261009" y="339693"/>
                  </a:cubicBezTo>
                  <a:cubicBezTo>
                    <a:pt x="261009" y="340130"/>
                    <a:pt x="260471" y="341644"/>
                    <a:pt x="260471" y="341644"/>
                  </a:cubicBezTo>
                  <a:lnTo>
                    <a:pt x="260571" y="344033"/>
                  </a:lnTo>
                  <a:lnTo>
                    <a:pt x="260235" y="345883"/>
                  </a:lnTo>
                  <a:cubicBezTo>
                    <a:pt x="260235" y="345883"/>
                    <a:pt x="259797" y="346858"/>
                    <a:pt x="259562" y="347195"/>
                  </a:cubicBezTo>
                  <a:cubicBezTo>
                    <a:pt x="259326" y="347531"/>
                    <a:pt x="258384" y="348608"/>
                    <a:pt x="258047" y="348944"/>
                  </a:cubicBezTo>
                  <a:cubicBezTo>
                    <a:pt x="257711" y="349280"/>
                    <a:pt x="254447" y="350592"/>
                    <a:pt x="254447" y="350592"/>
                  </a:cubicBezTo>
                  <a:lnTo>
                    <a:pt x="251821" y="351231"/>
                  </a:lnTo>
                  <a:cubicBezTo>
                    <a:pt x="251821" y="351231"/>
                    <a:pt x="250071" y="351871"/>
                    <a:pt x="249432" y="352005"/>
                  </a:cubicBezTo>
                  <a:cubicBezTo>
                    <a:pt x="248792" y="352106"/>
                    <a:pt x="248221" y="351904"/>
                    <a:pt x="247783" y="352005"/>
                  </a:cubicBezTo>
                  <a:cubicBezTo>
                    <a:pt x="247345" y="352106"/>
                    <a:pt x="246605" y="352173"/>
                    <a:pt x="245730" y="352039"/>
                  </a:cubicBezTo>
                  <a:cubicBezTo>
                    <a:pt x="244855" y="351904"/>
                    <a:pt x="242701" y="350054"/>
                    <a:pt x="241490" y="348978"/>
                  </a:cubicBezTo>
                  <a:cubicBezTo>
                    <a:pt x="240278" y="347901"/>
                    <a:pt x="239874" y="346488"/>
                    <a:pt x="238999" y="345950"/>
                  </a:cubicBezTo>
                  <a:cubicBezTo>
                    <a:pt x="238124" y="345412"/>
                    <a:pt x="236710" y="343663"/>
                    <a:pt x="236710" y="343663"/>
                  </a:cubicBezTo>
                  <a:cubicBezTo>
                    <a:pt x="236710" y="343663"/>
                    <a:pt x="234759" y="343562"/>
                    <a:pt x="234321" y="343562"/>
                  </a:cubicBezTo>
                  <a:cubicBezTo>
                    <a:pt x="233884" y="343562"/>
                    <a:pt x="230720" y="343663"/>
                    <a:pt x="230417" y="343663"/>
                  </a:cubicBezTo>
                  <a:cubicBezTo>
                    <a:pt x="230081" y="343663"/>
                    <a:pt x="227153" y="345176"/>
                    <a:pt x="227153" y="345176"/>
                  </a:cubicBezTo>
                  <a:lnTo>
                    <a:pt x="225302" y="346690"/>
                  </a:lnTo>
                  <a:lnTo>
                    <a:pt x="220624" y="349079"/>
                  </a:lnTo>
                  <a:lnTo>
                    <a:pt x="216148" y="350390"/>
                  </a:lnTo>
                  <a:cubicBezTo>
                    <a:pt x="216148" y="350390"/>
                    <a:pt x="212782" y="350491"/>
                    <a:pt x="212345" y="350491"/>
                  </a:cubicBezTo>
                  <a:cubicBezTo>
                    <a:pt x="211907" y="350491"/>
                    <a:pt x="208003" y="349079"/>
                    <a:pt x="206926" y="349079"/>
                  </a:cubicBezTo>
                  <a:cubicBezTo>
                    <a:pt x="205816" y="349079"/>
                    <a:pt x="204739" y="348540"/>
                    <a:pt x="204436" y="349079"/>
                  </a:cubicBezTo>
                  <a:cubicBezTo>
                    <a:pt x="204099" y="349617"/>
                    <a:pt x="202821" y="350491"/>
                    <a:pt x="202147" y="350929"/>
                  </a:cubicBezTo>
                  <a:cubicBezTo>
                    <a:pt x="201508" y="351366"/>
                    <a:pt x="201171" y="355066"/>
                    <a:pt x="201171" y="355066"/>
                  </a:cubicBezTo>
                  <a:lnTo>
                    <a:pt x="199657" y="355706"/>
                  </a:lnTo>
                  <a:lnTo>
                    <a:pt x="194878" y="355066"/>
                  </a:lnTo>
                  <a:cubicBezTo>
                    <a:pt x="194878" y="355066"/>
                    <a:pt x="193565" y="354528"/>
                    <a:pt x="192589" y="353654"/>
                  </a:cubicBezTo>
                  <a:cubicBezTo>
                    <a:pt x="191613" y="352779"/>
                    <a:pt x="190200" y="349079"/>
                    <a:pt x="189863" y="348978"/>
                  </a:cubicBezTo>
                  <a:cubicBezTo>
                    <a:pt x="189527" y="348877"/>
                    <a:pt x="189325" y="346253"/>
                    <a:pt x="188989" y="345950"/>
                  </a:cubicBezTo>
                  <a:cubicBezTo>
                    <a:pt x="188652" y="345614"/>
                    <a:pt x="186262" y="343999"/>
                    <a:pt x="186262" y="343999"/>
                  </a:cubicBezTo>
                  <a:cubicBezTo>
                    <a:pt x="186262" y="343999"/>
                    <a:pt x="183435" y="343225"/>
                    <a:pt x="182459" y="343562"/>
                  </a:cubicBezTo>
                  <a:cubicBezTo>
                    <a:pt x="181483" y="343898"/>
                    <a:pt x="180844" y="343562"/>
                    <a:pt x="179531" y="343360"/>
                  </a:cubicBezTo>
                  <a:cubicBezTo>
                    <a:pt x="178219" y="343158"/>
                    <a:pt x="175931" y="342384"/>
                    <a:pt x="175829" y="342048"/>
                  </a:cubicBezTo>
                  <a:cubicBezTo>
                    <a:pt x="175728" y="341711"/>
                    <a:pt x="175156" y="337708"/>
                    <a:pt x="175156" y="337708"/>
                  </a:cubicBezTo>
                  <a:lnTo>
                    <a:pt x="172565" y="336834"/>
                  </a:lnTo>
                  <a:lnTo>
                    <a:pt x="167887" y="335959"/>
                  </a:lnTo>
                  <a:cubicBezTo>
                    <a:pt x="167887" y="335959"/>
                    <a:pt x="167416" y="334883"/>
                    <a:pt x="167416" y="334445"/>
                  </a:cubicBezTo>
                  <a:cubicBezTo>
                    <a:pt x="167416" y="334008"/>
                    <a:pt x="165598" y="331855"/>
                    <a:pt x="165598" y="331418"/>
                  </a:cubicBezTo>
                  <a:cubicBezTo>
                    <a:pt x="165598" y="330980"/>
                    <a:pt x="165598" y="329130"/>
                    <a:pt x="165598" y="329130"/>
                  </a:cubicBezTo>
                  <a:lnTo>
                    <a:pt x="166911" y="327953"/>
                  </a:lnTo>
                  <a:lnTo>
                    <a:pt x="169839" y="328054"/>
                  </a:lnTo>
                  <a:lnTo>
                    <a:pt x="172128" y="328928"/>
                  </a:lnTo>
                  <a:lnTo>
                    <a:pt x="173642" y="329366"/>
                  </a:lnTo>
                  <a:lnTo>
                    <a:pt x="176031" y="329803"/>
                  </a:lnTo>
                  <a:lnTo>
                    <a:pt x="177479" y="328727"/>
                  </a:lnTo>
                  <a:lnTo>
                    <a:pt x="178387" y="327179"/>
                  </a:lnTo>
                  <a:lnTo>
                    <a:pt x="178791" y="325463"/>
                  </a:lnTo>
                  <a:lnTo>
                    <a:pt x="177748" y="323849"/>
                  </a:lnTo>
                  <a:lnTo>
                    <a:pt x="174584" y="320720"/>
                  </a:lnTo>
                  <a:lnTo>
                    <a:pt x="173103" y="318567"/>
                  </a:lnTo>
                  <a:lnTo>
                    <a:pt x="169974" y="315271"/>
                  </a:lnTo>
                  <a:lnTo>
                    <a:pt x="167651" y="313454"/>
                  </a:lnTo>
                  <a:cubicBezTo>
                    <a:pt x="167651" y="313454"/>
                    <a:pt x="165464" y="311200"/>
                    <a:pt x="165397" y="310998"/>
                  </a:cubicBezTo>
                  <a:cubicBezTo>
                    <a:pt x="165329" y="310797"/>
                    <a:pt x="164454" y="308240"/>
                    <a:pt x="164387" y="308038"/>
                  </a:cubicBezTo>
                  <a:cubicBezTo>
                    <a:pt x="164319" y="307836"/>
                    <a:pt x="164151" y="305448"/>
                    <a:pt x="164151" y="305448"/>
                  </a:cubicBezTo>
                  <a:lnTo>
                    <a:pt x="163882" y="301613"/>
                  </a:lnTo>
                  <a:lnTo>
                    <a:pt x="163882" y="299662"/>
                  </a:lnTo>
                  <a:lnTo>
                    <a:pt x="167517" y="298787"/>
                  </a:lnTo>
                  <a:lnTo>
                    <a:pt x="168257" y="298787"/>
                  </a:lnTo>
                  <a:lnTo>
                    <a:pt x="170007" y="298787"/>
                  </a:lnTo>
                  <a:lnTo>
                    <a:pt x="171757" y="298787"/>
                  </a:lnTo>
                  <a:lnTo>
                    <a:pt x="173473" y="298787"/>
                  </a:lnTo>
                  <a:cubicBezTo>
                    <a:pt x="173473" y="298787"/>
                    <a:pt x="173473" y="298855"/>
                    <a:pt x="174214" y="298283"/>
                  </a:cubicBezTo>
                  <a:cubicBezTo>
                    <a:pt x="174954" y="297711"/>
                    <a:pt x="176166" y="296769"/>
                    <a:pt x="176166" y="296769"/>
                  </a:cubicBezTo>
                  <a:lnTo>
                    <a:pt x="177680" y="293506"/>
                  </a:lnTo>
                  <a:lnTo>
                    <a:pt x="180575" y="290916"/>
                  </a:lnTo>
                  <a:cubicBezTo>
                    <a:pt x="180575" y="290916"/>
                    <a:pt x="181954" y="290478"/>
                    <a:pt x="182392" y="290041"/>
                  </a:cubicBezTo>
                  <a:cubicBezTo>
                    <a:pt x="182829" y="289604"/>
                    <a:pt x="185724" y="287350"/>
                    <a:pt x="185724" y="287350"/>
                  </a:cubicBezTo>
                  <a:cubicBezTo>
                    <a:pt x="185724" y="287350"/>
                    <a:pt x="187609" y="286711"/>
                    <a:pt x="187911" y="286711"/>
                  </a:cubicBezTo>
                  <a:cubicBezTo>
                    <a:pt x="188214" y="286711"/>
                    <a:pt x="189426" y="286643"/>
                    <a:pt x="190234" y="286711"/>
                  </a:cubicBezTo>
                  <a:cubicBezTo>
                    <a:pt x="191041" y="286778"/>
                    <a:pt x="192253" y="286576"/>
                    <a:pt x="193128" y="286677"/>
                  </a:cubicBezTo>
                  <a:cubicBezTo>
                    <a:pt x="194003" y="286778"/>
                    <a:pt x="195450" y="286071"/>
                    <a:pt x="195753" y="286071"/>
                  </a:cubicBezTo>
                  <a:cubicBezTo>
                    <a:pt x="196022" y="286071"/>
                    <a:pt x="196897" y="285634"/>
                    <a:pt x="197638" y="285500"/>
                  </a:cubicBezTo>
                  <a:cubicBezTo>
                    <a:pt x="198344" y="285365"/>
                    <a:pt x="200027" y="283549"/>
                    <a:pt x="200027" y="283549"/>
                  </a:cubicBezTo>
                  <a:cubicBezTo>
                    <a:pt x="200027" y="283549"/>
                    <a:pt x="200667" y="282909"/>
                    <a:pt x="200835" y="282607"/>
                  </a:cubicBezTo>
                  <a:cubicBezTo>
                    <a:pt x="200969" y="282338"/>
                    <a:pt x="201979" y="281093"/>
                    <a:pt x="202215" y="281026"/>
                  </a:cubicBezTo>
                  <a:cubicBezTo>
                    <a:pt x="202417" y="280958"/>
                    <a:pt x="203460" y="280084"/>
                    <a:pt x="203729" y="280084"/>
                  </a:cubicBezTo>
                  <a:cubicBezTo>
                    <a:pt x="203998" y="280084"/>
                    <a:pt x="205883" y="278200"/>
                    <a:pt x="206119" y="278133"/>
                  </a:cubicBezTo>
                  <a:cubicBezTo>
                    <a:pt x="206320" y="278065"/>
                    <a:pt x="207364" y="276821"/>
                    <a:pt x="207633" y="276619"/>
                  </a:cubicBezTo>
                  <a:cubicBezTo>
                    <a:pt x="207936" y="276417"/>
                    <a:pt x="209148" y="274600"/>
                    <a:pt x="209148" y="274298"/>
                  </a:cubicBezTo>
                  <a:cubicBezTo>
                    <a:pt x="209148" y="273995"/>
                    <a:pt x="209148" y="270160"/>
                    <a:pt x="209148" y="270160"/>
                  </a:cubicBezTo>
                  <a:lnTo>
                    <a:pt x="205816" y="266964"/>
                  </a:lnTo>
                  <a:lnTo>
                    <a:pt x="205109" y="263701"/>
                  </a:lnTo>
                  <a:lnTo>
                    <a:pt x="201037" y="260573"/>
                  </a:lnTo>
                  <a:lnTo>
                    <a:pt x="199589" y="260573"/>
                  </a:lnTo>
                  <a:lnTo>
                    <a:pt x="197840" y="260573"/>
                  </a:lnTo>
                  <a:lnTo>
                    <a:pt x="195820" y="259429"/>
                  </a:lnTo>
                  <a:lnTo>
                    <a:pt x="194945" y="257848"/>
                  </a:lnTo>
                  <a:lnTo>
                    <a:pt x="195349" y="256637"/>
                  </a:lnTo>
                  <a:lnTo>
                    <a:pt x="194205" y="254719"/>
                  </a:lnTo>
                  <a:lnTo>
                    <a:pt x="193397" y="253138"/>
                  </a:lnTo>
                  <a:lnTo>
                    <a:pt x="192152" y="252365"/>
                  </a:lnTo>
                  <a:cubicBezTo>
                    <a:pt x="192152" y="252365"/>
                    <a:pt x="189830" y="250615"/>
                    <a:pt x="189695" y="250413"/>
                  </a:cubicBezTo>
                  <a:cubicBezTo>
                    <a:pt x="189594" y="250212"/>
                    <a:pt x="188585" y="248126"/>
                    <a:pt x="188585" y="248126"/>
                  </a:cubicBezTo>
                  <a:lnTo>
                    <a:pt x="188282" y="246377"/>
                  </a:lnTo>
                  <a:lnTo>
                    <a:pt x="188282" y="245771"/>
                  </a:lnTo>
                  <a:cubicBezTo>
                    <a:pt x="188282" y="245771"/>
                    <a:pt x="187743" y="243820"/>
                    <a:pt x="187911" y="243753"/>
                  </a:cubicBezTo>
                  <a:cubicBezTo>
                    <a:pt x="188080" y="243686"/>
                    <a:pt x="188282" y="242441"/>
                    <a:pt x="188282" y="242441"/>
                  </a:cubicBezTo>
                  <a:cubicBezTo>
                    <a:pt x="188551" y="242205"/>
                    <a:pt x="189157" y="241230"/>
                    <a:pt x="189157" y="241230"/>
                  </a:cubicBezTo>
                  <a:cubicBezTo>
                    <a:pt x="189157" y="241230"/>
                    <a:pt x="190738" y="239716"/>
                    <a:pt x="190907" y="239716"/>
                  </a:cubicBezTo>
                  <a:cubicBezTo>
                    <a:pt x="191075" y="239716"/>
                    <a:pt x="192320" y="239279"/>
                    <a:pt x="192522" y="239279"/>
                  </a:cubicBezTo>
                  <a:cubicBezTo>
                    <a:pt x="192758" y="239279"/>
                    <a:pt x="193397" y="239380"/>
                    <a:pt x="193734" y="239279"/>
                  </a:cubicBezTo>
                  <a:cubicBezTo>
                    <a:pt x="194070" y="239178"/>
                    <a:pt x="195955" y="238135"/>
                    <a:pt x="195955" y="238135"/>
                  </a:cubicBezTo>
                  <a:lnTo>
                    <a:pt x="198782" y="236117"/>
                  </a:lnTo>
                  <a:lnTo>
                    <a:pt x="199859" y="235309"/>
                  </a:lnTo>
                  <a:cubicBezTo>
                    <a:pt x="199859" y="235309"/>
                    <a:pt x="200902" y="234973"/>
                    <a:pt x="201104" y="234939"/>
                  </a:cubicBezTo>
                  <a:cubicBezTo>
                    <a:pt x="201306" y="234872"/>
                    <a:pt x="203123" y="235107"/>
                    <a:pt x="203325" y="234939"/>
                  </a:cubicBezTo>
                  <a:cubicBezTo>
                    <a:pt x="203527" y="234771"/>
                    <a:pt x="204840" y="235074"/>
                    <a:pt x="205244" y="234939"/>
                  </a:cubicBezTo>
                  <a:cubicBezTo>
                    <a:pt x="205614" y="234771"/>
                    <a:pt x="206590" y="234906"/>
                    <a:pt x="207128" y="234906"/>
                  </a:cubicBezTo>
                  <a:cubicBezTo>
                    <a:pt x="207667" y="234906"/>
                    <a:pt x="209719" y="234838"/>
                    <a:pt x="209955" y="234872"/>
                  </a:cubicBezTo>
                  <a:cubicBezTo>
                    <a:pt x="210157" y="234906"/>
                    <a:pt x="211099" y="234805"/>
                    <a:pt x="211840" y="234872"/>
                  </a:cubicBezTo>
                  <a:cubicBezTo>
                    <a:pt x="212614" y="234906"/>
                    <a:pt x="213489" y="235007"/>
                    <a:pt x="214027" y="234872"/>
                  </a:cubicBezTo>
                  <a:cubicBezTo>
                    <a:pt x="214566" y="234704"/>
                    <a:pt x="217460" y="234065"/>
                    <a:pt x="217460" y="234065"/>
                  </a:cubicBezTo>
                  <a:cubicBezTo>
                    <a:pt x="217460" y="234065"/>
                    <a:pt x="218335" y="231508"/>
                    <a:pt x="218638" y="231474"/>
                  </a:cubicBezTo>
                  <a:cubicBezTo>
                    <a:pt x="218974" y="231407"/>
                    <a:pt x="220927" y="228279"/>
                    <a:pt x="220927" y="228279"/>
                  </a:cubicBezTo>
                  <a:cubicBezTo>
                    <a:pt x="220927" y="228279"/>
                    <a:pt x="221566" y="225453"/>
                    <a:pt x="221566" y="225285"/>
                  </a:cubicBezTo>
                  <a:cubicBezTo>
                    <a:pt x="221566" y="225116"/>
                    <a:pt x="222206" y="222997"/>
                    <a:pt x="222206" y="222997"/>
                  </a:cubicBezTo>
                  <a:lnTo>
                    <a:pt x="223855" y="220710"/>
                  </a:lnTo>
                  <a:lnTo>
                    <a:pt x="224662" y="219734"/>
                  </a:lnTo>
                  <a:lnTo>
                    <a:pt x="226009" y="218220"/>
                  </a:lnTo>
                  <a:cubicBezTo>
                    <a:pt x="226009" y="218220"/>
                    <a:pt x="227691" y="216538"/>
                    <a:pt x="227927" y="216437"/>
                  </a:cubicBezTo>
                  <a:cubicBezTo>
                    <a:pt x="228129" y="216336"/>
                    <a:pt x="230586" y="215529"/>
                    <a:pt x="230586" y="215529"/>
                  </a:cubicBezTo>
                  <a:cubicBezTo>
                    <a:pt x="230586" y="215529"/>
                    <a:pt x="232336" y="215395"/>
                    <a:pt x="232638" y="215395"/>
                  </a:cubicBezTo>
                  <a:cubicBezTo>
                    <a:pt x="232941" y="215395"/>
                    <a:pt x="234321" y="215395"/>
                    <a:pt x="234321" y="215395"/>
                  </a:cubicBezTo>
                  <a:lnTo>
                    <a:pt x="236441" y="215058"/>
                  </a:lnTo>
                  <a:lnTo>
                    <a:pt x="238192" y="214419"/>
                  </a:lnTo>
                  <a:cubicBezTo>
                    <a:pt x="238192" y="214419"/>
                    <a:pt x="239403" y="213174"/>
                    <a:pt x="239605" y="213174"/>
                  </a:cubicBezTo>
                  <a:cubicBezTo>
                    <a:pt x="239807" y="213174"/>
                    <a:pt x="240648" y="212132"/>
                    <a:pt x="240648" y="212132"/>
                  </a:cubicBezTo>
                  <a:cubicBezTo>
                    <a:pt x="240648" y="212132"/>
                    <a:pt x="242163" y="212199"/>
                    <a:pt x="242398" y="212132"/>
                  </a:cubicBezTo>
                  <a:cubicBezTo>
                    <a:pt x="242600" y="212064"/>
                    <a:pt x="243206" y="213444"/>
                    <a:pt x="243206" y="213444"/>
                  </a:cubicBezTo>
                  <a:lnTo>
                    <a:pt x="243710" y="214621"/>
                  </a:lnTo>
                  <a:cubicBezTo>
                    <a:pt x="243710" y="214621"/>
                    <a:pt x="245730" y="215126"/>
                    <a:pt x="246100" y="215126"/>
                  </a:cubicBezTo>
                  <a:cubicBezTo>
                    <a:pt x="246470" y="215126"/>
                    <a:pt x="247884" y="214957"/>
                    <a:pt x="247884" y="214957"/>
                  </a:cubicBezTo>
                  <a:cubicBezTo>
                    <a:pt x="247884" y="214957"/>
                    <a:pt x="248759" y="213612"/>
                    <a:pt x="248759" y="213444"/>
                  </a:cubicBezTo>
                  <a:cubicBezTo>
                    <a:pt x="248759" y="213275"/>
                    <a:pt x="248052" y="211391"/>
                    <a:pt x="247884" y="211257"/>
                  </a:cubicBezTo>
                  <a:cubicBezTo>
                    <a:pt x="247716" y="211156"/>
                    <a:pt x="246268" y="210349"/>
                    <a:pt x="246100" y="210214"/>
                  </a:cubicBezTo>
                  <a:cubicBezTo>
                    <a:pt x="245932" y="210113"/>
                    <a:pt x="243610" y="208801"/>
                    <a:pt x="243610" y="208801"/>
                  </a:cubicBezTo>
                  <a:lnTo>
                    <a:pt x="240581" y="206514"/>
                  </a:lnTo>
                  <a:cubicBezTo>
                    <a:pt x="240581" y="206514"/>
                    <a:pt x="239672" y="204596"/>
                    <a:pt x="239504" y="204495"/>
                  </a:cubicBezTo>
                  <a:cubicBezTo>
                    <a:pt x="239336" y="204394"/>
                    <a:pt x="238090" y="202376"/>
                    <a:pt x="237989" y="202208"/>
                  </a:cubicBezTo>
                  <a:cubicBezTo>
                    <a:pt x="237888" y="202040"/>
                    <a:pt x="236744" y="199988"/>
                    <a:pt x="236744" y="199752"/>
                  </a:cubicBezTo>
                  <a:cubicBezTo>
                    <a:pt x="236744" y="199550"/>
                    <a:pt x="236475" y="198070"/>
                    <a:pt x="236475" y="198070"/>
                  </a:cubicBezTo>
                  <a:cubicBezTo>
                    <a:pt x="236475" y="198070"/>
                    <a:pt x="237249" y="196926"/>
                    <a:pt x="237384" y="196926"/>
                  </a:cubicBezTo>
                  <a:cubicBezTo>
                    <a:pt x="237518" y="196926"/>
                    <a:pt x="239134" y="196388"/>
                    <a:pt x="239134" y="196388"/>
                  </a:cubicBezTo>
                  <a:lnTo>
                    <a:pt x="241287" y="196725"/>
                  </a:lnTo>
                  <a:lnTo>
                    <a:pt x="243610" y="198037"/>
                  </a:lnTo>
                  <a:lnTo>
                    <a:pt x="244821" y="199113"/>
                  </a:lnTo>
                  <a:cubicBezTo>
                    <a:pt x="244821" y="199113"/>
                    <a:pt x="248018" y="200425"/>
                    <a:pt x="248254" y="200425"/>
                  </a:cubicBezTo>
                  <a:cubicBezTo>
                    <a:pt x="248490" y="200425"/>
                    <a:pt x="249466" y="199988"/>
                    <a:pt x="249331" y="199349"/>
                  </a:cubicBezTo>
                  <a:cubicBezTo>
                    <a:pt x="249230" y="198709"/>
                    <a:pt x="248893" y="197936"/>
                    <a:pt x="248826" y="197767"/>
                  </a:cubicBezTo>
                  <a:cubicBezTo>
                    <a:pt x="248759" y="197599"/>
                    <a:pt x="248759" y="195884"/>
                    <a:pt x="248658" y="195715"/>
                  </a:cubicBezTo>
                  <a:cubicBezTo>
                    <a:pt x="248557" y="195547"/>
                    <a:pt x="247009" y="193764"/>
                    <a:pt x="247009" y="193764"/>
                  </a:cubicBezTo>
                  <a:lnTo>
                    <a:pt x="245663" y="192621"/>
                  </a:lnTo>
                  <a:cubicBezTo>
                    <a:pt x="245663" y="192621"/>
                    <a:pt x="244687" y="191309"/>
                    <a:pt x="244687" y="190770"/>
                  </a:cubicBezTo>
                  <a:cubicBezTo>
                    <a:pt x="244687" y="190232"/>
                    <a:pt x="244316" y="189425"/>
                    <a:pt x="244687" y="189358"/>
                  </a:cubicBezTo>
                  <a:cubicBezTo>
                    <a:pt x="245057" y="189290"/>
                    <a:pt x="246033" y="188920"/>
                    <a:pt x="246706" y="188752"/>
                  </a:cubicBezTo>
                  <a:cubicBezTo>
                    <a:pt x="247379" y="188584"/>
                    <a:pt x="248893" y="188416"/>
                    <a:pt x="249331" y="188416"/>
                  </a:cubicBezTo>
                  <a:cubicBezTo>
                    <a:pt x="249768" y="188416"/>
                    <a:pt x="253336" y="189660"/>
                    <a:pt x="253336" y="189660"/>
                  </a:cubicBezTo>
                  <a:cubicBezTo>
                    <a:pt x="253336" y="189660"/>
                    <a:pt x="255759" y="187676"/>
                    <a:pt x="255961" y="187743"/>
                  </a:cubicBezTo>
                  <a:cubicBezTo>
                    <a:pt x="256163" y="187810"/>
                    <a:pt x="257980" y="186734"/>
                    <a:pt x="258351" y="186296"/>
                  </a:cubicBezTo>
                  <a:cubicBezTo>
                    <a:pt x="258721" y="185859"/>
                    <a:pt x="258552" y="184110"/>
                    <a:pt x="258653" y="183168"/>
                  </a:cubicBezTo>
                  <a:cubicBezTo>
                    <a:pt x="258721" y="182226"/>
                    <a:pt x="258519" y="181284"/>
                    <a:pt x="258653" y="180645"/>
                  </a:cubicBezTo>
                  <a:cubicBezTo>
                    <a:pt x="258788" y="180006"/>
                    <a:pt x="259360" y="179064"/>
                    <a:pt x="259730" y="178626"/>
                  </a:cubicBezTo>
                  <a:cubicBezTo>
                    <a:pt x="260101" y="178189"/>
                    <a:pt x="260605" y="177180"/>
                    <a:pt x="260875" y="176945"/>
                  </a:cubicBezTo>
                  <a:cubicBezTo>
                    <a:pt x="261177" y="176709"/>
                    <a:pt x="262995" y="175801"/>
                    <a:pt x="263264" y="175633"/>
                  </a:cubicBezTo>
                  <a:cubicBezTo>
                    <a:pt x="263567" y="175498"/>
                    <a:pt x="264846" y="175767"/>
                    <a:pt x="265452" y="175633"/>
                  </a:cubicBezTo>
                  <a:cubicBezTo>
                    <a:pt x="266024" y="175498"/>
                    <a:pt x="266461" y="175935"/>
                    <a:pt x="266764" y="176137"/>
                  </a:cubicBezTo>
                  <a:cubicBezTo>
                    <a:pt x="267033" y="176339"/>
                    <a:pt x="267505" y="177584"/>
                    <a:pt x="267639" y="178660"/>
                  </a:cubicBezTo>
                  <a:cubicBezTo>
                    <a:pt x="267774" y="179737"/>
                    <a:pt x="267505" y="180544"/>
                    <a:pt x="267639" y="181620"/>
                  </a:cubicBezTo>
                  <a:cubicBezTo>
                    <a:pt x="267774" y="182697"/>
                    <a:pt x="267505" y="183639"/>
                    <a:pt x="267673" y="184076"/>
                  </a:cubicBezTo>
                  <a:cubicBezTo>
                    <a:pt x="267841" y="184513"/>
                    <a:pt x="267673" y="187205"/>
                    <a:pt x="267673" y="187205"/>
                  </a:cubicBezTo>
                  <a:cubicBezTo>
                    <a:pt x="267673" y="187205"/>
                    <a:pt x="267202" y="188651"/>
                    <a:pt x="268077" y="189526"/>
                  </a:cubicBezTo>
                  <a:cubicBezTo>
                    <a:pt x="268951" y="190400"/>
                    <a:pt x="269591" y="191981"/>
                    <a:pt x="269894" y="192419"/>
                  </a:cubicBezTo>
                  <a:cubicBezTo>
                    <a:pt x="270197" y="192856"/>
                    <a:pt x="270971" y="195312"/>
                    <a:pt x="271206" y="195379"/>
                  </a:cubicBezTo>
                  <a:cubicBezTo>
                    <a:pt x="271442" y="195446"/>
                    <a:pt x="272654" y="197633"/>
                    <a:pt x="273596" y="198003"/>
                  </a:cubicBezTo>
                  <a:cubicBezTo>
                    <a:pt x="274538" y="198373"/>
                    <a:pt x="275481" y="199819"/>
                    <a:pt x="277130" y="200694"/>
                  </a:cubicBezTo>
                  <a:cubicBezTo>
                    <a:pt x="278779" y="201569"/>
                    <a:pt x="281269" y="203284"/>
                    <a:pt x="281269" y="203284"/>
                  </a:cubicBezTo>
                  <a:lnTo>
                    <a:pt x="283423" y="204664"/>
                  </a:lnTo>
                  <a:lnTo>
                    <a:pt x="287899" y="210685"/>
                  </a:lnTo>
                  <a:lnTo>
                    <a:pt x="291231" y="214217"/>
                  </a:lnTo>
                  <a:lnTo>
                    <a:pt x="293755" y="216606"/>
                  </a:lnTo>
                  <a:lnTo>
                    <a:pt x="299847" y="219129"/>
                  </a:lnTo>
                  <a:cubicBezTo>
                    <a:pt x="299847" y="219129"/>
                    <a:pt x="305501" y="217682"/>
                    <a:pt x="305938" y="217548"/>
                  </a:cubicBezTo>
                  <a:cubicBezTo>
                    <a:pt x="306376" y="217413"/>
                    <a:pt x="310583" y="216673"/>
                    <a:pt x="310583" y="216673"/>
                  </a:cubicBezTo>
                  <a:lnTo>
                    <a:pt x="321756" y="217043"/>
                  </a:lnTo>
                  <a:lnTo>
                    <a:pt x="325087" y="217043"/>
                  </a:lnTo>
                  <a:lnTo>
                    <a:pt x="329294" y="218792"/>
                  </a:lnTo>
                  <a:lnTo>
                    <a:pt x="335218" y="218792"/>
                  </a:lnTo>
                  <a:cubicBezTo>
                    <a:pt x="335218" y="218792"/>
                    <a:pt x="337809" y="218220"/>
                    <a:pt x="338415" y="218355"/>
                  </a:cubicBezTo>
                  <a:cubicBezTo>
                    <a:pt x="338987" y="218489"/>
                    <a:pt x="340299" y="221046"/>
                    <a:pt x="340299" y="221046"/>
                  </a:cubicBezTo>
                  <a:lnTo>
                    <a:pt x="341107" y="222560"/>
                  </a:lnTo>
                  <a:lnTo>
                    <a:pt x="340299" y="22464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798" name="Freeform 904">
              <a:extLst>
                <a:ext uri="{FF2B5EF4-FFF2-40B4-BE49-F238E27FC236}">
                  <a16:creationId xmlns:a16="http://schemas.microsoft.com/office/drawing/2014/main" id="{3627D09A-D27B-5B00-36A6-63C7D6F9C436}"/>
                </a:ext>
              </a:extLst>
            </p:cNvPr>
            <p:cNvSpPr/>
            <p:nvPr/>
          </p:nvSpPr>
          <p:spPr>
            <a:xfrm>
              <a:off x="8161999" y="1795823"/>
              <a:ext cx="405919" cy="772793"/>
            </a:xfrm>
            <a:custGeom>
              <a:avLst/>
              <a:gdLst>
                <a:gd name="connsiteX0" fmla="*/ 313721 w 374366"/>
                <a:gd name="connsiteY0" fmla="*/ 500659 h 712723"/>
                <a:gd name="connsiteX1" fmla="*/ 306552 w 374366"/>
                <a:gd name="connsiteY1" fmla="*/ 495007 h 712723"/>
                <a:gd name="connsiteX2" fmla="*/ 301773 w 374366"/>
                <a:gd name="connsiteY2" fmla="*/ 490870 h 712723"/>
                <a:gd name="connsiteX3" fmla="*/ 301773 w 374366"/>
                <a:gd name="connsiteY3" fmla="*/ 486732 h 712723"/>
                <a:gd name="connsiteX4" fmla="*/ 301773 w 374366"/>
                <a:gd name="connsiteY4" fmla="*/ 482830 h 712723"/>
                <a:gd name="connsiteX5" fmla="*/ 299821 w 374366"/>
                <a:gd name="connsiteY5" fmla="*/ 480643 h 712723"/>
                <a:gd name="connsiteX6" fmla="*/ 296119 w 374366"/>
                <a:gd name="connsiteY6" fmla="*/ 476304 h 712723"/>
                <a:gd name="connsiteX7" fmla="*/ 292215 w 374366"/>
                <a:gd name="connsiteY7" fmla="*/ 472603 h 712723"/>
                <a:gd name="connsiteX8" fmla="*/ 291576 w 374366"/>
                <a:gd name="connsiteY8" fmla="*/ 469340 h 712723"/>
                <a:gd name="connsiteX9" fmla="*/ 297230 w 374366"/>
                <a:gd name="connsiteY9" fmla="*/ 467389 h 712723"/>
                <a:gd name="connsiteX10" fmla="*/ 296994 w 374366"/>
                <a:gd name="connsiteY10" fmla="*/ 466313 h 712723"/>
                <a:gd name="connsiteX11" fmla="*/ 291138 w 374366"/>
                <a:gd name="connsiteY11" fmla="*/ 462848 h 712723"/>
                <a:gd name="connsiteX12" fmla="*/ 291778 w 374366"/>
                <a:gd name="connsiteY12" fmla="*/ 459383 h 712723"/>
                <a:gd name="connsiteX13" fmla="*/ 295917 w 374366"/>
                <a:gd name="connsiteY13" fmla="*/ 457634 h 712723"/>
                <a:gd name="connsiteX14" fmla="*/ 299182 w 374366"/>
                <a:gd name="connsiteY14" fmla="*/ 455245 h 712723"/>
                <a:gd name="connsiteX15" fmla="*/ 303961 w 374366"/>
                <a:gd name="connsiteY15" fmla="*/ 455245 h 712723"/>
                <a:gd name="connsiteX16" fmla="*/ 306788 w 374366"/>
                <a:gd name="connsiteY16" fmla="*/ 451343 h 712723"/>
                <a:gd name="connsiteX17" fmla="*/ 305711 w 374366"/>
                <a:gd name="connsiteY17" fmla="*/ 449392 h 712723"/>
                <a:gd name="connsiteX18" fmla="*/ 305071 w 374366"/>
                <a:gd name="connsiteY18" fmla="*/ 446802 h 712723"/>
                <a:gd name="connsiteX19" fmla="*/ 309413 w 374366"/>
                <a:gd name="connsiteY19" fmla="*/ 445725 h 712723"/>
                <a:gd name="connsiteX20" fmla="*/ 313317 w 374366"/>
                <a:gd name="connsiteY20" fmla="*/ 444413 h 712723"/>
                <a:gd name="connsiteX21" fmla="*/ 315942 w 374366"/>
                <a:gd name="connsiteY21" fmla="*/ 444413 h 712723"/>
                <a:gd name="connsiteX22" fmla="*/ 317692 w 374366"/>
                <a:gd name="connsiteY22" fmla="*/ 444413 h 712723"/>
                <a:gd name="connsiteX23" fmla="*/ 317927 w 374366"/>
                <a:gd name="connsiteY23" fmla="*/ 441587 h 712723"/>
                <a:gd name="connsiteX24" fmla="*/ 317052 w 374366"/>
                <a:gd name="connsiteY24" fmla="*/ 437013 h 712723"/>
                <a:gd name="connsiteX25" fmla="*/ 319004 w 374366"/>
                <a:gd name="connsiteY25" fmla="*/ 430924 h 712723"/>
                <a:gd name="connsiteX26" fmla="*/ 316615 w 374366"/>
                <a:gd name="connsiteY26" fmla="*/ 429410 h 712723"/>
                <a:gd name="connsiteX27" fmla="*/ 315975 w 374366"/>
                <a:gd name="connsiteY27" fmla="*/ 423758 h 712723"/>
                <a:gd name="connsiteX28" fmla="*/ 316177 w 374366"/>
                <a:gd name="connsiteY28" fmla="*/ 418343 h 712723"/>
                <a:gd name="connsiteX29" fmla="*/ 317692 w 374366"/>
                <a:gd name="connsiteY29" fmla="*/ 414642 h 712723"/>
                <a:gd name="connsiteX30" fmla="*/ 321394 w 374366"/>
                <a:gd name="connsiteY30" fmla="*/ 410740 h 712723"/>
                <a:gd name="connsiteX31" fmla="*/ 324221 w 374366"/>
                <a:gd name="connsiteY31" fmla="*/ 405526 h 712723"/>
                <a:gd name="connsiteX32" fmla="*/ 326173 w 374366"/>
                <a:gd name="connsiteY32" fmla="*/ 399942 h 712723"/>
                <a:gd name="connsiteX33" fmla="*/ 330380 w 374366"/>
                <a:gd name="connsiteY33" fmla="*/ 395871 h 712723"/>
                <a:gd name="connsiteX34" fmla="*/ 334284 w 374366"/>
                <a:gd name="connsiteY34" fmla="*/ 393987 h 712723"/>
                <a:gd name="connsiteX35" fmla="*/ 335865 w 374366"/>
                <a:gd name="connsiteY35" fmla="*/ 391835 h 712723"/>
                <a:gd name="connsiteX36" fmla="*/ 331793 w 374366"/>
                <a:gd name="connsiteY36" fmla="*/ 387932 h 712723"/>
                <a:gd name="connsiteX37" fmla="*/ 331490 w 374366"/>
                <a:gd name="connsiteY37" fmla="*/ 384905 h 712723"/>
                <a:gd name="connsiteX38" fmla="*/ 333510 w 374366"/>
                <a:gd name="connsiteY38" fmla="*/ 381877 h 712723"/>
                <a:gd name="connsiteX39" fmla="*/ 336539 w 374366"/>
                <a:gd name="connsiteY39" fmla="*/ 379556 h 712723"/>
                <a:gd name="connsiteX40" fmla="*/ 338995 w 374366"/>
                <a:gd name="connsiteY40" fmla="*/ 376932 h 712723"/>
                <a:gd name="connsiteX41" fmla="*/ 341183 w 374366"/>
                <a:gd name="connsiteY41" fmla="*/ 375486 h 712723"/>
                <a:gd name="connsiteX42" fmla="*/ 342495 w 374366"/>
                <a:gd name="connsiteY42" fmla="*/ 372593 h 712723"/>
                <a:gd name="connsiteX43" fmla="*/ 344077 w 374366"/>
                <a:gd name="connsiteY43" fmla="*/ 368119 h 712723"/>
                <a:gd name="connsiteX44" fmla="*/ 346399 w 374366"/>
                <a:gd name="connsiteY44" fmla="*/ 364485 h 712723"/>
                <a:gd name="connsiteX45" fmla="*/ 347712 w 374366"/>
                <a:gd name="connsiteY45" fmla="*/ 358699 h 712723"/>
                <a:gd name="connsiteX46" fmla="*/ 348284 w 374366"/>
                <a:gd name="connsiteY46" fmla="*/ 355504 h 712723"/>
                <a:gd name="connsiteX47" fmla="*/ 348856 w 374366"/>
                <a:gd name="connsiteY47" fmla="*/ 352611 h 712723"/>
                <a:gd name="connsiteX48" fmla="*/ 348856 w 374366"/>
                <a:gd name="connsiteY48" fmla="*/ 350592 h 712723"/>
                <a:gd name="connsiteX49" fmla="*/ 346534 w 374366"/>
                <a:gd name="connsiteY49" fmla="*/ 347834 h 712723"/>
                <a:gd name="connsiteX50" fmla="*/ 343774 w 374366"/>
                <a:gd name="connsiteY50" fmla="*/ 345816 h 712723"/>
                <a:gd name="connsiteX51" fmla="*/ 340880 w 374366"/>
                <a:gd name="connsiteY51" fmla="*/ 344066 h 712723"/>
                <a:gd name="connsiteX52" fmla="*/ 339736 w 374366"/>
                <a:gd name="connsiteY52" fmla="*/ 344066 h 712723"/>
                <a:gd name="connsiteX53" fmla="*/ 336841 w 374366"/>
                <a:gd name="connsiteY53" fmla="*/ 342687 h 712723"/>
                <a:gd name="connsiteX54" fmla="*/ 336707 w 374366"/>
                <a:gd name="connsiteY54" fmla="*/ 340433 h 712723"/>
                <a:gd name="connsiteX55" fmla="*/ 336976 w 374366"/>
                <a:gd name="connsiteY55" fmla="*/ 338179 h 712723"/>
                <a:gd name="connsiteX56" fmla="*/ 336000 w 374366"/>
                <a:gd name="connsiteY56" fmla="*/ 336867 h 712723"/>
                <a:gd name="connsiteX57" fmla="*/ 335697 w 374366"/>
                <a:gd name="connsiteY57" fmla="*/ 334580 h 712723"/>
                <a:gd name="connsiteX58" fmla="*/ 333409 w 374366"/>
                <a:gd name="connsiteY58" fmla="*/ 331317 h 712723"/>
                <a:gd name="connsiteX59" fmla="*/ 331221 w 374366"/>
                <a:gd name="connsiteY59" fmla="*/ 329029 h 712723"/>
                <a:gd name="connsiteX60" fmla="*/ 329808 w 374366"/>
                <a:gd name="connsiteY60" fmla="*/ 327516 h 712723"/>
                <a:gd name="connsiteX61" fmla="*/ 327956 w 374366"/>
                <a:gd name="connsiteY61" fmla="*/ 325464 h 712723"/>
                <a:gd name="connsiteX62" fmla="*/ 325803 w 374366"/>
                <a:gd name="connsiteY62" fmla="*/ 322974 h 712723"/>
                <a:gd name="connsiteX63" fmla="*/ 324389 w 374366"/>
                <a:gd name="connsiteY63" fmla="*/ 320586 h 712723"/>
                <a:gd name="connsiteX64" fmla="*/ 324389 w 374366"/>
                <a:gd name="connsiteY64" fmla="*/ 316885 h 712723"/>
                <a:gd name="connsiteX65" fmla="*/ 324221 w 374366"/>
                <a:gd name="connsiteY65" fmla="*/ 313723 h 712723"/>
                <a:gd name="connsiteX66" fmla="*/ 321663 w 374366"/>
                <a:gd name="connsiteY66" fmla="*/ 311671 h 712723"/>
                <a:gd name="connsiteX67" fmla="*/ 319374 w 374366"/>
                <a:gd name="connsiteY67" fmla="*/ 308206 h 712723"/>
                <a:gd name="connsiteX68" fmla="*/ 319274 w 374366"/>
                <a:gd name="connsiteY68" fmla="*/ 305482 h 712723"/>
                <a:gd name="connsiteX69" fmla="*/ 319812 w 374366"/>
                <a:gd name="connsiteY69" fmla="*/ 302858 h 712723"/>
                <a:gd name="connsiteX70" fmla="*/ 320452 w 374366"/>
                <a:gd name="connsiteY70" fmla="*/ 301243 h 712723"/>
                <a:gd name="connsiteX71" fmla="*/ 320889 w 374366"/>
                <a:gd name="connsiteY71" fmla="*/ 297980 h 712723"/>
                <a:gd name="connsiteX72" fmla="*/ 320889 w 374366"/>
                <a:gd name="connsiteY72" fmla="*/ 295390 h 712723"/>
                <a:gd name="connsiteX73" fmla="*/ 319038 w 374366"/>
                <a:gd name="connsiteY73" fmla="*/ 294851 h 712723"/>
                <a:gd name="connsiteX74" fmla="*/ 316548 w 374366"/>
                <a:gd name="connsiteY74" fmla="*/ 295390 h 712723"/>
                <a:gd name="connsiteX75" fmla="*/ 313081 w 374366"/>
                <a:gd name="connsiteY75" fmla="*/ 295390 h 712723"/>
                <a:gd name="connsiteX76" fmla="*/ 309009 w 374366"/>
                <a:gd name="connsiteY76" fmla="*/ 290377 h 712723"/>
                <a:gd name="connsiteX77" fmla="*/ 306115 w 374366"/>
                <a:gd name="connsiteY77" fmla="*/ 290175 h 712723"/>
                <a:gd name="connsiteX78" fmla="*/ 305542 w 374366"/>
                <a:gd name="connsiteY78" fmla="*/ 290175 h 712723"/>
                <a:gd name="connsiteX79" fmla="*/ 302211 w 374366"/>
                <a:gd name="connsiteY79" fmla="*/ 291185 h 712723"/>
                <a:gd name="connsiteX80" fmla="*/ 298576 w 374366"/>
                <a:gd name="connsiteY80" fmla="*/ 290175 h 712723"/>
                <a:gd name="connsiteX81" fmla="*/ 295379 w 374366"/>
                <a:gd name="connsiteY81" fmla="*/ 287854 h 712723"/>
                <a:gd name="connsiteX82" fmla="*/ 292047 w 374366"/>
                <a:gd name="connsiteY82" fmla="*/ 285668 h 712723"/>
                <a:gd name="connsiteX83" fmla="*/ 290734 w 374366"/>
                <a:gd name="connsiteY83" fmla="*/ 282640 h 712723"/>
                <a:gd name="connsiteX84" fmla="*/ 287403 w 374366"/>
                <a:gd name="connsiteY84" fmla="*/ 277729 h 712723"/>
                <a:gd name="connsiteX85" fmla="*/ 290432 w 374366"/>
                <a:gd name="connsiteY85" fmla="*/ 273961 h 712723"/>
                <a:gd name="connsiteX86" fmla="*/ 291441 w 374366"/>
                <a:gd name="connsiteY86" fmla="*/ 270934 h 712723"/>
                <a:gd name="connsiteX87" fmla="*/ 291172 w 374366"/>
                <a:gd name="connsiteY87" fmla="*/ 268175 h 712723"/>
                <a:gd name="connsiteX88" fmla="*/ 290297 w 374366"/>
                <a:gd name="connsiteY88" fmla="*/ 264105 h 712723"/>
                <a:gd name="connsiteX89" fmla="*/ 289556 w 374366"/>
                <a:gd name="connsiteY89" fmla="*/ 258016 h 712723"/>
                <a:gd name="connsiteX90" fmla="*/ 289556 w 374366"/>
                <a:gd name="connsiteY90" fmla="*/ 253676 h 712723"/>
                <a:gd name="connsiteX91" fmla="*/ 290364 w 374366"/>
                <a:gd name="connsiteY91" fmla="*/ 249606 h 712723"/>
                <a:gd name="connsiteX92" fmla="*/ 292182 w 374366"/>
                <a:gd name="connsiteY92" fmla="*/ 246713 h 712723"/>
                <a:gd name="connsiteX93" fmla="*/ 296826 w 374366"/>
                <a:gd name="connsiteY93" fmla="*/ 243955 h 712723"/>
                <a:gd name="connsiteX94" fmla="*/ 299720 w 374366"/>
                <a:gd name="connsiteY94" fmla="*/ 242945 h 712723"/>
                <a:gd name="connsiteX95" fmla="*/ 304196 w 374366"/>
                <a:gd name="connsiteY95" fmla="*/ 241802 h 712723"/>
                <a:gd name="connsiteX96" fmla="*/ 304937 w 374366"/>
                <a:gd name="connsiteY96" fmla="*/ 239783 h 712723"/>
                <a:gd name="connsiteX97" fmla="*/ 305946 w 374366"/>
                <a:gd name="connsiteY97" fmla="*/ 236890 h 712723"/>
                <a:gd name="connsiteX98" fmla="*/ 311600 w 374366"/>
                <a:gd name="connsiteY98" fmla="*/ 233695 h 712723"/>
                <a:gd name="connsiteX99" fmla="*/ 315672 w 374366"/>
                <a:gd name="connsiteY99" fmla="*/ 230802 h 712723"/>
                <a:gd name="connsiteX100" fmla="*/ 316817 w 374366"/>
                <a:gd name="connsiteY100" fmla="*/ 225587 h 712723"/>
                <a:gd name="connsiteX101" fmla="*/ 317692 w 374366"/>
                <a:gd name="connsiteY101" fmla="*/ 222392 h 712723"/>
                <a:gd name="connsiteX102" fmla="*/ 317389 w 374366"/>
                <a:gd name="connsiteY102" fmla="*/ 220071 h 712723"/>
                <a:gd name="connsiteX103" fmla="*/ 314629 w 374366"/>
                <a:gd name="connsiteY103" fmla="*/ 216303 h 712723"/>
                <a:gd name="connsiteX104" fmla="*/ 311869 w 374366"/>
                <a:gd name="connsiteY104" fmla="*/ 213713 h 712723"/>
                <a:gd name="connsiteX105" fmla="*/ 309548 w 374366"/>
                <a:gd name="connsiteY105" fmla="*/ 210820 h 712723"/>
                <a:gd name="connsiteX106" fmla="*/ 307360 w 374366"/>
                <a:gd name="connsiteY106" fmla="*/ 207489 h 712723"/>
                <a:gd name="connsiteX107" fmla="*/ 306620 w 374366"/>
                <a:gd name="connsiteY107" fmla="*/ 204294 h 712723"/>
                <a:gd name="connsiteX108" fmla="*/ 309076 w 374366"/>
                <a:gd name="connsiteY108" fmla="*/ 201838 h 712723"/>
                <a:gd name="connsiteX109" fmla="*/ 312846 w 374366"/>
                <a:gd name="connsiteY109" fmla="*/ 198070 h 712723"/>
                <a:gd name="connsiteX110" fmla="*/ 314023 w 374366"/>
                <a:gd name="connsiteY110" fmla="*/ 195413 h 712723"/>
                <a:gd name="connsiteX111" fmla="*/ 317793 w 374366"/>
                <a:gd name="connsiteY111" fmla="*/ 194302 h 712723"/>
                <a:gd name="connsiteX112" fmla="*/ 318533 w 374366"/>
                <a:gd name="connsiteY112" fmla="*/ 193899 h 712723"/>
                <a:gd name="connsiteX113" fmla="*/ 320384 w 374366"/>
                <a:gd name="connsiteY113" fmla="*/ 192856 h 712723"/>
                <a:gd name="connsiteX114" fmla="*/ 321125 w 374366"/>
                <a:gd name="connsiteY114" fmla="*/ 190535 h 712723"/>
                <a:gd name="connsiteX115" fmla="*/ 326341 w 374366"/>
                <a:gd name="connsiteY115" fmla="*/ 187070 h 712723"/>
                <a:gd name="connsiteX116" fmla="*/ 330380 w 374366"/>
                <a:gd name="connsiteY116" fmla="*/ 184614 h 712723"/>
                <a:gd name="connsiteX117" fmla="*/ 334452 w 374366"/>
                <a:gd name="connsiteY117" fmla="*/ 185052 h 712723"/>
                <a:gd name="connsiteX118" fmla="*/ 338087 w 374366"/>
                <a:gd name="connsiteY118" fmla="*/ 188247 h 712723"/>
                <a:gd name="connsiteX119" fmla="*/ 344178 w 374366"/>
                <a:gd name="connsiteY119" fmla="*/ 194471 h 712723"/>
                <a:gd name="connsiteX120" fmla="*/ 346635 w 374366"/>
                <a:gd name="connsiteY120" fmla="*/ 194471 h 712723"/>
                <a:gd name="connsiteX121" fmla="*/ 349394 w 374366"/>
                <a:gd name="connsiteY121" fmla="*/ 191443 h 712723"/>
                <a:gd name="connsiteX122" fmla="*/ 353029 w 374366"/>
                <a:gd name="connsiteY122" fmla="*/ 190434 h 712723"/>
                <a:gd name="connsiteX123" fmla="*/ 355620 w 374366"/>
                <a:gd name="connsiteY123" fmla="*/ 188416 h 712723"/>
                <a:gd name="connsiteX124" fmla="*/ 358649 w 374366"/>
                <a:gd name="connsiteY124" fmla="*/ 185220 h 712723"/>
                <a:gd name="connsiteX125" fmla="*/ 362553 w 374366"/>
                <a:gd name="connsiteY125" fmla="*/ 183033 h 712723"/>
                <a:gd name="connsiteX126" fmla="*/ 365010 w 374366"/>
                <a:gd name="connsiteY126" fmla="*/ 182024 h 712723"/>
                <a:gd name="connsiteX127" fmla="*/ 369486 w 374366"/>
                <a:gd name="connsiteY127" fmla="*/ 179837 h 712723"/>
                <a:gd name="connsiteX128" fmla="*/ 371236 w 374366"/>
                <a:gd name="connsiteY128" fmla="*/ 179737 h 712723"/>
                <a:gd name="connsiteX129" fmla="*/ 371236 w 374366"/>
                <a:gd name="connsiteY129" fmla="*/ 177954 h 712723"/>
                <a:gd name="connsiteX130" fmla="*/ 368275 w 374366"/>
                <a:gd name="connsiteY130" fmla="*/ 174489 h 712723"/>
                <a:gd name="connsiteX131" fmla="*/ 366592 w 374366"/>
                <a:gd name="connsiteY131" fmla="*/ 170587 h 712723"/>
                <a:gd name="connsiteX132" fmla="*/ 365010 w 374366"/>
                <a:gd name="connsiteY132" fmla="*/ 166516 h 712723"/>
                <a:gd name="connsiteX133" fmla="*/ 365717 w 374366"/>
                <a:gd name="connsiteY133" fmla="*/ 165944 h 712723"/>
                <a:gd name="connsiteX134" fmla="*/ 367736 w 374366"/>
                <a:gd name="connsiteY134" fmla="*/ 164632 h 712723"/>
                <a:gd name="connsiteX135" fmla="*/ 368443 w 374366"/>
                <a:gd name="connsiteY135" fmla="*/ 162748 h 712723"/>
                <a:gd name="connsiteX136" fmla="*/ 367871 w 374366"/>
                <a:gd name="connsiteY136" fmla="*/ 160730 h 712723"/>
                <a:gd name="connsiteX137" fmla="*/ 366558 w 374366"/>
                <a:gd name="connsiteY137" fmla="*/ 158106 h 712723"/>
                <a:gd name="connsiteX138" fmla="*/ 366996 w 374366"/>
                <a:gd name="connsiteY138" fmla="*/ 155348 h 712723"/>
                <a:gd name="connsiteX139" fmla="*/ 369452 w 374366"/>
                <a:gd name="connsiteY139" fmla="*/ 154339 h 712723"/>
                <a:gd name="connsiteX140" fmla="*/ 370900 w 374366"/>
                <a:gd name="connsiteY140" fmla="*/ 153464 h 712723"/>
                <a:gd name="connsiteX141" fmla="*/ 372650 w 374366"/>
                <a:gd name="connsiteY141" fmla="*/ 147947 h 712723"/>
                <a:gd name="connsiteX142" fmla="*/ 373659 w 374366"/>
                <a:gd name="connsiteY142" fmla="*/ 145357 h 712723"/>
                <a:gd name="connsiteX143" fmla="*/ 373794 w 374366"/>
                <a:gd name="connsiteY143" fmla="*/ 143776 h 712723"/>
                <a:gd name="connsiteX144" fmla="*/ 374366 w 374366"/>
                <a:gd name="connsiteY144" fmla="*/ 139436 h 712723"/>
                <a:gd name="connsiteX145" fmla="*/ 373491 w 374366"/>
                <a:gd name="connsiteY145" fmla="*/ 136241 h 712723"/>
                <a:gd name="connsiteX146" fmla="*/ 373188 w 374366"/>
                <a:gd name="connsiteY146" fmla="*/ 134054 h 712723"/>
                <a:gd name="connsiteX147" fmla="*/ 371169 w 374366"/>
                <a:gd name="connsiteY147" fmla="*/ 131733 h 712723"/>
                <a:gd name="connsiteX148" fmla="*/ 369856 w 374366"/>
                <a:gd name="connsiteY148" fmla="*/ 129849 h 712723"/>
                <a:gd name="connsiteX149" fmla="*/ 368544 w 374366"/>
                <a:gd name="connsiteY149" fmla="*/ 129714 h 712723"/>
                <a:gd name="connsiteX150" fmla="*/ 364774 w 374366"/>
                <a:gd name="connsiteY150" fmla="*/ 128133 h 712723"/>
                <a:gd name="connsiteX151" fmla="*/ 363630 w 374366"/>
                <a:gd name="connsiteY151" fmla="*/ 125509 h 712723"/>
                <a:gd name="connsiteX152" fmla="*/ 362486 w 374366"/>
                <a:gd name="connsiteY152" fmla="*/ 124198 h 712723"/>
                <a:gd name="connsiteX153" fmla="*/ 362486 w 374366"/>
                <a:gd name="connsiteY153" fmla="*/ 120733 h 712723"/>
                <a:gd name="connsiteX154" fmla="*/ 361241 w 374366"/>
                <a:gd name="connsiteY154" fmla="*/ 117705 h 712723"/>
                <a:gd name="connsiteX155" fmla="*/ 361376 w 374366"/>
                <a:gd name="connsiteY155" fmla="*/ 116191 h 712723"/>
                <a:gd name="connsiteX156" fmla="*/ 363563 w 374366"/>
                <a:gd name="connsiteY156" fmla="*/ 112289 h 712723"/>
                <a:gd name="connsiteX157" fmla="*/ 364203 w 374366"/>
                <a:gd name="connsiteY157" fmla="*/ 111414 h 712723"/>
                <a:gd name="connsiteX158" fmla="*/ 365279 w 374366"/>
                <a:gd name="connsiteY158" fmla="*/ 108589 h 712723"/>
                <a:gd name="connsiteX159" fmla="*/ 365515 w 374366"/>
                <a:gd name="connsiteY159" fmla="*/ 105763 h 712723"/>
                <a:gd name="connsiteX160" fmla="*/ 363563 w 374366"/>
                <a:gd name="connsiteY160" fmla="*/ 102937 h 712723"/>
                <a:gd name="connsiteX161" fmla="*/ 362688 w 374366"/>
                <a:gd name="connsiteY161" fmla="*/ 101188 h 712723"/>
                <a:gd name="connsiteX162" fmla="*/ 361611 w 374366"/>
                <a:gd name="connsiteY162" fmla="*/ 100751 h 712723"/>
                <a:gd name="connsiteX163" fmla="*/ 358347 w 374366"/>
                <a:gd name="connsiteY163" fmla="*/ 100751 h 712723"/>
                <a:gd name="connsiteX164" fmla="*/ 353332 w 374366"/>
                <a:gd name="connsiteY164" fmla="*/ 100852 h 712723"/>
                <a:gd name="connsiteX165" fmla="*/ 349428 w 374366"/>
                <a:gd name="connsiteY165" fmla="*/ 100313 h 712723"/>
                <a:gd name="connsiteX166" fmla="*/ 343336 w 374366"/>
                <a:gd name="connsiteY166" fmla="*/ 99876 h 712723"/>
                <a:gd name="connsiteX167" fmla="*/ 338995 w 374366"/>
                <a:gd name="connsiteY167" fmla="*/ 98362 h 712723"/>
                <a:gd name="connsiteX168" fmla="*/ 333106 w 374366"/>
                <a:gd name="connsiteY168" fmla="*/ 95738 h 712723"/>
                <a:gd name="connsiteX169" fmla="*/ 332029 w 374366"/>
                <a:gd name="connsiteY169" fmla="*/ 93989 h 712723"/>
                <a:gd name="connsiteX170" fmla="*/ 330278 w 374366"/>
                <a:gd name="connsiteY170" fmla="*/ 92038 h 712723"/>
                <a:gd name="connsiteX171" fmla="*/ 327889 w 374366"/>
                <a:gd name="connsiteY171" fmla="*/ 92038 h 712723"/>
                <a:gd name="connsiteX172" fmla="*/ 324423 w 374366"/>
                <a:gd name="connsiteY172" fmla="*/ 91399 h 712723"/>
                <a:gd name="connsiteX173" fmla="*/ 320283 w 374366"/>
                <a:gd name="connsiteY173" fmla="*/ 88136 h 712723"/>
                <a:gd name="connsiteX174" fmla="*/ 318971 w 374366"/>
                <a:gd name="connsiteY174" fmla="*/ 83359 h 712723"/>
                <a:gd name="connsiteX175" fmla="*/ 321158 w 374366"/>
                <a:gd name="connsiteY175" fmla="*/ 77270 h 712723"/>
                <a:gd name="connsiteX176" fmla="*/ 323110 w 374366"/>
                <a:gd name="connsiteY176" fmla="*/ 75958 h 712723"/>
                <a:gd name="connsiteX177" fmla="*/ 325735 w 374366"/>
                <a:gd name="connsiteY177" fmla="*/ 76396 h 712723"/>
                <a:gd name="connsiteX178" fmla="*/ 330077 w 374366"/>
                <a:gd name="connsiteY178" fmla="*/ 77035 h 712723"/>
                <a:gd name="connsiteX179" fmla="*/ 331389 w 374366"/>
                <a:gd name="connsiteY179" fmla="*/ 75958 h 712723"/>
                <a:gd name="connsiteX180" fmla="*/ 330952 w 374366"/>
                <a:gd name="connsiteY180" fmla="*/ 71383 h 712723"/>
                <a:gd name="connsiteX181" fmla="*/ 330312 w 374366"/>
                <a:gd name="connsiteY181" fmla="*/ 65934 h 712723"/>
                <a:gd name="connsiteX182" fmla="*/ 339231 w 374366"/>
                <a:gd name="connsiteY182" fmla="*/ 65934 h 712723"/>
                <a:gd name="connsiteX183" fmla="*/ 342697 w 374366"/>
                <a:gd name="connsiteY183" fmla="*/ 63209 h 712723"/>
                <a:gd name="connsiteX184" fmla="*/ 344885 w 374366"/>
                <a:gd name="connsiteY184" fmla="*/ 61796 h 712723"/>
                <a:gd name="connsiteX185" fmla="*/ 352491 w 374366"/>
                <a:gd name="connsiteY185" fmla="*/ 60719 h 712723"/>
                <a:gd name="connsiteX186" fmla="*/ 360332 w 374366"/>
                <a:gd name="connsiteY186" fmla="*/ 57120 h 712723"/>
                <a:gd name="connsiteX187" fmla="*/ 362722 w 374366"/>
                <a:gd name="connsiteY187" fmla="*/ 55909 h 712723"/>
                <a:gd name="connsiteX188" fmla="*/ 364909 w 374366"/>
                <a:gd name="connsiteY188" fmla="*/ 54933 h 712723"/>
                <a:gd name="connsiteX189" fmla="*/ 366659 w 374366"/>
                <a:gd name="connsiteY189" fmla="*/ 52444 h 712723"/>
                <a:gd name="connsiteX190" fmla="*/ 369823 w 374366"/>
                <a:gd name="connsiteY190" fmla="*/ 51368 h 712723"/>
                <a:gd name="connsiteX191" fmla="*/ 370058 w 374366"/>
                <a:gd name="connsiteY191" fmla="*/ 50594 h 712723"/>
                <a:gd name="connsiteX192" fmla="*/ 368645 w 374366"/>
                <a:gd name="connsiteY192" fmla="*/ 48542 h 712723"/>
                <a:gd name="connsiteX193" fmla="*/ 368107 w 374366"/>
                <a:gd name="connsiteY193" fmla="*/ 48542 h 712723"/>
                <a:gd name="connsiteX194" fmla="*/ 364304 w 374366"/>
                <a:gd name="connsiteY194" fmla="*/ 48374 h 712723"/>
                <a:gd name="connsiteX195" fmla="*/ 361577 w 374366"/>
                <a:gd name="connsiteY195" fmla="*/ 47667 h 712723"/>
                <a:gd name="connsiteX196" fmla="*/ 356798 w 374366"/>
                <a:gd name="connsiteY196" fmla="*/ 47129 h 712723"/>
                <a:gd name="connsiteX197" fmla="*/ 354072 w 374366"/>
                <a:gd name="connsiteY197" fmla="*/ 47028 h 712723"/>
                <a:gd name="connsiteX198" fmla="*/ 351784 w 374366"/>
                <a:gd name="connsiteY198" fmla="*/ 47230 h 712723"/>
                <a:gd name="connsiteX199" fmla="*/ 349832 w 374366"/>
                <a:gd name="connsiteY199" fmla="*/ 43261 h 712723"/>
                <a:gd name="connsiteX200" fmla="*/ 351043 w 374366"/>
                <a:gd name="connsiteY200" fmla="*/ 39493 h 712723"/>
                <a:gd name="connsiteX201" fmla="*/ 349967 w 374366"/>
                <a:gd name="connsiteY201" fmla="*/ 34918 h 712723"/>
                <a:gd name="connsiteX202" fmla="*/ 349428 w 374366"/>
                <a:gd name="connsiteY202" fmla="*/ 29166 h 712723"/>
                <a:gd name="connsiteX203" fmla="*/ 348788 w 374366"/>
                <a:gd name="connsiteY203" fmla="*/ 26003 h 712723"/>
                <a:gd name="connsiteX204" fmla="*/ 348788 w 374366"/>
                <a:gd name="connsiteY204" fmla="*/ 23279 h 712723"/>
                <a:gd name="connsiteX205" fmla="*/ 348452 w 374366"/>
                <a:gd name="connsiteY205" fmla="*/ 21328 h 712723"/>
                <a:gd name="connsiteX206" fmla="*/ 347342 w 374366"/>
                <a:gd name="connsiteY206" fmla="*/ 18603 h 712723"/>
                <a:gd name="connsiteX207" fmla="*/ 343976 w 374366"/>
                <a:gd name="connsiteY207" fmla="*/ 15138 h 712723"/>
                <a:gd name="connsiteX208" fmla="*/ 341149 w 374366"/>
                <a:gd name="connsiteY208" fmla="*/ 13086 h 712723"/>
                <a:gd name="connsiteX209" fmla="*/ 337784 w 374366"/>
                <a:gd name="connsiteY209" fmla="*/ 10260 h 712723"/>
                <a:gd name="connsiteX210" fmla="*/ 334183 w 374366"/>
                <a:gd name="connsiteY210" fmla="*/ 7233 h 712723"/>
                <a:gd name="connsiteX211" fmla="*/ 333409 w 374366"/>
                <a:gd name="connsiteY211" fmla="*/ 4844 h 712723"/>
                <a:gd name="connsiteX212" fmla="*/ 332432 w 374366"/>
                <a:gd name="connsiteY212" fmla="*/ 1144 h 712723"/>
                <a:gd name="connsiteX213" fmla="*/ 331692 w 374366"/>
                <a:gd name="connsiteY213" fmla="*/ 0 h 712723"/>
                <a:gd name="connsiteX214" fmla="*/ 329908 w 374366"/>
                <a:gd name="connsiteY214" fmla="*/ 34 h 712723"/>
                <a:gd name="connsiteX215" fmla="*/ 328764 w 374366"/>
                <a:gd name="connsiteY215" fmla="*/ 1446 h 712723"/>
                <a:gd name="connsiteX216" fmla="*/ 326610 w 374366"/>
                <a:gd name="connsiteY216" fmla="*/ 3061 h 712723"/>
                <a:gd name="connsiteX217" fmla="*/ 326005 w 374366"/>
                <a:gd name="connsiteY217" fmla="*/ 5450 h 712723"/>
                <a:gd name="connsiteX218" fmla="*/ 326005 w 374366"/>
                <a:gd name="connsiteY218" fmla="*/ 11101 h 712723"/>
                <a:gd name="connsiteX219" fmla="*/ 326005 w 374366"/>
                <a:gd name="connsiteY219" fmla="*/ 14566 h 712723"/>
                <a:gd name="connsiteX220" fmla="*/ 326005 w 374366"/>
                <a:gd name="connsiteY220" fmla="*/ 19780 h 712723"/>
                <a:gd name="connsiteX221" fmla="*/ 322908 w 374366"/>
                <a:gd name="connsiteY221" fmla="*/ 20655 h 712723"/>
                <a:gd name="connsiteX222" fmla="*/ 320788 w 374366"/>
                <a:gd name="connsiteY222" fmla="*/ 22068 h 712723"/>
                <a:gd name="connsiteX223" fmla="*/ 320788 w 374366"/>
                <a:gd name="connsiteY223" fmla="*/ 26744 h 712723"/>
                <a:gd name="connsiteX224" fmla="*/ 318298 w 374366"/>
                <a:gd name="connsiteY224" fmla="*/ 30208 h 712723"/>
                <a:gd name="connsiteX225" fmla="*/ 312980 w 374366"/>
                <a:gd name="connsiteY225" fmla="*/ 30747 h 712723"/>
                <a:gd name="connsiteX226" fmla="*/ 310153 w 374366"/>
                <a:gd name="connsiteY226" fmla="*/ 28997 h 712723"/>
                <a:gd name="connsiteX227" fmla="*/ 307225 w 374366"/>
                <a:gd name="connsiteY227" fmla="*/ 26172 h 712723"/>
                <a:gd name="connsiteX228" fmla="*/ 305273 w 374366"/>
                <a:gd name="connsiteY228" fmla="*/ 25835 h 712723"/>
                <a:gd name="connsiteX229" fmla="*/ 303086 w 374366"/>
                <a:gd name="connsiteY229" fmla="*/ 27349 h 712723"/>
                <a:gd name="connsiteX230" fmla="*/ 301773 w 374366"/>
                <a:gd name="connsiteY230" fmla="*/ 31386 h 712723"/>
                <a:gd name="connsiteX231" fmla="*/ 298307 w 374366"/>
                <a:gd name="connsiteY231" fmla="*/ 35288 h 712723"/>
                <a:gd name="connsiteX232" fmla="*/ 295716 w 374366"/>
                <a:gd name="connsiteY232" fmla="*/ 38215 h 712723"/>
                <a:gd name="connsiteX233" fmla="*/ 293864 w 374366"/>
                <a:gd name="connsiteY233" fmla="*/ 41915 h 712723"/>
                <a:gd name="connsiteX234" fmla="*/ 291677 w 374366"/>
                <a:gd name="connsiteY234" fmla="*/ 46692 h 712723"/>
                <a:gd name="connsiteX235" fmla="*/ 287336 w 374366"/>
                <a:gd name="connsiteY235" fmla="*/ 48643 h 712723"/>
                <a:gd name="connsiteX236" fmla="*/ 284643 w 374366"/>
                <a:gd name="connsiteY236" fmla="*/ 51233 h 712723"/>
                <a:gd name="connsiteX237" fmla="*/ 281917 w 374366"/>
                <a:gd name="connsiteY237" fmla="*/ 52646 h 712723"/>
                <a:gd name="connsiteX238" fmla="*/ 277037 w 374366"/>
                <a:gd name="connsiteY238" fmla="*/ 53184 h 712723"/>
                <a:gd name="connsiteX239" fmla="*/ 270744 w 374366"/>
                <a:gd name="connsiteY239" fmla="*/ 50796 h 712723"/>
                <a:gd name="connsiteX240" fmla="*/ 263441 w 374366"/>
                <a:gd name="connsiteY240" fmla="*/ 47095 h 712723"/>
                <a:gd name="connsiteX241" fmla="*/ 260950 w 374366"/>
                <a:gd name="connsiteY241" fmla="*/ 43933 h 712723"/>
                <a:gd name="connsiteX242" fmla="*/ 256710 w 374366"/>
                <a:gd name="connsiteY242" fmla="*/ 40569 h 712723"/>
                <a:gd name="connsiteX243" fmla="*/ 252234 w 374366"/>
                <a:gd name="connsiteY243" fmla="*/ 38820 h 712723"/>
                <a:gd name="connsiteX244" fmla="*/ 245940 w 374366"/>
                <a:gd name="connsiteY244" fmla="*/ 39594 h 712723"/>
                <a:gd name="connsiteX245" fmla="*/ 242676 w 374366"/>
                <a:gd name="connsiteY245" fmla="*/ 42756 h 712723"/>
                <a:gd name="connsiteX246" fmla="*/ 239209 w 374366"/>
                <a:gd name="connsiteY246" fmla="*/ 46221 h 712723"/>
                <a:gd name="connsiteX247" fmla="*/ 237560 w 374366"/>
                <a:gd name="connsiteY247" fmla="*/ 48845 h 712723"/>
                <a:gd name="connsiteX248" fmla="*/ 233421 w 374366"/>
                <a:gd name="connsiteY248" fmla="*/ 57086 h 712723"/>
                <a:gd name="connsiteX249" fmla="*/ 230055 w 374366"/>
                <a:gd name="connsiteY249" fmla="*/ 61661 h 712723"/>
                <a:gd name="connsiteX250" fmla="*/ 226353 w 374366"/>
                <a:gd name="connsiteY250" fmla="*/ 66236 h 712723"/>
                <a:gd name="connsiteX251" fmla="*/ 222551 w 374366"/>
                <a:gd name="connsiteY251" fmla="*/ 69499 h 712723"/>
                <a:gd name="connsiteX252" fmla="*/ 217973 w 374366"/>
                <a:gd name="connsiteY252" fmla="*/ 70038 h 712723"/>
                <a:gd name="connsiteX253" fmla="*/ 213060 w 374366"/>
                <a:gd name="connsiteY253" fmla="*/ 68625 h 712723"/>
                <a:gd name="connsiteX254" fmla="*/ 206430 w 374366"/>
                <a:gd name="connsiteY254" fmla="*/ 63411 h 712723"/>
                <a:gd name="connsiteX255" fmla="*/ 199901 w 374366"/>
                <a:gd name="connsiteY255" fmla="*/ 58297 h 712723"/>
                <a:gd name="connsiteX256" fmla="*/ 195223 w 374366"/>
                <a:gd name="connsiteY256" fmla="*/ 55371 h 712723"/>
                <a:gd name="connsiteX257" fmla="*/ 189030 w 374366"/>
                <a:gd name="connsiteY257" fmla="*/ 55135 h 712723"/>
                <a:gd name="connsiteX258" fmla="*/ 182838 w 374366"/>
                <a:gd name="connsiteY258" fmla="*/ 56010 h 712723"/>
                <a:gd name="connsiteX259" fmla="*/ 176309 w 374366"/>
                <a:gd name="connsiteY259" fmla="*/ 61762 h 712723"/>
                <a:gd name="connsiteX260" fmla="*/ 169241 w 374366"/>
                <a:gd name="connsiteY260" fmla="*/ 67515 h 712723"/>
                <a:gd name="connsiteX261" fmla="*/ 163823 w 374366"/>
                <a:gd name="connsiteY261" fmla="*/ 77068 h 712723"/>
                <a:gd name="connsiteX262" fmla="*/ 159381 w 374366"/>
                <a:gd name="connsiteY262" fmla="*/ 84032 h 712723"/>
                <a:gd name="connsiteX263" fmla="*/ 156655 w 374366"/>
                <a:gd name="connsiteY263" fmla="*/ 90222 h 712723"/>
                <a:gd name="connsiteX264" fmla="*/ 152078 w 374366"/>
                <a:gd name="connsiteY264" fmla="*/ 96310 h 712723"/>
                <a:gd name="connsiteX265" fmla="*/ 150328 w 374366"/>
                <a:gd name="connsiteY265" fmla="*/ 104552 h 712723"/>
                <a:gd name="connsiteX266" fmla="*/ 150328 w 374366"/>
                <a:gd name="connsiteY266" fmla="*/ 108353 h 712723"/>
                <a:gd name="connsiteX267" fmla="*/ 149789 w 374366"/>
                <a:gd name="connsiteY267" fmla="*/ 116595 h 712723"/>
                <a:gd name="connsiteX268" fmla="*/ 148712 w 374366"/>
                <a:gd name="connsiteY268" fmla="*/ 122785 h 712723"/>
                <a:gd name="connsiteX269" fmla="*/ 146525 w 374366"/>
                <a:gd name="connsiteY269" fmla="*/ 125846 h 712723"/>
                <a:gd name="connsiteX270" fmla="*/ 143159 w 374366"/>
                <a:gd name="connsiteY270" fmla="*/ 131161 h 712723"/>
                <a:gd name="connsiteX271" fmla="*/ 137505 w 374366"/>
                <a:gd name="connsiteY271" fmla="*/ 132372 h 712723"/>
                <a:gd name="connsiteX272" fmla="*/ 123168 w 374366"/>
                <a:gd name="connsiteY272" fmla="*/ 132069 h 712723"/>
                <a:gd name="connsiteX273" fmla="*/ 112533 w 374366"/>
                <a:gd name="connsiteY273" fmla="*/ 131834 h 712723"/>
                <a:gd name="connsiteX274" fmla="*/ 106038 w 374366"/>
                <a:gd name="connsiteY274" fmla="*/ 131834 h 712723"/>
                <a:gd name="connsiteX275" fmla="*/ 102235 w 374366"/>
                <a:gd name="connsiteY275" fmla="*/ 132406 h 712723"/>
                <a:gd name="connsiteX276" fmla="*/ 97557 w 374366"/>
                <a:gd name="connsiteY276" fmla="*/ 133045 h 712723"/>
                <a:gd name="connsiteX277" fmla="*/ 100384 w 374366"/>
                <a:gd name="connsiteY277" fmla="*/ 137384 h 712723"/>
                <a:gd name="connsiteX278" fmla="*/ 102033 w 374366"/>
                <a:gd name="connsiteY278" fmla="*/ 138360 h 712723"/>
                <a:gd name="connsiteX279" fmla="*/ 104524 w 374366"/>
                <a:gd name="connsiteY279" fmla="*/ 139436 h 712723"/>
                <a:gd name="connsiteX280" fmla="*/ 104860 w 374366"/>
                <a:gd name="connsiteY280" fmla="*/ 141387 h 712723"/>
                <a:gd name="connsiteX281" fmla="*/ 104322 w 374366"/>
                <a:gd name="connsiteY281" fmla="*/ 144314 h 712723"/>
                <a:gd name="connsiteX282" fmla="*/ 103009 w 374366"/>
                <a:gd name="connsiteY282" fmla="*/ 147140 h 712723"/>
                <a:gd name="connsiteX283" fmla="*/ 101360 w 374366"/>
                <a:gd name="connsiteY283" fmla="*/ 149528 h 712723"/>
                <a:gd name="connsiteX284" fmla="*/ 98870 w 374366"/>
                <a:gd name="connsiteY284" fmla="*/ 151816 h 712723"/>
                <a:gd name="connsiteX285" fmla="*/ 95942 w 374366"/>
                <a:gd name="connsiteY285" fmla="*/ 153868 h 712723"/>
                <a:gd name="connsiteX286" fmla="*/ 95201 w 374366"/>
                <a:gd name="connsiteY286" fmla="*/ 155819 h 712723"/>
                <a:gd name="connsiteX287" fmla="*/ 95201 w 374366"/>
                <a:gd name="connsiteY287" fmla="*/ 158645 h 712723"/>
                <a:gd name="connsiteX288" fmla="*/ 92576 w 374366"/>
                <a:gd name="connsiteY288" fmla="*/ 160596 h 712723"/>
                <a:gd name="connsiteX289" fmla="*/ 87158 w 374366"/>
                <a:gd name="connsiteY289" fmla="*/ 161907 h 712723"/>
                <a:gd name="connsiteX290" fmla="*/ 83456 w 374366"/>
                <a:gd name="connsiteY290" fmla="*/ 161907 h 712723"/>
                <a:gd name="connsiteX291" fmla="*/ 79552 w 374366"/>
                <a:gd name="connsiteY291" fmla="*/ 161571 h 712723"/>
                <a:gd name="connsiteX292" fmla="*/ 76388 w 374366"/>
                <a:gd name="connsiteY292" fmla="*/ 163758 h 712723"/>
                <a:gd name="connsiteX293" fmla="*/ 77903 w 374366"/>
                <a:gd name="connsiteY293" fmla="*/ 168871 h 712723"/>
                <a:gd name="connsiteX294" fmla="*/ 82345 w 374366"/>
                <a:gd name="connsiteY294" fmla="*/ 170284 h 712723"/>
                <a:gd name="connsiteX295" fmla="*/ 85273 w 374366"/>
                <a:gd name="connsiteY295" fmla="*/ 173211 h 712723"/>
                <a:gd name="connsiteX296" fmla="*/ 87898 w 374366"/>
                <a:gd name="connsiteY296" fmla="*/ 174085 h 712723"/>
                <a:gd name="connsiteX297" fmla="*/ 88336 w 374366"/>
                <a:gd name="connsiteY297" fmla="*/ 175834 h 712723"/>
                <a:gd name="connsiteX298" fmla="*/ 81067 w 374366"/>
                <a:gd name="connsiteY298" fmla="*/ 181822 h 712723"/>
                <a:gd name="connsiteX299" fmla="*/ 80292 w 374366"/>
                <a:gd name="connsiteY299" fmla="*/ 188550 h 712723"/>
                <a:gd name="connsiteX300" fmla="*/ 80191 w 374366"/>
                <a:gd name="connsiteY300" fmla="*/ 192150 h 712723"/>
                <a:gd name="connsiteX301" fmla="*/ 79114 w 374366"/>
                <a:gd name="connsiteY301" fmla="*/ 196926 h 712723"/>
                <a:gd name="connsiteX302" fmla="*/ 77162 w 374366"/>
                <a:gd name="connsiteY302" fmla="*/ 201165 h 712723"/>
                <a:gd name="connsiteX303" fmla="*/ 74638 w 374366"/>
                <a:gd name="connsiteY303" fmla="*/ 203654 h 712723"/>
                <a:gd name="connsiteX304" fmla="*/ 71374 w 374366"/>
                <a:gd name="connsiteY304" fmla="*/ 205942 h 712723"/>
                <a:gd name="connsiteX305" fmla="*/ 69523 w 374366"/>
                <a:gd name="connsiteY305" fmla="*/ 207691 h 712723"/>
                <a:gd name="connsiteX306" fmla="*/ 67032 w 374366"/>
                <a:gd name="connsiteY306" fmla="*/ 208465 h 712723"/>
                <a:gd name="connsiteX307" fmla="*/ 64643 w 374366"/>
                <a:gd name="connsiteY307" fmla="*/ 210752 h 712723"/>
                <a:gd name="connsiteX308" fmla="*/ 64643 w 374366"/>
                <a:gd name="connsiteY308" fmla="*/ 214789 h 712723"/>
                <a:gd name="connsiteX309" fmla="*/ 66393 w 374366"/>
                <a:gd name="connsiteY309" fmla="*/ 218254 h 712723"/>
                <a:gd name="connsiteX310" fmla="*/ 65956 w 374366"/>
                <a:gd name="connsiteY310" fmla="*/ 222291 h 712723"/>
                <a:gd name="connsiteX311" fmla="*/ 64744 w 374366"/>
                <a:gd name="connsiteY311" fmla="*/ 225453 h 712723"/>
                <a:gd name="connsiteX312" fmla="*/ 63465 w 374366"/>
                <a:gd name="connsiteY312" fmla="*/ 227942 h 712723"/>
                <a:gd name="connsiteX313" fmla="*/ 63465 w 374366"/>
                <a:gd name="connsiteY313" fmla="*/ 230129 h 712723"/>
                <a:gd name="connsiteX314" fmla="*/ 61614 w 374366"/>
                <a:gd name="connsiteY314" fmla="*/ 234367 h 712723"/>
                <a:gd name="connsiteX315" fmla="*/ 59763 w 374366"/>
                <a:gd name="connsiteY315" fmla="*/ 237193 h 712723"/>
                <a:gd name="connsiteX316" fmla="*/ 57475 w 374366"/>
                <a:gd name="connsiteY316" fmla="*/ 239817 h 712723"/>
                <a:gd name="connsiteX317" fmla="*/ 56499 w 374366"/>
                <a:gd name="connsiteY317" fmla="*/ 242407 h 712723"/>
                <a:gd name="connsiteX318" fmla="*/ 56499 w 374366"/>
                <a:gd name="connsiteY318" fmla="*/ 245771 h 712723"/>
                <a:gd name="connsiteX319" fmla="*/ 56499 w 374366"/>
                <a:gd name="connsiteY319" fmla="*/ 249236 h 712723"/>
                <a:gd name="connsiteX320" fmla="*/ 55624 w 374366"/>
                <a:gd name="connsiteY320" fmla="*/ 252499 h 712723"/>
                <a:gd name="connsiteX321" fmla="*/ 55893 w 374366"/>
                <a:gd name="connsiteY321" fmla="*/ 255224 h 712723"/>
                <a:gd name="connsiteX322" fmla="*/ 54749 w 374366"/>
                <a:gd name="connsiteY322" fmla="*/ 259900 h 712723"/>
                <a:gd name="connsiteX323" fmla="*/ 54749 w 374366"/>
                <a:gd name="connsiteY323" fmla="*/ 264879 h 712723"/>
                <a:gd name="connsiteX324" fmla="*/ 53772 w 374366"/>
                <a:gd name="connsiteY324" fmla="*/ 267704 h 712723"/>
                <a:gd name="connsiteX325" fmla="*/ 51484 w 374366"/>
                <a:gd name="connsiteY325" fmla="*/ 269218 h 712723"/>
                <a:gd name="connsiteX326" fmla="*/ 48018 w 374366"/>
                <a:gd name="connsiteY326" fmla="*/ 270093 h 712723"/>
                <a:gd name="connsiteX327" fmla="*/ 45090 w 374366"/>
                <a:gd name="connsiteY327" fmla="*/ 271606 h 712723"/>
                <a:gd name="connsiteX328" fmla="*/ 43037 w 374366"/>
                <a:gd name="connsiteY328" fmla="*/ 275307 h 712723"/>
                <a:gd name="connsiteX329" fmla="*/ 41623 w 374366"/>
                <a:gd name="connsiteY329" fmla="*/ 277897 h 712723"/>
                <a:gd name="connsiteX330" fmla="*/ 40109 w 374366"/>
                <a:gd name="connsiteY330" fmla="*/ 281497 h 712723"/>
                <a:gd name="connsiteX331" fmla="*/ 37921 w 374366"/>
                <a:gd name="connsiteY331" fmla="*/ 284221 h 712723"/>
                <a:gd name="connsiteX332" fmla="*/ 33344 w 374366"/>
                <a:gd name="connsiteY332" fmla="*/ 286408 h 712723"/>
                <a:gd name="connsiteX333" fmla="*/ 31157 w 374366"/>
                <a:gd name="connsiteY333" fmla="*/ 287720 h 712723"/>
                <a:gd name="connsiteX334" fmla="*/ 29205 w 374366"/>
                <a:gd name="connsiteY334" fmla="*/ 290983 h 712723"/>
                <a:gd name="connsiteX335" fmla="*/ 24426 w 374366"/>
                <a:gd name="connsiteY335" fmla="*/ 295322 h 712723"/>
                <a:gd name="connsiteX336" fmla="*/ 23214 w 374366"/>
                <a:gd name="connsiteY336" fmla="*/ 299460 h 712723"/>
                <a:gd name="connsiteX337" fmla="*/ 22137 w 374366"/>
                <a:gd name="connsiteY337" fmla="*/ 301848 h 712723"/>
                <a:gd name="connsiteX338" fmla="*/ 19950 w 374366"/>
                <a:gd name="connsiteY338" fmla="*/ 304876 h 712723"/>
                <a:gd name="connsiteX339" fmla="*/ 19950 w 374366"/>
                <a:gd name="connsiteY339" fmla="*/ 308341 h 712723"/>
                <a:gd name="connsiteX340" fmla="*/ 22238 w 374366"/>
                <a:gd name="connsiteY340" fmla="*/ 309956 h 712723"/>
                <a:gd name="connsiteX341" fmla="*/ 22575 w 374366"/>
                <a:gd name="connsiteY341" fmla="*/ 312781 h 712723"/>
                <a:gd name="connsiteX342" fmla="*/ 20724 w 374366"/>
                <a:gd name="connsiteY342" fmla="*/ 315069 h 712723"/>
                <a:gd name="connsiteX343" fmla="*/ 19950 w 374366"/>
                <a:gd name="connsiteY343" fmla="*/ 318332 h 712723"/>
                <a:gd name="connsiteX344" fmla="*/ 19950 w 374366"/>
                <a:gd name="connsiteY344" fmla="*/ 320485 h 712723"/>
                <a:gd name="connsiteX345" fmla="*/ 19950 w 374366"/>
                <a:gd name="connsiteY345" fmla="*/ 321797 h 712723"/>
                <a:gd name="connsiteX346" fmla="*/ 18873 w 374366"/>
                <a:gd name="connsiteY346" fmla="*/ 324084 h 712723"/>
                <a:gd name="connsiteX347" fmla="*/ 20926 w 374366"/>
                <a:gd name="connsiteY347" fmla="*/ 326910 h 712723"/>
                <a:gd name="connsiteX348" fmla="*/ 23416 w 374366"/>
                <a:gd name="connsiteY348" fmla="*/ 328525 h 712723"/>
                <a:gd name="connsiteX349" fmla="*/ 25705 w 374366"/>
                <a:gd name="connsiteY349" fmla="*/ 330039 h 712723"/>
                <a:gd name="connsiteX350" fmla="*/ 28733 w 374366"/>
                <a:gd name="connsiteY350" fmla="*/ 333402 h 712723"/>
                <a:gd name="connsiteX351" fmla="*/ 30147 w 374366"/>
                <a:gd name="connsiteY351" fmla="*/ 334815 h 712723"/>
                <a:gd name="connsiteX352" fmla="*/ 32267 w 374366"/>
                <a:gd name="connsiteY352" fmla="*/ 337540 h 712723"/>
                <a:gd name="connsiteX353" fmla="*/ 33849 w 374366"/>
                <a:gd name="connsiteY353" fmla="*/ 340366 h 712723"/>
                <a:gd name="connsiteX354" fmla="*/ 33849 w 374366"/>
                <a:gd name="connsiteY354" fmla="*/ 343091 h 712723"/>
                <a:gd name="connsiteX355" fmla="*/ 34186 w 374366"/>
                <a:gd name="connsiteY355" fmla="*/ 344705 h 712723"/>
                <a:gd name="connsiteX356" fmla="*/ 36912 w 374366"/>
                <a:gd name="connsiteY356" fmla="*/ 345580 h 712723"/>
                <a:gd name="connsiteX357" fmla="*/ 38224 w 374366"/>
                <a:gd name="connsiteY357" fmla="*/ 346354 h 712723"/>
                <a:gd name="connsiteX358" fmla="*/ 39200 w 374366"/>
                <a:gd name="connsiteY358" fmla="*/ 347666 h 712723"/>
                <a:gd name="connsiteX359" fmla="*/ 41590 w 374366"/>
                <a:gd name="connsiteY359" fmla="*/ 348877 h 712723"/>
                <a:gd name="connsiteX360" fmla="*/ 44517 w 374366"/>
                <a:gd name="connsiteY360" fmla="*/ 351265 h 712723"/>
                <a:gd name="connsiteX361" fmla="*/ 44316 w 374366"/>
                <a:gd name="connsiteY361" fmla="*/ 352342 h 712723"/>
                <a:gd name="connsiteX362" fmla="*/ 42566 w 374366"/>
                <a:gd name="connsiteY362" fmla="*/ 353754 h 712723"/>
                <a:gd name="connsiteX363" fmla="*/ 41253 w 374366"/>
                <a:gd name="connsiteY363" fmla="*/ 354528 h 712723"/>
                <a:gd name="connsiteX364" fmla="*/ 40816 w 374366"/>
                <a:gd name="connsiteY364" fmla="*/ 357623 h 712723"/>
                <a:gd name="connsiteX365" fmla="*/ 40816 w 374366"/>
                <a:gd name="connsiteY365" fmla="*/ 358767 h 712723"/>
                <a:gd name="connsiteX366" fmla="*/ 44585 w 374366"/>
                <a:gd name="connsiteY366" fmla="*/ 360079 h 712723"/>
                <a:gd name="connsiteX367" fmla="*/ 47345 w 374366"/>
                <a:gd name="connsiteY367" fmla="*/ 361525 h 712723"/>
                <a:gd name="connsiteX368" fmla="*/ 46167 w 374366"/>
                <a:gd name="connsiteY368" fmla="*/ 363543 h 712723"/>
                <a:gd name="connsiteX369" fmla="*/ 44585 w 374366"/>
                <a:gd name="connsiteY369" fmla="*/ 365730 h 712723"/>
                <a:gd name="connsiteX370" fmla="*/ 44013 w 374366"/>
                <a:gd name="connsiteY370" fmla="*/ 368320 h 712723"/>
                <a:gd name="connsiteX371" fmla="*/ 47479 w 374366"/>
                <a:gd name="connsiteY371" fmla="*/ 372525 h 712723"/>
                <a:gd name="connsiteX372" fmla="*/ 46739 w 374366"/>
                <a:gd name="connsiteY372" fmla="*/ 376865 h 712723"/>
                <a:gd name="connsiteX373" fmla="*/ 45292 w 374366"/>
                <a:gd name="connsiteY373" fmla="*/ 379320 h 712723"/>
                <a:gd name="connsiteX374" fmla="*/ 42397 w 374366"/>
                <a:gd name="connsiteY374" fmla="*/ 381642 h 712723"/>
                <a:gd name="connsiteX375" fmla="*/ 39368 w 374366"/>
                <a:gd name="connsiteY375" fmla="*/ 382214 h 712723"/>
                <a:gd name="connsiteX376" fmla="*/ 36339 w 374366"/>
                <a:gd name="connsiteY376" fmla="*/ 386284 h 712723"/>
                <a:gd name="connsiteX377" fmla="*/ 33277 w 374366"/>
                <a:gd name="connsiteY377" fmla="*/ 388302 h 712723"/>
                <a:gd name="connsiteX378" fmla="*/ 33008 w 374366"/>
                <a:gd name="connsiteY378" fmla="*/ 390892 h 712723"/>
                <a:gd name="connsiteX379" fmla="*/ 35902 w 374366"/>
                <a:gd name="connsiteY379" fmla="*/ 395972 h 712723"/>
                <a:gd name="connsiteX380" fmla="*/ 37921 w 374366"/>
                <a:gd name="connsiteY380" fmla="*/ 397587 h 712723"/>
                <a:gd name="connsiteX381" fmla="*/ 38224 w 374366"/>
                <a:gd name="connsiteY381" fmla="*/ 402061 h 712723"/>
                <a:gd name="connsiteX382" fmla="*/ 37349 w 374366"/>
                <a:gd name="connsiteY382" fmla="*/ 404819 h 712723"/>
                <a:gd name="connsiteX383" fmla="*/ 34724 w 374366"/>
                <a:gd name="connsiteY383" fmla="*/ 407275 h 712723"/>
                <a:gd name="connsiteX384" fmla="*/ 32839 w 374366"/>
                <a:gd name="connsiteY384" fmla="*/ 411345 h 712723"/>
                <a:gd name="connsiteX385" fmla="*/ 26310 w 374366"/>
                <a:gd name="connsiteY385" fmla="*/ 416257 h 712723"/>
                <a:gd name="connsiteX386" fmla="*/ 22979 w 374366"/>
                <a:gd name="connsiteY386" fmla="*/ 421606 h 712723"/>
                <a:gd name="connsiteX387" fmla="*/ 20522 w 374366"/>
                <a:gd name="connsiteY387" fmla="*/ 425945 h 712723"/>
                <a:gd name="connsiteX388" fmla="*/ 19007 w 374366"/>
                <a:gd name="connsiteY388" fmla="*/ 428973 h 712723"/>
                <a:gd name="connsiteX389" fmla="*/ 14733 w 374366"/>
                <a:gd name="connsiteY389" fmla="*/ 430419 h 712723"/>
                <a:gd name="connsiteX390" fmla="*/ 14733 w 374366"/>
                <a:gd name="connsiteY390" fmla="*/ 433447 h 712723"/>
                <a:gd name="connsiteX391" fmla="*/ 15743 w 374366"/>
                <a:gd name="connsiteY391" fmla="*/ 434019 h 712723"/>
                <a:gd name="connsiteX392" fmla="*/ 16180 w 374366"/>
                <a:gd name="connsiteY392" fmla="*/ 436205 h 712723"/>
                <a:gd name="connsiteX393" fmla="*/ 14733 w 374366"/>
                <a:gd name="connsiteY393" fmla="*/ 437954 h 712723"/>
                <a:gd name="connsiteX394" fmla="*/ 11031 w 374366"/>
                <a:gd name="connsiteY394" fmla="*/ 438526 h 712723"/>
                <a:gd name="connsiteX395" fmla="*/ 9517 w 374366"/>
                <a:gd name="connsiteY395" fmla="*/ 440410 h 712723"/>
                <a:gd name="connsiteX396" fmla="*/ 9517 w 374366"/>
                <a:gd name="connsiteY396" fmla="*/ 443875 h 712723"/>
                <a:gd name="connsiteX397" fmla="*/ 10392 w 374366"/>
                <a:gd name="connsiteY397" fmla="*/ 448955 h 712723"/>
                <a:gd name="connsiteX398" fmla="*/ 11704 w 374366"/>
                <a:gd name="connsiteY398" fmla="*/ 451713 h 712723"/>
                <a:gd name="connsiteX399" fmla="*/ 10560 w 374366"/>
                <a:gd name="connsiteY399" fmla="*/ 453159 h 712723"/>
                <a:gd name="connsiteX400" fmla="*/ 11704 w 374366"/>
                <a:gd name="connsiteY400" fmla="*/ 454909 h 712723"/>
                <a:gd name="connsiteX401" fmla="*/ 12714 w 374366"/>
                <a:gd name="connsiteY401" fmla="*/ 456221 h 712723"/>
                <a:gd name="connsiteX402" fmla="*/ 13421 w 374366"/>
                <a:gd name="connsiteY402" fmla="*/ 458239 h 712723"/>
                <a:gd name="connsiteX403" fmla="*/ 11839 w 374366"/>
                <a:gd name="connsiteY403" fmla="*/ 460426 h 712723"/>
                <a:gd name="connsiteX404" fmla="*/ 9517 w 374366"/>
                <a:gd name="connsiteY404" fmla="*/ 461435 h 712723"/>
                <a:gd name="connsiteX405" fmla="*/ 9517 w 374366"/>
                <a:gd name="connsiteY405" fmla="*/ 463016 h 712723"/>
                <a:gd name="connsiteX406" fmla="*/ 11974 w 374366"/>
                <a:gd name="connsiteY406" fmla="*/ 463016 h 712723"/>
                <a:gd name="connsiteX407" fmla="*/ 13858 w 374366"/>
                <a:gd name="connsiteY407" fmla="*/ 465909 h 712723"/>
                <a:gd name="connsiteX408" fmla="*/ 15608 w 374366"/>
                <a:gd name="connsiteY408" fmla="*/ 465909 h 712723"/>
                <a:gd name="connsiteX409" fmla="*/ 15743 w 374366"/>
                <a:gd name="connsiteY409" fmla="*/ 468667 h 712723"/>
                <a:gd name="connsiteX410" fmla="*/ 15036 w 374366"/>
                <a:gd name="connsiteY410" fmla="*/ 470988 h 712723"/>
                <a:gd name="connsiteX411" fmla="*/ 14026 w 374366"/>
                <a:gd name="connsiteY411" fmla="*/ 472872 h 712723"/>
                <a:gd name="connsiteX412" fmla="*/ 12209 w 374366"/>
                <a:gd name="connsiteY412" fmla="*/ 474016 h 712723"/>
                <a:gd name="connsiteX413" fmla="*/ 11267 w 374366"/>
                <a:gd name="connsiteY413" fmla="*/ 475765 h 712723"/>
                <a:gd name="connsiteX414" fmla="*/ 11267 w 374366"/>
                <a:gd name="connsiteY414" fmla="*/ 476909 h 712723"/>
                <a:gd name="connsiteX415" fmla="*/ 13152 w 374366"/>
                <a:gd name="connsiteY415" fmla="*/ 478356 h 712723"/>
                <a:gd name="connsiteX416" fmla="*/ 15036 w 374366"/>
                <a:gd name="connsiteY416" fmla="*/ 480811 h 712723"/>
                <a:gd name="connsiteX417" fmla="*/ 17628 w 374366"/>
                <a:gd name="connsiteY417" fmla="*/ 484713 h 712723"/>
                <a:gd name="connsiteX418" fmla="*/ 18940 w 374366"/>
                <a:gd name="connsiteY418" fmla="*/ 488178 h 712723"/>
                <a:gd name="connsiteX419" fmla="*/ 19950 w 374366"/>
                <a:gd name="connsiteY419" fmla="*/ 489759 h 712723"/>
                <a:gd name="connsiteX420" fmla="*/ 19950 w 374366"/>
                <a:gd name="connsiteY420" fmla="*/ 492518 h 712723"/>
                <a:gd name="connsiteX421" fmla="*/ 19075 w 374366"/>
                <a:gd name="connsiteY421" fmla="*/ 494839 h 712723"/>
                <a:gd name="connsiteX422" fmla="*/ 18368 w 374366"/>
                <a:gd name="connsiteY422" fmla="*/ 497598 h 712723"/>
                <a:gd name="connsiteX423" fmla="*/ 17358 w 374366"/>
                <a:gd name="connsiteY423" fmla="*/ 499481 h 712723"/>
                <a:gd name="connsiteX424" fmla="*/ 16786 w 374366"/>
                <a:gd name="connsiteY424" fmla="*/ 502072 h 712723"/>
                <a:gd name="connsiteX425" fmla="*/ 16652 w 374366"/>
                <a:gd name="connsiteY425" fmla="*/ 503518 h 712723"/>
                <a:gd name="connsiteX426" fmla="*/ 17392 w 374366"/>
                <a:gd name="connsiteY426" fmla="*/ 505402 h 712723"/>
                <a:gd name="connsiteX427" fmla="*/ 17964 w 374366"/>
                <a:gd name="connsiteY427" fmla="*/ 508598 h 712723"/>
                <a:gd name="connsiteX428" fmla="*/ 18267 w 374366"/>
                <a:gd name="connsiteY428" fmla="*/ 512365 h 712723"/>
                <a:gd name="connsiteX429" fmla="*/ 18570 w 374366"/>
                <a:gd name="connsiteY429" fmla="*/ 515998 h 712723"/>
                <a:gd name="connsiteX430" fmla="*/ 18132 w 374366"/>
                <a:gd name="connsiteY430" fmla="*/ 519901 h 712723"/>
                <a:gd name="connsiteX431" fmla="*/ 17695 w 374366"/>
                <a:gd name="connsiteY431" fmla="*/ 525552 h 712723"/>
                <a:gd name="connsiteX432" fmla="*/ 16820 w 374366"/>
                <a:gd name="connsiteY432" fmla="*/ 527436 h 712723"/>
                <a:gd name="connsiteX433" fmla="*/ 16248 w 374366"/>
                <a:gd name="connsiteY433" fmla="*/ 530766 h 712723"/>
                <a:gd name="connsiteX434" fmla="*/ 16685 w 374366"/>
                <a:gd name="connsiteY434" fmla="*/ 535980 h 712723"/>
                <a:gd name="connsiteX435" fmla="*/ 16954 w 374366"/>
                <a:gd name="connsiteY435" fmla="*/ 541632 h 712723"/>
                <a:gd name="connsiteX436" fmla="*/ 18974 w 374366"/>
                <a:gd name="connsiteY436" fmla="*/ 544962 h 712723"/>
                <a:gd name="connsiteX437" fmla="*/ 20555 w 374366"/>
                <a:gd name="connsiteY437" fmla="*/ 548595 h 712723"/>
                <a:gd name="connsiteX438" fmla="*/ 21700 w 374366"/>
                <a:gd name="connsiteY438" fmla="*/ 553944 h 712723"/>
                <a:gd name="connsiteX439" fmla="*/ 20825 w 374366"/>
                <a:gd name="connsiteY439" fmla="*/ 558283 h 712723"/>
                <a:gd name="connsiteX440" fmla="*/ 21397 w 374366"/>
                <a:gd name="connsiteY440" fmla="*/ 565381 h 712723"/>
                <a:gd name="connsiteX441" fmla="*/ 26479 w 374366"/>
                <a:gd name="connsiteY441" fmla="*/ 571739 h 712723"/>
                <a:gd name="connsiteX442" fmla="*/ 28801 w 374366"/>
                <a:gd name="connsiteY442" fmla="*/ 574498 h 712723"/>
                <a:gd name="connsiteX443" fmla="*/ 30383 w 374366"/>
                <a:gd name="connsiteY443" fmla="*/ 582302 h 712723"/>
                <a:gd name="connsiteX444" fmla="*/ 30383 w 374366"/>
                <a:gd name="connsiteY444" fmla="*/ 586373 h 712723"/>
                <a:gd name="connsiteX445" fmla="*/ 31392 w 374366"/>
                <a:gd name="connsiteY445" fmla="*/ 591015 h 712723"/>
                <a:gd name="connsiteX446" fmla="*/ 30820 w 374366"/>
                <a:gd name="connsiteY446" fmla="*/ 596666 h 712723"/>
                <a:gd name="connsiteX447" fmla="*/ 29070 w 374366"/>
                <a:gd name="connsiteY447" fmla="*/ 600871 h 712723"/>
                <a:gd name="connsiteX448" fmla="*/ 27623 w 374366"/>
                <a:gd name="connsiteY448" fmla="*/ 605951 h 712723"/>
                <a:gd name="connsiteX449" fmla="*/ 25738 w 374366"/>
                <a:gd name="connsiteY449" fmla="*/ 609718 h 712723"/>
                <a:gd name="connsiteX450" fmla="*/ 23147 w 374366"/>
                <a:gd name="connsiteY450" fmla="*/ 613923 h 712723"/>
                <a:gd name="connsiteX451" fmla="*/ 22575 w 374366"/>
                <a:gd name="connsiteY451" fmla="*/ 619878 h 712723"/>
                <a:gd name="connsiteX452" fmla="*/ 18233 w 374366"/>
                <a:gd name="connsiteY452" fmla="*/ 625092 h 712723"/>
                <a:gd name="connsiteX453" fmla="*/ 14901 w 374366"/>
                <a:gd name="connsiteY453" fmla="*/ 629869 h 712723"/>
                <a:gd name="connsiteX454" fmla="*/ 12714 w 374366"/>
                <a:gd name="connsiteY454" fmla="*/ 633199 h 712723"/>
                <a:gd name="connsiteX455" fmla="*/ 9517 w 374366"/>
                <a:gd name="connsiteY455" fmla="*/ 637101 h 712723"/>
                <a:gd name="connsiteX456" fmla="*/ 7767 w 374366"/>
                <a:gd name="connsiteY456" fmla="*/ 639994 h 712723"/>
                <a:gd name="connsiteX457" fmla="*/ 7767 w 374366"/>
                <a:gd name="connsiteY457" fmla="*/ 645511 h 712723"/>
                <a:gd name="connsiteX458" fmla="*/ 7767 w 374366"/>
                <a:gd name="connsiteY458" fmla="*/ 649413 h 712723"/>
                <a:gd name="connsiteX459" fmla="*/ 7767 w 374366"/>
                <a:gd name="connsiteY459" fmla="*/ 654762 h 712723"/>
                <a:gd name="connsiteX460" fmla="*/ 6757 w 374366"/>
                <a:gd name="connsiteY460" fmla="*/ 657218 h 712723"/>
                <a:gd name="connsiteX461" fmla="*/ 6017 w 374366"/>
                <a:gd name="connsiteY461" fmla="*/ 660851 h 712723"/>
                <a:gd name="connsiteX462" fmla="*/ 3695 w 374366"/>
                <a:gd name="connsiteY462" fmla="*/ 664753 h 712723"/>
                <a:gd name="connsiteX463" fmla="*/ 1877 w 374366"/>
                <a:gd name="connsiteY463" fmla="*/ 668083 h 712723"/>
                <a:gd name="connsiteX464" fmla="*/ 800 w 374366"/>
                <a:gd name="connsiteY464" fmla="*/ 672154 h 712723"/>
                <a:gd name="connsiteX465" fmla="*/ 800 w 374366"/>
                <a:gd name="connsiteY465" fmla="*/ 680261 h 712723"/>
                <a:gd name="connsiteX466" fmla="*/ 1810 w 374366"/>
                <a:gd name="connsiteY466" fmla="*/ 682851 h 712723"/>
                <a:gd name="connsiteX467" fmla="*/ 194 w 374366"/>
                <a:gd name="connsiteY467" fmla="*/ 689814 h 712723"/>
                <a:gd name="connsiteX468" fmla="*/ 194 w 374366"/>
                <a:gd name="connsiteY468" fmla="*/ 700680 h 712723"/>
                <a:gd name="connsiteX469" fmla="*/ 935 w 374366"/>
                <a:gd name="connsiteY469" fmla="*/ 706634 h 712723"/>
                <a:gd name="connsiteX470" fmla="*/ 2820 w 374366"/>
                <a:gd name="connsiteY470" fmla="*/ 710267 h 712723"/>
                <a:gd name="connsiteX471" fmla="*/ 9147 w 374366"/>
                <a:gd name="connsiteY471" fmla="*/ 712723 h 712723"/>
                <a:gd name="connsiteX472" fmla="*/ 9147 w 374366"/>
                <a:gd name="connsiteY472" fmla="*/ 712723 h 712723"/>
                <a:gd name="connsiteX473" fmla="*/ 9921 w 374366"/>
                <a:gd name="connsiteY473" fmla="*/ 712420 h 712723"/>
                <a:gd name="connsiteX474" fmla="*/ 15575 w 374366"/>
                <a:gd name="connsiteY474" fmla="*/ 712420 h 712723"/>
                <a:gd name="connsiteX475" fmla="*/ 17325 w 374366"/>
                <a:gd name="connsiteY475" fmla="*/ 712420 h 712723"/>
                <a:gd name="connsiteX476" fmla="*/ 22541 w 374366"/>
                <a:gd name="connsiteY476" fmla="*/ 712420 h 712723"/>
                <a:gd name="connsiteX477" fmla="*/ 28061 w 374366"/>
                <a:gd name="connsiteY477" fmla="*/ 712420 h 712723"/>
                <a:gd name="connsiteX478" fmla="*/ 34590 w 374366"/>
                <a:gd name="connsiteY478" fmla="*/ 712420 h 712723"/>
                <a:gd name="connsiteX479" fmla="*/ 39671 w 374366"/>
                <a:gd name="connsiteY479" fmla="*/ 712218 h 712723"/>
                <a:gd name="connsiteX480" fmla="*/ 46200 w 374366"/>
                <a:gd name="connsiteY480" fmla="*/ 709359 h 712723"/>
                <a:gd name="connsiteX481" fmla="*/ 48522 w 374366"/>
                <a:gd name="connsiteY481" fmla="*/ 707341 h 712723"/>
                <a:gd name="connsiteX482" fmla="*/ 51720 w 374366"/>
                <a:gd name="connsiteY482" fmla="*/ 705019 h 712723"/>
                <a:gd name="connsiteX483" fmla="*/ 53470 w 374366"/>
                <a:gd name="connsiteY483" fmla="*/ 702261 h 712723"/>
                <a:gd name="connsiteX484" fmla="*/ 55657 w 374366"/>
                <a:gd name="connsiteY484" fmla="*/ 698493 h 712723"/>
                <a:gd name="connsiteX485" fmla="*/ 57239 w 374366"/>
                <a:gd name="connsiteY485" fmla="*/ 698493 h 712723"/>
                <a:gd name="connsiteX486" fmla="*/ 61446 w 374366"/>
                <a:gd name="connsiteY486" fmla="*/ 697787 h 712723"/>
                <a:gd name="connsiteX487" fmla="*/ 65383 w 374366"/>
                <a:gd name="connsiteY487" fmla="*/ 697787 h 712723"/>
                <a:gd name="connsiteX488" fmla="*/ 67975 w 374366"/>
                <a:gd name="connsiteY488" fmla="*/ 697787 h 712723"/>
                <a:gd name="connsiteX489" fmla="*/ 71172 w 374366"/>
                <a:gd name="connsiteY489" fmla="*/ 696643 h 712723"/>
                <a:gd name="connsiteX490" fmla="*/ 74504 w 374366"/>
                <a:gd name="connsiteY490" fmla="*/ 695062 h 712723"/>
                <a:gd name="connsiteX491" fmla="*/ 78139 w 374366"/>
                <a:gd name="connsiteY491" fmla="*/ 691295 h 712723"/>
                <a:gd name="connsiteX492" fmla="*/ 82917 w 374366"/>
                <a:gd name="connsiteY492" fmla="*/ 688704 h 712723"/>
                <a:gd name="connsiteX493" fmla="*/ 87831 w 374366"/>
                <a:gd name="connsiteY493" fmla="*/ 688132 h 712723"/>
                <a:gd name="connsiteX494" fmla="*/ 95639 w 374366"/>
                <a:gd name="connsiteY494" fmla="*/ 688132 h 712723"/>
                <a:gd name="connsiteX495" fmla="*/ 99577 w 374366"/>
                <a:gd name="connsiteY495" fmla="*/ 687426 h 712723"/>
                <a:gd name="connsiteX496" fmla="*/ 105230 w 374366"/>
                <a:gd name="connsiteY496" fmla="*/ 685542 h 712723"/>
                <a:gd name="connsiteX497" fmla="*/ 106812 w 374366"/>
                <a:gd name="connsiteY497" fmla="*/ 684667 h 712723"/>
                <a:gd name="connsiteX498" fmla="*/ 110009 w 374366"/>
                <a:gd name="connsiteY498" fmla="*/ 685037 h 712723"/>
                <a:gd name="connsiteX499" fmla="*/ 114216 w 374366"/>
                <a:gd name="connsiteY499" fmla="*/ 684667 h 712723"/>
                <a:gd name="connsiteX500" fmla="*/ 114788 w 374366"/>
                <a:gd name="connsiteY500" fmla="*/ 684667 h 712723"/>
                <a:gd name="connsiteX501" fmla="*/ 118692 w 374366"/>
                <a:gd name="connsiteY501" fmla="*/ 681909 h 712723"/>
                <a:gd name="connsiteX502" fmla="*/ 119836 w 374366"/>
                <a:gd name="connsiteY502" fmla="*/ 681169 h 712723"/>
                <a:gd name="connsiteX503" fmla="*/ 122293 w 374366"/>
                <a:gd name="connsiteY503" fmla="*/ 679588 h 712723"/>
                <a:gd name="connsiteX504" fmla="*/ 123942 w 374366"/>
                <a:gd name="connsiteY504" fmla="*/ 678007 h 712723"/>
                <a:gd name="connsiteX505" fmla="*/ 124313 w 374366"/>
                <a:gd name="connsiteY505" fmla="*/ 675988 h 712723"/>
                <a:gd name="connsiteX506" fmla="*/ 124313 w 374366"/>
                <a:gd name="connsiteY506" fmla="*/ 673365 h 712723"/>
                <a:gd name="connsiteX507" fmla="*/ 126500 w 374366"/>
                <a:gd name="connsiteY507" fmla="*/ 671783 h 712723"/>
                <a:gd name="connsiteX508" fmla="*/ 128519 w 374366"/>
                <a:gd name="connsiteY508" fmla="*/ 670034 h 712723"/>
                <a:gd name="connsiteX509" fmla="*/ 129529 w 374366"/>
                <a:gd name="connsiteY509" fmla="*/ 668722 h 712723"/>
                <a:gd name="connsiteX510" fmla="*/ 131986 w 374366"/>
                <a:gd name="connsiteY510" fmla="*/ 666973 h 712723"/>
                <a:gd name="connsiteX511" fmla="*/ 134745 w 374366"/>
                <a:gd name="connsiteY511" fmla="*/ 664517 h 712723"/>
                <a:gd name="connsiteX512" fmla="*/ 136933 w 374366"/>
                <a:gd name="connsiteY512" fmla="*/ 662331 h 712723"/>
                <a:gd name="connsiteX513" fmla="*/ 138952 w 374366"/>
                <a:gd name="connsiteY513" fmla="*/ 660582 h 712723"/>
                <a:gd name="connsiteX514" fmla="*/ 143159 w 374366"/>
                <a:gd name="connsiteY514" fmla="*/ 655502 h 712723"/>
                <a:gd name="connsiteX515" fmla="*/ 147366 w 374366"/>
                <a:gd name="connsiteY515" fmla="*/ 652878 h 712723"/>
                <a:gd name="connsiteX516" fmla="*/ 153154 w 374366"/>
                <a:gd name="connsiteY516" fmla="*/ 651566 h 712723"/>
                <a:gd name="connsiteX517" fmla="*/ 158236 w 374366"/>
                <a:gd name="connsiteY517" fmla="*/ 651566 h 712723"/>
                <a:gd name="connsiteX518" fmla="*/ 161568 w 374366"/>
                <a:gd name="connsiteY518" fmla="*/ 652138 h 712723"/>
                <a:gd name="connsiteX519" fmla="*/ 164328 w 374366"/>
                <a:gd name="connsiteY519" fmla="*/ 653282 h 712723"/>
                <a:gd name="connsiteX520" fmla="*/ 166583 w 374366"/>
                <a:gd name="connsiteY520" fmla="*/ 653147 h 712723"/>
                <a:gd name="connsiteX521" fmla="*/ 167828 w 374366"/>
                <a:gd name="connsiteY521" fmla="*/ 651566 h 712723"/>
                <a:gd name="connsiteX522" fmla="*/ 167828 w 374366"/>
                <a:gd name="connsiteY522" fmla="*/ 648942 h 712723"/>
                <a:gd name="connsiteX523" fmla="*/ 166953 w 374366"/>
                <a:gd name="connsiteY523" fmla="*/ 645612 h 712723"/>
                <a:gd name="connsiteX524" fmla="*/ 166078 w 374366"/>
                <a:gd name="connsiteY524" fmla="*/ 643425 h 712723"/>
                <a:gd name="connsiteX525" fmla="*/ 165001 w 374366"/>
                <a:gd name="connsiteY525" fmla="*/ 641541 h 712723"/>
                <a:gd name="connsiteX526" fmla="*/ 164362 w 374366"/>
                <a:gd name="connsiteY526" fmla="*/ 639220 h 712723"/>
                <a:gd name="connsiteX527" fmla="*/ 164362 w 374366"/>
                <a:gd name="connsiteY527" fmla="*/ 638480 h 712723"/>
                <a:gd name="connsiteX528" fmla="*/ 165371 w 374366"/>
                <a:gd name="connsiteY528" fmla="*/ 636731 h 712723"/>
                <a:gd name="connsiteX529" fmla="*/ 166549 w 374366"/>
                <a:gd name="connsiteY529" fmla="*/ 634982 h 712723"/>
                <a:gd name="connsiteX530" fmla="*/ 166684 w 374366"/>
                <a:gd name="connsiteY530" fmla="*/ 632526 h 712723"/>
                <a:gd name="connsiteX531" fmla="*/ 166549 w 374366"/>
                <a:gd name="connsiteY531" fmla="*/ 631651 h 712723"/>
                <a:gd name="connsiteX532" fmla="*/ 167862 w 374366"/>
                <a:gd name="connsiteY532" fmla="*/ 630642 h 712723"/>
                <a:gd name="connsiteX533" fmla="*/ 170453 w 374366"/>
                <a:gd name="connsiteY533" fmla="*/ 630642 h 712723"/>
                <a:gd name="connsiteX534" fmla="*/ 173347 w 374366"/>
                <a:gd name="connsiteY534" fmla="*/ 629902 h 712723"/>
                <a:gd name="connsiteX535" fmla="*/ 176679 w 374366"/>
                <a:gd name="connsiteY535" fmla="*/ 630642 h 712723"/>
                <a:gd name="connsiteX536" fmla="*/ 180011 w 374366"/>
                <a:gd name="connsiteY536" fmla="*/ 631786 h 712723"/>
                <a:gd name="connsiteX537" fmla="*/ 180718 w 374366"/>
                <a:gd name="connsiteY537" fmla="*/ 633098 h 712723"/>
                <a:gd name="connsiteX538" fmla="*/ 184622 w 374366"/>
                <a:gd name="connsiteY538" fmla="*/ 634242 h 712723"/>
                <a:gd name="connsiteX539" fmla="*/ 191891 w 374366"/>
                <a:gd name="connsiteY539" fmla="*/ 633872 h 712723"/>
                <a:gd name="connsiteX540" fmla="*/ 197107 w 374366"/>
                <a:gd name="connsiteY540" fmla="*/ 634511 h 712723"/>
                <a:gd name="connsiteX541" fmla="*/ 202324 w 374366"/>
                <a:gd name="connsiteY541" fmla="*/ 634410 h 712723"/>
                <a:gd name="connsiteX542" fmla="*/ 206901 w 374366"/>
                <a:gd name="connsiteY542" fmla="*/ 634948 h 712723"/>
                <a:gd name="connsiteX543" fmla="*/ 211040 w 374366"/>
                <a:gd name="connsiteY543" fmla="*/ 635856 h 712723"/>
                <a:gd name="connsiteX544" fmla="*/ 213968 w 374366"/>
                <a:gd name="connsiteY544" fmla="*/ 636731 h 712723"/>
                <a:gd name="connsiteX545" fmla="*/ 216829 w 374366"/>
                <a:gd name="connsiteY545" fmla="*/ 635083 h 712723"/>
                <a:gd name="connsiteX546" fmla="*/ 218848 w 374366"/>
                <a:gd name="connsiteY546" fmla="*/ 633064 h 712723"/>
                <a:gd name="connsiteX547" fmla="*/ 220430 w 374366"/>
                <a:gd name="connsiteY547" fmla="*/ 630878 h 712723"/>
                <a:gd name="connsiteX548" fmla="*/ 221440 w 374366"/>
                <a:gd name="connsiteY548" fmla="*/ 628859 h 712723"/>
                <a:gd name="connsiteX549" fmla="*/ 224334 w 374366"/>
                <a:gd name="connsiteY549" fmla="*/ 628859 h 712723"/>
                <a:gd name="connsiteX550" fmla="*/ 226050 w 374366"/>
                <a:gd name="connsiteY550" fmla="*/ 628859 h 712723"/>
                <a:gd name="connsiteX551" fmla="*/ 226925 w 374366"/>
                <a:gd name="connsiteY551" fmla="*/ 631752 h 712723"/>
                <a:gd name="connsiteX552" fmla="*/ 227800 w 374366"/>
                <a:gd name="connsiteY552" fmla="*/ 633636 h 712723"/>
                <a:gd name="connsiteX553" fmla="*/ 229820 w 374366"/>
                <a:gd name="connsiteY553" fmla="*/ 635385 h 712723"/>
                <a:gd name="connsiteX554" fmla="*/ 234026 w 374366"/>
                <a:gd name="connsiteY554" fmla="*/ 635251 h 712723"/>
                <a:gd name="connsiteX555" fmla="*/ 237426 w 374366"/>
                <a:gd name="connsiteY555" fmla="*/ 632358 h 712723"/>
                <a:gd name="connsiteX556" fmla="*/ 239108 w 374366"/>
                <a:gd name="connsiteY556" fmla="*/ 630474 h 712723"/>
                <a:gd name="connsiteX557" fmla="*/ 239108 w 374366"/>
                <a:gd name="connsiteY557" fmla="*/ 629734 h 712723"/>
                <a:gd name="connsiteX558" fmla="*/ 239108 w 374366"/>
                <a:gd name="connsiteY558" fmla="*/ 626269 h 712723"/>
                <a:gd name="connsiteX559" fmla="*/ 240118 w 374366"/>
                <a:gd name="connsiteY559" fmla="*/ 624688 h 712723"/>
                <a:gd name="connsiteX560" fmla="*/ 241700 w 374366"/>
                <a:gd name="connsiteY560" fmla="*/ 622939 h 712723"/>
                <a:gd name="connsiteX561" fmla="*/ 242575 w 374366"/>
                <a:gd name="connsiteY561" fmla="*/ 621795 h 712723"/>
                <a:gd name="connsiteX562" fmla="*/ 243887 w 374366"/>
                <a:gd name="connsiteY562" fmla="*/ 620349 h 712723"/>
                <a:gd name="connsiteX563" fmla="*/ 247959 w 374366"/>
                <a:gd name="connsiteY563" fmla="*/ 619339 h 712723"/>
                <a:gd name="connsiteX564" fmla="*/ 251426 w 374366"/>
                <a:gd name="connsiteY564" fmla="*/ 618465 h 712723"/>
                <a:gd name="connsiteX565" fmla="*/ 253883 w 374366"/>
                <a:gd name="connsiteY565" fmla="*/ 618465 h 712723"/>
                <a:gd name="connsiteX566" fmla="*/ 254623 w 374366"/>
                <a:gd name="connsiteY566" fmla="*/ 620786 h 712723"/>
                <a:gd name="connsiteX567" fmla="*/ 257517 w 374366"/>
                <a:gd name="connsiteY567" fmla="*/ 622670 h 712723"/>
                <a:gd name="connsiteX568" fmla="*/ 261859 w 374366"/>
                <a:gd name="connsiteY568" fmla="*/ 622939 h 712723"/>
                <a:gd name="connsiteX569" fmla="*/ 265191 w 374366"/>
                <a:gd name="connsiteY569" fmla="*/ 619911 h 712723"/>
                <a:gd name="connsiteX570" fmla="*/ 265191 w 374366"/>
                <a:gd name="connsiteY570" fmla="*/ 615874 h 712723"/>
                <a:gd name="connsiteX571" fmla="*/ 266941 w 374366"/>
                <a:gd name="connsiteY571" fmla="*/ 614125 h 712723"/>
                <a:gd name="connsiteX572" fmla="*/ 268119 w 374366"/>
                <a:gd name="connsiteY572" fmla="*/ 611232 h 712723"/>
                <a:gd name="connsiteX573" fmla="*/ 271181 w 374366"/>
                <a:gd name="connsiteY573" fmla="*/ 608642 h 712723"/>
                <a:gd name="connsiteX574" fmla="*/ 275826 w 374366"/>
                <a:gd name="connsiteY574" fmla="*/ 607902 h 712723"/>
                <a:gd name="connsiteX575" fmla="*/ 278888 w 374366"/>
                <a:gd name="connsiteY575" fmla="*/ 608642 h 712723"/>
                <a:gd name="connsiteX576" fmla="*/ 280907 w 374366"/>
                <a:gd name="connsiteY576" fmla="*/ 610660 h 712723"/>
                <a:gd name="connsiteX577" fmla="*/ 282792 w 374366"/>
                <a:gd name="connsiteY577" fmla="*/ 611232 h 712723"/>
                <a:gd name="connsiteX578" fmla="*/ 285249 w 374366"/>
                <a:gd name="connsiteY578" fmla="*/ 610357 h 712723"/>
                <a:gd name="connsiteX579" fmla="*/ 286124 w 374366"/>
                <a:gd name="connsiteY579" fmla="*/ 607902 h 712723"/>
                <a:gd name="connsiteX580" fmla="*/ 286124 w 374366"/>
                <a:gd name="connsiteY580" fmla="*/ 607162 h 712723"/>
                <a:gd name="connsiteX581" fmla="*/ 286124 w 374366"/>
                <a:gd name="connsiteY581" fmla="*/ 604572 h 712723"/>
                <a:gd name="connsiteX582" fmla="*/ 286999 w 374366"/>
                <a:gd name="connsiteY582" fmla="*/ 604572 h 712723"/>
                <a:gd name="connsiteX583" fmla="*/ 290330 w 374366"/>
                <a:gd name="connsiteY583" fmla="*/ 601948 h 712723"/>
                <a:gd name="connsiteX584" fmla="*/ 293393 w 374366"/>
                <a:gd name="connsiteY584" fmla="*/ 599492 h 712723"/>
                <a:gd name="connsiteX585" fmla="*/ 295581 w 374366"/>
                <a:gd name="connsiteY585" fmla="*/ 597608 h 712723"/>
                <a:gd name="connsiteX586" fmla="*/ 297331 w 374366"/>
                <a:gd name="connsiteY586" fmla="*/ 595152 h 712723"/>
                <a:gd name="connsiteX587" fmla="*/ 299215 w 374366"/>
                <a:gd name="connsiteY587" fmla="*/ 592966 h 712723"/>
                <a:gd name="connsiteX588" fmla="*/ 301403 w 374366"/>
                <a:gd name="connsiteY588" fmla="*/ 588492 h 712723"/>
                <a:gd name="connsiteX589" fmla="*/ 302850 w 374366"/>
                <a:gd name="connsiteY589" fmla="*/ 585464 h 712723"/>
                <a:gd name="connsiteX590" fmla="*/ 305307 w 374366"/>
                <a:gd name="connsiteY590" fmla="*/ 582268 h 712723"/>
                <a:gd name="connsiteX591" fmla="*/ 305307 w 374366"/>
                <a:gd name="connsiteY591" fmla="*/ 579375 h 712723"/>
                <a:gd name="connsiteX592" fmla="*/ 304432 w 374366"/>
                <a:gd name="connsiteY592" fmla="*/ 575608 h 712723"/>
                <a:gd name="connsiteX593" fmla="*/ 303422 w 374366"/>
                <a:gd name="connsiteY593" fmla="*/ 572715 h 712723"/>
                <a:gd name="connsiteX594" fmla="*/ 302413 w 374366"/>
                <a:gd name="connsiteY594" fmla="*/ 568813 h 712723"/>
                <a:gd name="connsiteX595" fmla="*/ 301840 w 374366"/>
                <a:gd name="connsiteY595" fmla="*/ 566357 h 712723"/>
                <a:gd name="connsiteX596" fmla="*/ 301403 w 374366"/>
                <a:gd name="connsiteY596" fmla="*/ 563733 h 712723"/>
                <a:gd name="connsiteX597" fmla="*/ 303422 w 374366"/>
                <a:gd name="connsiteY597" fmla="*/ 562858 h 712723"/>
                <a:gd name="connsiteX598" fmla="*/ 304432 w 374366"/>
                <a:gd name="connsiteY598" fmla="*/ 562858 h 712723"/>
                <a:gd name="connsiteX599" fmla="*/ 307326 w 374366"/>
                <a:gd name="connsiteY599" fmla="*/ 562858 h 712723"/>
                <a:gd name="connsiteX600" fmla="*/ 309783 w 374366"/>
                <a:gd name="connsiteY600" fmla="*/ 562724 h 712723"/>
                <a:gd name="connsiteX601" fmla="*/ 312812 w 374366"/>
                <a:gd name="connsiteY601" fmla="*/ 561849 h 712723"/>
                <a:gd name="connsiteX602" fmla="*/ 312812 w 374366"/>
                <a:gd name="connsiteY602" fmla="*/ 560974 h 712723"/>
                <a:gd name="connsiteX603" fmla="*/ 311365 w 374366"/>
                <a:gd name="connsiteY603" fmla="*/ 557947 h 712723"/>
                <a:gd name="connsiteX604" fmla="*/ 310119 w 374366"/>
                <a:gd name="connsiteY604" fmla="*/ 555626 h 712723"/>
                <a:gd name="connsiteX605" fmla="*/ 308740 w 374366"/>
                <a:gd name="connsiteY605" fmla="*/ 553439 h 712723"/>
                <a:gd name="connsiteX606" fmla="*/ 308740 w 374366"/>
                <a:gd name="connsiteY606" fmla="*/ 551555 h 712723"/>
                <a:gd name="connsiteX607" fmla="*/ 310187 w 374366"/>
                <a:gd name="connsiteY607" fmla="*/ 548225 h 712723"/>
                <a:gd name="connsiteX608" fmla="*/ 312072 w 374366"/>
                <a:gd name="connsiteY608" fmla="*/ 546476 h 712723"/>
                <a:gd name="connsiteX609" fmla="*/ 313956 w 374366"/>
                <a:gd name="connsiteY609" fmla="*/ 545601 h 712723"/>
                <a:gd name="connsiteX610" fmla="*/ 313956 w 374366"/>
                <a:gd name="connsiteY610" fmla="*/ 542843 h 712723"/>
                <a:gd name="connsiteX611" fmla="*/ 312879 w 374366"/>
                <a:gd name="connsiteY611" fmla="*/ 540522 h 712723"/>
                <a:gd name="connsiteX612" fmla="*/ 310927 w 374366"/>
                <a:gd name="connsiteY612" fmla="*/ 538335 h 712723"/>
                <a:gd name="connsiteX613" fmla="*/ 309345 w 374366"/>
                <a:gd name="connsiteY613" fmla="*/ 535577 h 712723"/>
                <a:gd name="connsiteX614" fmla="*/ 310927 w 374366"/>
                <a:gd name="connsiteY614" fmla="*/ 533390 h 712723"/>
                <a:gd name="connsiteX615" fmla="*/ 311634 w 374366"/>
                <a:gd name="connsiteY615" fmla="*/ 532078 h 712723"/>
                <a:gd name="connsiteX616" fmla="*/ 310322 w 374366"/>
                <a:gd name="connsiteY616" fmla="*/ 530934 h 712723"/>
                <a:gd name="connsiteX617" fmla="*/ 312072 w 374366"/>
                <a:gd name="connsiteY617" fmla="*/ 529185 h 712723"/>
                <a:gd name="connsiteX618" fmla="*/ 312206 w 374366"/>
                <a:gd name="connsiteY618" fmla="*/ 527873 h 712723"/>
                <a:gd name="connsiteX619" fmla="*/ 310019 w 374366"/>
                <a:gd name="connsiteY619" fmla="*/ 526124 h 712723"/>
                <a:gd name="connsiteX620" fmla="*/ 309009 w 374366"/>
                <a:gd name="connsiteY620" fmla="*/ 523937 h 712723"/>
                <a:gd name="connsiteX621" fmla="*/ 309884 w 374366"/>
                <a:gd name="connsiteY621" fmla="*/ 522188 h 712723"/>
                <a:gd name="connsiteX622" fmla="*/ 311466 w 374366"/>
                <a:gd name="connsiteY622" fmla="*/ 521044 h 712723"/>
                <a:gd name="connsiteX623" fmla="*/ 313047 w 374366"/>
                <a:gd name="connsiteY623" fmla="*/ 521044 h 712723"/>
                <a:gd name="connsiteX624" fmla="*/ 312610 w 374366"/>
                <a:gd name="connsiteY624" fmla="*/ 516402 h 712723"/>
                <a:gd name="connsiteX625" fmla="*/ 312172 w 374366"/>
                <a:gd name="connsiteY625" fmla="*/ 514216 h 712723"/>
                <a:gd name="connsiteX626" fmla="*/ 312172 w 374366"/>
                <a:gd name="connsiteY626" fmla="*/ 513206 h 712723"/>
                <a:gd name="connsiteX627" fmla="*/ 313047 w 374366"/>
                <a:gd name="connsiteY627" fmla="*/ 508295 h 712723"/>
                <a:gd name="connsiteX628" fmla="*/ 315807 w 374366"/>
                <a:gd name="connsiteY628" fmla="*/ 507723 h 712723"/>
                <a:gd name="connsiteX629" fmla="*/ 318567 w 374366"/>
                <a:gd name="connsiteY629" fmla="*/ 506983 h 712723"/>
                <a:gd name="connsiteX630" fmla="*/ 318264 w 374366"/>
                <a:gd name="connsiteY630" fmla="*/ 501903 h 712723"/>
                <a:gd name="connsiteX631" fmla="*/ 313721 w 374366"/>
                <a:gd name="connsiteY631" fmla="*/ 500659 h 712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</a:cxnLst>
              <a:rect l="l" t="t" r="r" b="b"/>
              <a:pathLst>
                <a:path w="374366" h="712723">
                  <a:moveTo>
                    <a:pt x="313721" y="500659"/>
                  </a:moveTo>
                  <a:cubicBezTo>
                    <a:pt x="312408" y="500019"/>
                    <a:pt x="306552" y="495007"/>
                    <a:pt x="306552" y="495007"/>
                  </a:cubicBezTo>
                  <a:lnTo>
                    <a:pt x="301773" y="490870"/>
                  </a:lnTo>
                  <a:cubicBezTo>
                    <a:pt x="301773" y="490870"/>
                    <a:pt x="301571" y="487606"/>
                    <a:pt x="301773" y="486732"/>
                  </a:cubicBezTo>
                  <a:cubicBezTo>
                    <a:pt x="302009" y="485857"/>
                    <a:pt x="301773" y="482830"/>
                    <a:pt x="301773" y="482830"/>
                  </a:cubicBezTo>
                  <a:lnTo>
                    <a:pt x="299821" y="480643"/>
                  </a:lnTo>
                  <a:cubicBezTo>
                    <a:pt x="299821" y="480643"/>
                    <a:pt x="296994" y="476943"/>
                    <a:pt x="296119" y="476304"/>
                  </a:cubicBezTo>
                  <a:cubicBezTo>
                    <a:pt x="295244" y="475664"/>
                    <a:pt x="293494" y="473680"/>
                    <a:pt x="292215" y="472603"/>
                  </a:cubicBezTo>
                  <a:cubicBezTo>
                    <a:pt x="290903" y="471527"/>
                    <a:pt x="291576" y="469340"/>
                    <a:pt x="291576" y="469340"/>
                  </a:cubicBezTo>
                  <a:cubicBezTo>
                    <a:pt x="291576" y="469340"/>
                    <a:pt x="293730" y="467826"/>
                    <a:pt x="297230" y="467389"/>
                  </a:cubicBezTo>
                  <a:cubicBezTo>
                    <a:pt x="300696" y="466952"/>
                    <a:pt x="296994" y="466313"/>
                    <a:pt x="296994" y="466313"/>
                  </a:cubicBezTo>
                  <a:lnTo>
                    <a:pt x="291138" y="462848"/>
                  </a:lnTo>
                  <a:lnTo>
                    <a:pt x="291778" y="459383"/>
                  </a:lnTo>
                  <a:lnTo>
                    <a:pt x="295917" y="457634"/>
                  </a:lnTo>
                  <a:lnTo>
                    <a:pt x="299182" y="455245"/>
                  </a:lnTo>
                  <a:lnTo>
                    <a:pt x="303961" y="455245"/>
                  </a:lnTo>
                  <a:lnTo>
                    <a:pt x="306788" y="451343"/>
                  </a:lnTo>
                  <a:lnTo>
                    <a:pt x="305711" y="449392"/>
                  </a:lnTo>
                  <a:lnTo>
                    <a:pt x="305071" y="446802"/>
                  </a:lnTo>
                  <a:lnTo>
                    <a:pt x="309413" y="445725"/>
                  </a:lnTo>
                  <a:cubicBezTo>
                    <a:pt x="309413" y="445725"/>
                    <a:pt x="312442" y="444649"/>
                    <a:pt x="313317" y="444413"/>
                  </a:cubicBezTo>
                  <a:cubicBezTo>
                    <a:pt x="314192" y="444211"/>
                    <a:pt x="314629" y="444649"/>
                    <a:pt x="315942" y="444413"/>
                  </a:cubicBezTo>
                  <a:cubicBezTo>
                    <a:pt x="317254" y="444211"/>
                    <a:pt x="317692" y="444413"/>
                    <a:pt x="317692" y="444413"/>
                  </a:cubicBezTo>
                  <a:lnTo>
                    <a:pt x="317927" y="441587"/>
                  </a:lnTo>
                  <a:lnTo>
                    <a:pt x="317052" y="437013"/>
                  </a:lnTo>
                  <a:lnTo>
                    <a:pt x="319004" y="430924"/>
                  </a:lnTo>
                  <a:lnTo>
                    <a:pt x="316615" y="429410"/>
                  </a:lnTo>
                  <a:lnTo>
                    <a:pt x="315975" y="423758"/>
                  </a:lnTo>
                  <a:lnTo>
                    <a:pt x="316177" y="418343"/>
                  </a:lnTo>
                  <a:lnTo>
                    <a:pt x="317692" y="414642"/>
                  </a:lnTo>
                  <a:lnTo>
                    <a:pt x="321394" y="410740"/>
                  </a:lnTo>
                  <a:lnTo>
                    <a:pt x="324221" y="405526"/>
                  </a:lnTo>
                  <a:lnTo>
                    <a:pt x="326173" y="399942"/>
                  </a:lnTo>
                  <a:cubicBezTo>
                    <a:pt x="326173" y="399942"/>
                    <a:pt x="329202" y="396039"/>
                    <a:pt x="330380" y="395871"/>
                  </a:cubicBezTo>
                  <a:cubicBezTo>
                    <a:pt x="331524" y="395737"/>
                    <a:pt x="333711" y="394290"/>
                    <a:pt x="334284" y="393987"/>
                  </a:cubicBezTo>
                  <a:cubicBezTo>
                    <a:pt x="334856" y="393685"/>
                    <a:pt x="335865" y="391835"/>
                    <a:pt x="335865" y="391835"/>
                  </a:cubicBezTo>
                  <a:lnTo>
                    <a:pt x="331793" y="387932"/>
                  </a:lnTo>
                  <a:cubicBezTo>
                    <a:pt x="331793" y="387932"/>
                    <a:pt x="331221" y="385746"/>
                    <a:pt x="331490" y="384905"/>
                  </a:cubicBezTo>
                  <a:cubicBezTo>
                    <a:pt x="331793" y="384030"/>
                    <a:pt x="332500" y="382584"/>
                    <a:pt x="333510" y="381877"/>
                  </a:cubicBezTo>
                  <a:cubicBezTo>
                    <a:pt x="334519" y="381137"/>
                    <a:pt x="335966" y="379691"/>
                    <a:pt x="336539" y="379556"/>
                  </a:cubicBezTo>
                  <a:cubicBezTo>
                    <a:pt x="337110" y="379421"/>
                    <a:pt x="337851" y="377672"/>
                    <a:pt x="338995" y="376932"/>
                  </a:cubicBezTo>
                  <a:cubicBezTo>
                    <a:pt x="340139" y="376226"/>
                    <a:pt x="340577" y="375923"/>
                    <a:pt x="341183" y="375486"/>
                  </a:cubicBezTo>
                  <a:cubicBezTo>
                    <a:pt x="341755" y="375048"/>
                    <a:pt x="342495" y="372593"/>
                    <a:pt x="342495" y="372593"/>
                  </a:cubicBezTo>
                  <a:lnTo>
                    <a:pt x="344077" y="368119"/>
                  </a:lnTo>
                  <a:cubicBezTo>
                    <a:pt x="344077" y="368119"/>
                    <a:pt x="346096" y="365091"/>
                    <a:pt x="346399" y="364485"/>
                  </a:cubicBezTo>
                  <a:cubicBezTo>
                    <a:pt x="346702" y="363914"/>
                    <a:pt x="347409" y="360583"/>
                    <a:pt x="347712" y="358699"/>
                  </a:cubicBezTo>
                  <a:cubicBezTo>
                    <a:pt x="348014" y="356816"/>
                    <a:pt x="348284" y="356244"/>
                    <a:pt x="348284" y="355504"/>
                  </a:cubicBezTo>
                  <a:cubicBezTo>
                    <a:pt x="348284" y="354764"/>
                    <a:pt x="348722" y="353048"/>
                    <a:pt x="348856" y="352611"/>
                  </a:cubicBezTo>
                  <a:cubicBezTo>
                    <a:pt x="348991" y="352173"/>
                    <a:pt x="348856" y="350592"/>
                    <a:pt x="348856" y="350592"/>
                  </a:cubicBezTo>
                  <a:cubicBezTo>
                    <a:pt x="348856" y="350592"/>
                    <a:pt x="346971" y="348137"/>
                    <a:pt x="346534" y="347834"/>
                  </a:cubicBezTo>
                  <a:cubicBezTo>
                    <a:pt x="346096" y="347565"/>
                    <a:pt x="343774" y="345816"/>
                    <a:pt x="343774" y="345816"/>
                  </a:cubicBezTo>
                  <a:lnTo>
                    <a:pt x="340880" y="344066"/>
                  </a:lnTo>
                  <a:lnTo>
                    <a:pt x="339736" y="344066"/>
                  </a:lnTo>
                  <a:lnTo>
                    <a:pt x="336841" y="342687"/>
                  </a:lnTo>
                  <a:lnTo>
                    <a:pt x="336707" y="340433"/>
                  </a:lnTo>
                  <a:lnTo>
                    <a:pt x="336976" y="338179"/>
                  </a:lnTo>
                  <a:cubicBezTo>
                    <a:pt x="336976" y="338179"/>
                    <a:pt x="336202" y="337406"/>
                    <a:pt x="336000" y="336867"/>
                  </a:cubicBezTo>
                  <a:cubicBezTo>
                    <a:pt x="335798" y="336329"/>
                    <a:pt x="335697" y="334580"/>
                    <a:pt x="335697" y="334580"/>
                  </a:cubicBezTo>
                  <a:lnTo>
                    <a:pt x="333409" y="331317"/>
                  </a:lnTo>
                  <a:lnTo>
                    <a:pt x="331221" y="329029"/>
                  </a:lnTo>
                  <a:cubicBezTo>
                    <a:pt x="331221" y="329029"/>
                    <a:pt x="330144" y="327717"/>
                    <a:pt x="329808" y="327516"/>
                  </a:cubicBezTo>
                  <a:cubicBezTo>
                    <a:pt x="329471" y="327314"/>
                    <a:pt x="327956" y="325464"/>
                    <a:pt x="327956" y="325464"/>
                  </a:cubicBezTo>
                  <a:lnTo>
                    <a:pt x="325803" y="322974"/>
                  </a:lnTo>
                  <a:lnTo>
                    <a:pt x="324389" y="320586"/>
                  </a:lnTo>
                  <a:cubicBezTo>
                    <a:pt x="324389" y="320586"/>
                    <a:pt x="324389" y="317323"/>
                    <a:pt x="324389" y="316885"/>
                  </a:cubicBezTo>
                  <a:cubicBezTo>
                    <a:pt x="324389" y="316448"/>
                    <a:pt x="324322" y="314060"/>
                    <a:pt x="324221" y="313723"/>
                  </a:cubicBezTo>
                  <a:cubicBezTo>
                    <a:pt x="324120" y="313387"/>
                    <a:pt x="322202" y="312075"/>
                    <a:pt x="321663" y="311671"/>
                  </a:cubicBezTo>
                  <a:cubicBezTo>
                    <a:pt x="321125" y="311234"/>
                    <a:pt x="319913" y="309384"/>
                    <a:pt x="319374" y="308206"/>
                  </a:cubicBezTo>
                  <a:cubicBezTo>
                    <a:pt x="318836" y="307029"/>
                    <a:pt x="319274" y="306020"/>
                    <a:pt x="319274" y="305482"/>
                  </a:cubicBezTo>
                  <a:cubicBezTo>
                    <a:pt x="319274" y="304943"/>
                    <a:pt x="319812" y="302858"/>
                    <a:pt x="319812" y="302858"/>
                  </a:cubicBezTo>
                  <a:lnTo>
                    <a:pt x="320452" y="301243"/>
                  </a:lnTo>
                  <a:lnTo>
                    <a:pt x="320889" y="297980"/>
                  </a:lnTo>
                  <a:lnTo>
                    <a:pt x="320889" y="295390"/>
                  </a:lnTo>
                  <a:lnTo>
                    <a:pt x="319038" y="294851"/>
                  </a:lnTo>
                  <a:lnTo>
                    <a:pt x="316548" y="295390"/>
                  </a:lnTo>
                  <a:lnTo>
                    <a:pt x="313081" y="295390"/>
                  </a:lnTo>
                  <a:cubicBezTo>
                    <a:pt x="313081" y="295390"/>
                    <a:pt x="309446" y="290546"/>
                    <a:pt x="309009" y="290377"/>
                  </a:cubicBezTo>
                  <a:cubicBezTo>
                    <a:pt x="308571" y="290243"/>
                    <a:pt x="306115" y="290175"/>
                    <a:pt x="306115" y="290175"/>
                  </a:cubicBezTo>
                  <a:lnTo>
                    <a:pt x="305542" y="290175"/>
                  </a:lnTo>
                  <a:cubicBezTo>
                    <a:pt x="305542" y="290175"/>
                    <a:pt x="302783" y="291050"/>
                    <a:pt x="302211" y="291185"/>
                  </a:cubicBezTo>
                  <a:cubicBezTo>
                    <a:pt x="301639" y="291319"/>
                    <a:pt x="298576" y="290175"/>
                    <a:pt x="298576" y="290175"/>
                  </a:cubicBezTo>
                  <a:cubicBezTo>
                    <a:pt x="298576" y="290175"/>
                    <a:pt x="295816" y="288157"/>
                    <a:pt x="295379" y="287854"/>
                  </a:cubicBezTo>
                  <a:cubicBezTo>
                    <a:pt x="294941" y="287552"/>
                    <a:pt x="292047" y="285668"/>
                    <a:pt x="292047" y="285668"/>
                  </a:cubicBezTo>
                  <a:lnTo>
                    <a:pt x="290734" y="282640"/>
                  </a:lnTo>
                  <a:cubicBezTo>
                    <a:pt x="290734" y="282640"/>
                    <a:pt x="287100" y="278301"/>
                    <a:pt x="287403" y="277729"/>
                  </a:cubicBezTo>
                  <a:cubicBezTo>
                    <a:pt x="287706" y="277157"/>
                    <a:pt x="289153" y="275273"/>
                    <a:pt x="290432" y="273961"/>
                  </a:cubicBezTo>
                  <a:cubicBezTo>
                    <a:pt x="291744" y="272649"/>
                    <a:pt x="291441" y="271505"/>
                    <a:pt x="291441" y="270934"/>
                  </a:cubicBezTo>
                  <a:cubicBezTo>
                    <a:pt x="291441" y="270362"/>
                    <a:pt x="291172" y="268175"/>
                    <a:pt x="291172" y="268175"/>
                  </a:cubicBezTo>
                  <a:cubicBezTo>
                    <a:pt x="291172" y="268175"/>
                    <a:pt x="290297" y="264710"/>
                    <a:pt x="290297" y="264105"/>
                  </a:cubicBezTo>
                  <a:cubicBezTo>
                    <a:pt x="290297" y="263533"/>
                    <a:pt x="289556" y="258016"/>
                    <a:pt x="289556" y="258016"/>
                  </a:cubicBezTo>
                  <a:lnTo>
                    <a:pt x="289556" y="253676"/>
                  </a:lnTo>
                  <a:lnTo>
                    <a:pt x="290364" y="249606"/>
                  </a:lnTo>
                  <a:lnTo>
                    <a:pt x="292182" y="246713"/>
                  </a:lnTo>
                  <a:cubicBezTo>
                    <a:pt x="292182" y="246713"/>
                    <a:pt x="296388" y="244257"/>
                    <a:pt x="296826" y="243955"/>
                  </a:cubicBezTo>
                  <a:cubicBezTo>
                    <a:pt x="297264" y="243652"/>
                    <a:pt x="299720" y="242945"/>
                    <a:pt x="299720" y="242945"/>
                  </a:cubicBezTo>
                  <a:cubicBezTo>
                    <a:pt x="299720" y="242945"/>
                    <a:pt x="304062" y="242239"/>
                    <a:pt x="304196" y="241802"/>
                  </a:cubicBezTo>
                  <a:cubicBezTo>
                    <a:pt x="304331" y="241364"/>
                    <a:pt x="304937" y="239783"/>
                    <a:pt x="304937" y="239783"/>
                  </a:cubicBezTo>
                  <a:lnTo>
                    <a:pt x="305946" y="236890"/>
                  </a:lnTo>
                  <a:lnTo>
                    <a:pt x="311600" y="233695"/>
                  </a:lnTo>
                  <a:lnTo>
                    <a:pt x="315672" y="230802"/>
                  </a:lnTo>
                  <a:cubicBezTo>
                    <a:pt x="315672" y="230802"/>
                    <a:pt x="316682" y="226159"/>
                    <a:pt x="316817" y="225587"/>
                  </a:cubicBezTo>
                  <a:cubicBezTo>
                    <a:pt x="316951" y="225015"/>
                    <a:pt x="317692" y="222392"/>
                    <a:pt x="317692" y="222392"/>
                  </a:cubicBezTo>
                  <a:lnTo>
                    <a:pt x="317389" y="220071"/>
                  </a:lnTo>
                  <a:lnTo>
                    <a:pt x="314629" y="216303"/>
                  </a:lnTo>
                  <a:lnTo>
                    <a:pt x="311869" y="213713"/>
                  </a:lnTo>
                  <a:lnTo>
                    <a:pt x="309548" y="210820"/>
                  </a:lnTo>
                  <a:lnTo>
                    <a:pt x="307360" y="207489"/>
                  </a:lnTo>
                  <a:lnTo>
                    <a:pt x="306620" y="204294"/>
                  </a:lnTo>
                  <a:lnTo>
                    <a:pt x="309076" y="201838"/>
                  </a:lnTo>
                  <a:lnTo>
                    <a:pt x="312846" y="198070"/>
                  </a:lnTo>
                  <a:lnTo>
                    <a:pt x="314023" y="195413"/>
                  </a:lnTo>
                  <a:lnTo>
                    <a:pt x="317793" y="194302"/>
                  </a:lnTo>
                  <a:lnTo>
                    <a:pt x="318533" y="193899"/>
                  </a:lnTo>
                  <a:lnTo>
                    <a:pt x="320384" y="192856"/>
                  </a:lnTo>
                  <a:lnTo>
                    <a:pt x="321125" y="190535"/>
                  </a:lnTo>
                  <a:lnTo>
                    <a:pt x="326341" y="187070"/>
                  </a:lnTo>
                  <a:lnTo>
                    <a:pt x="330380" y="184614"/>
                  </a:lnTo>
                  <a:cubicBezTo>
                    <a:pt x="330380" y="184614"/>
                    <a:pt x="333005" y="184749"/>
                    <a:pt x="334452" y="185052"/>
                  </a:cubicBezTo>
                  <a:cubicBezTo>
                    <a:pt x="335899" y="185354"/>
                    <a:pt x="336034" y="187373"/>
                    <a:pt x="338087" y="188247"/>
                  </a:cubicBezTo>
                  <a:cubicBezTo>
                    <a:pt x="340106" y="189122"/>
                    <a:pt x="341991" y="192318"/>
                    <a:pt x="344178" y="194471"/>
                  </a:cubicBezTo>
                  <a:cubicBezTo>
                    <a:pt x="346365" y="196657"/>
                    <a:pt x="345625" y="194471"/>
                    <a:pt x="346635" y="194471"/>
                  </a:cubicBezTo>
                  <a:cubicBezTo>
                    <a:pt x="347644" y="194471"/>
                    <a:pt x="348654" y="192587"/>
                    <a:pt x="349394" y="191443"/>
                  </a:cubicBezTo>
                  <a:cubicBezTo>
                    <a:pt x="350135" y="190299"/>
                    <a:pt x="353029" y="190434"/>
                    <a:pt x="353029" y="190434"/>
                  </a:cubicBezTo>
                  <a:cubicBezTo>
                    <a:pt x="353029" y="190434"/>
                    <a:pt x="355049" y="188853"/>
                    <a:pt x="355620" y="188416"/>
                  </a:cubicBezTo>
                  <a:cubicBezTo>
                    <a:pt x="356193" y="187978"/>
                    <a:pt x="357068" y="186229"/>
                    <a:pt x="358649" y="185220"/>
                  </a:cubicBezTo>
                  <a:cubicBezTo>
                    <a:pt x="360265" y="184211"/>
                    <a:pt x="360837" y="183773"/>
                    <a:pt x="362553" y="183033"/>
                  </a:cubicBezTo>
                  <a:cubicBezTo>
                    <a:pt x="364304" y="182293"/>
                    <a:pt x="364169" y="182461"/>
                    <a:pt x="365010" y="182024"/>
                  </a:cubicBezTo>
                  <a:cubicBezTo>
                    <a:pt x="365885" y="181587"/>
                    <a:pt x="367467" y="180275"/>
                    <a:pt x="369486" y="179837"/>
                  </a:cubicBezTo>
                  <a:cubicBezTo>
                    <a:pt x="370900" y="179535"/>
                    <a:pt x="371169" y="179636"/>
                    <a:pt x="371236" y="179737"/>
                  </a:cubicBezTo>
                  <a:lnTo>
                    <a:pt x="371236" y="177954"/>
                  </a:lnTo>
                  <a:cubicBezTo>
                    <a:pt x="371236" y="177954"/>
                    <a:pt x="368275" y="175061"/>
                    <a:pt x="368275" y="174489"/>
                  </a:cubicBezTo>
                  <a:cubicBezTo>
                    <a:pt x="368275" y="173917"/>
                    <a:pt x="367198" y="171461"/>
                    <a:pt x="366592" y="170587"/>
                  </a:cubicBezTo>
                  <a:cubicBezTo>
                    <a:pt x="366020" y="169712"/>
                    <a:pt x="364842" y="167256"/>
                    <a:pt x="365010" y="166516"/>
                  </a:cubicBezTo>
                  <a:cubicBezTo>
                    <a:pt x="365145" y="165810"/>
                    <a:pt x="365145" y="165944"/>
                    <a:pt x="365717" y="165944"/>
                  </a:cubicBezTo>
                  <a:cubicBezTo>
                    <a:pt x="366289" y="165944"/>
                    <a:pt x="367298" y="164801"/>
                    <a:pt x="367736" y="164632"/>
                  </a:cubicBezTo>
                  <a:cubicBezTo>
                    <a:pt x="368174" y="164498"/>
                    <a:pt x="368308" y="163186"/>
                    <a:pt x="368443" y="162748"/>
                  </a:cubicBezTo>
                  <a:cubicBezTo>
                    <a:pt x="368577" y="162311"/>
                    <a:pt x="367871" y="160730"/>
                    <a:pt x="367871" y="160730"/>
                  </a:cubicBezTo>
                  <a:cubicBezTo>
                    <a:pt x="367871" y="160730"/>
                    <a:pt x="366558" y="158846"/>
                    <a:pt x="366558" y="158106"/>
                  </a:cubicBezTo>
                  <a:cubicBezTo>
                    <a:pt x="366558" y="157366"/>
                    <a:pt x="366996" y="155348"/>
                    <a:pt x="366996" y="155348"/>
                  </a:cubicBezTo>
                  <a:lnTo>
                    <a:pt x="369452" y="154339"/>
                  </a:lnTo>
                  <a:lnTo>
                    <a:pt x="370900" y="153464"/>
                  </a:lnTo>
                  <a:lnTo>
                    <a:pt x="372650" y="147947"/>
                  </a:lnTo>
                  <a:lnTo>
                    <a:pt x="373659" y="145357"/>
                  </a:lnTo>
                  <a:lnTo>
                    <a:pt x="373794" y="143776"/>
                  </a:lnTo>
                  <a:lnTo>
                    <a:pt x="374366" y="139436"/>
                  </a:lnTo>
                  <a:lnTo>
                    <a:pt x="373491" y="136241"/>
                  </a:lnTo>
                  <a:lnTo>
                    <a:pt x="373188" y="134054"/>
                  </a:lnTo>
                  <a:cubicBezTo>
                    <a:pt x="373188" y="134054"/>
                    <a:pt x="371438" y="132305"/>
                    <a:pt x="371169" y="131733"/>
                  </a:cubicBezTo>
                  <a:cubicBezTo>
                    <a:pt x="370866" y="131161"/>
                    <a:pt x="369856" y="129849"/>
                    <a:pt x="369856" y="129849"/>
                  </a:cubicBezTo>
                  <a:lnTo>
                    <a:pt x="368544" y="129714"/>
                  </a:lnTo>
                  <a:lnTo>
                    <a:pt x="364774" y="128133"/>
                  </a:lnTo>
                  <a:lnTo>
                    <a:pt x="363630" y="125509"/>
                  </a:lnTo>
                  <a:lnTo>
                    <a:pt x="362486" y="124198"/>
                  </a:lnTo>
                  <a:lnTo>
                    <a:pt x="362486" y="120733"/>
                  </a:lnTo>
                  <a:lnTo>
                    <a:pt x="361241" y="117705"/>
                  </a:lnTo>
                  <a:lnTo>
                    <a:pt x="361376" y="116191"/>
                  </a:lnTo>
                  <a:cubicBezTo>
                    <a:pt x="361376" y="116191"/>
                    <a:pt x="362250" y="113601"/>
                    <a:pt x="363563" y="112289"/>
                  </a:cubicBezTo>
                  <a:cubicBezTo>
                    <a:pt x="364875" y="110977"/>
                    <a:pt x="363563" y="112289"/>
                    <a:pt x="364203" y="111414"/>
                  </a:cubicBezTo>
                  <a:cubicBezTo>
                    <a:pt x="364842" y="110540"/>
                    <a:pt x="365078" y="109463"/>
                    <a:pt x="365279" y="108589"/>
                  </a:cubicBezTo>
                  <a:cubicBezTo>
                    <a:pt x="365515" y="107714"/>
                    <a:pt x="365515" y="105763"/>
                    <a:pt x="365515" y="105763"/>
                  </a:cubicBezTo>
                  <a:lnTo>
                    <a:pt x="363563" y="102937"/>
                  </a:lnTo>
                  <a:cubicBezTo>
                    <a:pt x="363563" y="102937"/>
                    <a:pt x="363361" y="101861"/>
                    <a:pt x="362688" y="101188"/>
                  </a:cubicBezTo>
                  <a:cubicBezTo>
                    <a:pt x="362049" y="100549"/>
                    <a:pt x="361611" y="100751"/>
                    <a:pt x="361611" y="100751"/>
                  </a:cubicBezTo>
                  <a:lnTo>
                    <a:pt x="358347" y="100751"/>
                  </a:lnTo>
                  <a:lnTo>
                    <a:pt x="353332" y="100852"/>
                  </a:lnTo>
                  <a:lnTo>
                    <a:pt x="349428" y="100313"/>
                  </a:lnTo>
                  <a:cubicBezTo>
                    <a:pt x="349428" y="100313"/>
                    <a:pt x="344885" y="99876"/>
                    <a:pt x="343336" y="99876"/>
                  </a:cubicBezTo>
                  <a:cubicBezTo>
                    <a:pt x="341822" y="99876"/>
                    <a:pt x="338995" y="98362"/>
                    <a:pt x="338995" y="98362"/>
                  </a:cubicBezTo>
                  <a:cubicBezTo>
                    <a:pt x="338995" y="98362"/>
                    <a:pt x="333779" y="96176"/>
                    <a:pt x="333106" y="95738"/>
                  </a:cubicBezTo>
                  <a:cubicBezTo>
                    <a:pt x="332466" y="95301"/>
                    <a:pt x="332029" y="93989"/>
                    <a:pt x="332029" y="93989"/>
                  </a:cubicBezTo>
                  <a:lnTo>
                    <a:pt x="330278" y="92038"/>
                  </a:lnTo>
                  <a:cubicBezTo>
                    <a:pt x="330278" y="92038"/>
                    <a:pt x="328529" y="92038"/>
                    <a:pt x="327889" y="92038"/>
                  </a:cubicBezTo>
                  <a:cubicBezTo>
                    <a:pt x="327216" y="92038"/>
                    <a:pt x="325264" y="91601"/>
                    <a:pt x="324423" y="91399"/>
                  </a:cubicBezTo>
                  <a:cubicBezTo>
                    <a:pt x="323548" y="91197"/>
                    <a:pt x="320956" y="88775"/>
                    <a:pt x="320283" y="88136"/>
                  </a:cubicBezTo>
                  <a:cubicBezTo>
                    <a:pt x="319644" y="87497"/>
                    <a:pt x="318971" y="83359"/>
                    <a:pt x="318971" y="83359"/>
                  </a:cubicBezTo>
                  <a:cubicBezTo>
                    <a:pt x="318971" y="83359"/>
                    <a:pt x="320519" y="78145"/>
                    <a:pt x="321158" y="77270"/>
                  </a:cubicBezTo>
                  <a:cubicBezTo>
                    <a:pt x="321798" y="76396"/>
                    <a:pt x="323110" y="75958"/>
                    <a:pt x="323110" y="75958"/>
                  </a:cubicBezTo>
                  <a:lnTo>
                    <a:pt x="325735" y="76396"/>
                  </a:lnTo>
                  <a:cubicBezTo>
                    <a:pt x="325735" y="76396"/>
                    <a:pt x="327923" y="77035"/>
                    <a:pt x="330077" y="77035"/>
                  </a:cubicBezTo>
                  <a:cubicBezTo>
                    <a:pt x="332231" y="77035"/>
                    <a:pt x="331389" y="75958"/>
                    <a:pt x="331389" y="75958"/>
                  </a:cubicBezTo>
                  <a:lnTo>
                    <a:pt x="330952" y="71383"/>
                  </a:lnTo>
                  <a:lnTo>
                    <a:pt x="330312" y="65934"/>
                  </a:lnTo>
                  <a:lnTo>
                    <a:pt x="339231" y="65934"/>
                  </a:lnTo>
                  <a:lnTo>
                    <a:pt x="342697" y="63209"/>
                  </a:lnTo>
                  <a:lnTo>
                    <a:pt x="344885" y="61796"/>
                  </a:lnTo>
                  <a:lnTo>
                    <a:pt x="352491" y="60719"/>
                  </a:lnTo>
                  <a:lnTo>
                    <a:pt x="360332" y="57120"/>
                  </a:lnTo>
                  <a:cubicBezTo>
                    <a:pt x="360332" y="57120"/>
                    <a:pt x="361846" y="56346"/>
                    <a:pt x="362722" y="55909"/>
                  </a:cubicBezTo>
                  <a:cubicBezTo>
                    <a:pt x="363597" y="55472"/>
                    <a:pt x="364135" y="55135"/>
                    <a:pt x="364909" y="54933"/>
                  </a:cubicBezTo>
                  <a:cubicBezTo>
                    <a:pt x="365683" y="54732"/>
                    <a:pt x="366659" y="52444"/>
                    <a:pt x="366659" y="52444"/>
                  </a:cubicBezTo>
                  <a:lnTo>
                    <a:pt x="369823" y="51368"/>
                  </a:lnTo>
                  <a:lnTo>
                    <a:pt x="370058" y="50594"/>
                  </a:lnTo>
                  <a:lnTo>
                    <a:pt x="368645" y="48542"/>
                  </a:lnTo>
                  <a:cubicBezTo>
                    <a:pt x="368577" y="48542"/>
                    <a:pt x="368409" y="48542"/>
                    <a:pt x="368107" y="48542"/>
                  </a:cubicBezTo>
                  <a:cubicBezTo>
                    <a:pt x="367232" y="48542"/>
                    <a:pt x="364741" y="48374"/>
                    <a:pt x="364304" y="48374"/>
                  </a:cubicBezTo>
                  <a:cubicBezTo>
                    <a:pt x="363866" y="48374"/>
                    <a:pt x="361577" y="47667"/>
                    <a:pt x="361577" y="47667"/>
                  </a:cubicBezTo>
                  <a:lnTo>
                    <a:pt x="356798" y="47129"/>
                  </a:lnTo>
                  <a:cubicBezTo>
                    <a:pt x="356798" y="47129"/>
                    <a:pt x="354948" y="47230"/>
                    <a:pt x="354072" y="47028"/>
                  </a:cubicBezTo>
                  <a:cubicBezTo>
                    <a:pt x="353197" y="46826"/>
                    <a:pt x="351784" y="47230"/>
                    <a:pt x="351784" y="47230"/>
                  </a:cubicBezTo>
                  <a:lnTo>
                    <a:pt x="349832" y="43261"/>
                  </a:lnTo>
                  <a:lnTo>
                    <a:pt x="351043" y="39493"/>
                  </a:lnTo>
                  <a:lnTo>
                    <a:pt x="349967" y="34918"/>
                  </a:lnTo>
                  <a:lnTo>
                    <a:pt x="349428" y="29166"/>
                  </a:lnTo>
                  <a:cubicBezTo>
                    <a:pt x="349428" y="29166"/>
                    <a:pt x="348788" y="27114"/>
                    <a:pt x="348788" y="26003"/>
                  </a:cubicBezTo>
                  <a:cubicBezTo>
                    <a:pt x="348788" y="24927"/>
                    <a:pt x="348688" y="23716"/>
                    <a:pt x="348788" y="23279"/>
                  </a:cubicBezTo>
                  <a:cubicBezTo>
                    <a:pt x="348890" y="22841"/>
                    <a:pt x="348587" y="21630"/>
                    <a:pt x="348452" y="21328"/>
                  </a:cubicBezTo>
                  <a:cubicBezTo>
                    <a:pt x="348318" y="20991"/>
                    <a:pt x="347476" y="18939"/>
                    <a:pt x="347342" y="18603"/>
                  </a:cubicBezTo>
                  <a:cubicBezTo>
                    <a:pt x="347240" y="18266"/>
                    <a:pt x="344313" y="15340"/>
                    <a:pt x="343976" y="15138"/>
                  </a:cubicBezTo>
                  <a:cubicBezTo>
                    <a:pt x="343640" y="14936"/>
                    <a:pt x="342024" y="13725"/>
                    <a:pt x="341149" y="13086"/>
                  </a:cubicBezTo>
                  <a:cubicBezTo>
                    <a:pt x="340274" y="12447"/>
                    <a:pt x="337784" y="10260"/>
                    <a:pt x="337784" y="10260"/>
                  </a:cubicBezTo>
                  <a:lnTo>
                    <a:pt x="334183" y="7233"/>
                  </a:lnTo>
                  <a:lnTo>
                    <a:pt x="333409" y="4844"/>
                  </a:lnTo>
                  <a:lnTo>
                    <a:pt x="332432" y="1144"/>
                  </a:lnTo>
                  <a:lnTo>
                    <a:pt x="331692" y="0"/>
                  </a:lnTo>
                  <a:lnTo>
                    <a:pt x="329908" y="34"/>
                  </a:lnTo>
                  <a:lnTo>
                    <a:pt x="328764" y="1446"/>
                  </a:lnTo>
                  <a:lnTo>
                    <a:pt x="326610" y="3061"/>
                  </a:lnTo>
                  <a:lnTo>
                    <a:pt x="326005" y="5450"/>
                  </a:lnTo>
                  <a:lnTo>
                    <a:pt x="326005" y="11101"/>
                  </a:lnTo>
                  <a:lnTo>
                    <a:pt x="326005" y="14566"/>
                  </a:lnTo>
                  <a:lnTo>
                    <a:pt x="326005" y="19780"/>
                  </a:lnTo>
                  <a:lnTo>
                    <a:pt x="322908" y="20655"/>
                  </a:lnTo>
                  <a:lnTo>
                    <a:pt x="320788" y="22068"/>
                  </a:lnTo>
                  <a:lnTo>
                    <a:pt x="320788" y="26744"/>
                  </a:lnTo>
                  <a:cubicBezTo>
                    <a:pt x="320788" y="26744"/>
                    <a:pt x="318701" y="30108"/>
                    <a:pt x="318298" y="30208"/>
                  </a:cubicBezTo>
                  <a:cubicBezTo>
                    <a:pt x="317860" y="30309"/>
                    <a:pt x="312980" y="30747"/>
                    <a:pt x="312980" y="30747"/>
                  </a:cubicBezTo>
                  <a:cubicBezTo>
                    <a:pt x="312980" y="30747"/>
                    <a:pt x="310490" y="29132"/>
                    <a:pt x="310153" y="28997"/>
                  </a:cubicBezTo>
                  <a:cubicBezTo>
                    <a:pt x="309817" y="28896"/>
                    <a:pt x="307225" y="26172"/>
                    <a:pt x="307225" y="26172"/>
                  </a:cubicBezTo>
                  <a:lnTo>
                    <a:pt x="305273" y="25835"/>
                  </a:lnTo>
                  <a:lnTo>
                    <a:pt x="303086" y="27349"/>
                  </a:lnTo>
                  <a:lnTo>
                    <a:pt x="301773" y="31386"/>
                  </a:lnTo>
                  <a:lnTo>
                    <a:pt x="298307" y="35288"/>
                  </a:lnTo>
                  <a:lnTo>
                    <a:pt x="295716" y="38215"/>
                  </a:lnTo>
                  <a:lnTo>
                    <a:pt x="293864" y="41915"/>
                  </a:lnTo>
                  <a:cubicBezTo>
                    <a:pt x="293864" y="41915"/>
                    <a:pt x="292451" y="46591"/>
                    <a:pt x="291677" y="46692"/>
                  </a:cubicBezTo>
                  <a:cubicBezTo>
                    <a:pt x="290936" y="46793"/>
                    <a:pt x="287336" y="48643"/>
                    <a:pt x="287336" y="48643"/>
                  </a:cubicBezTo>
                  <a:lnTo>
                    <a:pt x="284643" y="51233"/>
                  </a:lnTo>
                  <a:lnTo>
                    <a:pt x="281917" y="52646"/>
                  </a:lnTo>
                  <a:lnTo>
                    <a:pt x="277037" y="53184"/>
                  </a:lnTo>
                  <a:cubicBezTo>
                    <a:pt x="277037" y="53184"/>
                    <a:pt x="271181" y="51132"/>
                    <a:pt x="270744" y="50796"/>
                  </a:cubicBezTo>
                  <a:cubicBezTo>
                    <a:pt x="270306" y="50459"/>
                    <a:pt x="263441" y="47095"/>
                    <a:pt x="263441" y="47095"/>
                  </a:cubicBezTo>
                  <a:lnTo>
                    <a:pt x="260950" y="43933"/>
                  </a:lnTo>
                  <a:lnTo>
                    <a:pt x="256710" y="40569"/>
                  </a:lnTo>
                  <a:lnTo>
                    <a:pt x="252234" y="38820"/>
                  </a:lnTo>
                  <a:lnTo>
                    <a:pt x="245940" y="39594"/>
                  </a:lnTo>
                  <a:cubicBezTo>
                    <a:pt x="245940" y="39594"/>
                    <a:pt x="243450" y="41646"/>
                    <a:pt x="242676" y="42756"/>
                  </a:cubicBezTo>
                  <a:cubicBezTo>
                    <a:pt x="241902" y="43832"/>
                    <a:pt x="239209" y="46221"/>
                    <a:pt x="239209" y="46221"/>
                  </a:cubicBezTo>
                  <a:lnTo>
                    <a:pt x="237560" y="48845"/>
                  </a:lnTo>
                  <a:lnTo>
                    <a:pt x="233421" y="57086"/>
                  </a:lnTo>
                  <a:lnTo>
                    <a:pt x="230055" y="61661"/>
                  </a:lnTo>
                  <a:lnTo>
                    <a:pt x="226353" y="66236"/>
                  </a:lnTo>
                  <a:lnTo>
                    <a:pt x="222551" y="69499"/>
                  </a:lnTo>
                  <a:lnTo>
                    <a:pt x="217973" y="70038"/>
                  </a:lnTo>
                  <a:lnTo>
                    <a:pt x="213060" y="68625"/>
                  </a:lnTo>
                  <a:cubicBezTo>
                    <a:pt x="213060" y="68625"/>
                    <a:pt x="206867" y="63512"/>
                    <a:pt x="206430" y="63411"/>
                  </a:cubicBezTo>
                  <a:cubicBezTo>
                    <a:pt x="205992" y="63310"/>
                    <a:pt x="199901" y="58297"/>
                    <a:pt x="199901" y="58297"/>
                  </a:cubicBezTo>
                  <a:cubicBezTo>
                    <a:pt x="199901" y="58297"/>
                    <a:pt x="195559" y="55371"/>
                    <a:pt x="195223" y="55371"/>
                  </a:cubicBezTo>
                  <a:cubicBezTo>
                    <a:pt x="194886" y="55371"/>
                    <a:pt x="189030" y="55135"/>
                    <a:pt x="189030" y="55135"/>
                  </a:cubicBezTo>
                  <a:lnTo>
                    <a:pt x="182838" y="56010"/>
                  </a:lnTo>
                  <a:lnTo>
                    <a:pt x="176309" y="61762"/>
                  </a:lnTo>
                  <a:lnTo>
                    <a:pt x="169241" y="67515"/>
                  </a:lnTo>
                  <a:lnTo>
                    <a:pt x="163823" y="77068"/>
                  </a:lnTo>
                  <a:lnTo>
                    <a:pt x="159381" y="84032"/>
                  </a:lnTo>
                  <a:lnTo>
                    <a:pt x="156655" y="90222"/>
                  </a:lnTo>
                  <a:lnTo>
                    <a:pt x="152078" y="96310"/>
                  </a:lnTo>
                  <a:lnTo>
                    <a:pt x="150328" y="104552"/>
                  </a:lnTo>
                  <a:lnTo>
                    <a:pt x="150328" y="108353"/>
                  </a:lnTo>
                  <a:lnTo>
                    <a:pt x="149789" y="116595"/>
                  </a:lnTo>
                  <a:lnTo>
                    <a:pt x="148712" y="122785"/>
                  </a:lnTo>
                  <a:lnTo>
                    <a:pt x="146525" y="125846"/>
                  </a:lnTo>
                  <a:lnTo>
                    <a:pt x="143159" y="131161"/>
                  </a:lnTo>
                  <a:cubicBezTo>
                    <a:pt x="143159" y="131161"/>
                    <a:pt x="137943" y="132237"/>
                    <a:pt x="137505" y="132372"/>
                  </a:cubicBezTo>
                  <a:cubicBezTo>
                    <a:pt x="137068" y="132473"/>
                    <a:pt x="123168" y="132069"/>
                    <a:pt x="123168" y="132069"/>
                  </a:cubicBezTo>
                  <a:lnTo>
                    <a:pt x="112533" y="131834"/>
                  </a:lnTo>
                  <a:lnTo>
                    <a:pt x="106038" y="131834"/>
                  </a:lnTo>
                  <a:lnTo>
                    <a:pt x="102235" y="132406"/>
                  </a:lnTo>
                  <a:cubicBezTo>
                    <a:pt x="102235" y="132406"/>
                    <a:pt x="97658" y="132708"/>
                    <a:pt x="97557" y="133045"/>
                  </a:cubicBezTo>
                  <a:cubicBezTo>
                    <a:pt x="97456" y="133381"/>
                    <a:pt x="100384" y="137384"/>
                    <a:pt x="100384" y="137384"/>
                  </a:cubicBezTo>
                  <a:lnTo>
                    <a:pt x="102033" y="138360"/>
                  </a:lnTo>
                  <a:lnTo>
                    <a:pt x="104524" y="139436"/>
                  </a:lnTo>
                  <a:cubicBezTo>
                    <a:pt x="104524" y="139436"/>
                    <a:pt x="104860" y="141085"/>
                    <a:pt x="104860" y="141387"/>
                  </a:cubicBezTo>
                  <a:cubicBezTo>
                    <a:pt x="104860" y="141724"/>
                    <a:pt x="104423" y="144011"/>
                    <a:pt x="104322" y="144314"/>
                  </a:cubicBezTo>
                  <a:cubicBezTo>
                    <a:pt x="104221" y="144650"/>
                    <a:pt x="103009" y="146803"/>
                    <a:pt x="103009" y="147140"/>
                  </a:cubicBezTo>
                  <a:cubicBezTo>
                    <a:pt x="103009" y="147476"/>
                    <a:pt x="101360" y="149528"/>
                    <a:pt x="101360" y="149528"/>
                  </a:cubicBezTo>
                  <a:cubicBezTo>
                    <a:pt x="101360" y="149528"/>
                    <a:pt x="99509" y="151580"/>
                    <a:pt x="98870" y="151816"/>
                  </a:cubicBezTo>
                  <a:cubicBezTo>
                    <a:pt x="98230" y="152051"/>
                    <a:pt x="95942" y="153868"/>
                    <a:pt x="95942" y="153868"/>
                  </a:cubicBezTo>
                  <a:cubicBezTo>
                    <a:pt x="95942" y="153868"/>
                    <a:pt x="95201" y="155516"/>
                    <a:pt x="95201" y="155819"/>
                  </a:cubicBezTo>
                  <a:cubicBezTo>
                    <a:pt x="95201" y="156155"/>
                    <a:pt x="95639" y="158308"/>
                    <a:pt x="95201" y="158645"/>
                  </a:cubicBezTo>
                  <a:cubicBezTo>
                    <a:pt x="94764" y="158981"/>
                    <a:pt x="94326" y="159957"/>
                    <a:pt x="92576" y="160596"/>
                  </a:cubicBezTo>
                  <a:cubicBezTo>
                    <a:pt x="90826" y="161235"/>
                    <a:pt x="88437" y="161807"/>
                    <a:pt x="87158" y="161907"/>
                  </a:cubicBezTo>
                  <a:cubicBezTo>
                    <a:pt x="85845" y="162008"/>
                    <a:pt x="85408" y="162109"/>
                    <a:pt x="83456" y="161907"/>
                  </a:cubicBezTo>
                  <a:cubicBezTo>
                    <a:pt x="81504" y="161706"/>
                    <a:pt x="80292" y="161571"/>
                    <a:pt x="79552" y="161571"/>
                  </a:cubicBezTo>
                  <a:cubicBezTo>
                    <a:pt x="78778" y="161571"/>
                    <a:pt x="76388" y="163320"/>
                    <a:pt x="76388" y="163758"/>
                  </a:cubicBezTo>
                  <a:cubicBezTo>
                    <a:pt x="76388" y="164195"/>
                    <a:pt x="75951" y="167996"/>
                    <a:pt x="77903" y="168871"/>
                  </a:cubicBezTo>
                  <a:cubicBezTo>
                    <a:pt x="79855" y="169746"/>
                    <a:pt x="81908" y="170082"/>
                    <a:pt x="82345" y="170284"/>
                  </a:cubicBezTo>
                  <a:cubicBezTo>
                    <a:pt x="82783" y="170486"/>
                    <a:pt x="84398" y="172773"/>
                    <a:pt x="85273" y="173211"/>
                  </a:cubicBezTo>
                  <a:cubicBezTo>
                    <a:pt x="86148" y="173648"/>
                    <a:pt x="87225" y="174085"/>
                    <a:pt x="87898" y="174085"/>
                  </a:cubicBezTo>
                  <a:cubicBezTo>
                    <a:pt x="88538" y="174085"/>
                    <a:pt x="95269" y="172235"/>
                    <a:pt x="88336" y="175834"/>
                  </a:cubicBezTo>
                  <a:cubicBezTo>
                    <a:pt x="81369" y="179434"/>
                    <a:pt x="81067" y="181822"/>
                    <a:pt x="81067" y="181822"/>
                  </a:cubicBezTo>
                  <a:lnTo>
                    <a:pt x="80292" y="188550"/>
                  </a:lnTo>
                  <a:cubicBezTo>
                    <a:pt x="80292" y="188550"/>
                    <a:pt x="80191" y="191712"/>
                    <a:pt x="80191" y="192150"/>
                  </a:cubicBezTo>
                  <a:cubicBezTo>
                    <a:pt x="80191" y="192587"/>
                    <a:pt x="79114" y="196926"/>
                    <a:pt x="79114" y="196926"/>
                  </a:cubicBezTo>
                  <a:lnTo>
                    <a:pt x="77162" y="201165"/>
                  </a:lnTo>
                  <a:lnTo>
                    <a:pt x="74638" y="203654"/>
                  </a:lnTo>
                  <a:lnTo>
                    <a:pt x="71374" y="205942"/>
                  </a:lnTo>
                  <a:lnTo>
                    <a:pt x="69523" y="207691"/>
                  </a:lnTo>
                  <a:lnTo>
                    <a:pt x="67032" y="208465"/>
                  </a:lnTo>
                  <a:cubicBezTo>
                    <a:pt x="67032" y="208465"/>
                    <a:pt x="64643" y="210315"/>
                    <a:pt x="64643" y="210752"/>
                  </a:cubicBezTo>
                  <a:cubicBezTo>
                    <a:pt x="64643" y="211190"/>
                    <a:pt x="64879" y="214116"/>
                    <a:pt x="64643" y="214789"/>
                  </a:cubicBezTo>
                  <a:cubicBezTo>
                    <a:pt x="64441" y="215428"/>
                    <a:pt x="66393" y="218254"/>
                    <a:pt x="66393" y="218254"/>
                  </a:cubicBezTo>
                  <a:cubicBezTo>
                    <a:pt x="66393" y="218254"/>
                    <a:pt x="65956" y="221954"/>
                    <a:pt x="65956" y="222291"/>
                  </a:cubicBezTo>
                  <a:cubicBezTo>
                    <a:pt x="65956" y="222627"/>
                    <a:pt x="64744" y="225453"/>
                    <a:pt x="64744" y="225453"/>
                  </a:cubicBezTo>
                  <a:lnTo>
                    <a:pt x="63465" y="227942"/>
                  </a:lnTo>
                  <a:lnTo>
                    <a:pt x="63465" y="230129"/>
                  </a:lnTo>
                  <a:cubicBezTo>
                    <a:pt x="63465" y="230129"/>
                    <a:pt x="61850" y="234031"/>
                    <a:pt x="61614" y="234367"/>
                  </a:cubicBezTo>
                  <a:cubicBezTo>
                    <a:pt x="61412" y="234704"/>
                    <a:pt x="60436" y="236419"/>
                    <a:pt x="59763" y="237193"/>
                  </a:cubicBezTo>
                  <a:cubicBezTo>
                    <a:pt x="59090" y="237967"/>
                    <a:pt x="57811" y="239480"/>
                    <a:pt x="57475" y="239817"/>
                  </a:cubicBezTo>
                  <a:cubicBezTo>
                    <a:pt x="57138" y="240153"/>
                    <a:pt x="56499" y="241869"/>
                    <a:pt x="56499" y="242407"/>
                  </a:cubicBezTo>
                  <a:cubicBezTo>
                    <a:pt x="56499" y="242945"/>
                    <a:pt x="56499" y="245771"/>
                    <a:pt x="56499" y="245771"/>
                  </a:cubicBezTo>
                  <a:lnTo>
                    <a:pt x="56499" y="249236"/>
                  </a:lnTo>
                  <a:cubicBezTo>
                    <a:pt x="56499" y="249236"/>
                    <a:pt x="55725" y="252163"/>
                    <a:pt x="55624" y="252499"/>
                  </a:cubicBezTo>
                  <a:cubicBezTo>
                    <a:pt x="55523" y="252836"/>
                    <a:pt x="55893" y="255224"/>
                    <a:pt x="55893" y="255224"/>
                  </a:cubicBezTo>
                  <a:lnTo>
                    <a:pt x="54749" y="259900"/>
                  </a:lnTo>
                  <a:lnTo>
                    <a:pt x="54749" y="264879"/>
                  </a:lnTo>
                  <a:lnTo>
                    <a:pt x="53772" y="267704"/>
                  </a:lnTo>
                  <a:lnTo>
                    <a:pt x="51484" y="269218"/>
                  </a:lnTo>
                  <a:lnTo>
                    <a:pt x="48018" y="270093"/>
                  </a:lnTo>
                  <a:lnTo>
                    <a:pt x="45090" y="271606"/>
                  </a:lnTo>
                  <a:lnTo>
                    <a:pt x="43037" y="275307"/>
                  </a:lnTo>
                  <a:cubicBezTo>
                    <a:pt x="43037" y="275307"/>
                    <a:pt x="41724" y="277594"/>
                    <a:pt x="41623" y="277897"/>
                  </a:cubicBezTo>
                  <a:cubicBezTo>
                    <a:pt x="41522" y="278233"/>
                    <a:pt x="40109" y="281497"/>
                    <a:pt x="40109" y="281497"/>
                  </a:cubicBezTo>
                  <a:lnTo>
                    <a:pt x="37921" y="284221"/>
                  </a:lnTo>
                  <a:lnTo>
                    <a:pt x="33344" y="286408"/>
                  </a:lnTo>
                  <a:lnTo>
                    <a:pt x="31157" y="287720"/>
                  </a:lnTo>
                  <a:lnTo>
                    <a:pt x="29205" y="290983"/>
                  </a:lnTo>
                  <a:lnTo>
                    <a:pt x="24426" y="295322"/>
                  </a:lnTo>
                  <a:lnTo>
                    <a:pt x="23214" y="299460"/>
                  </a:lnTo>
                  <a:cubicBezTo>
                    <a:pt x="23214" y="299460"/>
                    <a:pt x="22339" y="301411"/>
                    <a:pt x="22137" y="301848"/>
                  </a:cubicBezTo>
                  <a:cubicBezTo>
                    <a:pt x="21935" y="302286"/>
                    <a:pt x="19950" y="304876"/>
                    <a:pt x="19950" y="304876"/>
                  </a:cubicBezTo>
                  <a:lnTo>
                    <a:pt x="19950" y="308341"/>
                  </a:lnTo>
                  <a:cubicBezTo>
                    <a:pt x="19950" y="308341"/>
                    <a:pt x="22003" y="309115"/>
                    <a:pt x="22238" y="309956"/>
                  </a:cubicBezTo>
                  <a:cubicBezTo>
                    <a:pt x="22474" y="310830"/>
                    <a:pt x="22878" y="312781"/>
                    <a:pt x="22575" y="312781"/>
                  </a:cubicBezTo>
                  <a:cubicBezTo>
                    <a:pt x="22238" y="312781"/>
                    <a:pt x="20724" y="314632"/>
                    <a:pt x="20724" y="315069"/>
                  </a:cubicBezTo>
                  <a:cubicBezTo>
                    <a:pt x="20724" y="315506"/>
                    <a:pt x="19950" y="318332"/>
                    <a:pt x="19950" y="318332"/>
                  </a:cubicBezTo>
                  <a:lnTo>
                    <a:pt x="19950" y="320485"/>
                  </a:lnTo>
                  <a:cubicBezTo>
                    <a:pt x="19950" y="320485"/>
                    <a:pt x="20589" y="321158"/>
                    <a:pt x="19950" y="321797"/>
                  </a:cubicBezTo>
                  <a:cubicBezTo>
                    <a:pt x="19310" y="322436"/>
                    <a:pt x="18873" y="323748"/>
                    <a:pt x="18873" y="324084"/>
                  </a:cubicBezTo>
                  <a:cubicBezTo>
                    <a:pt x="18873" y="324421"/>
                    <a:pt x="20522" y="326574"/>
                    <a:pt x="20926" y="326910"/>
                  </a:cubicBezTo>
                  <a:cubicBezTo>
                    <a:pt x="21363" y="327246"/>
                    <a:pt x="23012" y="328424"/>
                    <a:pt x="23416" y="328525"/>
                  </a:cubicBezTo>
                  <a:cubicBezTo>
                    <a:pt x="23854" y="328626"/>
                    <a:pt x="25032" y="329500"/>
                    <a:pt x="25705" y="330039"/>
                  </a:cubicBezTo>
                  <a:cubicBezTo>
                    <a:pt x="26344" y="330577"/>
                    <a:pt x="28733" y="333402"/>
                    <a:pt x="28733" y="333402"/>
                  </a:cubicBezTo>
                  <a:cubicBezTo>
                    <a:pt x="28733" y="333402"/>
                    <a:pt x="29710" y="334613"/>
                    <a:pt x="30147" y="334815"/>
                  </a:cubicBezTo>
                  <a:cubicBezTo>
                    <a:pt x="30585" y="335017"/>
                    <a:pt x="32267" y="337540"/>
                    <a:pt x="32267" y="337540"/>
                  </a:cubicBezTo>
                  <a:lnTo>
                    <a:pt x="33849" y="340366"/>
                  </a:lnTo>
                  <a:lnTo>
                    <a:pt x="33849" y="343091"/>
                  </a:lnTo>
                  <a:lnTo>
                    <a:pt x="34186" y="344705"/>
                  </a:lnTo>
                  <a:lnTo>
                    <a:pt x="36912" y="345580"/>
                  </a:lnTo>
                  <a:lnTo>
                    <a:pt x="38224" y="346354"/>
                  </a:lnTo>
                  <a:cubicBezTo>
                    <a:pt x="38224" y="346354"/>
                    <a:pt x="38864" y="347329"/>
                    <a:pt x="39200" y="347666"/>
                  </a:cubicBezTo>
                  <a:cubicBezTo>
                    <a:pt x="39537" y="348002"/>
                    <a:pt x="41590" y="348877"/>
                    <a:pt x="41590" y="348877"/>
                  </a:cubicBezTo>
                  <a:lnTo>
                    <a:pt x="44517" y="351265"/>
                  </a:lnTo>
                  <a:cubicBezTo>
                    <a:pt x="44517" y="351265"/>
                    <a:pt x="44517" y="352039"/>
                    <a:pt x="44316" y="352342"/>
                  </a:cubicBezTo>
                  <a:cubicBezTo>
                    <a:pt x="44080" y="352678"/>
                    <a:pt x="43003" y="353519"/>
                    <a:pt x="42566" y="353754"/>
                  </a:cubicBezTo>
                  <a:cubicBezTo>
                    <a:pt x="42128" y="353956"/>
                    <a:pt x="41253" y="354528"/>
                    <a:pt x="41253" y="354528"/>
                  </a:cubicBezTo>
                  <a:lnTo>
                    <a:pt x="40816" y="357623"/>
                  </a:lnTo>
                  <a:lnTo>
                    <a:pt x="40816" y="358767"/>
                  </a:lnTo>
                  <a:lnTo>
                    <a:pt x="44585" y="360079"/>
                  </a:lnTo>
                  <a:lnTo>
                    <a:pt x="47345" y="361525"/>
                  </a:lnTo>
                  <a:lnTo>
                    <a:pt x="46167" y="363543"/>
                  </a:lnTo>
                  <a:lnTo>
                    <a:pt x="44585" y="365730"/>
                  </a:lnTo>
                  <a:lnTo>
                    <a:pt x="44013" y="368320"/>
                  </a:lnTo>
                  <a:lnTo>
                    <a:pt x="47479" y="372525"/>
                  </a:lnTo>
                  <a:lnTo>
                    <a:pt x="46739" y="376865"/>
                  </a:lnTo>
                  <a:cubicBezTo>
                    <a:pt x="46739" y="376865"/>
                    <a:pt x="46739" y="377874"/>
                    <a:pt x="45292" y="379320"/>
                  </a:cubicBezTo>
                  <a:cubicBezTo>
                    <a:pt x="43845" y="380767"/>
                    <a:pt x="42397" y="381642"/>
                    <a:pt x="42397" y="381642"/>
                  </a:cubicBezTo>
                  <a:cubicBezTo>
                    <a:pt x="42397" y="381642"/>
                    <a:pt x="40816" y="380767"/>
                    <a:pt x="39368" y="382214"/>
                  </a:cubicBezTo>
                  <a:cubicBezTo>
                    <a:pt x="37921" y="383660"/>
                    <a:pt x="36339" y="386284"/>
                    <a:pt x="36339" y="386284"/>
                  </a:cubicBezTo>
                  <a:lnTo>
                    <a:pt x="33277" y="388302"/>
                  </a:lnTo>
                  <a:cubicBezTo>
                    <a:pt x="33277" y="388302"/>
                    <a:pt x="33008" y="389883"/>
                    <a:pt x="33008" y="390892"/>
                  </a:cubicBezTo>
                  <a:cubicBezTo>
                    <a:pt x="33008" y="391902"/>
                    <a:pt x="35902" y="395972"/>
                    <a:pt x="35902" y="395972"/>
                  </a:cubicBezTo>
                  <a:lnTo>
                    <a:pt x="37921" y="397587"/>
                  </a:lnTo>
                  <a:lnTo>
                    <a:pt x="38224" y="402061"/>
                  </a:lnTo>
                  <a:lnTo>
                    <a:pt x="37349" y="404819"/>
                  </a:lnTo>
                  <a:cubicBezTo>
                    <a:pt x="37349" y="404819"/>
                    <a:pt x="35027" y="406838"/>
                    <a:pt x="34724" y="407275"/>
                  </a:cubicBezTo>
                  <a:cubicBezTo>
                    <a:pt x="34421" y="407712"/>
                    <a:pt x="32839" y="410908"/>
                    <a:pt x="32839" y="411345"/>
                  </a:cubicBezTo>
                  <a:cubicBezTo>
                    <a:pt x="32839" y="411783"/>
                    <a:pt x="26310" y="416257"/>
                    <a:pt x="26310" y="416257"/>
                  </a:cubicBezTo>
                  <a:lnTo>
                    <a:pt x="22979" y="421606"/>
                  </a:lnTo>
                  <a:cubicBezTo>
                    <a:pt x="22979" y="421606"/>
                    <a:pt x="20791" y="425508"/>
                    <a:pt x="20522" y="425945"/>
                  </a:cubicBezTo>
                  <a:cubicBezTo>
                    <a:pt x="20219" y="426382"/>
                    <a:pt x="19007" y="428973"/>
                    <a:pt x="19007" y="428973"/>
                  </a:cubicBezTo>
                  <a:lnTo>
                    <a:pt x="14733" y="430419"/>
                  </a:lnTo>
                  <a:lnTo>
                    <a:pt x="14733" y="433447"/>
                  </a:lnTo>
                  <a:lnTo>
                    <a:pt x="15743" y="434019"/>
                  </a:lnTo>
                  <a:lnTo>
                    <a:pt x="16180" y="436205"/>
                  </a:lnTo>
                  <a:lnTo>
                    <a:pt x="14733" y="437954"/>
                  </a:lnTo>
                  <a:lnTo>
                    <a:pt x="11031" y="438526"/>
                  </a:lnTo>
                  <a:lnTo>
                    <a:pt x="9517" y="440410"/>
                  </a:lnTo>
                  <a:lnTo>
                    <a:pt x="9517" y="443875"/>
                  </a:lnTo>
                  <a:lnTo>
                    <a:pt x="10392" y="448955"/>
                  </a:lnTo>
                  <a:lnTo>
                    <a:pt x="11704" y="451713"/>
                  </a:lnTo>
                  <a:lnTo>
                    <a:pt x="10560" y="453159"/>
                  </a:lnTo>
                  <a:lnTo>
                    <a:pt x="11704" y="454909"/>
                  </a:lnTo>
                  <a:cubicBezTo>
                    <a:pt x="11704" y="454909"/>
                    <a:pt x="12714" y="455649"/>
                    <a:pt x="12714" y="456221"/>
                  </a:cubicBezTo>
                  <a:cubicBezTo>
                    <a:pt x="12714" y="456793"/>
                    <a:pt x="13421" y="458239"/>
                    <a:pt x="13421" y="458239"/>
                  </a:cubicBezTo>
                  <a:lnTo>
                    <a:pt x="11839" y="460426"/>
                  </a:lnTo>
                  <a:lnTo>
                    <a:pt x="9517" y="461435"/>
                  </a:lnTo>
                  <a:lnTo>
                    <a:pt x="9517" y="463016"/>
                  </a:lnTo>
                  <a:cubicBezTo>
                    <a:pt x="9517" y="463016"/>
                    <a:pt x="11839" y="462007"/>
                    <a:pt x="11974" y="463016"/>
                  </a:cubicBezTo>
                  <a:cubicBezTo>
                    <a:pt x="12108" y="464025"/>
                    <a:pt x="13858" y="465909"/>
                    <a:pt x="13858" y="465909"/>
                  </a:cubicBezTo>
                  <a:cubicBezTo>
                    <a:pt x="13858" y="465909"/>
                    <a:pt x="15474" y="465337"/>
                    <a:pt x="15608" y="465909"/>
                  </a:cubicBezTo>
                  <a:cubicBezTo>
                    <a:pt x="15743" y="466481"/>
                    <a:pt x="15743" y="468230"/>
                    <a:pt x="15743" y="468667"/>
                  </a:cubicBezTo>
                  <a:cubicBezTo>
                    <a:pt x="15743" y="469105"/>
                    <a:pt x="15036" y="470988"/>
                    <a:pt x="15036" y="470988"/>
                  </a:cubicBezTo>
                  <a:lnTo>
                    <a:pt x="14026" y="472872"/>
                  </a:lnTo>
                  <a:lnTo>
                    <a:pt x="12209" y="474016"/>
                  </a:lnTo>
                  <a:lnTo>
                    <a:pt x="11267" y="475765"/>
                  </a:lnTo>
                  <a:lnTo>
                    <a:pt x="11267" y="476909"/>
                  </a:lnTo>
                  <a:cubicBezTo>
                    <a:pt x="11267" y="476909"/>
                    <a:pt x="13017" y="477918"/>
                    <a:pt x="13152" y="478356"/>
                  </a:cubicBezTo>
                  <a:cubicBezTo>
                    <a:pt x="13286" y="478793"/>
                    <a:pt x="15036" y="480811"/>
                    <a:pt x="15036" y="480811"/>
                  </a:cubicBezTo>
                  <a:lnTo>
                    <a:pt x="17628" y="484713"/>
                  </a:lnTo>
                  <a:lnTo>
                    <a:pt x="18940" y="488178"/>
                  </a:lnTo>
                  <a:lnTo>
                    <a:pt x="19950" y="489759"/>
                  </a:lnTo>
                  <a:lnTo>
                    <a:pt x="19950" y="492518"/>
                  </a:lnTo>
                  <a:cubicBezTo>
                    <a:pt x="19950" y="492518"/>
                    <a:pt x="19243" y="494267"/>
                    <a:pt x="19075" y="494839"/>
                  </a:cubicBezTo>
                  <a:cubicBezTo>
                    <a:pt x="18940" y="495411"/>
                    <a:pt x="18368" y="497598"/>
                    <a:pt x="18368" y="497598"/>
                  </a:cubicBezTo>
                  <a:cubicBezTo>
                    <a:pt x="18368" y="497598"/>
                    <a:pt x="17796" y="499178"/>
                    <a:pt x="17358" y="499481"/>
                  </a:cubicBezTo>
                  <a:cubicBezTo>
                    <a:pt x="16921" y="499784"/>
                    <a:pt x="17055" y="501937"/>
                    <a:pt x="16786" y="502072"/>
                  </a:cubicBezTo>
                  <a:cubicBezTo>
                    <a:pt x="16517" y="502206"/>
                    <a:pt x="16517" y="503081"/>
                    <a:pt x="16652" y="503518"/>
                  </a:cubicBezTo>
                  <a:cubicBezTo>
                    <a:pt x="16786" y="503955"/>
                    <a:pt x="17392" y="505402"/>
                    <a:pt x="17392" y="505402"/>
                  </a:cubicBezTo>
                  <a:cubicBezTo>
                    <a:pt x="17392" y="505402"/>
                    <a:pt x="17964" y="508160"/>
                    <a:pt x="17964" y="508598"/>
                  </a:cubicBezTo>
                  <a:cubicBezTo>
                    <a:pt x="17964" y="509035"/>
                    <a:pt x="18267" y="512365"/>
                    <a:pt x="18267" y="512365"/>
                  </a:cubicBezTo>
                  <a:lnTo>
                    <a:pt x="18570" y="515998"/>
                  </a:lnTo>
                  <a:lnTo>
                    <a:pt x="18132" y="519901"/>
                  </a:lnTo>
                  <a:lnTo>
                    <a:pt x="17695" y="525552"/>
                  </a:lnTo>
                  <a:lnTo>
                    <a:pt x="16820" y="527436"/>
                  </a:lnTo>
                  <a:lnTo>
                    <a:pt x="16248" y="530766"/>
                  </a:lnTo>
                  <a:lnTo>
                    <a:pt x="16685" y="535980"/>
                  </a:lnTo>
                  <a:lnTo>
                    <a:pt x="16954" y="541632"/>
                  </a:lnTo>
                  <a:lnTo>
                    <a:pt x="18974" y="544962"/>
                  </a:lnTo>
                  <a:lnTo>
                    <a:pt x="20555" y="548595"/>
                  </a:lnTo>
                  <a:lnTo>
                    <a:pt x="21700" y="553944"/>
                  </a:lnTo>
                  <a:lnTo>
                    <a:pt x="20825" y="558283"/>
                  </a:lnTo>
                  <a:lnTo>
                    <a:pt x="21397" y="565381"/>
                  </a:lnTo>
                  <a:lnTo>
                    <a:pt x="26479" y="571739"/>
                  </a:lnTo>
                  <a:lnTo>
                    <a:pt x="28801" y="574498"/>
                  </a:lnTo>
                  <a:lnTo>
                    <a:pt x="30383" y="582302"/>
                  </a:lnTo>
                  <a:lnTo>
                    <a:pt x="30383" y="586373"/>
                  </a:lnTo>
                  <a:lnTo>
                    <a:pt x="31392" y="591015"/>
                  </a:lnTo>
                  <a:cubicBezTo>
                    <a:pt x="31392" y="591015"/>
                    <a:pt x="30820" y="595792"/>
                    <a:pt x="30820" y="596666"/>
                  </a:cubicBezTo>
                  <a:cubicBezTo>
                    <a:pt x="30820" y="597541"/>
                    <a:pt x="29070" y="600871"/>
                    <a:pt x="29070" y="600871"/>
                  </a:cubicBezTo>
                  <a:cubicBezTo>
                    <a:pt x="29070" y="600871"/>
                    <a:pt x="27926" y="604773"/>
                    <a:pt x="27623" y="605951"/>
                  </a:cubicBezTo>
                  <a:cubicBezTo>
                    <a:pt x="27320" y="607095"/>
                    <a:pt x="26310" y="609146"/>
                    <a:pt x="25738" y="609718"/>
                  </a:cubicBezTo>
                  <a:cubicBezTo>
                    <a:pt x="25166" y="610290"/>
                    <a:pt x="23147" y="613351"/>
                    <a:pt x="23147" y="613923"/>
                  </a:cubicBezTo>
                  <a:cubicBezTo>
                    <a:pt x="23147" y="614495"/>
                    <a:pt x="22575" y="619878"/>
                    <a:pt x="22575" y="619878"/>
                  </a:cubicBezTo>
                  <a:cubicBezTo>
                    <a:pt x="22575" y="619878"/>
                    <a:pt x="18536" y="624654"/>
                    <a:pt x="18233" y="625092"/>
                  </a:cubicBezTo>
                  <a:cubicBezTo>
                    <a:pt x="17930" y="625529"/>
                    <a:pt x="15474" y="628994"/>
                    <a:pt x="14901" y="629869"/>
                  </a:cubicBezTo>
                  <a:cubicBezTo>
                    <a:pt x="14329" y="630743"/>
                    <a:pt x="12882" y="632627"/>
                    <a:pt x="12714" y="633199"/>
                  </a:cubicBezTo>
                  <a:cubicBezTo>
                    <a:pt x="12579" y="633771"/>
                    <a:pt x="9685" y="636832"/>
                    <a:pt x="9517" y="637101"/>
                  </a:cubicBezTo>
                  <a:cubicBezTo>
                    <a:pt x="9382" y="637404"/>
                    <a:pt x="7767" y="639120"/>
                    <a:pt x="7767" y="639994"/>
                  </a:cubicBezTo>
                  <a:cubicBezTo>
                    <a:pt x="7767" y="640869"/>
                    <a:pt x="7767" y="645511"/>
                    <a:pt x="7767" y="645511"/>
                  </a:cubicBezTo>
                  <a:cubicBezTo>
                    <a:pt x="7767" y="645511"/>
                    <a:pt x="7901" y="648269"/>
                    <a:pt x="7767" y="649413"/>
                  </a:cubicBezTo>
                  <a:cubicBezTo>
                    <a:pt x="7632" y="650557"/>
                    <a:pt x="7767" y="654762"/>
                    <a:pt x="7767" y="654762"/>
                  </a:cubicBezTo>
                  <a:cubicBezTo>
                    <a:pt x="7767" y="654762"/>
                    <a:pt x="6892" y="656780"/>
                    <a:pt x="6757" y="657218"/>
                  </a:cubicBezTo>
                  <a:cubicBezTo>
                    <a:pt x="6623" y="657655"/>
                    <a:pt x="6185" y="660245"/>
                    <a:pt x="6017" y="660851"/>
                  </a:cubicBezTo>
                  <a:cubicBezTo>
                    <a:pt x="5882" y="661423"/>
                    <a:pt x="3695" y="664753"/>
                    <a:pt x="3695" y="664753"/>
                  </a:cubicBezTo>
                  <a:cubicBezTo>
                    <a:pt x="3695" y="664753"/>
                    <a:pt x="2180" y="667377"/>
                    <a:pt x="1877" y="668083"/>
                  </a:cubicBezTo>
                  <a:cubicBezTo>
                    <a:pt x="1608" y="668823"/>
                    <a:pt x="800" y="670539"/>
                    <a:pt x="800" y="672154"/>
                  </a:cubicBezTo>
                  <a:cubicBezTo>
                    <a:pt x="800" y="673735"/>
                    <a:pt x="800" y="680261"/>
                    <a:pt x="800" y="680261"/>
                  </a:cubicBezTo>
                  <a:lnTo>
                    <a:pt x="1810" y="682851"/>
                  </a:lnTo>
                  <a:lnTo>
                    <a:pt x="194" y="689814"/>
                  </a:lnTo>
                  <a:cubicBezTo>
                    <a:pt x="194" y="689814"/>
                    <a:pt x="-243" y="700108"/>
                    <a:pt x="194" y="700680"/>
                  </a:cubicBezTo>
                  <a:cubicBezTo>
                    <a:pt x="632" y="701252"/>
                    <a:pt x="632" y="705894"/>
                    <a:pt x="935" y="706634"/>
                  </a:cubicBezTo>
                  <a:cubicBezTo>
                    <a:pt x="1238" y="707341"/>
                    <a:pt x="2820" y="710267"/>
                    <a:pt x="2820" y="710267"/>
                  </a:cubicBezTo>
                  <a:lnTo>
                    <a:pt x="9147" y="712723"/>
                  </a:lnTo>
                  <a:lnTo>
                    <a:pt x="9147" y="712723"/>
                  </a:lnTo>
                  <a:cubicBezTo>
                    <a:pt x="9416" y="712555"/>
                    <a:pt x="9685" y="712420"/>
                    <a:pt x="9921" y="712420"/>
                  </a:cubicBezTo>
                  <a:cubicBezTo>
                    <a:pt x="10930" y="712420"/>
                    <a:pt x="15575" y="712420"/>
                    <a:pt x="15575" y="712420"/>
                  </a:cubicBezTo>
                  <a:lnTo>
                    <a:pt x="17325" y="712420"/>
                  </a:lnTo>
                  <a:lnTo>
                    <a:pt x="22541" y="712420"/>
                  </a:lnTo>
                  <a:cubicBezTo>
                    <a:pt x="22541" y="712420"/>
                    <a:pt x="27455" y="712858"/>
                    <a:pt x="28061" y="712420"/>
                  </a:cubicBezTo>
                  <a:cubicBezTo>
                    <a:pt x="28633" y="711983"/>
                    <a:pt x="34590" y="712420"/>
                    <a:pt x="34590" y="712420"/>
                  </a:cubicBezTo>
                  <a:cubicBezTo>
                    <a:pt x="34590" y="712420"/>
                    <a:pt x="38796" y="712622"/>
                    <a:pt x="39671" y="712218"/>
                  </a:cubicBezTo>
                  <a:cubicBezTo>
                    <a:pt x="40546" y="711848"/>
                    <a:pt x="45763" y="709796"/>
                    <a:pt x="46200" y="709359"/>
                  </a:cubicBezTo>
                  <a:cubicBezTo>
                    <a:pt x="46638" y="708922"/>
                    <a:pt x="48522" y="707341"/>
                    <a:pt x="48522" y="707341"/>
                  </a:cubicBezTo>
                  <a:cubicBezTo>
                    <a:pt x="48522" y="707341"/>
                    <a:pt x="51282" y="705457"/>
                    <a:pt x="51720" y="705019"/>
                  </a:cubicBezTo>
                  <a:cubicBezTo>
                    <a:pt x="52157" y="704582"/>
                    <a:pt x="53032" y="702698"/>
                    <a:pt x="53470" y="702261"/>
                  </a:cubicBezTo>
                  <a:cubicBezTo>
                    <a:pt x="53907" y="701824"/>
                    <a:pt x="55051" y="698493"/>
                    <a:pt x="55657" y="698493"/>
                  </a:cubicBezTo>
                  <a:cubicBezTo>
                    <a:pt x="56229" y="698493"/>
                    <a:pt x="56667" y="698931"/>
                    <a:pt x="57239" y="698493"/>
                  </a:cubicBezTo>
                  <a:cubicBezTo>
                    <a:pt x="57811" y="698056"/>
                    <a:pt x="60874" y="697787"/>
                    <a:pt x="61446" y="697787"/>
                  </a:cubicBezTo>
                  <a:cubicBezTo>
                    <a:pt x="62018" y="697787"/>
                    <a:pt x="64778" y="698090"/>
                    <a:pt x="65383" y="697787"/>
                  </a:cubicBezTo>
                  <a:cubicBezTo>
                    <a:pt x="65956" y="697484"/>
                    <a:pt x="67571" y="698359"/>
                    <a:pt x="67975" y="697787"/>
                  </a:cubicBezTo>
                  <a:cubicBezTo>
                    <a:pt x="68412" y="697215"/>
                    <a:pt x="70600" y="696643"/>
                    <a:pt x="71172" y="696643"/>
                  </a:cubicBezTo>
                  <a:cubicBezTo>
                    <a:pt x="71744" y="696643"/>
                    <a:pt x="74504" y="695062"/>
                    <a:pt x="74504" y="695062"/>
                  </a:cubicBezTo>
                  <a:lnTo>
                    <a:pt x="78139" y="691295"/>
                  </a:lnTo>
                  <a:lnTo>
                    <a:pt x="82917" y="688704"/>
                  </a:lnTo>
                  <a:cubicBezTo>
                    <a:pt x="82917" y="688704"/>
                    <a:pt x="87427" y="688132"/>
                    <a:pt x="87831" y="688132"/>
                  </a:cubicBezTo>
                  <a:cubicBezTo>
                    <a:pt x="88268" y="688132"/>
                    <a:pt x="95639" y="688132"/>
                    <a:pt x="95639" y="688132"/>
                  </a:cubicBezTo>
                  <a:cubicBezTo>
                    <a:pt x="95639" y="688132"/>
                    <a:pt x="97961" y="687560"/>
                    <a:pt x="99577" y="687426"/>
                  </a:cubicBezTo>
                  <a:cubicBezTo>
                    <a:pt x="101158" y="687291"/>
                    <a:pt x="104625" y="685542"/>
                    <a:pt x="105230" y="685542"/>
                  </a:cubicBezTo>
                  <a:cubicBezTo>
                    <a:pt x="105803" y="685542"/>
                    <a:pt x="106240" y="684802"/>
                    <a:pt x="106812" y="684667"/>
                  </a:cubicBezTo>
                  <a:cubicBezTo>
                    <a:pt x="107384" y="684533"/>
                    <a:pt x="109404" y="685307"/>
                    <a:pt x="110009" y="685037"/>
                  </a:cubicBezTo>
                  <a:cubicBezTo>
                    <a:pt x="110581" y="684735"/>
                    <a:pt x="114216" y="684667"/>
                    <a:pt x="114216" y="684667"/>
                  </a:cubicBezTo>
                  <a:lnTo>
                    <a:pt x="114788" y="684667"/>
                  </a:lnTo>
                  <a:lnTo>
                    <a:pt x="118692" y="681909"/>
                  </a:lnTo>
                  <a:cubicBezTo>
                    <a:pt x="118692" y="681909"/>
                    <a:pt x="119264" y="681472"/>
                    <a:pt x="119836" y="681169"/>
                  </a:cubicBezTo>
                  <a:cubicBezTo>
                    <a:pt x="120409" y="680866"/>
                    <a:pt x="121721" y="679723"/>
                    <a:pt x="122293" y="679588"/>
                  </a:cubicBezTo>
                  <a:cubicBezTo>
                    <a:pt x="122865" y="679453"/>
                    <a:pt x="123942" y="678007"/>
                    <a:pt x="123942" y="678007"/>
                  </a:cubicBezTo>
                  <a:lnTo>
                    <a:pt x="124313" y="675988"/>
                  </a:lnTo>
                  <a:lnTo>
                    <a:pt x="124313" y="673365"/>
                  </a:lnTo>
                  <a:lnTo>
                    <a:pt x="126500" y="671783"/>
                  </a:lnTo>
                  <a:lnTo>
                    <a:pt x="128519" y="670034"/>
                  </a:lnTo>
                  <a:cubicBezTo>
                    <a:pt x="128519" y="670034"/>
                    <a:pt x="128957" y="668722"/>
                    <a:pt x="129529" y="668722"/>
                  </a:cubicBezTo>
                  <a:cubicBezTo>
                    <a:pt x="130101" y="668722"/>
                    <a:pt x="131986" y="666973"/>
                    <a:pt x="131986" y="666973"/>
                  </a:cubicBezTo>
                  <a:cubicBezTo>
                    <a:pt x="131986" y="666973"/>
                    <a:pt x="134308" y="664517"/>
                    <a:pt x="134745" y="664517"/>
                  </a:cubicBezTo>
                  <a:cubicBezTo>
                    <a:pt x="135183" y="664517"/>
                    <a:pt x="136933" y="662331"/>
                    <a:pt x="136933" y="662331"/>
                  </a:cubicBezTo>
                  <a:lnTo>
                    <a:pt x="138952" y="660582"/>
                  </a:lnTo>
                  <a:lnTo>
                    <a:pt x="143159" y="655502"/>
                  </a:lnTo>
                  <a:lnTo>
                    <a:pt x="147366" y="652878"/>
                  </a:lnTo>
                  <a:lnTo>
                    <a:pt x="153154" y="651566"/>
                  </a:lnTo>
                  <a:lnTo>
                    <a:pt x="158236" y="651566"/>
                  </a:lnTo>
                  <a:lnTo>
                    <a:pt x="161568" y="652138"/>
                  </a:lnTo>
                  <a:lnTo>
                    <a:pt x="164328" y="653282"/>
                  </a:lnTo>
                  <a:lnTo>
                    <a:pt x="166583" y="653147"/>
                  </a:lnTo>
                  <a:lnTo>
                    <a:pt x="167828" y="651566"/>
                  </a:lnTo>
                  <a:lnTo>
                    <a:pt x="167828" y="648942"/>
                  </a:lnTo>
                  <a:lnTo>
                    <a:pt x="166953" y="645612"/>
                  </a:lnTo>
                  <a:lnTo>
                    <a:pt x="166078" y="643425"/>
                  </a:lnTo>
                  <a:lnTo>
                    <a:pt x="165001" y="641541"/>
                  </a:lnTo>
                  <a:lnTo>
                    <a:pt x="164362" y="639220"/>
                  </a:lnTo>
                  <a:lnTo>
                    <a:pt x="164362" y="638480"/>
                  </a:lnTo>
                  <a:lnTo>
                    <a:pt x="165371" y="636731"/>
                  </a:lnTo>
                  <a:lnTo>
                    <a:pt x="166549" y="634982"/>
                  </a:lnTo>
                  <a:lnTo>
                    <a:pt x="166684" y="632526"/>
                  </a:lnTo>
                  <a:lnTo>
                    <a:pt x="166549" y="631651"/>
                  </a:lnTo>
                  <a:lnTo>
                    <a:pt x="167862" y="630642"/>
                  </a:lnTo>
                  <a:lnTo>
                    <a:pt x="170453" y="630642"/>
                  </a:lnTo>
                  <a:lnTo>
                    <a:pt x="173347" y="629902"/>
                  </a:lnTo>
                  <a:lnTo>
                    <a:pt x="176679" y="630642"/>
                  </a:lnTo>
                  <a:lnTo>
                    <a:pt x="180011" y="631786"/>
                  </a:lnTo>
                  <a:lnTo>
                    <a:pt x="180718" y="633098"/>
                  </a:lnTo>
                  <a:lnTo>
                    <a:pt x="184622" y="634242"/>
                  </a:lnTo>
                  <a:lnTo>
                    <a:pt x="191891" y="633872"/>
                  </a:lnTo>
                  <a:lnTo>
                    <a:pt x="197107" y="634511"/>
                  </a:lnTo>
                  <a:cubicBezTo>
                    <a:pt x="197107" y="634511"/>
                    <a:pt x="202122" y="634410"/>
                    <a:pt x="202324" y="634410"/>
                  </a:cubicBezTo>
                  <a:cubicBezTo>
                    <a:pt x="202526" y="634410"/>
                    <a:pt x="206901" y="634948"/>
                    <a:pt x="206901" y="634948"/>
                  </a:cubicBezTo>
                  <a:lnTo>
                    <a:pt x="211040" y="635856"/>
                  </a:lnTo>
                  <a:lnTo>
                    <a:pt x="213968" y="636731"/>
                  </a:lnTo>
                  <a:lnTo>
                    <a:pt x="216829" y="635083"/>
                  </a:lnTo>
                  <a:lnTo>
                    <a:pt x="218848" y="633064"/>
                  </a:lnTo>
                  <a:lnTo>
                    <a:pt x="220430" y="630878"/>
                  </a:lnTo>
                  <a:lnTo>
                    <a:pt x="221440" y="628859"/>
                  </a:lnTo>
                  <a:lnTo>
                    <a:pt x="224334" y="628859"/>
                  </a:lnTo>
                  <a:lnTo>
                    <a:pt x="226050" y="628859"/>
                  </a:lnTo>
                  <a:lnTo>
                    <a:pt x="226925" y="631752"/>
                  </a:lnTo>
                  <a:lnTo>
                    <a:pt x="227800" y="633636"/>
                  </a:lnTo>
                  <a:cubicBezTo>
                    <a:pt x="227800" y="633636"/>
                    <a:pt x="229248" y="635385"/>
                    <a:pt x="229820" y="635385"/>
                  </a:cubicBezTo>
                  <a:cubicBezTo>
                    <a:pt x="230392" y="635385"/>
                    <a:pt x="233724" y="635823"/>
                    <a:pt x="234026" y="635251"/>
                  </a:cubicBezTo>
                  <a:cubicBezTo>
                    <a:pt x="234330" y="634679"/>
                    <a:pt x="236988" y="632661"/>
                    <a:pt x="237426" y="632358"/>
                  </a:cubicBezTo>
                  <a:cubicBezTo>
                    <a:pt x="237863" y="632055"/>
                    <a:pt x="239108" y="630474"/>
                    <a:pt x="239108" y="630474"/>
                  </a:cubicBezTo>
                  <a:lnTo>
                    <a:pt x="239108" y="629734"/>
                  </a:lnTo>
                  <a:lnTo>
                    <a:pt x="239108" y="626269"/>
                  </a:lnTo>
                  <a:lnTo>
                    <a:pt x="240118" y="624688"/>
                  </a:lnTo>
                  <a:lnTo>
                    <a:pt x="241700" y="622939"/>
                  </a:lnTo>
                  <a:lnTo>
                    <a:pt x="242575" y="621795"/>
                  </a:lnTo>
                  <a:lnTo>
                    <a:pt x="243887" y="620349"/>
                  </a:lnTo>
                  <a:lnTo>
                    <a:pt x="247959" y="619339"/>
                  </a:lnTo>
                  <a:lnTo>
                    <a:pt x="251426" y="618465"/>
                  </a:lnTo>
                  <a:lnTo>
                    <a:pt x="253883" y="618465"/>
                  </a:lnTo>
                  <a:lnTo>
                    <a:pt x="254623" y="620786"/>
                  </a:lnTo>
                  <a:lnTo>
                    <a:pt x="257517" y="622670"/>
                  </a:lnTo>
                  <a:lnTo>
                    <a:pt x="261859" y="622939"/>
                  </a:lnTo>
                  <a:lnTo>
                    <a:pt x="265191" y="619911"/>
                  </a:lnTo>
                  <a:lnTo>
                    <a:pt x="265191" y="615874"/>
                  </a:lnTo>
                  <a:cubicBezTo>
                    <a:pt x="265191" y="615874"/>
                    <a:pt x="266806" y="614731"/>
                    <a:pt x="266941" y="614125"/>
                  </a:cubicBezTo>
                  <a:cubicBezTo>
                    <a:pt x="267075" y="613553"/>
                    <a:pt x="267513" y="611232"/>
                    <a:pt x="268119" y="611232"/>
                  </a:cubicBezTo>
                  <a:cubicBezTo>
                    <a:pt x="268691" y="611232"/>
                    <a:pt x="271181" y="608642"/>
                    <a:pt x="271181" y="608642"/>
                  </a:cubicBezTo>
                  <a:lnTo>
                    <a:pt x="275826" y="607902"/>
                  </a:lnTo>
                  <a:lnTo>
                    <a:pt x="278888" y="608642"/>
                  </a:lnTo>
                  <a:cubicBezTo>
                    <a:pt x="278888" y="608642"/>
                    <a:pt x="280470" y="610526"/>
                    <a:pt x="280907" y="610660"/>
                  </a:cubicBezTo>
                  <a:cubicBezTo>
                    <a:pt x="281345" y="610795"/>
                    <a:pt x="282792" y="611232"/>
                    <a:pt x="282792" y="611232"/>
                  </a:cubicBezTo>
                  <a:lnTo>
                    <a:pt x="285249" y="610357"/>
                  </a:lnTo>
                  <a:lnTo>
                    <a:pt x="286124" y="607902"/>
                  </a:lnTo>
                  <a:lnTo>
                    <a:pt x="286124" y="607162"/>
                  </a:lnTo>
                  <a:lnTo>
                    <a:pt x="286124" y="604572"/>
                  </a:lnTo>
                  <a:lnTo>
                    <a:pt x="286999" y="604572"/>
                  </a:lnTo>
                  <a:cubicBezTo>
                    <a:pt x="286999" y="604572"/>
                    <a:pt x="289893" y="602116"/>
                    <a:pt x="290330" y="601948"/>
                  </a:cubicBezTo>
                  <a:cubicBezTo>
                    <a:pt x="290768" y="601813"/>
                    <a:pt x="292518" y="599929"/>
                    <a:pt x="293393" y="599492"/>
                  </a:cubicBezTo>
                  <a:cubicBezTo>
                    <a:pt x="294268" y="599055"/>
                    <a:pt x="295581" y="597608"/>
                    <a:pt x="295581" y="597608"/>
                  </a:cubicBezTo>
                  <a:lnTo>
                    <a:pt x="297331" y="595152"/>
                  </a:lnTo>
                  <a:lnTo>
                    <a:pt x="299215" y="592966"/>
                  </a:lnTo>
                  <a:lnTo>
                    <a:pt x="301403" y="588492"/>
                  </a:lnTo>
                  <a:lnTo>
                    <a:pt x="302850" y="585464"/>
                  </a:lnTo>
                  <a:lnTo>
                    <a:pt x="305307" y="582268"/>
                  </a:lnTo>
                  <a:lnTo>
                    <a:pt x="305307" y="579375"/>
                  </a:lnTo>
                  <a:lnTo>
                    <a:pt x="304432" y="575608"/>
                  </a:lnTo>
                  <a:cubicBezTo>
                    <a:pt x="304432" y="575608"/>
                    <a:pt x="303422" y="573152"/>
                    <a:pt x="303422" y="572715"/>
                  </a:cubicBezTo>
                  <a:cubicBezTo>
                    <a:pt x="303422" y="572278"/>
                    <a:pt x="302413" y="568813"/>
                    <a:pt x="302413" y="568813"/>
                  </a:cubicBezTo>
                  <a:cubicBezTo>
                    <a:pt x="302413" y="568813"/>
                    <a:pt x="301975" y="566929"/>
                    <a:pt x="301840" y="566357"/>
                  </a:cubicBezTo>
                  <a:cubicBezTo>
                    <a:pt x="301706" y="565785"/>
                    <a:pt x="301403" y="563733"/>
                    <a:pt x="301403" y="563733"/>
                  </a:cubicBezTo>
                  <a:lnTo>
                    <a:pt x="303422" y="562858"/>
                  </a:lnTo>
                  <a:lnTo>
                    <a:pt x="304432" y="562858"/>
                  </a:lnTo>
                  <a:cubicBezTo>
                    <a:pt x="304432" y="562858"/>
                    <a:pt x="306754" y="562556"/>
                    <a:pt x="307326" y="562858"/>
                  </a:cubicBezTo>
                  <a:cubicBezTo>
                    <a:pt x="307898" y="563161"/>
                    <a:pt x="308774" y="562455"/>
                    <a:pt x="309783" y="562724"/>
                  </a:cubicBezTo>
                  <a:cubicBezTo>
                    <a:pt x="310793" y="562993"/>
                    <a:pt x="312408" y="562118"/>
                    <a:pt x="312812" y="561849"/>
                  </a:cubicBezTo>
                  <a:cubicBezTo>
                    <a:pt x="313249" y="561547"/>
                    <a:pt x="312374" y="561547"/>
                    <a:pt x="312812" y="560974"/>
                  </a:cubicBezTo>
                  <a:cubicBezTo>
                    <a:pt x="313249" y="560403"/>
                    <a:pt x="311365" y="557947"/>
                    <a:pt x="311365" y="557947"/>
                  </a:cubicBezTo>
                  <a:lnTo>
                    <a:pt x="310119" y="555626"/>
                  </a:lnTo>
                  <a:lnTo>
                    <a:pt x="308740" y="553439"/>
                  </a:lnTo>
                  <a:lnTo>
                    <a:pt x="308740" y="551555"/>
                  </a:lnTo>
                  <a:lnTo>
                    <a:pt x="310187" y="548225"/>
                  </a:lnTo>
                  <a:lnTo>
                    <a:pt x="312072" y="546476"/>
                  </a:lnTo>
                  <a:lnTo>
                    <a:pt x="313956" y="545601"/>
                  </a:lnTo>
                  <a:lnTo>
                    <a:pt x="313956" y="542843"/>
                  </a:lnTo>
                  <a:lnTo>
                    <a:pt x="312879" y="540522"/>
                  </a:lnTo>
                  <a:lnTo>
                    <a:pt x="310927" y="538335"/>
                  </a:lnTo>
                  <a:lnTo>
                    <a:pt x="309345" y="535577"/>
                  </a:lnTo>
                  <a:lnTo>
                    <a:pt x="310927" y="533390"/>
                  </a:lnTo>
                  <a:lnTo>
                    <a:pt x="311634" y="532078"/>
                  </a:lnTo>
                  <a:lnTo>
                    <a:pt x="310322" y="530934"/>
                  </a:lnTo>
                  <a:lnTo>
                    <a:pt x="312072" y="529185"/>
                  </a:lnTo>
                  <a:lnTo>
                    <a:pt x="312206" y="527873"/>
                  </a:lnTo>
                  <a:lnTo>
                    <a:pt x="310019" y="526124"/>
                  </a:lnTo>
                  <a:lnTo>
                    <a:pt x="309009" y="523937"/>
                  </a:lnTo>
                  <a:lnTo>
                    <a:pt x="309884" y="522188"/>
                  </a:lnTo>
                  <a:lnTo>
                    <a:pt x="311466" y="521044"/>
                  </a:lnTo>
                  <a:lnTo>
                    <a:pt x="313047" y="521044"/>
                  </a:lnTo>
                  <a:lnTo>
                    <a:pt x="312610" y="516402"/>
                  </a:lnTo>
                  <a:lnTo>
                    <a:pt x="312172" y="514216"/>
                  </a:lnTo>
                  <a:lnTo>
                    <a:pt x="312172" y="513206"/>
                  </a:lnTo>
                  <a:lnTo>
                    <a:pt x="313047" y="508295"/>
                  </a:lnTo>
                  <a:lnTo>
                    <a:pt x="315807" y="507723"/>
                  </a:lnTo>
                  <a:cubicBezTo>
                    <a:pt x="315807" y="507723"/>
                    <a:pt x="318129" y="507286"/>
                    <a:pt x="318567" y="506983"/>
                  </a:cubicBezTo>
                  <a:lnTo>
                    <a:pt x="318264" y="501903"/>
                  </a:lnTo>
                  <a:cubicBezTo>
                    <a:pt x="318264" y="502206"/>
                    <a:pt x="315033" y="501331"/>
                    <a:pt x="313721" y="500659"/>
                  </a:cubicBez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</p:grpSp>
      <p:sp>
        <p:nvSpPr>
          <p:cNvPr id="804" name="椭圆 290">
            <a:extLst>
              <a:ext uri="{FF2B5EF4-FFF2-40B4-BE49-F238E27FC236}">
                <a16:creationId xmlns:a16="http://schemas.microsoft.com/office/drawing/2014/main" id="{314648D1-40FC-6E8A-9891-9B4181F1788F}"/>
              </a:ext>
            </a:extLst>
          </p:cNvPr>
          <p:cNvSpPr/>
          <p:nvPr/>
        </p:nvSpPr>
        <p:spPr>
          <a:xfrm>
            <a:off x="10432999" y="3340900"/>
            <a:ext cx="190629" cy="190629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13" name="圆角矩形 24">
            <a:extLst>
              <a:ext uri="{FF2B5EF4-FFF2-40B4-BE49-F238E27FC236}">
                <a16:creationId xmlns:a16="http://schemas.microsoft.com/office/drawing/2014/main" id="{E6B81563-C7E1-6AB4-A39C-EDF3369A03C4}"/>
              </a:ext>
            </a:extLst>
          </p:cNvPr>
          <p:cNvSpPr/>
          <p:nvPr/>
        </p:nvSpPr>
        <p:spPr>
          <a:xfrm>
            <a:off x="4097425" y="4350908"/>
            <a:ext cx="4611378" cy="2439378"/>
          </a:xfrm>
          <a:prstGeom prst="roundRect">
            <a:avLst>
              <a:gd name="adj" fmla="val 8082"/>
            </a:avLst>
          </a:prstGeom>
          <a:solidFill>
            <a:srgbClr val="1D324E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graphicFrame>
        <p:nvGraphicFramePr>
          <p:cNvPr id="814" name="图表 482">
            <a:extLst>
              <a:ext uri="{FF2B5EF4-FFF2-40B4-BE49-F238E27FC236}">
                <a16:creationId xmlns:a16="http://schemas.microsoft.com/office/drawing/2014/main" id="{DD191622-F360-ADBB-2E21-E2AC575B7F5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30741705"/>
              </p:ext>
            </p:extLst>
          </p:nvPr>
        </p:nvGraphicFramePr>
        <p:xfrm>
          <a:off x="4293004" y="4418855"/>
          <a:ext cx="4043110" cy="2046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15" name="文本框 480">
            <a:extLst>
              <a:ext uri="{FF2B5EF4-FFF2-40B4-BE49-F238E27FC236}">
                <a16:creationId xmlns:a16="http://schemas.microsoft.com/office/drawing/2014/main" id="{BDA62C5F-5090-1882-BD36-B2BD23339054}"/>
              </a:ext>
            </a:extLst>
          </p:cNvPr>
          <p:cNvSpPr txBox="1"/>
          <p:nvPr/>
        </p:nvSpPr>
        <p:spPr>
          <a:xfrm>
            <a:off x="5658956" y="6472153"/>
            <a:ext cx="20375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Account Points</a:t>
            </a:r>
            <a:endParaRPr kumimoji="1" lang="zh-CN" altLang="en-US" sz="1600" dirty="0"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816" name="文本框 480">
            <a:extLst>
              <a:ext uri="{FF2B5EF4-FFF2-40B4-BE49-F238E27FC236}">
                <a16:creationId xmlns:a16="http://schemas.microsoft.com/office/drawing/2014/main" id="{A3B82376-5B16-F756-A6FE-206D6124969A}"/>
              </a:ext>
            </a:extLst>
          </p:cNvPr>
          <p:cNvSpPr txBox="1"/>
          <p:nvPr/>
        </p:nvSpPr>
        <p:spPr>
          <a:xfrm rot="-5400000">
            <a:off x="3814226" y="5032237"/>
            <a:ext cx="887326" cy="30777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kumimoji="1" lang="en-US" altLang="zh-CN" sz="14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ounts</a:t>
            </a:r>
            <a:endParaRPr kumimoji="1" lang="zh-CN" altLang="en-US" sz="1600" dirty="0"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cxnSp>
        <p:nvCxnSpPr>
          <p:cNvPr id="818" name="Straight Connector 817">
            <a:extLst>
              <a:ext uri="{FF2B5EF4-FFF2-40B4-BE49-F238E27FC236}">
                <a16:creationId xmlns:a16="http://schemas.microsoft.com/office/drawing/2014/main" id="{BF8D02E0-4AD8-0C3F-1BC0-7B47419C5810}"/>
              </a:ext>
            </a:extLst>
          </p:cNvPr>
          <p:cNvCxnSpPr/>
          <p:nvPr/>
        </p:nvCxnSpPr>
        <p:spPr>
          <a:xfrm>
            <a:off x="3933592" y="1369424"/>
            <a:ext cx="0" cy="5420862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19" name="图表 7">
            <a:extLst>
              <a:ext uri="{FF2B5EF4-FFF2-40B4-BE49-F238E27FC236}">
                <a16:creationId xmlns:a16="http://schemas.microsoft.com/office/drawing/2014/main" id="{4A3A05EC-FB47-256C-C5F1-90D38FE2CE9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01511180"/>
              </p:ext>
            </p:extLst>
          </p:nvPr>
        </p:nvGraphicFramePr>
        <p:xfrm>
          <a:off x="8686269" y="4402842"/>
          <a:ext cx="3417432" cy="23730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820" name="组合 22">
            <a:extLst>
              <a:ext uri="{FF2B5EF4-FFF2-40B4-BE49-F238E27FC236}">
                <a16:creationId xmlns:a16="http://schemas.microsoft.com/office/drawing/2014/main" id="{B0B0CA8E-596F-1FA2-1C25-BF9B60343505}"/>
              </a:ext>
            </a:extLst>
          </p:cNvPr>
          <p:cNvGrpSpPr/>
          <p:nvPr/>
        </p:nvGrpSpPr>
        <p:grpSpPr>
          <a:xfrm>
            <a:off x="8808810" y="5489929"/>
            <a:ext cx="731423" cy="383816"/>
            <a:chOff x="7844690" y="4196923"/>
            <a:chExt cx="687268" cy="384903"/>
          </a:xfrm>
        </p:grpSpPr>
        <p:sp>
          <p:nvSpPr>
            <p:cNvPr id="821" name="任意形状 19">
              <a:extLst>
                <a:ext uri="{FF2B5EF4-FFF2-40B4-BE49-F238E27FC236}">
                  <a16:creationId xmlns:a16="http://schemas.microsoft.com/office/drawing/2014/main" id="{FD50B805-103A-3F85-4597-9EAC5FFEDCA7}"/>
                </a:ext>
              </a:extLst>
            </p:cNvPr>
            <p:cNvSpPr/>
            <p:nvPr/>
          </p:nvSpPr>
          <p:spPr>
            <a:xfrm rot="10800000">
              <a:off x="7844690" y="4217760"/>
              <a:ext cx="687268" cy="364066"/>
            </a:xfrm>
            <a:custGeom>
              <a:avLst/>
              <a:gdLst>
                <a:gd name="connsiteX0" fmla="*/ 868401 w 868401"/>
                <a:gd name="connsiteY0" fmla="*/ 287174 h 460017"/>
                <a:gd name="connsiteX1" fmla="*/ 868401 w 868401"/>
                <a:gd name="connsiteY1" fmla="*/ 287174 h 460017"/>
                <a:gd name="connsiteX2" fmla="*/ 868401 w 868401"/>
                <a:gd name="connsiteY2" fmla="*/ 287173 h 460017"/>
                <a:gd name="connsiteX3" fmla="*/ 695557 w 868401"/>
                <a:gd name="connsiteY3" fmla="*/ 460017 h 460017"/>
                <a:gd name="connsiteX4" fmla="*/ 172844 w 868401"/>
                <a:gd name="connsiteY4" fmla="*/ 460017 h 460017"/>
                <a:gd name="connsiteX5" fmla="*/ 0 w 868401"/>
                <a:gd name="connsiteY5" fmla="*/ 287173 h 460017"/>
                <a:gd name="connsiteX6" fmla="*/ 1 w 868401"/>
                <a:gd name="connsiteY6" fmla="*/ 287173 h 460017"/>
                <a:gd name="connsiteX7" fmla="*/ 172845 w 868401"/>
                <a:gd name="connsiteY7" fmla="*/ 114329 h 460017"/>
                <a:gd name="connsiteX8" fmla="*/ 380450 w 868401"/>
                <a:gd name="connsiteY8" fmla="*/ 114330 h 460017"/>
                <a:gd name="connsiteX9" fmla="*/ 436696 w 868401"/>
                <a:gd name="connsiteY9" fmla="*/ 0 h 460017"/>
                <a:gd name="connsiteX10" fmla="*/ 500158 w 868401"/>
                <a:gd name="connsiteY10" fmla="*/ 114330 h 460017"/>
                <a:gd name="connsiteX11" fmla="*/ 695557 w 868401"/>
                <a:gd name="connsiteY11" fmla="*/ 114330 h 460017"/>
                <a:gd name="connsiteX12" fmla="*/ 854818 w 868401"/>
                <a:gd name="connsiteY12" fmla="*/ 219896 h 460017"/>
                <a:gd name="connsiteX13" fmla="*/ 868401 w 868401"/>
                <a:gd name="connsiteY13" fmla="*/ 287174 h 460017"/>
                <a:gd name="connsiteX14" fmla="*/ 854818 w 868401"/>
                <a:gd name="connsiteY14" fmla="*/ 354452 h 460017"/>
                <a:gd name="connsiteX15" fmla="*/ 695557 w 868401"/>
                <a:gd name="connsiteY15" fmla="*/ 460017 h 46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8401" h="460017">
                  <a:moveTo>
                    <a:pt x="868401" y="287174"/>
                  </a:moveTo>
                  <a:lnTo>
                    <a:pt x="868401" y="287174"/>
                  </a:lnTo>
                  <a:lnTo>
                    <a:pt x="868401" y="287173"/>
                  </a:lnTo>
                  <a:close/>
                  <a:moveTo>
                    <a:pt x="695557" y="460017"/>
                  </a:moveTo>
                  <a:lnTo>
                    <a:pt x="172844" y="460017"/>
                  </a:lnTo>
                  <a:cubicBezTo>
                    <a:pt x="77385" y="460017"/>
                    <a:pt x="0" y="382632"/>
                    <a:pt x="0" y="287173"/>
                  </a:cubicBezTo>
                  <a:lnTo>
                    <a:pt x="1" y="287173"/>
                  </a:lnTo>
                  <a:cubicBezTo>
                    <a:pt x="1" y="191714"/>
                    <a:pt x="77386" y="114329"/>
                    <a:pt x="172845" y="114329"/>
                  </a:cubicBezTo>
                  <a:lnTo>
                    <a:pt x="380450" y="114330"/>
                  </a:lnTo>
                  <a:lnTo>
                    <a:pt x="436696" y="0"/>
                  </a:lnTo>
                  <a:lnTo>
                    <a:pt x="500158" y="114330"/>
                  </a:lnTo>
                  <a:lnTo>
                    <a:pt x="695557" y="114330"/>
                  </a:lnTo>
                  <a:cubicBezTo>
                    <a:pt x="767151" y="114330"/>
                    <a:pt x="828579" y="157859"/>
                    <a:pt x="854818" y="219896"/>
                  </a:cubicBezTo>
                  <a:lnTo>
                    <a:pt x="868401" y="287174"/>
                  </a:lnTo>
                  <a:lnTo>
                    <a:pt x="854818" y="354452"/>
                  </a:lnTo>
                  <a:cubicBezTo>
                    <a:pt x="828579" y="416488"/>
                    <a:pt x="767151" y="460017"/>
                    <a:pt x="695557" y="460017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rgbClr val="1D324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kumimoji="1" lang="zh-CN" altLang="en-US"/>
            </a:p>
          </p:txBody>
        </p:sp>
        <p:sp>
          <p:nvSpPr>
            <p:cNvPr id="822" name="文本框 20">
              <a:extLst>
                <a:ext uri="{FF2B5EF4-FFF2-40B4-BE49-F238E27FC236}">
                  <a16:creationId xmlns:a16="http://schemas.microsoft.com/office/drawing/2014/main" id="{700A148C-6BF7-D0CA-4121-6EB965A7373A}"/>
                </a:ext>
              </a:extLst>
            </p:cNvPr>
            <p:cNvSpPr txBox="1"/>
            <p:nvPr/>
          </p:nvSpPr>
          <p:spPr>
            <a:xfrm>
              <a:off x="7921755" y="4196923"/>
              <a:ext cx="571163" cy="3395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en-US" altLang="zh-CN" sz="1600" dirty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rPr>
                <a:t>89%</a:t>
              </a:r>
              <a:endParaRPr kumimoji="1" lang="zh-CN" altLang="en-US" sz="1600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endParaRPr>
            </a:p>
          </p:txBody>
        </p:sp>
      </p:grpSp>
      <p:cxnSp>
        <p:nvCxnSpPr>
          <p:cNvPr id="824" name="Straight Connector 823">
            <a:extLst>
              <a:ext uri="{FF2B5EF4-FFF2-40B4-BE49-F238E27FC236}">
                <a16:creationId xmlns:a16="http://schemas.microsoft.com/office/drawing/2014/main" id="{85C1F3DC-0361-398D-81C0-99EE32FD8B70}"/>
              </a:ext>
            </a:extLst>
          </p:cNvPr>
          <p:cNvCxnSpPr/>
          <p:nvPr/>
        </p:nvCxnSpPr>
        <p:spPr>
          <a:xfrm>
            <a:off x="3981622" y="4322679"/>
            <a:ext cx="7907992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5" name="文本框 499">
            <a:extLst>
              <a:ext uri="{FF2B5EF4-FFF2-40B4-BE49-F238E27FC236}">
                <a16:creationId xmlns:a16="http://schemas.microsoft.com/office/drawing/2014/main" id="{8A59170D-0131-BE0C-D5C0-1C9F3E3074D5}"/>
              </a:ext>
            </a:extLst>
          </p:cNvPr>
          <p:cNvSpPr txBox="1"/>
          <p:nvPr/>
        </p:nvSpPr>
        <p:spPr>
          <a:xfrm>
            <a:off x="4065381" y="928094"/>
            <a:ext cx="21363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b="1" i="1" dirty="0">
                <a:solidFill>
                  <a:srgbClr val="1E344D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Alibaba PuHuiTi Medium" pitchFamily="18" charset="-122"/>
              </a:rPr>
              <a:t>Geographical Data</a:t>
            </a:r>
            <a:endParaRPr kumimoji="1" lang="zh-CN" altLang="en-US" sz="1600" b="1" i="1" dirty="0">
              <a:solidFill>
                <a:srgbClr val="1E344D"/>
              </a:solidFill>
              <a:latin typeface="DengXian" panose="02010600030101010101" pitchFamily="2" charset="-122"/>
              <a:ea typeface="DengXian" panose="02010600030101010101" pitchFamily="2" charset="-122"/>
              <a:cs typeface="Alibaba PuHuiTi Medium" pitchFamily="18" charset="-122"/>
            </a:endParaRPr>
          </a:p>
        </p:txBody>
      </p:sp>
      <p:sp>
        <p:nvSpPr>
          <p:cNvPr id="826" name="三角形 504">
            <a:extLst>
              <a:ext uri="{FF2B5EF4-FFF2-40B4-BE49-F238E27FC236}">
                <a16:creationId xmlns:a16="http://schemas.microsoft.com/office/drawing/2014/main" id="{46D03A32-9F64-50BD-F07E-EF7DC96F8346}"/>
              </a:ext>
            </a:extLst>
          </p:cNvPr>
          <p:cNvSpPr/>
          <p:nvPr/>
        </p:nvSpPr>
        <p:spPr>
          <a:xfrm rot="5400000">
            <a:off x="3963266" y="997704"/>
            <a:ext cx="204229" cy="164020"/>
          </a:xfrm>
          <a:prstGeom prst="triangle">
            <a:avLst/>
          </a:prstGeom>
          <a:solidFill>
            <a:srgbClr val="BB302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BB30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4786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" name="think-cell data - do not delete" hidden="1">
            <a:extLst>
              <a:ext uri="{FF2B5EF4-FFF2-40B4-BE49-F238E27FC236}">
                <a16:creationId xmlns:a16="http://schemas.microsoft.com/office/drawing/2014/main" id="{351F3BE8-B1B8-4295-1CD3-93BC366695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1" imgW="7772400" imgH="10058400" progId="TCLayout.ActiveDocument.1">
                  <p:embed/>
                </p:oleObj>
              </mc:Choice>
              <mc:Fallback>
                <p:oleObj name="think-cell 幻灯片" r:id="rId11" imgW="7772400" imgH="10058400" progId="TCLayout.ActiveDocument.1">
                  <p:embed/>
                  <p:pic>
                    <p:nvPicPr>
                      <p:cNvPr id="1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1F3BE8-B1B8-4295-1CD3-93BC366695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/>
          <p:nvPr/>
        </p:nvSpPr>
        <p:spPr>
          <a:xfrm>
            <a:off x="11780901" y="6636207"/>
            <a:ext cx="8953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5" dirty="0">
                <a:solidFill>
                  <a:srgbClr val="5C5C5C"/>
                </a:solidFill>
                <a:latin typeface="Arial"/>
                <a:cs typeface="Arial"/>
              </a:rPr>
              <a:t>5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761" y="874013"/>
            <a:ext cx="11857355" cy="0"/>
          </a:xfrm>
          <a:custGeom>
            <a:avLst/>
            <a:gdLst/>
            <a:ahLst/>
            <a:cxnLst/>
            <a:rect l="l" t="t" r="r" b="b"/>
            <a:pathLst>
              <a:path w="11857355">
                <a:moveTo>
                  <a:pt x="0" y="0"/>
                </a:moveTo>
                <a:lnTo>
                  <a:pt x="11856974" y="0"/>
                </a:lnTo>
              </a:path>
            </a:pathLst>
          </a:custGeom>
          <a:ln w="19812">
            <a:solidFill>
              <a:srgbClr val="CC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350138" y="38365"/>
            <a:ext cx="11471275" cy="7575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b="0" spc="-45" dirty="0">
                <a:solidFill>
                  <a:srgbClr val="000000"/>
                </a:solidFill>
                <a:latin typeface="Arial"/>
                <a:cs typeface="Arial"/>
              </a:rPr>
              <a:t>Target </a:t>
            </a:r>
            <a:r>
              <a:rPr sz="2400" b="0" dirty="0">
                <a:solidFill>
                  <a:srgbClr val="000000"/>
                </a:solidFill>
                <a:latin typeface="Arial"/>
                <a:cs typeface="Arial"/>
              </a:rPr>
              <a:t>customers of </a:t>
            </a:r>
            <a:r>
              <a:rPr sz="2400" b="0" spc="-5" dirty="0">
                <a:solidFill>
                  <a:srgbClr val="000000"/>
                </a:solidFill>
                <a:latin typeface="Arial"/>
                <a:cs typeface="Arial"/>
              </a:rPr>
              <a:t>entry luxury jewelry </a:t>
            </a:r>
            <a:r>
              <a:rPr sz="2400" b="0" dirty="0">
                <a:solidFill>
                  <a:srgbClr val="000000"/>
                </a:solidFill>
                <a:latin typeface="Arial"/>
                <a:cs typeface="Arial"/>
              </a:rPr>
              <a:t>are </a:t>
            </a:r>
            <a:r>
              <a:rPr sz="2400" b="0" spc="-5" dirty="0">
                <a:solidFill>
                  <a:srgbClr val="000000"/>
                </a:solidFill>
                <a:latin typeface="Arial"/>
                <a:cs typeface="Arial"/>
              </a:rPr>
              <a:t>young and well-paid who prioritize</a:t>
            </a:r>
            <a:r>
              <a:rPr sz="2400" b="0" spc="24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2400" b="0" dirty="0">
                <a:solidFill>
                  <a:srgbClr val="000000"/>
                </a:solidFill>
                <a:latin typeface="Arial"/>
                <a:cs typeface="Arial"/>
              </a:rPr>
              <a:t>brand</a:t>
            </a:r>
            <a:endParaRPr sz="24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2400" b="0" spc="-5" dirty="0">
                <a:solidFill>
                  <a:srgbClr val="000000"/>
                </a:solidFill>
                <a:latin typeface="Arial"/>
                <a:cs typeface="Arial"/>
              </a:rPr>
              <a:t>and design as their </a:t>
            </a:r>
            <a:r>
              <a:rPr sz="2400" b="0" dirty="0">
                <a:solidFill>
                  <a:srgbClr val="000000"/>
                </a:solidFill>
                <a:latin typeface="Arial"/>
                <a:cs typeface="Arial"/>
              </a:rPr>
              <a:t>key </a:t>
            </a:r>
            <a:r>
              <a:rPr sz="2400" b="0" spc="-5" dirty="0">
                <a:solidFill>
                  <a:srgbClr val="000000"/>
                </a:solidFill>
                <a:latin typeface="Arial"/>
                <a:cs typeface="Arial"/>
              </a:rPr>
              <a:t>purchasing</a:t>
            </a:r>
            <a:r>
              <a:rPr sz="2400" b="0" spc="6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2400" b="0" spc="-5" dirty="0">
                <a:solidFill>
                  <a:srgbClr val="000000"/>
                </a:solidFill>
                <a:latin typeface="Arial"/>
                <a:cs typeface="Arial"/>
              </a:rPr>
              <a:t>criteria</a:t>
            </a:r>
            <a:endParaRPr sz="2400" dirty="0"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192023" y="1485900"/>
            <a:ext cx="426720" cy="1651000"/>
          </a:xfrm>
          <a:custGeom>
            <a:avLst/>
            <a:gdLst/>
            <a:ahLst/>
            <a:cxnLst/>
            <a:rect l="l" t="t" r="r" b="b"/>
            <a:pathLst>
              <a:path w="426720" h="1651000">
                <a:moveTo>
                  <a:pt x="426720" y="0"/>
                </a:moveTo>
                <a:lnTo>
                  <a:pt x="0" y="0"/>
                </a:lnTo>
                <a:lnTo>
                  <a:pt x="0" y="1650491"/>
                </a:lnTo>
                <a:lnTo>
                  <a:pt x="426720" y="1650491"/>
                </a:lnTo>
                <a:lnTo>
                  <a:pt x="426720" y="0"/>
                </a:lnTo>
                <a:close/>
              </a:path>
            </a:pathLst>
          </a:custGeom>
          <a:solidFill>
            <a:srgbClr val="9F9F9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92023" y="3279647"/>
            <a:ext cx="426720" cy="1597660"/>
          </a:xfrm>
          <a:custGeom>
            <a:avLst/>
            <a:gdLst/>
            <a:ahLst/>
            <a:cxnLst/>
            <a:rect l="l" t="t" r="r" b="b"/>
            <a:pathLst>
              <a:path w="426720" h="1597660">
                <a:moveTo>
                  <a:pt x="426720" y="0"/>
                </a:moveTo>
                <a:lnTo>
                  <a:pt x="0" y="0"/>
                </a:lnTo>
                <a:lnTo>
                  <a:pt x="0" y="1597152"/>
                </a:lnTo>
                <a:lnTo>
                  <a:pt x="426720" y="1597152"/>
                </a:lnTo>
                <a:lnTo>
                  <a:pt x="426720" y="0"/>
                </a:lnTo>
                <a:close/>
              </a:path>
            </a:pathLst>
          </a:custGeom>
          <a:solidFill>
            <a:srgbClr val="585858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7" name="object 7"/>
          <p:cNvGrpSpPr/>
          <p:nvPr/>
        </p:nvGrpSpPr>
        <p:grpSpPr>
          <a:xfrm>
            <a:off x="0" y="1335785"/>
            <a:ext cx="12003023" cy="5263134"/>
            <a:chOff x="0" y="1335785"/>
            <a:chExt cx="12003023" cy="5263134"/>
          </a:xfrm>
        </p:grpSpPr>
        <p:sp>
          <p:nvSpPr>
            <p:cNvPr id="8" name="object 8"/>
            <p:cNvSpPr/>
            <p:nvPr/>
          </p:nvSpPr>
          <p:spPr>
            <a:xfrm>
              <a:off x="0" y="6598919"/>
              <a:ext cx="11857355" cy="0"/>
            </a:xfrm>
            <a:custGeom>
              <a:avLst/>
              <a:gdLst/>
              <a:ahLst/>
              <a:cxnLst/>
              <a:rect l="l" t="t" r="r" b="b"/>
              <a:pathLst>
                <a:path w="11857355">
                  <a:moveTo>
                    <a:pt x="0" y="0"/>
                  </a:moveTo>
                  <a:lnTo>
                    <a:pt x="11856974" y="0"/>
                  </a:lnTo>
                </a:path>
              </a:pathLst>
            </a:custGeom>
            <a:ln w="9144">
              <a:solidFill>
                <a:srgbClr val="B4B4B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6899147" y="1392935"/>
              <a:ext cx="0" cy="4981575"/>
            </a:xfrm>
            <a:custGeom>
              <a:avLst/>
              <a:gdLst/>
              <a:ahLst/>
              <a:cxnLst/>
              <a:rect l="l" t="t" r="r" b="b"/>
              <a:pathLst>
                <a:path h="4981575">
                  <a:moveTo>
                    <a:pt x="0" y="0"/>
                  </a:moveTo>
                  <a:lnTo>
                    <a:pt x="0" y="4981524"/>
                  </a:lnTo>
                </a:path>
              </a:pathLst>
            </a:custGeom>
            <a:ln w="12192">
              <a:solidFill>
                <a:srgbClr val="7E7E7E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7175754" y="1335785"/>
              <a:ext cx="4721225" cy="0"/>
            </a:xfrm>
            <a:custGeom>
              <a:avLst/>
              <a:gdLst/>
              <a:ahLst/>
              <a:cxnLst/>
              <a:rect l="l" t="t" r="r" b="b"/>
              <a:pathLst>
                <a:path w="4721225">
                  <a:moveTo>
                    <a:pt x="0" y="0"/>
                  </a:moveTo>
                  <a:lnTo>
                    <a:pt x="4721225" y="0"/>
                  </a:lnTo>
                </a:path>
              </a:pathLst>
            </a:custGeom>
            <a:ln w="19812">
              <a:solidFill>
                <a:srgbClr val="CC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9535668" y="5061204"/>
              <a:ext cx="349250" cy="205740"/>
            </a:xfrm>
            <a:custGeom>
              <a:avLst/>
              <a:gdLst/>
              <a:ahLst/>
              <a:cxnLst/>
              <a:rect l="l" t="t" r="r" b="b"/>
              <a:pathLst>
                <a:path w="349250" h="205739">
                  <a:moveTo>
                    <a:pt x="348996" y="0"/>
                  </a:moveTo>
                  <a:lnTo>
                    <a:pt x="174498" y="102870"/>
                  </a:lnTo>
                  <a:lnTo>
                    <a:pt x="0" y="0"/>
                  </a:lnTo>
                  <a:lnTo>
                    <a:pt x="0" y="102870"/>
                  </a:lnTo>
                  <a:lnTo>
                    <a:pt x="174498" y="205740"/>
                  </a:lnTo>
                  <a:lnTo>
                    <a:pt x="348996" y="102870"/>
                  </a:lnTo>
                  <a:lnTo>
                    <a:pt x="348996" y="0"/>
                  </a:lnTo>
                  <a:close/>
                </a:path>
              </a:pathLst>
            </a:custGeom>
            <a:solidFill>
              <a:srgbClr val="7E7E7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7237476" y="5489447"/>
              <a:ext cx="4669790" cy="967740"/>
            </a:xfrm>
            <a:custGeom>
              <a:avLst/>
              <a:gdLst/>
              <a:ahLst/>
              <a:cxnLst/>
              <a:rect l="l" t="t" r="r" b="b"/>
              <a:pathLst>
                <a:path w="4669790" h="967739">
                  <a:moveTo>
                    <a:pt x="0" y="967739"/>
                  </a:moveTo>
                  <a:lnTo>
                    <a:pt x="4669535" y="967739"/>
                  </a:lnTo>
                  <a:lnTo>
                    <a:pt x="4669535" y="0"/>
                  </a:lnTo>
                  <a:lnTo>
                    <a:pt x="0" y="0"/>
                  </a:lnTo>
                  <a:lnTo>
                    <a:pt x="0" y="967739"/>
                  </a:lnTo>
                  <a:close/>
                </a:path>
              </a:pathLst>
            </a:custGeom>
            <a:ln w="9144">
              <a:solidFill>
                <a:srgbClr val="5C5C5C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7202423" y="5280660"/>
              <a:ext cx="4800600" cy="417563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7967471" y="5254752"/>
              <a:ext cx="3268979" cy="528802"/>
            </a:xfrm>
            <a:prstGeom prst="rect">
              <a:avLst/>
            </a:prstGeom>
            <a:blipFill>
              <a:blip r:embed="rId1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7226807" y="5305043"/>
              <a:ext cx="4699254" cy="316242"/>
            </a:xfrm>
            <a:prstGeom prst="rect">
              <a:avLst/>
            </a:prstGeom>
            <a:blipFill>
              <a:blip r:embed="rId1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9" name="object 19"/>
          <p:cNvSpPr txBox="1"/>
          <p:nvPr/>
        </p:nvSpPr>
        <p:spPr>
          <a:xfrm>
            <a:off x="259179" y="1721272"/>
            <a:ext cx="252095" cy="1319530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864"/>
              </a:lnSpc>
            </a:pP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Dem</a:t>
            </a:r>
            <a:r>
              <a:rPr sz="1600" b="1" spc="-10" dirty="0">
                <a:solidFill>
                  <a:srgbClr val="FFFFFF"/>
                </a:solidFill>
                <a:latin typeface="Arial"/>
                <a:cs typeface="Arial"/>
              </a:rPr>
              <a:t>o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grap</a:t>
            </a:r>
            <a:r>
              <a:rPr sz="1600" b="1" spc="-10" dirty="0">
                <a:solidFill>
                  <a:srgbClr val="FFFFFF"/>
                </a:solidFill>
                <a:latin typeface="Arial"/>
                <a:cs typeface="Arial"/>
              </a:rPr>
              <a:t>h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ic</a:t>
            </a:r>
            <a:endParaRPr sz="160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259179" y="3413961"/>
            <a:ext cx="252095" cy="1383030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864"/>
              </a:lnSpc>
            </a:pPr>
            <a:r>
              <a:rPr sz="1600" b="1" spc="-10" dirty="0">
                <a:solidFill>
                  <a:srgbClr val="FFFFFF"/>
                </a:solidFill>
                <a:latin typeface="Arial"/>
                <a:cs typeface="Arial"/>
              </a:rPr>
              <a:t>Psychological</a:t>
            </a:r>
            <a:endParaRPr sz="1600">
              <a:latin typeface="Arial"/>
              <a:cs typeface="Arial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221741" y="1346453"/>
            <a:ext cx="6409055" cy="0"/>
          </a:xfrm>
          <a:custGeom>
            <a:avLst/>
            <a:gdLst/>
            <a:ahLst/>
            <a:cxnLst/>
            <a:rect l="l" t="t" r="r" b="b"/>
            <a:pathLst>
              <a:path w="6409055">
                <a:moveTo>
                  <a:pt x="0" y="0"/>
                </a:moveTo>
                <a:lnTo>
                  <a:pt x="6408801" y="0"/>
                </a:lnTo>
              </a:path>
            </a:pathLst>
          </a:custGeom>
          <a:ln w="19812">
            <a:solidFill>
              <a:srgbClr val="CC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300038" y="974656"/>
            <a:ext cx="5795962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  <a:tabLst>
                <a:tab pos="6484620" algn="l"/>
              </a:tabLst>
            </a:pPr>
            <a:r>
              <a:rPr sz="1600" b="1" spc="-25" dirty="0">
                <a:latin typeface="Arial"/>
                <a:cs typeface="Arial"/>
              </a:rPr>
              <a:t>Target</a:t>
            </a:r>
            <a:r>
              <a:rPr sz="1600" b="1" spc="1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Customer</a:t>
            </a:r>
            <a:r>
              <a:rPr sz="1600" b="1" spc="-30" dirty="0">
                <a:latin typeface="Arial"/>
                <a:cs typeface="Arial"/>
              </a:rPr>
              <a:t> </a:t>
            </a:r>
            <a:r>
              <a:rPr sz="1600" b="1" spc="-10" dirty="0">
                <a:latin typeface="Arial"/>
                <a:cs typeface="Arial"/>
              </a:rPr>
              <a:t>Analysis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733805" y="3280409"/>
            <a:ext cx="2924810" cy="800100"/>
          </a:xfrm>
          <a:custGeom>
            <a:avLst/>
            <a:gdLst/>
            <a:ahLst/>
            <a:cxnLst/>
            <a:rect l="l" t="t" r="r" b="b"/>
            <a:pathLst>
              <a:path w="2924810" h="800100">
                <a:moveTo>
                  <a:pt x="2924556" y="0"/>
                </a:moveTo>
                <a:lnTo>
                  <a:pt x="0" y="0"/>
                </a:lnTo>
                <a:lnTo>
                  <a:pt x="0" y="800100"/>
                </a:lnTo>
                <a:lnTo>
                  <a:pt x="2924556" y="800100"/>
                </a:lnTo>
                <a:lnTo>
                  <a:pt x="2924556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756919" y="3297682"/>
            <a:ext cx="2608580" cy="66675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spc="-5" dirty="0">
                <a:latin typeface="Arial"/>
                <a:cs typeface="Arial"/>
              </a:rPr>
              <a:t>Strong </a:t>
            </a:r>
            <a:r>
              <a:rPr sz="1400" b="1" dirty="0">
                <a:latin typeface="Arial"/>
                <a:cs typeface="Arial"/>
              </a:rPr>
              <a:t>Social</a:t>
            </a:r>
            <a:r>
              <a:rPr sz="1400" b="1" spc="-105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Attribute</a:t>
            </a:r>
            <a:endParaRPr sz="14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Attach </a:t>
            </a:r>
            <a:r>
              <a:rPr sz="1400" spc="-5" dirty="0">
                <a:latin typeface="Arial"/>
                <a:cs typeface="Arial"/>
              </a:rPr>
              <a:t>more </a:t>
            </a:r>
            <a:r>
              <a:rPr sz="1400" dirty="0">
                <a:latin typeface="Arial"/>
                <a:cs typeface="Arial"/>
              </a:rPr>
              <a:t>importance to</a:t>
            </a:r>
            <a:r>
              <a:rPr sz="1400" spc="-17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ocial</a:t>
            </a:r>
          </a:p>
          <a:p>
            <a:pPr marL="12700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images and</a:t>
            </a:r>
            <a:r>
              <a:rPr sz="1400" spc="-6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onnections</a:t>
            </a:r>
          </a:p>
        </p:txBody>
      </p:sp>
      <p:grpSp>
        <p:nvGrpSpPr>
          <p:cNvPr id="25" name="object 25"/>
          <p:cNvGrpSpPr/>
          <p:nvPr/>
        </p:nvGrpSpPr>
        <p:grpSpPr>
          <a:xfrm>
            <a:off x="723645" y="4064253"/>
            <a:ext cx="2945130" cy="811530"/>
            <a:chOff x="723645" y="4064253"/>
            <a:chExt cx="2945130" cy="811530"/>
          </a:xfrm>
        </p:grpSpPr>
        <p:sp>
          <p:nvSpPr>
            <p:cNvPr id="26" name="object 26"/>
            <p:cNvSpPr/>
            <p:nvPr/>
          </p:nvSpPr>
          <p:spPr>
            <a:xfrm>
              <a:off x="733805" y="4074413"/>
              <a:ext cx="2924810" cy="791210"/>
            </a:xfrm>
            <a:custGeom>
              <a:avLst/>
              <a:gdLst/>
              <a:ahLst/>
              <a:cxnLst/>
              <a:rect l="l" t="t" r="r" b="b"/>
              <a:pathLst>
                <a:path w="2924810" h="791210">
                  <a:moveTo>
                    <a:pt x="2924556" y="0"/>
                  </a:moveTo>
                  <a:lnTo>
                    <a:pt x="0" y="0"/>
                  </a:lnTo>
                  <a:lnTo>
                    <a:pt x="0" y="790956"/>
                  </a:lnTo>
                  <a:lnTo>
                    <a:pt x="2924556" y="790956"/>
                  </a:lnTo>
                  <a:lnTo>
                    <a:pt x="2924556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733805" y="4074413"/>
              <a:ext cx="2924810" cy="791210"/>
            </a:xfrm>
            <a:custGeom>
              <a:avLst/>
              <a:gdLst/>
              <a:ahLst/>
              <a:cxnLst/>
              <a:rect l="l" t="t" r="r" b="b"/>
              <a:pathLst>
                <a:path w="2924810" h="791210">
                  <a:moveTo>
                    <a:pt x="0" y="790956"/>
                  </a:moveTo>
                  <a:lnTo>
                    <a:pt x="2924556" y="790956"/>
                  </a:lnTo>
                  <a:lnTo>
                    <a:pt x="2924556" y="0"/>
                  </a:lnTo>
                  <a:lnTo>
                    <a:pt x="0" y="0"/>
                  </a:lnTo>
                  <a:lnTo>
                    <a:pt x="0" y="790956"/>
                  </a:lnTo>
                  <a:close/>
                </a:path>
              </a:pathLst>
            </a:custGeom>
            <a:ln w="1981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8" name="object 28"/>
          <p:cNvSpPr txBox="1"/>
          <p:nvPr/>
        </p:nvSpPr>
        <p:spPr>
          <a:xfrm>
            <a:off x="756919" y="4092016"/>
            <a:ext cx="2834005" cy="66738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sz="1400" b="1" dirty="0">
                <a:latin typeface="Arial"/>
                <a:cs typeface="Arial"/>
              </a:rPr>
              <a:t>Increasing Care </a:t>
            </a:r>
            <a:r>
              <a:rPr sz="1400" b="1" spc="-5" dirty="0">
                <a:latin typeface="Arial"/>
                <a:cs typeface="Arial"/>
              </a:rPr>
              <a:t>for Appearance  </a:t>
            </a:r>
            <a:r>
              <a:rPr sz="1400" dirty="0">
                <a:latin typeface="Arial"/>
                <a:cs typeface="Arial"/>
              </a:rPr>
              <a:t>Pay attention to </a:t>
            </a:r>
            <a:r>
              <a:rPr sz="1400" spc="-5" dirty="0">
                <a:latin typeface="Arial"/>
                <a:cs typeface="Arial"/>
              </a:rPr>
              <a:t>appearance </a:t>
            </a:r>
            <a:r>
              <a:rPr sz="1400" dirty="0">
                <a:latin typeface="Arial"/>
                <a:cs typeface="Arial"/>
              </a:rPr>
              <a:t>and</a:t>
            </a:r>
            <a:r>
              <a:rPr sz="1400" spc="-15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ry  to catch up </a:t>
            </a:r>
            <a:r>
              <a:rPr sz="1400" spc="-5" dirty="0">
                <a:latin typeface="Arial"/>
                <a:cs typeface="Arial"/>
              </a:rPr>
              <a:t>with </a:t>
            </a:r>
            <a:r>
              <a:rPr sz="1400" dirty="0">
                <a:latin typeface="Arial"/>
                <a:cs typeface="Arial"/>
              </a:rPr>
              <a:t>the</a:t>
            </a:r>
            <a:r>
              <a:rPr sz="1400" spc="-10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rends</a:t>
            </a:r>
          </a:p>
        </p:txBody>
      </p:sp>
      <p:grpSp>
        <p:nvGrpSpPr>
          <p:cNvPr id="29" name="object 29"/>
          <p:cNvGrpSpPr/>
          <p:nvPr/>
        </p:nvGrpSpPr>
        <p:grpSpPr>
          <a:xfrm>
            <a:off x="3648202" y="3270250"/>
            <a:ext cx="2992120" cy="820419"/>
            <a:chOff x="3648202" y="3270250"/>
            <a:chExt cx="2992120" cy="820419"/>
          </a:xfrm>
        </p:grpSpPr>
        <p:sp>
          <p:nvSpPr>
            <p:cNvPr id="30" name="object 30"/>
            <p:cNvSpPr/>
            <p:nvPr/>
          </p:nvSpPr>
          <p:spPr>
            <a:xfrm>
              <a:off x="3658362" y="3280410"/>
              <a:ext cx="2971800" cy="800100"/>
            </a:xfrm>
            <a:custGeom>
              <a:avLst/>
              <a:gdLst/>
              <a:ahLst/>
              <a:cxnLst/>
              <a:rect l="l" t="t" r="r" b="b"/>
              <a:pathLst>
                <a:path w="2971800" h="800100">
                  <a:moveTo>
                    <a:pt x="2971799" y="0"/>
                  </a:moveTo>
                  <a:lnTo>
                    <a:pt x="0" y="0"/>
                  </a:lnTo>
                  <a:lnTo>
                    <a:pt x="0" y="800100"/>
                  </a:lnTo>
                  <a:lnTo>
                    <a:pt x="2971799" y="800100"/>
                  </a:lnTo>
                  <a:lnTo>
                    <a:pt x="2971799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3658362" y="3280410"/>
              <a:ext cx="2971800" cy="800100"/>
            </a:xfrm>
            <a:custGeom>
              <a:avLst/>
              <a:gdLst/>
              <a:ahLst/>
              <a:cxnLst/>
              <a:rect l="l" t="t" r="r" b="b"/>
              <a:pathLst>
                <a:path w="2971800" h="800100">
                  <a:moveTo>
                    <a:pt x="0" y="800100"/>
                  </a:moveTo>
                  <a:lnTo>
                    <a:pt x="2971799" y="800100"/>
                  </a:lnTo>
                  <a:lnTo>
                    <a:pt x="2971799" y="0"/>
                  </a:lnTo>
                  <a:lnTo>
                    <a:pt x="0" y="0"/>
                  </a:lnTo>
                  <a:lnTo>
                    <a:pt x="0" y="800100"/>
                  </a:lnTo>
                  <a:close/>
                </a:path>
              </a:pathLst>
            </a:custGeom>
            <a:ln w="1981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2" name="object 32"/>
          <p:cNvSpPr txBox="1"/>
          <p:nvPr/>
        </p:nvSpPr>
        <p:spPr>
          <a:xfrm>
            <a:off x="3681476" y="3297682"/>
            <a:ext cx="2542540" cy="66675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spc="-5" dirty="0">
                <a:latin typeface="Arial"/>
                <a:cs typeface="Arial"/>
              </a:rPr>
              <a:t>Strong Ritual</a:t>
            </a:r>
            <a:r>
              <a:rPr sz="1400" b="1" spc="-6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Sense</a:t>
            </a:r>
            <a:endParaRPr sz="14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400" spc="-25" dirty="0">
                <a:latin typeface="Arial"/>
                <a:cs typeface="Arial"/>
              </a:rPr>
              <a:t>Value </a:t>
            </a:r>
            <a:r>
              <a:rPr sz="1400" dirty="0">
                <a:latin typeface="Arial"/>
                <a:cs typeface="Arial"/>
              </a:rPr>
              <a:t>special </a:t>
            </a:r>
            <a:r>
              <a:rPr sz="1400" spc="-5" dirty="0">
                <a:latin typeface="Arial"/>
                <a:cs typeface="Arial"/>
              </a:rPr>
              <a:t>days, </a:t>
            </a:r>
            <a:r>
              <a:rPr sz="1400" dirty="0">
                <a:latin typeface="Arial"/>
                <a:cs typeface="Arial"/>
              </a:rPr>
              <a:t>i.e.</a:t>
            </a:r>
            <a:r>
              <a:rPr sz="1400" spc="-85" dirty="0">
                <a:latin typeface="Arial"/>
                <a:cs typeface="Arial"/>
              </a:rPr>
              <a:t> </a:t>
            </a:r>
            <a:r>
              <a:rPr sz="1400" spc="-15" dirty="0">
                <a:latin typeface="Arial"/>
                <a:cs typeface="Arial"/>
              </a:rPr>
              <a:t>birthday,</a:t>
            </a:r>
            <a:endParaRPr sz="14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festivals and</a:t>
            </a:r>
            <a:r>
              <a:rPr sz="1400" spc="-7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nniversary</a:t>
            </a:r>
          </a:p>
        </p:txBody>
      </p:sp>
      <p:grpSp>
        <p:nvGrpSpPr>
          <p:cNvPr id="33" name="object 33"/>
          <p:cNvGrpSpPr/>
          <p:nvPr/>
        </p:nvGrpSpPr>
        <p:grpSpPr>
          <a:xfrm>
            <a:off x="3648455" y="4078223"/>
            <a:ext cx="2992120" cy="809625"/>
            <a:chOff x="3648455" y="4078223"/>
            <a:chExt cx="2992120" cy="809625"/>
          </a:xfrm>
        </p:grpSpPr>
        <p:sp>
          <p:nvSpPr>
            <p:cNvPr id="34" name="object 34"/>
            <p:cNvSpPr/>
            <p:nvPr/>
          </p:nvSpPr>
          <p:spPr>
            <a:xfrm>
              <a:off x="3658361" y="4088129"/>
              <a:ext cx="2971800" cy="789940"/>
            </a:xfrm>
            <a:custGeom>
              <a:avLst/>
              <a:gdLst/>
              <a:ahLst/>
              <a:cxnLst/>
              <a:rect l="l" t="t" r="r" b="b"/>
              <a:pathLst>
                <a:path w="2971800" h="789939">
                  <a:moveTo>
                    <a:pt x="2971799" y="0"/>
                  </a:moveTo>
                  <a:lnTo>
                    <a:pt x="0" y="0"/>
                  </a:lnTo>
                  <a:lnTo>
                    <a:pt x="0" y="789432"/>
                  </a:lnTo>
                  <a:lnTo>
                    <a:pt x="2971799" y="789432"/>
                  </a:lnTo>
                  <a:lnTo>
                    <a:pt x="2971799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3658361" y="4088129"/>
              <a:ext cx="2971800" cy="789940"/>
            </a:xfrm>
            <a:custGeom>
              <a:avLst/>
              <a:gdLst/>
              <a:ahLst/>
              <a:cxnLst/>
              <a:rect l="l" t="t" r="r" b="b"/>
              <a:pathLst>
                <a:path w="2971800" h="789939">
                  <a:moveTo>
                    <a:pt x="0" y="789432"/>
                  </a:moveTo>
                  <a:lnTo>
                    <a:pt x="2971799" y="789432"/>
                  </a:lnTo>
                  <a:lnTo>
                    <a:pt x="2971799" y="0"/>
                  </a:lnTo>
                  <a:lnTo>
                    <a:pt x="0" y="0"/>
                  </a:lnTo>
                  <a:lnTo>
                    <a:pt x="0" y="789432"/>
                  </a:lnTo>
                  <a:close/>
                </a:path>
              </a:pathLst>
            </a:custGeom>
            <a:ln w="1981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6" name="object 36"/>
          <p:cNvSpPr txBox="1"/>
          <p:nvPr/>
        </p:nvSpPr>
        <p:spPr>
          <a:xfrm>
            <a:off x="3681476" y="4105402"/>
            <a:ext cx="2788920" cy="6667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latin typeface="Arial"/>
                <a:cs typeface="Arial"/>
              </a:rPr>
              <a:t>Growing </a:t>
            </a:r>
            <a:r>
              <a:rPr sz="1400" b="1" spc="-5" dirty="0">
                <a:latin typeface="Arial"/>
                <a:cs typeface="Arial"/>
              </a:rPr>
              <a:t>Need for</a:t>
            </a:r>
            <a:r>
              <a:rPr sz="1400" b="1" spc="-85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Customization  </a:t>
            </a:r>
            <a:r>
              <a:rPr sz="1400" spc="-20" dirty="0">
                <a:latin typeface="Arial"/>
                <a:cs typeface="Arial"/>
              </a:rPr>
              <a:t>Try </a:t>
            </a:r>
            <a:r>
              <a:rPr sz="1400" dirty="0">
                <a:latin typeface="Arial"/>
                <a:cs typeface="Arial"/>
              </a:rPr>
              <a:t>to </a:t>
            </a:r>
            <a:r>
              <a:rPr sz="1400" spc="-5" dirty="0">
                <a:latin typeface="Arial"/>
                <a:cs typeface="Arial"/>
              </a:rPr>
              <a:t>differentiate themselves </a:t>
            </a:r>
            <a:r>
              <a:rPr sz="1400" dirty="0">
                <a:latin typeface="Arial"/>
                <a:cs typeface="Arial"/>
              </a:rPr>
              <a:t>and  reluctant to follow the </a:t>
            </a:r>
            <a:r>
              <a:rPr sz="1400" spc="-5" dirty="0">
                <a:latin typeface="Arial"/>
                <a:cs typeface="Arial"/>
              </a:rPr>
              <a:t>same</a:t>
            </a:r>
            <a:r>
              <a:rPr sz="1400" spc="-17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attern</a:t>
            </a:r>
          </a:p>
        </p:txBody>
      </p:sp>
      <p:sp>
        <p:nvSpPr>
          <p:cNvPr id="37" name="object 37"/>
          <p:cNvSpPr txBox="1"/>
          <p:nvPr/>
        </p:nvSpPr>
        <p:spPr>
          <a:xfrm>
            <a:off x="8103489" y="5326126"/>
            <a:ext cx="294894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5" dirty="0">
                <a:solidFill>
                  <a:srgbClr val="FFFFFF"/>
                </a:solidFill>
                <a:latin typeface="Arial"/>
                <a:cs typeface="Arial"/>
              </a:rPr>
              <a:t>Key Purchasing Criteria</a:t>
            </a:r>
            <a:r>
              <a:rPr sz="1600" b="1" spc="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Arial"/>
                <a:cs typeface="Arial"/>
              </a:rPr>
              <a:t>(KPC)</a:t>
            </a:r>
            <a:endParaRPr sz="1600">
              <a:latin typeface="Arial"/>
              <a:cs typeface="Arial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7347966" y="5612384"/>
            <a:ext cx="4470400" cy="8191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90500" indent="-178435">
              <a:lnSpc>
                <a:spcPct val="100000"/>
              </a:lnSpc>
              <a:spcBef>
                <a:spcPts val="100"/>
              </a:spcBef>
              <a:buFont typeface="Arial"/>
              <a:buChar char="•"/>
              <a:tabLst>
                <a:tab pos="191135" algn="l"/>
              </a:tabLst>
            </a:pPr>
            <a:r>
              <a:rPr sz="1400" b="1" spc="-5" dirty="0">
                <a:latin typeface="Arial"/>
                <a:cs typeface="Arial"/>
              </a:rPr>
              <a:t>Brand: </a:t>
            </a:r>
            <a:r>
              <a:rPr sz="1400" spc="-5" dirty="0">
                <a:latin typeface="Arial"/>
                <a:cs typeface="Arial"/>
              </a:rPr>
              <a:t>Evaluated </a:t>
            </a:r>
            <a:r>
              <a:rPr sz="1400" dirty="0">
                <a:latin typeface="Arial"/>
                <a:cs typeface="Arial"/>
              </a:rPr>
              <a:t>by brand</a:t>
            </a:r>
            <a:r>
              <a:rPr sz="1400" spc="-60" dirty="0">
                <a:latin typeface="Arial"/>
                <a:cs typeface="Arial"/>
              </a:rPr>
              <a:t> </a:t>
            </a:r>
            <a:r>
              <a:rPr sz="1400" spc="-5" dirty="0">
                <a:latin typeface="Arial"/>
                <a:cs typeface="Arial"/>
              </a:rPr>
              <a:t>awareness</a:t>
            </a:r>
            <a:endParaRPr sz="1400">
              <a:latin typeface="Arial"/>
              <a:cs typeface="Arial"/>
            </a:endParaRPr>
          </a:p>
          <a:p>
            <a:pPr marL="190500" indent="-178435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tabLst>
                <a:tab pos="191135" algn="l"/>
              </a:tabLst>
            </a:pPr>
            <a:r>
              <a:rPr sz="1400" b="1" spc="-5" dirty="0">
                <a:latin typeface="Arial"/>
                <a:cs typeface="Arial"/>
              </a:rPr>
              <a:t>Design: </a:t>
            </a:r>
            <a:r>
              <a:rPr sz="1400" spc="-5" dirty="0">
                <a:latin typeface="Arial"/>
                <a:cs typeface="Arial"/>
              </a:rPr>
              <a:t>Evaluated </a:t>
            </a:r>
            <a:r>
              <a:rPr sz="1400" dirty="0">
                <a:latin typeface="Arial"/>
                <a:cs typeface="Arial"/>
              </a:rPr>
              <a:t>by product updating frequency</a:t>
            </a:r>
            <a:r>
              <a:rPr sz="1400" spc="-17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nd</a:t>
            </a:r>
            <a:endParaRPr sz="1400">
              <a:latin typeface="Arial"/>
              <a:cs typeface="Arial"/>
            </a:endParaRPr>
          </a:p>
          <a:p>
            <a:pPr marL="190500">
              <a:lnSpc>
                <a:spcPct val="100000"/>
              </a:lnSpc>
              <a:spcBef>
                <a:spcPts val="5"/>
              </a:spcBef>
            </a:pPr>
            <a:r>
              <a:rPr sz="1400" dirty="0">
                <a:latin typeface="Arial"/>
                <a:cs typeface="Arial"/>
              </a:rPr>
              <a:t>consumer </a:t>
            </a:r>
            <a:r>
              <a:rPr sz="1400" spc="-5" dirty="0">
                <a:latin typeface="Arial"/>
                <a:cs typeface="Arial"/>
              </a:rPr>
              <a:t>comments </a:t>
            </a:r>
            <a:r>
              <a:rPr sz="1400" dirty="0">
                <a:latin typeface="Arial"/>
                <a:cs typeface="Arial"/>
              </a:rPr>
              <a:t>on its</a:t>
            </a:r>
            <a:r>
              <a:rPr sz="1400" spc="-120" dirty="0">
                <a:latin typeface="Arial"/>
                <a:cs typeface="Arial"/>
              </a:rPr>
              <a:t> </a:t>
            </a:r>
            <a:r>
              <a:rPr sz="1400" spc="-5" dirty="0">
                <a:latin typeface="Arial"/>
                <a:cs typeface="Arial"/>
              </a:rPr>
              <a:t>style</a:t>
            </a:r>
            <a:endParaRPr sz="1400">
              <a:latin typeface="Arial"/>
              <a:cs typeface="Arial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192023" y="5020055"/>
            <a:ext cx="426720" cy="1460500"/>
          </a:xfrm>
          <a:custGeom>
            <a:avLst/>
            <a:gdLst/>
            <a:ahLst/>
            <a:cxnLst/>
            <a:rect l="l" t="t" r="r" b="b"/>
            <a:pathLst>
              <a:path w="426720" h="1460500">
                <a:moveTo>
                  <a:pt x="426720" y="0"/>
                </a:moveTo>
                <a:lnTo>
                  <a:pt x="0" y="0"/>
                </a:lnTo>
                <a:lnTo>
                  <a:pt x="0" y="1459992"/>
                </a:lnTo>
                <a:lnTo>
                  <a:pt x="426720" y="1459992"/>
                </a:lnTo>
                <a:lnTo>
                  <a:pt x="426720" y="0"/>
                </a:lnTo>
                <a:close/>
              </a:path>
            </a:pathLst>
          </a:custGeom>
          <a:solidFill>
            <a:srgbClr val="CC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 txBox="1"/>
          <p:nvPr/>
        </p:nvSpPr>
        <p:spPr>
          <a:xfrm>
            <a:off x="262532" y="5250529"/>
            <a:ext cx="252095" cy="105727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864"/>
              </a:lnSpc>
            </a:pPr>
            <a:r>
              <a:rPr sz="1600" b="1" spc="-10" dirty="0">
                <a:solidFill>
                  <a:srgbClr val="FFFFFF"/>
                </a:solidFill>
                <a:latin typeface="Arial"/>
                <a:cs typeface="Arial"/>
              </a:rPr>
              <a:t>Behavioral</a:t>
            </a:r>
            <a:endParaRPr sz="1600">
              <a:latin typeface="Arial"/>
              <a:cs typeface="Arial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786383" y="5020055"/>
            <a:ext cx="5843270" cy="1460500"/>
          </a:xfrm>
          <a:prstGeom prst="rect">
            <a:avLst/>
          </a:prstGeom>
          <a:ln w="9144">
            <a:solidFill>
              <a:srgbClr val="5C5C5C"/>
            </a:solidFill>
          </a:ln>
        </p:spPr>
        <p:txBody>
          <a:bodyPr vert="horz" wrap="square" lIns="0" tIns="66040" rIns="0" bIns="0" rtlCol="0">
            <a:spAutoFit/>
          </a:bodyPr>
          <a:lstStyle/>
          <a:p>
            <a:pPr marL="318135" indent="-179070">
              <a:lnSpc>
                <a:spcPct val="100000"/>
              </a:lnSpc>
              <a:spcBef>
                <a:spcPts val="520"/>
              </a:spcBef>
              <a:buChar char="•"/>
              <a:tabLst>
                <a:tab pos="318770" algn="l"/>
              </a:tabLst>
            </a:pPr>
            <a:r>
              <a:rPr sz="1400" dirty="0">
                <a:latin typeface="Arial"/>
                <a:cs typeface="Arial"/>
              </a:rPr>
              <a:t>Frequently use </a:t>
            </a:r>
            <a:r>
              <a:rPr sz="1400" b="1" spc="-5" dirty="0">
                <a:latin typeface="Arial"/>
                <a:cs typeface="Arial"/>
              </a:rPr>
              <a:t>Internet </a:t>
            </a:r>
            <a:r>
              <a:rPr sz="1400" dirty="0">
                <a:latin typeface="Arial"/>
                <a:cs typeface="Arial"/>
              </a:rPr>
              <a:t>and stay </a:t>
            </a:r>
            <a:r>
              <a:rPr sz="1400" spc="-5" dirty="0">
                <a:latin typeface="Arial"/>
                <a:cs typeface="Arial"/>
              </a:rPr>
              <a:t>active </a:t>
            </a:r>
            <a:r>
              <a:rPr sz="1400" dirty="0">
                <a:latin typeface="Arial"/>
                <a:cs typeface="Arial"/>
              </a:rPr>
              <a:t>on </a:t>
            </a:r>
            <a:r>
              <a:rPr sz="1400" b="1" dirty="0">
                <a:latin typeface="Arial"/>
                <a:cs typeface="Arial"/>
              </a:rPr>
              <a:t>social</a:t>
            </a:r>
            <a:r>
              <a:rPr sz="1400" b="1" spc="-20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media</a:t>
            </a:r>
            <a:endParaRPr sz="1400">
              <a:latin typeface="Arial"/>
              <a:cs typeface="Arial"/>
            </a:endParaRPr>
          </a:p>
          <a:p>
            <a:pPr marL="318135" indent="-179070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tabLst>
                <a:tab pos="318770" algn="l"/>
              </a:tabLst>
            </a:pPr>
            <a:r>
              <a:rPr sz="1400" b="1" dirty="0">
                <a:latin typeface="Arial"/>
                <a:cs typeface="Arial"/>
              </a:rPr>
              <a:t>Send </a:t>
            </a:r>
            <a:r>
              <a:rPr sz="1400" b="1" spc="-5" dirty="0">
                <a:latin typeface="Arial"/>
                <a:cs typeface="Arial"/>
              </a:rPr>
              <a:t>gifts </a:t>
            </a:r>
            <a:r>
              <a:rPr sz="1400" dirty="0">
                <a:latin typeface="Arial"/>
                <a:cs typeface="Arial"/>
              </a:rPr>
              <a:t>to close friends and family on special</a:t>
            </a:r>
            <a:r>
              <a:rPr sz="1400" spc="-220" dirty="0">
                <a:latin typeface="Arial"/>
                <a:cs typeface="Arial"/>
              </a:rPr>
              <a:t> </a:t>
            </a:r>
            <a:r>
              <a:rPr sz="1400" spc="-5" dirty="0">
                <a:latin typeface="Arial"/>
                <a:cs typeface="Arial"/>
              </a:rPr>
              <a:t>days</a:t>
            </a:r>
            <a:endParaRPr sz="1400">
              <a:latin typeface="Arial"/>
              <a:cs typeface="Arial"/>
            </a:endParaRPr>
          </a:p>
          <a:p>
            <a:pPr marL="318135" indent="-179070">
              <a:lnSpc>
                <a:spcPct val="100000"/>
              </a:lnSpc>
              <a:spcBef>
                <a:spcPts val="1200"/>
              </a:spcBef>
              <a:buChar char="•"/>
              <a:tabLst>
                <a:tab pos="318770" algn="l"/>
              </a:tabLst>
            </a:pPr>
            <a:r>
              <a:rPr sz="1400" dirty="0">
                <a:latin typeface="Arial"/>
                <a:cs typeface="Arial"/>
              </a:rPr>
              <a:t>Spend much on </a:t>
            </a:r>
            <a:r>
              <a:rPr sz="1400" b="1" spc="-5" dirty="0">
                <a:latin typeface="Arial"/>
                <a:cs typeface="Arial"/>
              </a:rPr>
              <a:t>clothing, accessories </a:t>
            </a:r>
            <a:r>
              <a:rPr sz="1400" b="1" dirty="0">
                <a:latin typeface="Arial"/>
                <a:cs typeface="Arial"/>
              </a:rPr>
              <a:t>and skincare</a:t>
            </a:r>
            <a:r>
              <a:rPr sz="1400" b="1" spc="-200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products</a:t>
            </a:r>
            <a:endParaRPr sz="1400">
              <a:latin typeface="Arial"/>
              <a:cs typeface="Arial"/>
            </a:endParaRPr>
          </a:p>
          <a:p>
            <a:pPr marL="318135" indent="-179070">
              <a:lnSpc>
                <a:spcPct val="100000"/>
              </a:lnSpc>
              <a:spcBef>
                <a:spcPts val="1205"/>
              </a:spcBef>
              <a:buChar char="•"/>
              <a:tabLst>
                <a:tab pos="318770" algn="l"/>
              </a:tabLst>
            </a:pPr>
            <a:r>
              <a:rPr sz="1400" dirty="0">
                <a:latin typeface="Arial"/>
                <a:cs typeface="Arial"/>
              </a:rPr>
              <a:t>Spend </a:t>
            </a:r>
            <a:r>
              <a:rPr sz="1400" spc="-5" dirty="0">
                <a:latin typeface="Arial"/>
                <a:cs typeface="Arial"/>
              </a:rPr>
              <a:t>much </a:t>
            </a:r>
            <a:r>
              <a:rPr sz="1400" dirty="0">
                <a:latin typeface="Arial"/>
                <a:cs typeface="Arial"/>
              </a:rPr>
              <a:t>on </a:t>
            </a:r>
            <a:r>
              <a:rPr sz="1400" b="1" spc="-5" dirty="0">
                <a:latin typeface="Arial"/>
                <a:cs typeface="Arial"/>
              </a:rPr>
              <a:t>entertainment</a:t>
            </a:r>
            <a:r>
              <a:rPr sz="1400" b="1" spc="-95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consumption</a:t>
            </a:r>
            <a:endParaRPr sz="1400">
              <a:latin typeface="Arial"/>
              <a:cs typeface="Arial"/>
            </a:endParaRPr>
          </a:p>
        </p:txBody>
      </p:sp>
      <p:grpSp>
        <p:nvGrpSpPr>
          <p:cNvPr id="42" name="object 42"/>
          <p:cNvGrpSpPr/>
          <p:nvPr/>
        </p:nvGrpSpPr>
        <p:grpSpPr>
          <a:xfrm>
            <a:off x="7193267" y="2473371"/>
            <a:ext cx="4703445" cy="1347470"/>
            <a:chOff x="7193267" y="2473371"/>
            <a:chExt cx="4703445" cy="1347470"/>
          </a:xfrm>
        </p:grpSpPr>
        <p:sp>
          <p:nvSpPr>
            <p:cNvPr id="43" name="object 43"/>
            <p:cNvSpPr/>
            <p:nvPr/>
          </p:nvSpPr>
          <p:spPr>
            <a:xfrm>
              <a:off x="7193267" y="2473371"/>
              <a:ext cx="4703087" cy="1347337"/>
            </a:xfrm>
            <a:prstGeom prst="rect">
              <a:avLst/>
            </a:prstGeom>
            <a:blipFill>
              <a:blip r:embed="rId1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4"/>
            <p:cNvSpPr/>
            <p:nvPr/>
          </p:nvSpPr>
          <p:spPr>
            <a:xfrm>
              <a:off x="7237475" y="2482596"/>
              <a:ext cx="4619625" cy="1272540"/>
            </a:xfrm>
            <a:custGeom>
              <a:avLst/>
              <a:gdLst/>
              <a:ahLst/>
              <a:cxnLst/>
              <a:rect l="l" t="t" r="r" b="b"/>
              <a:pathLst>
                <a:path w="4619625" h="1272539">
                  <a:moveTo>
                    <a:pt x="4619244" y="0"/>
                  </a:moveTo>
                  <a:lnTo>
                    <a:pt x="0" y="0"/>
                  </a:lnTo>
                  <a:lnTo>
                    <a:pt x="0" y="1272539"/>
                  </a:lnTo>
                  <a:lnTo>
                    <a:pt x="4619244" y="1272539"/>
                  </a:lnTo>
                  <a:lnTo>
                    <a:pt x="461924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5" name="object 45"/>
          <p:cNvSpPr txBox="1"/>
          <p:nvPr/>
        </p:nvSpPr>
        <p:spPr>
          <a:xfrm>
            <a:off x="7521829" y="3298063"/>
            <a:ext cx="834390" cy="45275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0160" marR="5080" indent="-10795">
              <a:lnSpc>
                <a:spcPct val="100000"/>
              </a:lnSpc>
              <a:spcBef>
                <a:spcPts val="105"/>
              </a:spcBef>
            </a:pPr>
            <a:r>
              <a:rPr sz="1400" b="1" i="1" spc="-10" dirty="0">
                <a:latin typeface="Arial"/>
                <a:cs typeface="Arial"/>
              </a:rPr>
              <a:t>K</a:t>
            </a:r>
            <a:r>
              <a:rPr sz="1400" b="1" i="1" dirty="0">
                <a:latin typeface="Arial"/>
                <a:cs typeface="Arial"/>
              </a:rPr>
              <a:t>at</a:t>
            </a:r>
            <a:r>
              <a:rPr sz="1400" b="1" i="1" spc="-10" dirty="0">
                <a:latin typeface="Arial"/>
                <a:cs typeface="Arial"/>
              </a:rPr>
              <a:t>h</a:t>
            </a:r>
            <a:r>
              <a:rPr sz="1400" b="1" i="1" dirty="0">
                <a:latin typeface="Arial"/>
                <a:cs typeface="Arial"/>
              </a:rPr>
              <a:t>eri</a:t>
            </a:r>
            <a:r>
              <a:rPr sz="1400" b="1" i="1" spc="-10" dirty="0">
                <a:latin typeface="Arial"/>
                <a:cs typeface="Arial"/>
              </a:rPr>
              <a:t>n</a:t>
            </a:r>
            <a:r>
              <a:rPr sz="1400" b="1" i="1" dirty="0">
                <a:latin typeface="Arial"/>
                <a:cs typeface="Arial"/>
              </a:rPr>
              <a:t>e  S</a:t>
            </a:r>
            <a:r>
              <a:rPr sz="1400" b="1" i="1" spc="-10" dirty="0">
                <a:latin typeface="Arial"/>
                <a:cs typeface="Arial"/>
              </a:rPr>
              <a:t>h</a:t>
            </a:r>
            <a:r>
              <a:rPr sz="1400" b="1" i="1" dirty="0">
                <a:latin typeface="Arial"/>
                <a:cs typeface="Arial"/>
              </a:rPr>
              <a:t>a</a:t>
            </a:r>
            <a:r>
              <a:rPr sz="1400" b="1" i="1" spc="-10" dirty="0">
                <a:latin typeface="Arial"/>
                <a:cs typeface="Arial"/>
              </a:rPr>
              <a:t>ngh</a:t>
            </a:r>
            <a:r>
              <a:rPr sz="1400" b="1" i="1" dirty="0">
                <a:latin typeface="Arial"/>
                <a:cs typeface="Arial"/>
              </a:rPr>
              <a:t>ai</a:t>
            </a:r>
            <a:endParaRPr sz="1400">
              <a:latin typeface="Arial"/>
              <a:cs typeface="Arial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8742806" y="2692095"/>
            <a:ext cx="3038475" cy="99186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5400">
              <a:lnSpc>
                <a:spcPts val="1280"/>
              </a:lnSpc>
              <a:spcBef>
                <a:spcPts val="105"/>
              </a:spcBef>
              <a:tabLst>
                <a:tab pos="1753870" algn="l"/>
              </a:tabLst>
            </a:pPr>
            <a:r>
              <a:rPr sz="1400" b="1" spc="-5" dirty="0">
                <a:latin typeface="Arial"/>
                <a:cs typeface="Arial"/>
              </a:rPr>
              <a:t>Gender:</a:t>
            </a:r>
            <a:r>
              <a:rPr sz="1400" b="1" spc="-20" dirty="0">
                <a:latin typeface="Arial"/>
                <a:cs typeface="Arial"/>
              </a:rPr>
              <a:t> </a:t>
            </a:r>
            <a:r>
              <a:rPr sz="1400" spc="-5" dirty="0">
                <a:latin typeface="Arial"/>
                <a:cs typeface="Arial"/>
              </a:rPr>
              <a:t>Female	</a:t>
            </a:r>
            <a:r>
              <a:rPr sz="2100" i="1" spc="-7" baseline="31746" dirty="0">
                <a:latin typeface="Arial"/>
                <a:cs typeface="Arial"/>
              </a:rPr>
              <a:t>“Design is</a:t>
            </a:r>
            <a:r>
              <a:rPr sz="2100" i="1" spc="-135" baseline="31746" dirty="0">
                <a:latin typeface="Arial"/>
                <a:cs typeface="Arial"/>
              </a:rPr>
              <a:t> </a:t>
            </a:r>
            <a:r>
              <a:rPr sz="2100" i="1" spc="-7" baseline="31746" dirty="0">
                <a:latin typeface="Arial"/>
                <a:cs typeface="Arial"/>
              </a:rPr>
              <a:t>my</a:t>
            </a:r>
            <a:endParaRPr sz="2100" baseline="31746" dirty="0">
              <a:latin typeface="Arial"/>
              <a:cs typeface="Arial"/>
            </a:endParaRPr>
          </a:p>
          <a:p>
            <a:pPr marL="25400">
              <a:lnSpc>
                <a:spcPts val="1280"/>
              </a:lnSpc>
              <a:tabLst>
                <a:tab pos="1753870" algn="l"/>
              </a:tabLst>
            </a:pPr>
            <a:r>
              <a:rPr sz="2100" b="1" spc="-22" baseline="-31746" dirty="0">
                <a:latin typeface="Arial"/>
                <a:cs typeface="Arial"/>
              </a:rPr>
              <a:t>Age:</a:t>
            </a:r>
            <a:r>
              <a:rPr sz="2100" b="1" spc="52" baseline="-31746" dirty="0">
                <a:latin typeface="Arial"/>
                <a:cs typeface="Arial"/>
              </a:rPr>
              <a:t> </a:t>
            </a:r>
            <a:r>
              <a:rPr sz="2100" spc="-7" baseline="-31746" dirty="0">
                <a:latin typeface="Arial"/>
                <a:cs typeface="Arial"/>
              </a:rPr>
              <a:t>29	</a:t>
            </a:r>
            <a:r>
              <a:rPr sz="1400" i="1" dirty="0">
                <a:latin typeface="Arial"/>
                <a:cs typeface="Arial"/>
              </a:rPr>
              <a:t>priority since</a:t>
            </a:r>
            <a:r>
              <a:rPr sz="1400" i="1" spc="-150" dirty="0">
                <a:latin typeface="Arial"/>
                <a:cs typeface="Arial"/>
              </a:rPr>
              <a:t> </a:t>
            </a:r>
            <a:r>
              <a:rPr sz="1400" i="1" dirty="0">
                <a:latin typeface="Arial"/>
                <a:cs typeface="Arial"/>
              </a:rPr>
              <a:t>I</a:t>
            </a:r>
            <a:endParaRPr sz="1400" dirty="0">
              <a:latin typeface="Arial"/>
              <a:cs typeface="Arial"/>
            </a:endParaRPr>
          </a:p>
          <a:p>
            <a:pPr marL="25400">
              <a:lnSpc>
                <a:spcPct val="100000"/>
              </a:lnSpc>
              <a:spcBef>
                <a:spcPts val="800"/>
              </a:spcBef>
              <a:tabLst>
                <a:tab pos="1753870" algn="l"/>
              </a:tabLst>
            </a:pPr>
            <a:r>
              <a:rPr sz="1400" b="1" spc="-5" dirty="0">
                <a:latin typeface="Arial"/>
                <a:cs typeface="Arial"/>
              </a:rPr>
              <a:t>Income:</a:t>
            </a:r>
            <a:r>
              <a:rPr sz="1400" b="1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15k/month	</a:t>
            </a:r>
            <a:r>
              <a:rPr sz="2100" i="1" spc="-7" baseline="31746" dirty="0">
                <a:latin typeface="Arial"/>
                <a:cs typeface="Arial"/>
              </a:rPr>
              <a:t>wear</a:t>
            </a:r>
            <a:r>
              <a:rPr sz="2100" i="1" spc="-44" baseline="31746" dirty="0">
                <a:latin typeface="Arial"/>
                <a:cs typeface="Arial"/>
              </a:rPr>
              <a:t> </a:t>
            </a:r>
            <a:r>
              <a:rPr sz="2100" i="1" baseline="31746" dirty="0">
                <a:latin typeface="Arial"/>
                <a:cs typeface="Arial"/>
              </a:rPr>
              <a:t>jewelry</a:t>
            </a:r>
            <a:endParaRPr sz="2100" baseline="31746" dirty="0">
              <a:latin typeface="Arial"/>
              <a:cs typeface="Arial"/>
            </a:endParaRPr>
          </a:p>
          <a:p>
            <a:pPr marL="25400">
              <a:lnSpc>
                <a:spcPts val="1280"/>
              </a:lnSpc>
              <a:spcBef>
                <a:spcPts val="5"/>
              </a:spcBef>
              <a:tabLst>
                <a:tab pos="1753870" algn="l"/>
              </a:tabLst>
            </a:pPr>
            <a:r>
              <a:rPr sz="1400" b="1" spc="-5" dirty="0">
                <a:latin typeface="Arial"/>
                <a:cs typeface="Arial"/>
              </a:rPr>
              <a:t>Motivation:</a:t>
            </a:r>
            <a:r>
              <a:rPr sz="1400" b="1" spc="-3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Beauty	</a:t>
            </a:r>
            <a:r>
              <a:rPr sz="2100" i="1" spc="-7" baseline="31746" dirty="0">
                <a:latin typeface="Arial"/>
                <a:cs typeface="Arial"/>
              </a:rPr>
              <a:t>when </a:t>
            </a:r>
            <a:r>
              <a:rPr sz="2100" i="1" baseline="31746" dirty="0">
                <a:latin typeface="Arial"/>
                <a:cs typeface="Arial"/>
              </a:rPr>
              <a:t>dating</a:t>
            </a:r>
            <a:r>
              <a:rPr sz="2100" i="1" spc="-112" baseline="31746" dirty="0">
                <a:latin typeface="Arial"/>
                <a:cs typeface="Arial"/>
              </a:rPr>
              <a:t> </a:t>
            </a:r>
            <a:r>
              <a:rPr sz="2100" i="1" baseline="31746" dirty="0">
                <a:latin typeface="Arial"/>
                <a:cs typeface="Arial"/>
              </a:rPr>
              <a:t>or</a:t>
            </a:r>
            <a:endParaRPr sz="2100" baseline="31746" dirty="0">
              <a:latin typeface="Arial"/>
              <a:cs typeface="Arial"/>
            </a:endParaRPr>
          </a:p>
          <a:p>
            <a:pPr marL="1753870">
              <a:lnSpc>
                <a:spcPts val="1280"/>
              </a:lnSpc>
            </a:pPr>
            <a:r>
              <a:rPr sz="1400" i="1" spc="-5" dirty="0">
                <a:latin typeface="Arial"/>
                <a:cs typeface="Arial"/>
              </a:rPr>
              <a:t>meeting</a:t>
            </a:r>
            <a:r>
              <a:rPr sz="1400" i="1" spc="-55" dirty="0">
                <a:latin typeface="Arial"/>
                <a:cs typeface="Arial"/>
              </a:rPr>
              <a:t> </a:t>
            </a:r>
            <a:r>
              <a:rPr sz="1400" i="1" spc="-5" dirty="0">
                <a:latin typeface="Arial"/>
                <a:cs typeface="Arial"/>
              </a:rPr>
              <a:t>clients”</a:t>
            </a:r>
            <a:endParaRPr sz="1400" dirty="0">
              <a:latin typeface="Arial"/>
              <a:cs typeface="Arial"/>
            </a:endParaRPr>
          </a:p>
        </p:txBody>
      </p:sp>
      <p:grpSp>
        <p:nvGrpSpPr>
          <p:cNvPr id="78" name="object 78"/>
          <p:cNvGrpSpPr/>
          <p:nvPr/>
        </p:nvGrpSpPr>
        <p:grpSpPr>
          <a:xfrm>
            <a:off x="7179564" y="1351788"/>
            <a:ext cx="4721860" cy="1988185"/>
            <a:chOff x="7179564" y="1351788"/>
            <a:chExt cx="4721860" cy="1988185"/>
          </a:xfrm>
        </p:grpSpPr>
        <p:sp>
          <p:nvSpPr>
            <p:cNvPr id="79" name="object 79"/>
            <p:cNvSpPr/>
            <p:nvPr/>
          </p:nvSpPr>
          <p:spPr>
            <a:xfrm>
              <a:off x="7240524" y="2540508"/>
              <a:ext cx="1331214" cy="799338"/>
            </a:xfrm>
            <a:prstGeom prst="rect">
              <a:avLst/>
            </a:prstGeom>
            <a:blipFill>
              <a:blip r:embed="rId1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" name="object 80"/>
            <p:cNvSpPr/>
            <p:nvPr/>
          </p:nvSpPr>
          <p:spPr>
            <a:xfrm>
              <a:off x="7179564" y="1391412"/>
              <a:ext cx="4721352" cy="1203960"/>
            </a:xfrm>
            <a:prstGeom prst="rect">
              <a:avLst/>
            </a:prstGeom>
            <a:blipFill>
              <a:blip r:embed="rId1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1" name="object 81"/>
            <p:cNvSpPr/>
            <p:nvPr/>
          </p:nvSpPr>
          <p:spPr>
            <a:xfrm>
              <a:off x="7232904" y="1418844"/>
              <a:ext cx="4619625" cy="1102360"/>
            </a:xfrm>
            <a:custGeom>
              <a:avLst/>
              <a:gdLst/>
              <a:ahLst/>
              <a:cxnLst/>
              <a:rect l="l" t="t" r="r" b="b"/>
              <a:pathLst>
                <a:path w="4619625" h="1102360">
                  <a:moveTo>
                    <a:pt x="4619244" y="0"/>
                  </a:moveTo>
                  <a:lnTo>
                    <a:pt x="0" y="0"/>
                  </a:lnTo>
                  <a:lnTo>
                    <a:pt x="0" y="1101852"/>
                  </a:lnTo>
                  <a:lnTo>
                    <a:pt x="4619244" y="1101852"/>
                  </a:lnTo>
                  <a:lnTo>
                    <a:pt x="461924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2" name="object 82"/>
            <p:cNvSpPr/>
            <p:nvPr/>
          </p:nvSpPr>
          <p:spPr>
            <a:xfrm>
              <a:off x="7226808" y="1351788"/>
              <a:ext cx="1332738" cy="825246"/>
            </a:xfrm>
            <a:prstGeom prst="rect">
              <a:avLst/>
            </a:prstGeom>
            <a:blipFill>
              <a:blip r:embed="rId1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3" name="object 83"/>
          <p:cNvSpPr txBox="1"/>
          <p:nvPr/>
        </p:nvSpPr>
        <p:spPr>
          <a:xfrm>
            <a:off x="7465441" y="2099513"/>
            <a:ext cx="949325" cy="45402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R="5715" algn="ctr">
              <a:lnSpc>
                <a:spcPct val="100000"/>
              </a:lnSpc>
              <a:spcBef>
                <a:spcPts val="105"/>
              </a:spcBef>
            </a:pPr>
            <a:r>
              <a:rPr sz="1400" b="1" i="1" spc="-5" dirty="0">
                <a:latin typeface="Arial"/>
                <a:cs typeface="Arial"/>
              </a:rPr>
              <a:t>Flora</a:t>
            </a:r>
            <a:endParaRPr sz="1400">
              <a:latin typeface="Arial"/>
              <a:cs typeface="Arial"/>
            </a:endParaRPr>
          </a:p>
          <a:p>
            <a:pPr marR="5080" algn="ctr">
              <a:lnSpc>
                <a:spcPct val="100000"/>
              </a:lnSpc>
              <a:spcBef>
                <a:spcPts val="5"/>
              </a:spcBef>
            </a:pPr>
            <a:r>
              <a:rPr sz="1400" b="1" i="1" spc="-10" dirty="0">
                <a:latin typeface="Arial"/>
                <a:cs typeface="Arial"/>
              </a:rPr>
              <a:t>Chongq</a:t>
            </a:r>
            <a:r>
              <a:rPr sz="1400" b="1" i="1" dirty="0">
                <a:latin typeface="Arial"/>
                <a:cs typeface="Arial"/>
              </a:rPr>
              <a:t>i</a:t>
            </a:r>
            <a:r>
              <a:rPr sz="1400" b="1" i="1" spc="-10" dirty="0">
                <a:latin typeface="Arial"/>
                <a:cs typeface="Arial"/>
              </a:rPr>
              <a:t>n</a:t>
            </a:r>
            <a:r>
              <a:rPr sz="1400" b="1" i="1" dirty="0">
                <a:latin typeface="Arial"/>
                <a:cs typeface="Arial"/>
              </a:rPr>
              <a:t>g</a:t>
            </a:r>
            <a:endParaRPr sz="1400">
              <a:latin typeface="Arial"/>
              <a:cs typeface="Arial"/>
            </a:endParaRPr>
          </a:p>
        </p:txBody>
      </p:sp>
      <p:sp>
        <p:nvSpPr>
          <p:cNvPr id="84" name="object 84"/>
          <p:cNvSpPr txBox="1"/>
          <p:nvPr/>
        </p:nvSpPr>
        <p:spPr>
          <a:xfrm>
            <a:off x="8772143" y="1480565"/>
            <a:ext cx="1475740" cy="6661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sz="1400" b="1" spc="-5" dirty="0">
                <a:latin typeface="Arial"/>
                <a:cs typeface="Arial"/>
              </a:rPr>
              <a:t>Gender:</a:t>
            </a:r>
            <a:r>
              <a:rPr sz="1400" b="1" spc="-45" dirty="0">
                <a:latin typeface="Arial"/>
                <a:cs typeface="Arial"/>
              </a:rPr>
              <a:t> </a:t>
            </a:r>
            <a:r>
              <a:rPr sz="1400" spc="-5" dirty="0">
                <a:latin typeface="Arial"/>
                <a:cs typeface="Arial"/>
              </a:rPr>
              <a:t>Female</a:t>
            </a:r>
            <a:endParaRPr sz="14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r>
              <a:rPr sz="1400" b="1" spc="-15" dirty="0">
                <a:latin typeface="Arial"/>
                <a:cs typeface="Arial"/>
              </a:rPr>
              <a:t>Age:</a:t>
            </a:r>
            <a:r>
              <a:rPr sz="1400" b="1" spc="25" dirty="0">
                <a:latin typeface="Arial"/>
                <a:cs typeface="Arial"/>
              </a:rPr>
              <a:t> </a:t>
            </a:r>
            <a:r>
              <a:rPr sz="1400" spc="-5" dirty="0">
                <a:latin typeface="Arial"/>
                <a:cs typeface="Arial"/>
              </a:rPr>
              <a:t>21</a:t>
            </a:r>
            <a:endParaRPr sz="14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r>
              <a:rPr sz="1400" b="1" spc="-5" dirty="0">
                <a:latin typeface="Arial"/>
                <a:cs typeface="Arial"/>
              </a:rPr>
              <a:t>Income:</a:t>
            </a:r>
            <a:r>
              <a:rPr sz="1400" b="1" spc="-8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6k/month</a:t>
            </a:r>
            <a:endParaRPr sz="1400">
              <a:latin typeface="Arial"/>
              <a:cs typeface="Arial"/>
            </a:endParaRPr>
          </a:p>
        </p:txBody>
      </p:sp>
      <p:sp>
        <p:nvSpPr>
          <p:cNvPr id="85" name="object 85"/>
          <p:cNvSpPr txBox="1"/>
          <p:nvPr/>
        </p:nvSpPr>
        <p:spPr>
          <a:xfrm>
            <a:off x="10481436" y="1394587"/>
            <a:ext cx="1331595" cy="66675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R="5080">
              <a:lnSpc>
                <a:spcPct val="100000"/>
              </a:lnSpc>
              <a:spcBef>
                <a:spcPts val="105"/>
              </a:spcBef>
            </a:pPr>
            <a:r>
              <a:rPr sz="1400" i="1" spc="-5" dirty="0">
                <a:latin typeface="Arial"/>
                <a:cs typeface="Arial"/>
              </a:rPr>
              <a:t>“My </a:t>
            </a:r>
            <a:r>
              <a:rPr sz="1400" i="1" dirty="0">
                <a:latin typeface="Arial"/>
                <a:cs typeface="Arial"/>
              </a:rPr>
              <a:t>friends </a:t>
            </a:r>
            <a:r>
              <a:rPr sz="1400" i="1" spc="-5" dirty="0">
                <a:latin typeface="Arial"/>
                <a:cs typeface="Arial"/>
              </a:rPr>
              <a:t>and</a:t>
            </a:r>
            <a:r>
              <a:rPr sz="1400" i="1" spc="-135" dirty="0">
                <a:latin typeface="Arial"/>
                <a:cs typeface="Arial"/>
              </a:rPr>
              <a:t> </a:t>
            </a:r>
            <a:r>
              <a:rPr sz="1400" i="1" dirty="0">
                <a:latin typeface="Arial"/>
                <a:cs typeface="Arial"/>
              </a:rPr>
              <a:t>I  </a:t>
            </a:r>
            <a:r>
              <a:rPr sz="1400" i="1" spc="-5" dirty="0">
                <a:latin typeface="Arial"/>
                <a:cs typeface="Arial"/>
              </a:rPr>
              <a:t>wear </a:t>
            </a:r>
            <a:r>
              <a:rPr sz="1400" i="1" dirty="0">
                <a:latin typeface="Arial"/>
                <a:cs typeface="Arial"/>
              </a:rPr>
              <a:t>jewelry  when</a:t>
            </a:r>
            <a:r>
              <a:rPr sz="1400" i="1" spc="-40" dirty="0">
                <a:latin typeface="Arial"/>
                <a:cs typeface="Arial"/>
              </a:rPr>
              <a:t> </a:t>
            </a:r>
            <a:r>
              <a:rPr sz="1400" i="1" dirty="0">
                <a:latin typeface="Arial"/>
                <a:cs typeface="Arial"/>
              </a:rPr>
              <a:t>hanging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86" name="object 86"/>
          <p:cNvSpPr txBox="1"/>
          <p:nvPr/>
        </p:nvSpPr>
        <p:spPr>
          <a:xfrm>
            <a:off x="8746743" y="2120341"/>
            <a:ext cx="307467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5400">
              <a:lnSpc>
                <a:spcPct val="100000"/>
              </a:lnSpc>
              <a:spcBef>
                <a:spcPts val="105"/>
              </a:spcBef>
            </a:pPr>
            <a:r>
              <a:rPr sz="1400" b="1" spc="-5" dirty="0">
                <a:latin typeface="Arial"/>
                <a:cs typeface="Arial"/>
              </a:rPr>
              <a:t>Motivation: </a:t>
            </a:r>
            <a:r>
              <a:rPr sz="1400" dirty="0">
                <a:latin typeface="Arial"/>
                <a:cs typeface="Arial"/>
              </a:rPr>
              <a:t>Fashion </a:t>
            </a:r>
            <a:r>
              <a:rPr sz="2100" i="1" baseline="25793" dirty="0">
                <a:latin typeface="Arial"/>
                <a:cs typeface="Arial"/>
              </a:rPr>
              <a:t>out and it</a:t>
            </a:r>
            <a:r>
              <a:rPr sz="2100" i="1" spc="-375" baseline="25793" dirty="0">
                <a:latin typeface="Arial"/>
                <a:cs typeface="Arial"/>
              </a:rPr>
              <a:t> </a:t>
            </a:r>
            <a:r>
              <a:rPr sz="2100" i="1" baseline="25793" dirty="0">
                <a:latin typeface="Arial"/>
                <a:cs typeface="Arial"/>
              </a:rPr>
              <a:t>makes</a:t>
            </a:r>
            <a:endParaRPr sz="2100" baseline="25793">
              <a:latin typeface="Arial"/>
              <a:cs typeface="Arial"/>
            </a:endParaRPr>
          </a:p>
        </p:txBody>
      </p:sp>
      <p:sp>
        <p:nvSpPr>
          <p:cNvPr id="87" name="object 87"/>
          <p:cNvSpPr txBox="1"/>
          <p:nvPr/>
        </p:nvSpPr>
        <p:spPr>
          <a:xfrm>
            <a:off x="10481436" y="2248281"/>
            <a:ext cx="1219200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sz="1400" i="1" spc="-5" dirty="0">
                <a:latin typeface="Arial"/>
                <a:cs typeface="Arial"/>
              </a:rPr>
              <a:t>us</a:t>
            </a:r>
            <a:r>
              <a:rPr sz="1400" i="1" spc="-70" dirty="0">
                <a:latin typeface="Arial"/>
                <a:cs typeface="Arial"/>
              </a:rPr>
              <a:t> </a:t>
            </a:r>
            <a:r>
              <a:rPr sz="1400" i="1" spc="-5" dirty="0">
                <a:latin typeface="Arial"/>
                <a:cs typeface="Arial"/>
              </a:rPr>
              <a:t>fashionable”</a:t>
            </a:r>
            <a:endParaRPr sz="1400">
              <a:latin typeface="Arial"/>
              <a:cs typeface="Arial"/>
            </a:endParaRPr>
          </a:p>
        </p:txBody>
      </p:sp>
      <p:grpSp>
        <p:nvGrpSpPr>
          <p:cNvPr id="88" name="object 88"/>
          <p:cNvGrpSpPr/>
          <p:nvPr/>
        </p:nvGrpSpPr>
        <p:grpSpPr>
          <a:xfrm>
            <a:off x="7184135" y="1368552"/>
            <a:ext cx="4721860" cy="3717290"/>
            <a:chOff x="7184135" y="1368552"/>
            <a:chExt cx="4721860" cy="3717290"/>
          </a:xfrm>
        </p:grpSpPr>
        <p:sp>
          <p:nvSpPr>
            <p:cNvPr id="89" name="object 89"/>
            <p:cNvSpPr/>
            <p:nvPr/>
          </p:nvSpPr>
          <p:spPr>
            <a:xfrm>
              <a:off x="10378440" y="1368551"/>
              <a:ext cx="1463040" cy="1137285"/>
            </a:xfrm>
            <a:custGeom>
              <a:avLst/>
              <a:gdLst/>
              <a:ahLst/>
              <a:cxnLst/>
              <a:rect l="l" t="t" r="r" b="b"/>
              <a:pathLst>
                <a:path w="1463040" h="1137285">
                  <a:moveTo>
                    <a:pt x="367284" y="0"/>
                  </a:moveTo>
                  <a:lnTo>
                    <a:pt x="0" y="0"/>
                  </a:lnTo>
                  <a:lnTo>
                    <a:pt x="0" y="155448"/>
                  </a:lnTo>
                  <a:lnTo>
                    <a:pt x="51816" y="133477"/>
                  </a:lnTo>
                  <a:lnTo>
                    <a:pt x="51816" y="51816"/>
                  </a:lnTo>
                  <a:lnTo>
                    <a:pt x="244856" y="51816"/>
                  </a:lnTo>
                  <a:lnTo>
                    <a:pt x="367284" y="0"/>
                  </a:lnTo>
                  <a:close/>
                </a:path>
                <a:path w="1463040" h="1137285">
                  <a:moveTo>
                    <a:pt x="1463040" y="982980"/>
                  </a:moveTo>
                  <a:lnTo>
                    <a:pt x="1411732" y="1004443"/>
                  </a:lnTo>
                  <a:lnTo>
                    <a:pt x="1411732" y="1085596"/>
                  </a:lnTo>
                  <a:lnTo>
                    <a:pt x="1218184" y="1085596"/>
                  </a:lnTo>
                  <a:lnTo>
                    <a:pt x="1095756" y="1136904"/>
                  </a:lnTo>
                  <a:lnTo>
                    <a:pt x="1463040" y="1136904"/>
                  </a:lnTo>
                  <a:lnTo>
                    <a:pt x="1463040" y="982980"/>
                  </a:lnTo>
                  <a:close/>
                </a:path>
              </a:pathLst>
            </a:custGeom>
            <a:solidFill>
              <a:srgbClr val="CC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0" name="object 90"/>
            <p:cNvSpPr/>
            <p:nvPr/>
          </p:nvSpPr>
          <p:spPr>
            <a:xfrm>
              <a:off x="7184135" y="3782568"/>
              <a:ext cx="4721352" cy="1303020"/>
            </a:xfrm>
            <a:prstGeom prst="rect">
              <a:avLst/>
            </a:prstGeom>
            <a:blipFill>
              <a:blip r:embed="rId2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1" name="object 91"/>
            <p:cNvSpPr/>
            <p:nvPr/>
          </p:nvSpPr>
          <p:spPr>
            <a:xfrm>
              <a:off x="7237475" y="3810000"/>
              <a:ext cx="4619625" cy="1201420"/>
            </a:xfrm>
            <a:custGeom>
              <a:avLst/>
              <a:gdLst/>
              <a:ahLst/>
              <a:cxnLst/>
              <a:rect l="l" t="t" r="r" b="b"/>
              <a:pathLst>
                <a:path w="4619625" h="1201420">
                  <a:moveTo>
                    <a:pt x="4619244" y="0"/>
                  </a:moveTo>
                  <a:lnTo>
                    <a:pt x="0" y="0"/>
                  </a:lnTo>
                  <a:lnTo>
                    <a:pt x="0" y="1200912"/>
                  </a:lnTo>
                  <a:lnTo>
                    <a:pt x="4619244" y="1200912"/>
                  </a:lnTo>
                  <a:lnTo>
                    <a:pt x="461924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2" name="object 92"/>
          <p:cNvSpPr txBox="1"/>
          <p:nvPr/>
        </p:nvSpPr>
        <p:spPr>
          <a:xfrm>
            <a:off x="7607172" y="4564507"/>
            <a:ext cx="665480" cy="4527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5080" indent="57785">
              <a:lnSpc>
                <a:spcPct val="100000"/>
              </a:lnSpc>
              <a:spcBef>
                <a:spcPts val="100"/>
              </a:spcBef>
            </a:pPr>
            <a:r>
              <a:rPr sz="1400" b="1" i="1" dirty="0">
                <a:latin typeface="Arial"/>
                <a:cs typeface="Arial"/>
              </a:rPr>
              <a:t>Martin  </a:t>
            </a:r>
            <a:r>
              <a:rPr sz="1400" b="1" i="1" spc="-10" dirty="0">
                <a:latin typeface="Arial"/>
                <a:cs typeface="Arial"/>
              </a:rPr>
              <a:t>N</a:t>
            </a:r>
            <a:r>
              <a:rPr sz="1400" b="1" i="1" dirty="0">
                <a:latin typeface="Arial"/>
                <a:cs typeface="Arial"/>
              </a:rPr>
              <a:t>a</a:t>
            </a:r>
            <a:r>
              <a:rPr sz="1400" b="1" i="1" spc="-10" dirty="0">
                <a:latin typeface="Arial"/>
                <a:cs typeface="Arial"/>
              </a:rPr>
              <a:t>n</a:t>
            </a:r>
            <a:r>
              <a:rPr sz="1400" b="1" i="1" dirty="0">
                <a:latin typeface="Arial"/>
                <a:cs typeface="Arial"/>
              </a:rPr>
              <a:t>ji</a:t>
            </a:r>
            <a:r>
              <a:rPr sz="1400" b="1" i="1" spc="-10" dirty="0">
                <a:latin typeface="Arial"/>
                <a:cs typeface="Arial"/>
              </a:rPr>
              <a:t>n</a:t>
            </a:r>
            <a:r>
              <a:rPr sz="1400" b="1" i="1" dirty="0">
                <a:latin typeface="Arial"/>
                <a:cs typeface="Arial"/>
              </a:rPr>
              <a:t>g</a:t>
            </a:r>
            <a:endParaRPr sz="1400">
              <a:latin typeface="Arial"/>
              <a:cs typeface="Arial"/>
            </a:endParaRPr>
          </a:p>
        </p:txBody>
      </p:sp>
      <p:sp>
        <p:nvSpPr>
          <p:cNvPr id="93" name="object 93"/>
          <p:cNvSpPr txBox="1"/>
          <p:nvPr/>
        </p:nvSpPr>
        <p:spPr>
          <a:xfrm>
            <a:off x="8806306" y="3951859"/>
            <a:ext cx="1573530" cy="8794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1400" b="1" spc="-5" dirty="0">
                <a:latin typeface="Arial"/>
                <a:cs typeface="Arial"/>
              </a:rPr>
              <a:t>Gender:</a:t>
            </a:r>
            <a:r>
              <a:rPr sz="1400" b="1" spc="-35" dirty="0">
                <a:latin typeface="Arial"/>
                <a:cs typeface="Arial"/>
              </a:rPr>
              <a:t> </a:t>
            </a:r>
            <a:r>
              <a:rPr sz="1400" spc="-5" dirty="0">
                <a:latin typeface="Arial"/>
                <a:cs typeface="Arial"/>
              </a:rPr>
              <a:t>Male</a:t>
            </a:r>
            <a:endParaRPr sz="14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r>
              <a:rPr sz="1400" b="1" spc="-15" dirty="0">
                <a:latin typeface="Arial"/>
                <a:cs typeface="Arial"/>
              </a:rPr>
              <a:t>Age:</a:t>
            </a:r>
            <a:r>
              <a:rPr sz="1400" b="1" spc="25" dirty="0">
                <a:latin typeface="Arial"/>
                <a:cs typeface="Arial"/>
              </a:rPr>
              <a:t> </a:t>
            </a:r>
            <a:r>
              <a:rPr sz="1400" spc="-5" dirty="0">
                <a:latin typeface="Arial"/>
                <a:cs typeface="Arial"/>
              </a:rPr>
              <a:t>36</a:t>
            </a:r>
            <a:endParaRPr sz="14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r>
              <a:rPr sz="1400" b="1" spc="-5" dirty="0">
                <a:latin typeface="Arial"/>
                <a:cs typeface="Arial"/>
              </a:rPr>
              <a:t>Income:</a:t>
            </a:r>
            <a:r>
              <a:rPr sz="1400" b="1" spc="-50" dirty="0">
                <a:latin typeface="Arial"/>
                <a:cs typeface="Arial"/>
              </a:rPr>
              <a:t> </a:t>
            </a:r>
            <a:r>
              <a:rPr sz="1400" spc="-5" dirty="0">
                <a:latin typeface="Arial"/>
                <a:cs typeface="Arial"/>
              </a:rPr>
              <a:t>28k/month</a:t>
            </a:r>
            <a:endParaRPr sz="14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r>
              <a:rPr sz="1400" b="1" spc="-5" dirty="0">
                <a:latin typeface="Arial"/>
                <a:cs typeface="Arial"/>
              </a:rPr>
              <a:t>Motivation:</a:t>
            </a:r>
            <a:r>
              <a:rPr sz="1400" b="1" spc="-6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Gifting</a:t>
            </a:r>
            <a:endParaRPr sz="1400">
              <a:latin typeface="Arial"/>
              <a:cs typeface="Arial"/>
            </a:endParaRPr>
          </a:p>
        </p:txBody>
      </p:sp>
      <p:sp>
        <p:nvSpPr>
          <p:cNvPr id="94" name="object 94"/>
          <p:cNvSpPr txBox="1"/>
          <p:nvPr/>
        </p:nvSpPr>
        <p:spPr>
          <a:xfrm>
            <a:off x="10529316" y="3902455"/>
            <a:ext cx="1236345" cy="109347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5080">
              <a:lnSpc>
                <a:spcPct val="100000"/>
              </a:lnSpc>
              <a:spcBef>
                <a:spcPts val="100"/>
              </a:spcBef>
            </a:pPr>
            <a:r>
              <a:rPr sz="1400" i="1" dirty="0">
                <a:latin typeface="Arial"/>
                <a:cs typeface="Arial"/>
              </a:rPr>
              <a:t>“When </a:t>
            </a:r>
            <a:r>
              <a:rPr sz="1400" i="1" spc="-5" dirty="0">
                <a:latin typeface="Arial"/>
                <a:cs typeface="Arial"/>
              </a:rPr>
              <a:t>gifting, </a:t>
            </a:r>
            <a:r>
              <a:rPr sz="1400" i="1" dirty="0">
                <a:latin typeface="Arial"/>
                <a:cs typeface="Arial"/>
              </a:rPr>
              <a:t>I  value brand</a:t>
            </a:r>
            <a:r>
              <a:rPr sz="1400" i="1" spc="-130" dirty="0">
                <a:latin typeface="Arial"/>
                <a:cs typeface="Arial"/>
              </a:rPr>
              <a:t> </a:t>
            </a:r>
            <a:r>
              <a:rPr sz="1400" i="1" dirty="0">
                <a:latin typeface="Arial"/>
                <a:cs typeface="Arial"/>
              </a:rPr>
              <a:t>the  </a:t>
            </a:r>
            <a:r>
              <a:rPr sz="1400" i="1" spc="-5" dirty="0">
                <a:latin typeface="Arial"/>
                <a:cs typeface="Arial"/>
              </a:rPr>
              <a:t>most and </a:t>
            </a:r>
            <a:r>
              <a:rPr sz="1400" i="1" spc="-10" dirty="0">
                <a:latin typeface="Arial"/>
                <a:cs typeface="Arial"/>
              </a:rPr>
              <a:t>I’m  </a:t>
            </a:r>
            <a:r>
              <a:rPr sz="1400" i="1" spc="-5" dirty="0">
                <a:latin typeface="Arial"/>
                <a:cs typeface="Arial"/>
              </a:rPr>
              <a:t>willing </a:t>
            </a:r>
            <a:r>
              <a:rPr sz="1400" i="1" dirty="0">
                <a:latin typeface="Arial"/>
                <a:cs typeface="Arial"/>
              </a:rPr>
              <a:t>to pay  </a:t>
            </a:r>
            <a:r>
              <a:rPr sz="1400" i="1" spc="-5" dirty="0">
                <a:latin typeface="Arial"/>
                <a:cs typeface="Arial"/>
              </a:rPr>
              <a:t>more for</a:t>
            </a:r>
            <a:r>
              <a:rPr sz="1400" i="1" spc="-50" dirty="0">
                <a:latin typeface="Arial"/>
                <a:cs typeface="Arial"/>
              </a:rPr>
              <a:t> </a:t>
            </a:r>
            <a:r>
              <a:rPr sz="1400" i="1" spc="-5" dirty="0">
                <a:latin typeface="Arial"/>
                <a:cs typeface="Arial"/>
              </a:rPr>
              <a:t>it”</a:t>
            </a:r>
            <a:endParaRPr sz="1400">
              <a:latin typeface="Arial"/>
              <a:cs typeface="Arial"/>
            </a:endParaRPr>
          </a:p>
        </p:txBody>
      </p:sp>
      <p:grpSp>
        <p:nvGrpSpPr>
          <p:cNvPr id="95" name="object 95"/>
          <p:cNvGrpSpPr/>
          <p:nvPr/>
        </p:nvGrpSpPr>
        <p:grpSpPr>
          <a:xfrm>
            <a:off x="7240523" y="3799332"/>
            <a:ext cx="4592320" cy="1190625"/>
            <a:chOff x="7240523" y="3799332"/>
            <a:chExt cx="4592320" cy="1190625"/>
          </a:xfrm>
        </p:grpSpPr>
        <p:sp>
          <p:nvSpPr>
            <p:cNvPr id="96" name="object 96"/>
            <p:cNvSpPr/>
            <p:nvPr/>
          </p:nvSpPr>
          <p:spPr>
            <a:xfrm>
              <a:off x="10340340" y="3832859"/>
              <a:ext cx="1492250" cy="1156970"/>
            </a:xfrm>
            <a:custGeom>
              <a:avLst/>
              <a:gdLst/>
              <a:ahLst/>
              <a:cxnLst/>
              <a:rect l="l" t="t" r="r" b="b"/>
              <a:pathLst>
                <a:path w="1492250" h="1156970">
                  <a:moveTo>
                    <a:pt x="367284" y="0"/>
                  </a:moveTo>
                  <a:lnTo>
                    <a:pt x="0" y="0"/>
                  </a:lnTo>
                  <a:lnTo>
                    <a:pt x="0" y="155448"/>
                  </a:lnTo>
                  <a:lnTo>
                    <a:pt x="51816" y="133477"/>
                  </a:lnTo>
                  <a:lnTo>
                    <a:pt x="51816" y="51816"/>
                  </a:lnTo>
                  <a:lnTo>
                    <a:pt x="244856" y="51816"/>
                  </a:lnTo>
                  <a:lnTo>
                    <a:pt x="367284" y="0"/>
                  </a:lnTo>
                  <a:close/>
                </a:path>
                <a:path w="1492250" h="1156970">
                  <a:moveTo>
                    <a:pt x="1491996" y="1002792"/>
                  </a:moveTo>
                  <a:lnTo>
                    <a:pt x="1440688" y="1024255"/>
                  </a:lnTo>
                  <a:lnTo>
                    <a:pt x="1440688" y="1105408"/>
                  </a:lnTo>
                  <a:lnTo>
                    <a:pt x="1247140" y="1105408"/>
                  </a:lnTo>
                  <a:lnTo>
                    <a:pt x="1124712" y="1156716"/>
                  </a:lnTo>
                  <a:lnTo>
                    <a:pt x="1491996" y="1156716"/>
                  </a:lnTo>
                  <a:lnTo>
                    <a:pt x="1491996" y="1002792"/>
                  </a:lnTo>
                  <a:close/>
                </a:path>
              </a:pathLst>
            </a:custGeom>
            <a:solidFill>
              <a:srgbClr val="CC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7" name="object 97"/>
            <p:cNvSpPr/>
            <p:nvPr/>
          </p:nvSpPr>
          <p:spPr>
            <a:xfrm>
              <a:off x="7240523" y="3799332"/>
              <a:ext cx="1311402" cy="826769"/>
            </a:xfrm>
            <a:prstGeom prst="rect">
              <a:avLst/>
            </a:prstGeom>
            <a:blipFill>
              <a:blip r:embed="rId2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8" name="object 14">
            <a:extLst>
              <a:ext uri="{FF2B5EF4-FFF2-40B4-BE49-F238E27FC236}">
                <a16:creationId xmlns:a16="http://schemas.microsoft.com/office/drawing/2014/main" id="{94B07F68-993B-E3E8-81DD-D58C7C7E315B}"/>
              </a:ext>
            </a:extLst>
          </p:cNvPr>
          <p:cNvSpPr/>
          <p:nvPr/>
        </p:nvSpPr>
        <p:spPr>
          <a:xfrm rot="16200000">
            <a:off x="6725538" y="5483183"/>
            <a:ext cx="349250" cy="205740"/>
          </a:xfrm>
          <a:custGeom>
            <a:avLst/>
            <a:gdLst/>
            <a:ahLst/>
            <a:cxnLst/>
            <a:rect l="l" t="t" r="r" b="b"/>
            <a:pathLst>
              <a:path w="349250" h="205739">
                <a:moveTo>
                  <a:pt x="348996" y="0"/>
                </a:moveTo>
                <a:lnTo>
                  <a:pt x="174498" y="102870"/>
                </a:lnTo>
                <a:lnTo>
                  <a:pt x="0" y="0"/>
                </a:lnTo>
                <a:lnTo>
                  <a:pt x="0" y="102870"/>
                </a:lnTo>
                <a:lnTo>
                  <a:pt x="174498" y="205740"/>
                </a:lnTo>
                <a:lnTo>
                  <a:pt x="348996" y="102870"/>
                </a:lnTo>
                <a:lnTo>
                  <a:pt x="348996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181" name="Chart 3">
            <a:extLst>
              <a:ext uri="{FF2B5EF4-FFF2-40B4-BE49-F238E27FC236}">
                <a16:creationId xmlns:a16="http://schemas.microsoft.com/office/drawing/2014/main" id="{73BD2E50-2ADD-AA9F-21B7-62B52A42A67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9888072"/>
              </p:ext>
            </p:extLst>
          </p:nvPr>
        </p:nvGraphicFramePr>
        <p:xfrm>
          <a:off x="1298575" y="1398588"/>
          <a:ext cx="5413375" cy="544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100" name="文本占位符 2">
            <a:extLst>
              <a:ext uri="{FF2B5EF4-FFF2-40B4-BE49-F238E27FC236}">
                <a16:creationId xmlns:a16="http://schemas.microsoft.com/office/drawing/2014/main" id="{710DF157-9209-F232-5AFA-BDBC461D115E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746125" y="1587500"/>
            <a:ext cx="533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427F8B8-2525-4191-94EA-B111F6B670F7}" type="datetime'''''''''''''''G''e''''''''''''''''''''''nd''''e''''r'''''''">
              <a:rPr kumimoji="1" lang="en-GB" altLang="en-US" sz="1200" b="1" smtClean="0">
                <a:latin typeface="Arial" panose="020B0604020202020204" pitchFamily="34" charset="0"/>
                <a:ea typeface="等线" panose="02010600030101010101" pitchFamily="2" charset="-122"/>
              </a:rPr>
              <a:pPr/>
              <a:t>Gender</a:t>
            </a:fld>
            <a:endParaRPr kumimoji="1" lang="zh-CN" altLang="en-US" sz="1200" b="1" dirty="0"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graphicFrame>
        <p:nvGraphicFramePr>
          <p:cNvPr id="191" name="Chart 3">
            <a:extLst>
              <a:ext uri="{FF2B5EF4-FFF2-40B4-BE49-F238E27FC236}">
                <a16:creationId xmlns:a16="http://schemas.microsoft.com/office/drawing/2014/main" id="{30A46205-7808-2483-1D6B-9A38A82D1BAB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14847307"/>
              </p:ext>
            </p:extLst>
          </p:nvPr>
        </p:nvGraphicFramePr>
        <p:xfrm>
          <a:off x="1298575" y="1778000"/>
          <a:ext cx="5413375" cy="568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102" name="文本占位符 2">
            <a:extLst>
              <a:ext uri="{FF2B5EF4-FFF2-40B4-BE49-F238E27FC236}">
                <a16:creationId xmlns:a16="http://schemas.microsoft.com/office/drawing/2014/main" id="{AC6A40F5-FA73-86E2-07EE-2E0A2115DB09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992188" y="1979613"/>
            <a:ext cx="2873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209DEA4-5EE8-4C58-8792-2BF192F63959}" type="datetime'A''''''g''''e'''''''''''''''''''''''''''''''">
              <a:rPr kumimoji="1" lang="en-GB" altLang="en-US" sz="1200" b="1" smtClean="0"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rPr>
              <a:pPr/>
              <a:t>Age</a:t>
            </a:fld>
            <a:endParaRPr kumimoji="1" lang="zh-CN" altLang="en-US" sz="1400" b="1" dirty="0"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graphicFrame>
        <p:nvGraphicFramePr>
          <p:cNvPr id="195" name="Chart 3">
            <a:extLst>
              <a:ext uri="{FF2B5EF4-FFF2-40B4-BE49-F238E27FC236}">
                <a16:creationId xmlns:a16="http://schemas.microsoft.com/office/drawing/2014/main" id="{84CC513D-3F66-B29F-AD4A-CD729CF40742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48876292"/>
              </p:ext>
            </p:extLst>
          </p:nvPr>
        </p:nvGraphicFramePr>
        <p:xfrm>
          <a:off x="1298575" y="2182813"/>
          <a:ext cx="5413375" cy="542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104" name="文本占位符 2">
            <a:extLst>
              <a:ext uri="{FF2B5EF4-FFF2-40B4-BE49-F238E27FC236}">
                <a16:creationId xmlns:a16="http://schemas.microsoft.com/office/drawing/2014/main" id="{DDA35764-2EE7-2FC5-F89D-904920215601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746125" y="2370138"/>
            <a:ext cx="533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9543014-5339-4794-8745-D878C9ED1D84}" type="datetime'''''''''''''I''nc''''''''''o''''m''''''e'''''''''''''''''">
              <a:rPr kumimoji="1" lang="en-GB" altLang="en-US" sz="1200" b="1" smtClean="0"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rPr>
              <a:pPr/>
              <a:t>Income</a:t>
            </a:fld>
            <a:endParaRPr kumimoji="1" lang="zh-CN" altLang="en-US" sz="1400" b="1" dirty="0"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graphicFrame>
        <p:nvGraphicFramePr>
          <p:cNvPr id="202" name="Chart 3">
            <a:extLst>
              <a:ext uri="{FF2B5EF4-FFF2-40B4-BE49-F238E27FC236}">
                <a16:creationId xmlns:a16="http://schemas.microsoft.com/office/drawing/2014/main" id="{7EBB69B3-76AC-4A0E-D88D-5992EDD21077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67591833"/>
              </p:ext>
            </p:extLst>
          </p:nvPr>
        </p:nvGraphicFramePr>
        <p:xfrm>
          <a:off x="1298575" y="2560638"/>
          <a:ext cx="5413375" cy="561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106" name="文本占位符 2">
            <a:extLst>
              <a:ext uri="{FF2B5EF4-FFF2-40B4-BE49-F238E27FC236}">
                <a16:creationId xmlns:a16="http://schemas.microsoft.com/office/drawing/2014/main" id="{0DFCB2F6-27EA-1D99-8E44-FF905F71FC08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992188" y="2757488"/>
            <a:ext cx="2873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92CB78D-5523-444A-802F-04167C9F3010}" type="datetime'Ci''''''''''''''''''''''''''''t''''y'''">
              <a:rPr kumimoji="1" lang="en-GB" altLang="en-US" sz="1200" b="1" smtClean="0"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rPr>
              <a:pPr/>
              <a:t>City</a:t>
            </a:fld>
            <a:endParaRPr kumimoji="1" lang="zh-CN" altLang="en-US" sz="1200" b="1" dirty="0"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03" name="object 67">
            <a:extLst>
              <a:ext uri="{FF2B5EF4-FFF2-40B4-BE49-F238E27FC236}">
                <a16:creationId xmlns:a16="http://schemas.microsoft.com/office/drawing/2014/main" id="{C24B2666-F672-0209-2838-6B83F92253C0}"/>
              </a:ext>
            </a:extLst>
          </p:cNvPr>
          <p:cNvSpPr txBox="1"/>
          <p:nvPr/>
        </p:nvSpPr>
        <p:spPr>
          <a:xfrm>
            <a:off x="2599788" y="1576299"/>
            <a:ext cx="36449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5" dirty="0">
                <a:solidFill>
                  <a:srgbClr val="FFFFFF"/>
                </a:solidFill>
                <a:latin typeface="Arial"/>
                <a:cs typeface="Arial"/>
              </a:rPr>
              <a:t>Ma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le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204" name="object 67">
            <a:extLst>
              <a:ext uri="{FF2B5EF4-FFF2-40B4-BE49-F238E27FC236}">
                <a16:creationId xmlns:a16="http://schemas.microsoft.com/office/drawing/2014/main" id="{CE016FBE-EEE2-27D5-DB71-B13C1E979287}"/>
              </a:ext>
            </a:extLst>
          </p:cNvPr>
          <p:cNvSpPr txBox="1"/>
          <p:nvPr/>
        </p:nvSpPr>
        <p:spPr>
          <a:xfrm>
            <a:off x="4862518" y="1572890"/>
            <a:ext cx="585976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altLang="zh-CN" sz="1200" b="1" spc="-5" dirty="0">
                <a:solidFill>
                  <a:srgbClr val="FFFFFF"/>
                </a:solidFill>
                <a:latin typeface="Arial"/>
                <a:cs typeface="Arial"/>
              </a:rPr>
              <a:t>Female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205" name="object 22">
            <a:extLst>
              <a:ext uri="{FF2B5EF4-FFF2-40B4-BE49-F238E27FC236}">
                <a16:creationId xmlns:a16="http://schemas.microsoft.com/office/drawing/2014/main" id="{C3B3AF21-D9A8-6ADC-6E05-D8382051A876}"/>
              </a:ext>
            </a:extLst>
          </p:cNvPr>
          <p:cNvSpPr txBox="1"/>
          <p:nvPr/>
        </p:nvSpPr>
        <p:spPr>
          <a:xfrm>
            <a:off x="6204795" y="975043"/>
            <a:ext cx="5795962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  <a:tabLst>
                <a:tab pos="6484620" algn="l"/>
              </a:tabLst>
            </a:pPr>
            <a:r>
              <a:rPr sz="1600" b="1" spc="-30" dirty="0">
                <a:latin typeface="Arial"/>
                <a:cs typeface="Arial"/>
              </a:rPr>
              <a:t>Typical</a:t>
            </a:r>
            <a:r>
              <a:rPr sz="1600" b="1" spc="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customers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206" name="object 67">
            <a:extLst>
              <a:ext uri="{FF2B5EF4-FFF2-40B4-BE49-F238E27FC236}">
                <a16:creationId xmlns:a16="http://schemas.microsoft.com/office/drawing/2014/main" id="{4FAEA0D8-48C9-4C25-8BBD-CA3860E4D897}"/>
              </a:ext>
            </a:extLst>
          </p:cNvPr>
          <p:cNvSpPr txBox="1"/>
          <p:nvPr/>
        </p:nvSpPr>
        <p:spPr>
          <a:xfrm>
            <a:off x="1366402" y="1950720"/>
            <a:ext cx="36449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b="1" spc="-5" dirty="0">
                <a:latin typeface="Arial"/>
                <a:cs typeface="Arial"/>
              </a:rPr>
              <a:t>&lt;30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207" name="object 67">
            <a:extLst>
              <a:ext uri="{FF2B5EF4-FFF2-40B4-BE49-F238E27FC236}">
                <a16:creationId xmlns:a16="http://schemas.microsoft.com/office/drawing/2014/main" id="{1B6C58CE-F03A-C929-1524-98992E41E45C}"/>
              </a:ext>
            </a:extLst>
          </p:cNvPr>
          <p:cNvSpPr txBox="1"/>
          <p:nvPr/>
        </p:nvSpPr>
        <p:spPr>
          <a:xfrm>
            <a:off x="1936522" y="1943557"/>
            <a:ext cx="51937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b="1" spc="-5" dirty="0">
                <a:solidFill>
                  <a:schemeClr val="bg1"/>
                </a:solidFill>
                <a:latin typeface="Arial"/>
                <a:cs typeface="Arial"/>
              </a:rPr>
              <a:t>31-40</a:t>
            </a:r>
            <a:endParaRPr sz="12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08" name="object 67">
            <a:extLst>
              <a:ext uri="{FF2B5EF4-FFF2-40B4-BE49-F238E27FC236}">
                <a16:creationId xmlns:a16="http://schemas.microsoft.com/office/drawing/2014/main" id="{180798C7-AD2C-949E-ABF2-2FF73563FDC7}"/>
              </a:ext>
            </a:extLst>
          </p:cNvPr>
          <p:cNvSpPr txBox="1"/>
          <p:nvPr/>
        </p:nvSpPr>
        <p:spPr>
          <a:xfrm>
            <a:off x="3106553" y="1950349"/>
            <a:ext cx="51937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b="1" spc="-5" dirty="0">
                <a:latin typeface="Arial"/>
                <a:cs typeface="Arial"/>
              </a:rPr>
              <a:t>41-50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210" name="object 67">
            <a:extLst>
              <a:ext uri="{FF2B5EF4-FFF2-40B4-BE49-F238E27FC236}">
                <a16:creationId xmlns:a16="http://schemas.microsoft.com/office/drawing/2014/main" id="{386A8219-085B-8AB7-D250-37C1D7B1B636}"/>
              </a:ext>
            </a:extLst>
          </p:cNvPr>
          <p:cNvSpPr txBox="1"/>
          <p:nvPr/>
        </p:nvSpPr>
        <p:spPr>
          <a:xfrm>
            <a:off x="5155506" y="1956903"/>
            <a:ext cx="334902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b="1" spc="-5" dirty="0">
                <a:solidFill>
                  <a:schemeClr val="bg1"/>
                </a:solidFill>
                <a:latin typeface="Arial"/>
                <a:cs typeface="Arial"/>
              </a:rPr>
              <a:t>&gt;50</a:t>
            </a:r>
            <a:endParaRPr sz="12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11" name="object 67">
            <a:extLst>
              <a:ext uri="{FF2B5EF4-FFF2-40B4-BE49-F238E27FC236}">
                <a16:creationId xmlns:a16="http://schemas.microsoft.com/office/drawing/2014/main" id="{B5A009F4-247C-B0BB-3119-B4411221A76B}"/>
              </a:ext>
            </a:extLst>
          </p:cNvPr>
          <p:cNvSpPr txBox="1"/>
          <p:nvPr/>
        </p:nvSpPr>
        <p:spPr>
          <a:xfrm>
            <a:off x="1611502" y="2349689"/>
            <a:ext cx="51937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b="1" spc="-5" dirty="0">
                <a:solidFill>
                  <a:schemeClr val="bg1"/>
                </a:solidFill>
                <a:latin typeface="Arial"/>
                <a:cs typeface="Arial"/>
              </a:rPr>
              <a:t>&lt;30</a:t>
            </a:r>
            <a:endParaRPr sz="12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12" name="object 67">
            <a:extLst>
              <a:ext uri="{FF2B5EF4-FFF2-40B4-BE49-F238E27FC236}">
                <a16:creationId xmlns:a16="http://schemas.microsoft.com/office/drawing/2014/main" id="{DC38541D-30D1-94CF-2C12-CDECCC18573E}"/>
              </a:ext>
            </a:extLst>
          </p:cNvPr>
          <p:cNvSpPr txBox="1"/>
          <p:nvPr/>
        </p:nvSpPr>
        <p:spPr>
          <a:xfrm>
            <a:off x="1961042" y="2343527"/>
            <a:ext cx="51937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b="1" spc="-5" dirty="0">
                <a:latin typeface="Arial"/>
                <a:cs typeface="Arial"/>
              </a:rPr>
              <a:t>31-50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213" name="object 67">
            <a:extLst>
              <a:ext uri="{FF2B5EF4-FFF2-40B4-BE49-F238E27FC236}">
                <a16:creationId xmlns:a16="http://schemas.microsoft.com/office/drawing/2014/main" id="{7A24968F-F443-D7B1-07CD-6A0A29B462CE}"/>
              </a:ext>
            </a:extLst>
          </p:cNvPr>
          <p:cNvSpPr txBox="1"/>
          <p:nvPr/>
        </p:nvSpPr>
        <p:spPr>
          <a:xfrm>
            <a:off x="2420858" y="2342906"/>
            <a:ext cx="685519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b="1" spc="-5" dirty="0">
                <a:solidFill>
                  <a:schemeClr val="bg1"/>
                </a:solidFill>
                <a:latin typeface="Arial"/>
                <a:cs typeface="Arial"/>
              </a:rPr>
              <a:t>51-70</a:t>
            </a:r>
            <a:endParaRPr sz="12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14" name="object 67">
            <a:extLst>
              <a:ext uri="{FF2B5EF4-FFF2-40B4-BE49-F238E27FC236}">
                <a16:creationId xmlns:a16="http://schemas.microsoft.com/office/drawing/2014/main" id="{E4BEE5C9-9B8C-3D3B-7651-8AE94D18016D}"/>
              </a:ext>
            </a:extLst>
          </p:cNvPr>
          <p:cNvSpPr txBox="1"/>
          <p:nvPr/>
        </p:nvSpPr>
        <p:spPr>
          <a:xfrm>
            <a:off x="4262627" y="2328214"/>
            <a:ext cx="51937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b="1" spc="-5" dirty="0">
                <a:latin typeface="Arial"/>
                <a:cs typeface="Arial"/>
              </a:rPr>
              <a:t>&gt;70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215" name="object 67">
            <a:extLst>
              <a:ext uri="{FF2B5EF4-FFF2-40B4-BE49-F238E27FC236}">
                <a16:creationId xmlns:a16="http://schemas.microsoft.com/office/drawing/2014/main" id="{C23171A0-A6A8-E7DF-6726-0E90BE605509}"/>
              </a:ext>
            </a:extLst>
          </p:cNvPr>
          <p:cNvSpPr txBox="1"/>
          <p:nvPr/>
        </p:nvSpPr>
        <p:spPr>
          <a:xfrm>
            <a:off x="2730538" y="2735463"/>
            <a:ext cx="467481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b="1" spc="-5" dirty="0">
                <a:solidFill>
                  <a:schemeClr val="bg1"/>
                </a:solidFill>
                <a:latin typeface="Arial"/>
                <a:cs typeface="Arial"/>
              </a:rPr>
              <a:t>SH</a:t>
            </a:r>
          </a:p>
        </p:txBody>
      </p:sp>
      <p:sp>
        <p:nvSpPr>
          <p:cNvPr id="216" name="object 67">
            <a:extLst>
              <a:ext uri="{FF2B5EF4-FFF2-40B4-BE49-F238E27FC236}">
                <a16:creationId xmlns:a16="http://schemas.microsoft.com/office/drawing/2014/main" id="{74208DFB-F224-F9EC-F4F8-F8F7C2F0AD67}"/>
              </a:ext>
            </a:extLst>
          </p:cNvPr>
          <p:cNvSpPr txBox="1"/>
          <p:nvPr/>
        </p:nvSpPr>
        <p:spPr>
          <a:xfrm>
            <a:off x="4853731" y="2732477"/>
            <a:ext cx="51937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b="1" spc="-5" dirty="0">
                <a:latin typeface="Arial"/>
                <a:cs typeface="Arial"/>
              </a:rPr>
              <a:t>BJ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217" name="object 67">
            <a:extLst>
              <a:ext uri="{FF2B5EF4-FFF2-40B4-BE49-F238E27FC236}">
                <a16:creationId xmlns:a16="http://schemas.microsoft.com/office/drawing/2014/main" id="{1BCDF0B2-6B5F-CA6C-166A-77CAD39371EB}"/>
              </a:ext>
            </a:extLst>
          </p:cNvPr>
          <p:cNvSpPr txBox="1"/>
          <p:nvPr/>
        </p:nvSpPr>
        <p:spPr>
          <a:xfrm>
            <a:off x="5826087" y="2730338"/>
            <a:ext cx="51937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b="1" dirty="0">
                <a:solidFill>
                  <a:schemeClr val="bg1"/>
                </a:solidFill>
                <a:latin typeface="Arial"/>
                <a:cs typeface="Arial"/>
              </a:rPr>
              <a:t>HZ</a:t>
            </a:r>
            <a:endParaRPr sz="12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18" name="object 116">
            <a:extLst>
              <a:ext uri="{FF2B5EF4-FFF2-40B4-BE49-F238E27FC236}">
                <a16:creationId xmlns:a16="http://schemas.microsoft.com/office/drawing/2014/main" id="{4BDFFD8C-D048-8BF0-61ED-FF3D7997793E}"/>
              </a:ext>
            </a:extLst>
          </p:cNvPr>
          <p:cNvSpPr/>
          <p:nvPr/>
        </p:nvSpPr>
        <p:spPr>
          <a:xfrm>
            <a:off x="11442735" y="3596835"/>
            <a:ext cx="398145" cy="160020"/>
          </a:xfrm>
          <a:custGeom>
            <a:avLst/>
            <a:gdLst/>
            <a:ahLst/>
            <a:cxnLst/>
            <a:rect l="l" t="t" r="r" b="b"/>
            <a:pathLst>
              <a:path w="398145" h="160020">
                <a:moveTo>
                  <a:pt x="397764" y="0"/>
                </a:moveTo>
                <a:lnTo>
                  <a:pt x="344424" y="21462"/>
                </a:lnTo>
                <a:lnTo>
                  <a:pt x="344424" y="106679"/>
                </a:lnTo>
                <a:lnTo>
                  <a:pt x="132588" y="106679"/>
                </a:lnTo>
                <a:lnTo>
                  <a:pt x="0" y="160019"/>
                </a:lnTo>
                <a:lnTo>
                  <a:pt x="397764" y="160019"/>
                </a:lnTo>
                <a:lnTo>
                  <a:pt x="397764" y="0"/>
                </a:lnTo>
                <a:close/>
              </a:path>
            </a:pathLst>
          </a:custGeom>
          <a:solidFill>
            <a:srgbClr val="C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9" name="object 116">
            <a:extLst>
              <a:ext uri="{FF2B5EF4-FFF2-40B4-BE49-F238E27FC236}">
                <a16:creationId xmlns:a16="http://schemas.microsoft.com/office/drawing/2014/main" id="{2B369DFC-496F-09E1-3C3A-30BA0BD0C87A}"/>
              </a:ext>
            </a:extLst>
          </p:cNvPr>
          <p:cNvSpPr/>
          <p:nvPr/>
        </p:nvSpPr>
        <p:spPr>
          <a:xfrm rot="10800000">
            <a:off x="10373495" y="2532380"/>
            <a:ext cx="398145" cy="160020"/>
          </a:xfrm>
          <a:custGeom>
            <a:avLst/>
            <a:gdLst/>
            <a:ahLst/>
            <a:cxnLst/>
            <a:rect l="l" t="t" r="r" b="b"/>
            <a:pathLst>
              <a:path w="398145" h="160020">
                <a:moveTo>
                  <a:pt x="397764" y="0"/>
                </a:moveTo>
                <a:lnTo>
                  <a:pt x="344424" y="21462"/>
                </a:lnTo>
                <a:lnTo>
                  <a:pt x="344424" y="106679"/>
                </a:lnTo>
                <a:lnTo>
                  <a:pt x="132588" y="106679"/>
                </a:lnTo>
                <a:lnTo>
                  <a:pt x="0" y="160019"/>
                </a:lnTo>
                <a:lnTo>
                  <a:pt x="397764" y="160019"/>
                </a:lnTo>
                <a:lnTo>
                  <a:pt x="397764" y="0"/>
                </a:lnTo>
                <a:close/>
              </a:path>
            </a:pathLst>
          </a:custGeom>
          <a:solidFill>
            <a:srgbClr val="C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67">
            <a:extLst>
              <a:ext uri="{FF2B5EF4-FFF2-40B4-BE49-F238E27FC236}">
                <a16:creationId xmlns:a16="http://schemas.microsoft.com/office/drawing/2014/main" id="{6C44B67C-6162-F046-9A4B-7188CA99968D}"/>
              </a:ext>
            </a:extLst>
          </p:cNvPr>
          <p:cNvSpPr txBox="1"/>
          <p:nvPr/>
        </p:nvSpPr>
        <p:spPr>
          <a:xfrm>
            <a:off x="6417239" y="2726685"/>
            <a:ext cx="51937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b="1" dirty="0">
                <a:latin typeface="Arial"/>
                <a:cs typeface="Arial"/>
              </a:rPr>
              <a:t>GZ</a:t>
            </a:r>
            <a:endParaRPr sz="1200" b="1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c_E0R_LoA19h2qq4mQ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Yr0TPFDFLfIjW7Vzga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LER1XsJSspI7Zmy1fW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V6IfjDclUUjzw8um8Z2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JXz7nsKQVcwmhBJZyA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WxivIYIAFGEXgnRvx6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b9wtpEfinHwWYpmxXkR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gVHv9QbjGunDfH4BYGC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9</TotalTime>
  <Words>461</Words>
  <Application>Microsoft Office PowerPoint</Application>
  <PresentationFormat>Widescreen</PresentationFormat>
  <Paragraphs>125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1" baseType="lpstr">
      <vt:lpstr>Alibaba PuHuiTi</vt:lpstr>
      <vt:lpstr>Alibaba PuHuiTi Medium</vt:lpstr>
      <vt:lpstr>DengXian</vt:lpstr>
      <vt:lpstr>DengXian</vt:lpstr>
      <vt:lpstr>等线 Light</vt:lpstr>
      <vt:lpstr>Arial</vt:lpstr>
      <vt:lpstr>Office Theme</vt:lpstr>
      <vt:lpstr>think-cell 幻灯片</vt:lpstr>
      <vt:lpstr>PowerPoint Presentation</vt:lpstr>
      <vt:lpstr>PowerPoint Presentation</vt:lpstr>
      <vt:lpstr>Target customers of entry luxury jewelry are young and well-paid who prioritize brand and design as their key purchasing criteri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REK DUAN</dc:creator>
  <cp:lastModifiedBy>DEREK DUAN</cp:lastModifiedBy>
  <cp:revision>1</cp:revision>
  <dcterms:created xsi:type="dcterms:W3CDTF">2024-05-21T12:30:19Z</dcterms:created>
  <dcterms:modified xsi:type="dcterms:W3CDTF">2024-05-21T17:59:25Z</dcterms:modified>
</cp:coreProperties>
</file>